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theme/themeOverride3.xml" ContentType="application/vnd.openxmlformats-officedocument.themeOverride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56" r:id="rId2"/>
    <p:sldId id="313" r:id="rId3"/>
    <p:sldId id="314" r:id="rId4"/>
    <p:sldId id="282" r:id="rId5"/>
    <p:sldId id="293" r:id="rId6"/>
    <p:sldId id="294" r:id="rId7"/>
    <p:sldId id="300" r:id="rId8"/>
    <p:sldId id="310" r:id="rId9"/>
    <p:sldId id="284" r:id="rId10"/>
    <p:sldId id="301" r:id="rId11"/>
    <p:sldId id="285" r:id="rId12"/>
    <p:sldId id="311" r:id="rId13"/>
    <p:sldId id="280" r:id="rId14"/>
    <p:sldId id="281" r:id="rId15"/>
    <p:sldId id="286" r:id="rId16"/>
    <p:sldId id="279" r:id="rId17"/>
    <p:sldId id="315" r:id="rId18"/>
    <p:sldId id="287" r:id="rId19"/>
    <p:sldId id="295" r:id="rId20"/>
    <p:sldId id="318" r:id="rId21"/>
    <p:sldId id="317" r:id="rId22"/>
    <p:sldId id="289" r:id="rId23"/>
    <p:sldId id="312" r:id="rId24"/>
    <p:sldId id="290" r:id="rId25"/>
    <p:sldId id="261" r:id="rId26"/>
  </p:sldIdLst>
  <p:sldSz cx="12192000" cy="6858000"/>
  <p:notesSz cx="6858000" cy="9144000"/>
  <p:custDataLst>
    <p:tags r:id="rId2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4E0C"/>
    <a:srgbClr val="E60000"/>
    <a:srgbClr val="D20C0C"/>
    <a:srgbClr val="DF5E3B"/>
    <a:srgbClr val="DF1717"/>
    <a:srgbClr val="A20000"/>
    <a:srgbClr val="A40000"/>
    <a:srgbClr val="9E0000"/>
    <a:srgbClr val="C7450B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8" autoAdjust="0"/>
    <p:restoredTop sz="96182" autoAdjust="0"/>
  </p:normalViewPr>
  <p:slideViewPr>
    <p:cSldViewPr snapToGrid="0">
      <p:cViewPr varScale="1">
        <p:scale>
          <a:sx n="159" d="100"/>
          <a:sy n="159" d="100"/>
        </p:scale>
        <p:origin x="156" y="32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1/8/Fri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1/8/Fri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f6096c79-36b0-4aa4-98c3-2b4c19fc4a68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99323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f6096c79-36b0-4aa4-98c3-2b4c19fc4a68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61147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f6096c79-36b0-4aa4-98c3-2b4c19fc4a68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69396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f6096c79-36b0-4aa4-98c3-2b4c19fc4a68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723611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ca027800-95e9-4dcb-9b5c-e96164fcefe7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80953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6eb520f7-2e97-4fed-b141-c7535e127b5a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1038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f6096c79-36b0-4aa4-98c3-2b4c19fc4a68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1705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f6096c79-36b0-4aa4-98c3-2b4c19fc4a68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924801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27fdb139-ded2-439e-82b1-70c7f3106d3f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95645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f6096c79-36b0-4aa4-98c3-2b4c19fc4a68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18515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05">
            <a:extLst>
              <a:ext uri="{FF2B5EF4-FFF2-40B4-BE49-F238E27FC236}">
                <a16:creationId xmlns:a16="http://schemas.microsoft.com/office/drawing/2014/main" id="{B40A566B-4FAB-428E-9B95-CE9CB07F1E0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9545" y="3175"/>
            <a:ext cx="12160230" cy="6854825"/>
            <a:chOff x="20" y="2"/>
            <a:chExt cx="7644" cy="4321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9931" name="Freeform 5">
              <a:extLst>
                <a:ext uri="{FF2B5EF4-FFF2-40B4-BE49-F238E27FC236}">
                  <a16:creationId xmlns:a16="http://schemas.microsoft.com/office/drawing/2014/main" id="{9BEE9507-F6AF-4016-A92A-17BF514C3B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50" y="3342"/>
              <a:ext cx="763" cy="216"/>
            </a:xfrm>
            <a:custGeom>
              <a:avLst/>
              <a:gdLst>
                <a:gd name="T0" fmla="*/ 4 w 512"/>
                <a:gd name="T1" fmla="*/ 90 h 145"/>
                <a:gd name="T2" fmla="*/ 262 w 512"/>
                <a:gd name="T3" fmla="*/ 67 h 145"/>
                <a:gd name="T4" fmla="*/ 511 w 512"/>
                <a:gd name="T5" fmla="*/ 145 h 145"/>
                <a:gd name="T6" fmla="*/ 512 w 512"/>
                <a:gd name="T7" fmla="*/ 144 h 145"/>
                <a:gd name="T8" fmla="*/ 2 w 512"/>
                <a:gd name="T9" fmla="*/ 85 h 145"/>
                <a:gd name="T10" fmla="*/ 4 w 512"/>
                <a:gd name="T11" fmla="*/ 9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2" h="145">
                  <a:moveTo>
                    <a:pt x="4" y="90"/>
                  </a:moveTo>
                  <a:cubicBezTo>
                    <a:pt x="91" y="57"/>
                    <a:pt x="170" y="55"/>
                    <a:pt x="262" y="67"/>
                  </a:cubicBezTo>
                  <a:cubicBezTo>
                    <a:pt x="347" y="79"/>
                    <a:pt x="434" y="108"/>
                    <a:pt x="511" y="145"/>
                  </a:cubicBezTo>
                  <a:cubicBezTo>
                    <a:pt x="512" y="145"/>
                    <a:pt x="512" y="144"/>
                    <a:pt x="512" y="144"/>
                  </a:cubicBezTo>
                  <a:cubicBezTo>
                    <a:pt x="359" y="35"/>
                    <a:pt x="176" y="0"/>
                    <a:pt x="2" y="85"/>
                  </a:cubicBezTo>
                  <a:cubicBezTo>
                    <a:pt x="0" y="87"/>
                    <a:pt x="1" y="91"/>
                    <a:pt x="4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2" name="Freeform 6">
              <a:extLst>
                <a:ext uri="{FF2B5EF4-FFF2-40B4-BE49-F238E27FC236}">
                  <a16:creationId xmlns:a16="http://schemas.microsoft.com/office/drawing/2014/main" id="{74BCF5D0-B8BC-4351-8B47-F03E001BCC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" y="3788"/>
              <a:ext cx="83" cy="148"/>
            </a:xfrm>
            <a:custGeom>
              <a:avLst/>
              <a:gdLst>
                <a:gd name="T0" fmla="*/ 54 w 56"/>
                <a:gd name="T1" fmla="*/ 0 h 99"/>
                <a:gd name="T2" fmla="*/ 1 w 56"/>
                <a:gd name="T3" fmla="*/ 94 h 99"/>
                <a:gd name="T4" fmla="*/ 7 w 56"/>
                <a:gd name="T5" fmla="*/ 96 h 99"/>
                <a:gd name="T6" fmla="*/ 27 w 56"/>
                <a:gd name="T7" fmla="*/ 47 h 99"/>
                <a:gd name="T8" fmla="*/ 55 w 56"/>
                <a:gd name="T9" fmla="*/ 1 h 99"/>
                <a:gd name="T10" fmla="*/ 54 w 56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" h="99">
                  <a:moveTo>
                    <a:pt x="54" y="0"/>
                  </a:moveTo>
                  <a:cubicBezTo>
                    <a:pt x="30" y="24"/>
                    <a:pt x="8" y="60"/>
                    <a:pt x="1" y="94"/>
                  </a:cubicBezTo>
                  <a:cubicBezTo>
                    <a:pt x="0" y="97"/>
                    <a:pt x="5" y="99"/>
                    <a:pt x="7" y="96"/>
                  </a:cubicBezTo>
                  <a:cubicBezTo>
                    <a:pt x="14" y="80"/>
                    <a:pt x="19" y="63"/>
                    <a:pt x="27" y="47"/>
                  </a:cubicBezTo>
                  <a:cubicBezTo>
                    <a:pt x="36" y="31"/>
                    <a:pt x="45" y="16"/>
                    <a:pt x="55" y="1"/>
                  </a:cubicBezTo>
                  <a:cubicBezTo>
                    <a:pt x="56" y="0"/>
                    <a:pt x="55" y="0"/>
                    <a:pt x="5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3" name="Freeform 7">
              <a:extLst>
                <a:ext uri="{FF2B5EF4-FFF2-40B4-BE49-F238E27FC236}">
                  <a16:creationId xmlns:a16="http://schemas.microsoft.com/office/drawing/2014/main" id="{7537FE8A-4098-4104-941A-08826DD3DF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" y="3357"/>
              <a:ext cx="879" cy="387"/>
            </a:xfrm>
            <a:custGeom>
              <a:avLst/>
              <a:gdLst>
                <a:gd name="T0" fmla="*/ 319 w 590"/>
                <a:gd name="T1" fmla="*/ 75 h 260"/>
                <a:gd name="T2" fmla="*/ 460 w 590"/>
                <a:gd name="T3" fmla="*/ 152 h 260"/>
                <a:gd name="T4" fmla="*/ 583 w 590"/>
                <a:gd name="T5" fmla="*/ 258 h 260"/>
                <a:gd name="T6" fmla="*/ 588 w 590"/>
                <a:gd name="T7" fmla="*/ 253 h 260"/>
                <a:gd name="T8" fmla="*/ 331 w 590"/>
                <a:gd name="T9" fmla="*/ 61 h 260"/>
                <a:gd name="T10" fmla="*/ 0 w 590"/>
                <a:gd name="T11" fmla="*/ 20 h 260"/>
                <a:gd name="T12" fmla="*/ 0 w 590"/>
                <a:gd name="T13" fmla="*/ 21 h 260"/>
                <a:gd name="T14" fmla="*/ 319 w 590"/>
                <a:gd name="T15" fmla="*/ 75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0" h="260">
                  <a:moveTo>
                    <a:pt x="319" y="75"/>
                  </a:moveTo>
                  <a:cubicBezTo>
                    <a:pt x="369" y="95"/>
                    <a:pt x="416" y="121"/>
                    <a:pt x="460" y="152"/>
                  </a:cubicBezTo>
                  <a:cubicBezTo>
                    <a:pt x="505" y="184"/>
                    <a:pt x="540" y="225"/>
                    <a:pt x="583" y="258"/>
                  </a:cubicBezTo>
                  <a:cubicBezTo>
                    <a:pt x="586" y="260"/>
                    <a:pt x="590" y="256"/>
                    <a:pt x="588" y="253"/>
                  </a:cubicBezTo>
                  <a:cubicBezTo>
                    <a:pt x="539" y="163"/>
                    <a:pt x="422" y="98"/>
                    <a:pt x="331" y="61"/>
                  </a:cubicBezTo>
                  <a:cubicBezTo>
                    <a:pt x="228" y="18"/>
                    <a:pt x="110" y="0"/>
                    <a:pt x="0" y="20"/>
                  </a:cubicBezTo>
                  <a:cubicBezTo>
                    <a:pt x="0" y="20"/>
                    <a:pt x="0" y="21"/>
                    <a:pt x="0" y="21"/>
                  </a:cubicBezTo>
                  <a:cubicBezTo>
                    <a:pt x="110" y="21"/>
                    <a:pt x="216" y="34"/>
                    <a:pt x="31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4" name="Freeform 8">
              <a:extLst>
                <a:ext uri="{FF2B5EF4-FFF2-40B4-BE49-F238E27FC236}">
                  <a16:creationId xmlns:a16="http://schemas.microsoft.com/office/drawing/2014/main" id="{FE090438-D523-45C7-A630-0B41CB62B9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11" y="3723"/>
              <a:ext cx="319" cy="299"/>
            </a:xfrm>
            <a:custGeom>
              <a:avLst/>
              <a:gdLst>
                <a:gd name="T0" fmla="*/ 10 w 214"/>
                <a:gd name="T1" fmla="*/ 198 h 201"/>
                <a:gd name="T2" fmla="*/ 19 w 214"/>
                <a:gd name="T3" fmla="*/ 200 h 201"/>
                <a:gd name="T4" fmla="*/ 25 w 214"/>
                <a:gd name="T5" fmla="*/ 195 h 201"/>
                <a:gd name="T6" fmla="*/ 71 w 214"/>
                <a:gd name="T7" fmla="*/ 148 h 201"/>
                <a:gd name="T8" fmla="*/ 119 w 214"/>
                <a:gd name="T9" fmla="*/ 100 h 201"/>
                <a:gd name="T10" fmla="*/ 214 w 214"/>
                <a:gd name="T11" fmla="*/ 2 h 201"/>
                <a:gd name="T12" fmla="*/ 212 w 214"/>
                <a:gd name="T13" fmla="*/ 0 h 201"/>
                <a:gd name="T14" fmla="*/ 6 w 214"/>
                <a:gd name="T15" fmla="*/ 179 h 201"/>
                <a:gd name="T16" fmla="*/ 10 w 214"/>
                <a:gd name="T17" fmla="*/ 198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201">
                  <a:moveTo>
                    <a:pt x="10" y="198"/>
                  </a:moveTo>
                  <a:cubicBezTo>
                    <a:pt x="13" y="198"/>
                    <a:pt x="16" y="199"/>
                    <a:pt x="19" y="200"/>
                  </a:cubicBezTo>
                  <a:cubicBezTo>
                    <a:pt x="21" y="201"/>
                    <a:pt x="25" y="198"/>
                    <a:pt x="25" y="195"/>
                  </a:cubicBezTo>
                  <a:cubicBezTo>
                    <a:pt x="24" y="182"/>
                    <a:pt x="62" y="157"/>
                    <a:pt x="71" y="148"/>
                  </a:cubicBezTo>
                  <a:cubicBezTo>
                    <a:pt x="87" y="132"/>
                    <a:pt x="103" y="116"/>
                    <a:pt x="119" y="100"/>
                  </a:cubicBezTo>
                  <a:cubicBezTo>
                    <a:pt x="151" y="68"/>
                    <a:pt x="182" y="34"/>
                    <a:pt x="214" y="2"/>
                  </a:cubicBezTo>
                  <a:cubicBezTo>
                    <a:pt x="214" y="1"/>
                    <a:pt x="213" y="0"/>
                    <a:pt x="212" y="0"/>
                  </a:cubicBezTo>
                  <a:cubicBezTo>
                    <a:pt x="141" y="58"/>
                    <a:pt x="70" y="114"/>
                    <a:pt x="6" y="179"/>
                  </a:cubicBezTo>
                  <a:cubicBezTo>
                    <a:pt x="0" y="185"/>
                    <a:pt x="3" y="195"/>
                    <a:pt x="1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5" name="Freeform 9">
              <a:extLst>
                <a:ext uri="{FF2B5EF4-FFF2-40B4-BE49-F238E27FC236}">
                  <a16:creationId xmlns:a16="http://schemas.microsoft.com/office/drawing/2014/main" id="{EE2F590A-AD84-4B0F-AD66-393BE10657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7" y="4045"/>
              <a:ext cx="242" cy="78"/>
            </a:xfrm>
            <a:custGeom>
              <a:avLst/>
              <a:gdLst>
                <a:gd name="T0" fmla="*/ 4 w 162"/>
                <a:gd name="T1" fmla="*/ 5 h 53"/>
                <a:gd name="T2" fmla="*/ 3 w 162"/>
                <a:gd name="T3" fmla="*/ 11 h 53"/>
                <a:gd name="T4" fmla="*/ 83 w 162"/>
                <a:gd name="T5" fmla="*/ 26 h 53"/>
                <a:gd name="T6" fmla="*/ 161 w 162"/>
                <a:gd name="T7" fmla="*/ 53 h 53"/>
                <a:gd name="T8" fmla="*/ 161 w 162"/>
                <a:gd name="T9" fmla="*/ 52 h 53"/>
                <a:gd name="T10" fmla="*/ 4 w 162"/>
                <a:gd name="T11" fmla="*/ 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53">
                  <a:moveTo>
                    <a:pt x="4" y="5"/>
                  </a:moveTo>
                  <a:cubicBezTo>
                    <a:pt x="1" y="6"/>
                    <a:pt x="0" y="10"/>
                    <a:pt x="3" y="11"/>
                  </a:cubicBezTo>
                  <a:cubicBezTo>
                    <a:pt x="28" y="21"/>
                    <a:pt x="57" y="21"/>
                    <a:pt x="83" y="26"/>
                  </a:cubicBezTo>
                  <a:cubicBezTo>
                    <a:pt x="111" y="31"/>
                    <a:pt x="137" y="38"/>
                    <a:pt x="161" y="53"/>
                  </a:cubicBezTo>
                  <a:cubicBezTo>
                    <a:pt x="161" y="53"/>
                    <a:pt x="162" y="53"/>
                    <a:pt x="161" y="52"/>
                  </a:cubicBezTo>
                  <a:cubicBezTo>
                    <a:pt x="126" y="15"/>
                    <a:pt x="54" y="0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6" name="Freeform 10">
              <a:extLst>
                <a:ext uri="{FF2B5EF4-FFF2-40B4-BE49-F238E27FC236}">
                  <a16:creationId xmlns:a16="http://schemas.microsoft.com/office/drawing/2014/main" id="{C089C2BE-C617-4258-8BEA-58579AE7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02" y="3982"/>
              <a:ext cx="748" cy="244"/>
            </a:xfrm>
            <a:custGeom>
              <a:avLst/>
              <a:gdLst>
                <a:gd name="T0" fmla="*/ 241 w 502"/>
                <a:gd name="T1" fmla="*/ 22 h 164"/>
                <a:gd name="T2" fmla="*/ 7 w 502"/>
                <a:gd name="T3" fmla="*/ 144 h 164"/>
                <a:gd name="T4" fmla="*/ 19 w 502"/>
                <a:gd name="T5" fmla="*/ 160 h 164"/>
                <a:gd name="T6" fmla="*/ 120 w 502"/>
                <a:gd name="T7" fmla="*/ 100 h 164"/>
                <a:gd name="T8" fmla="*/ 248 w 502"/>
                <a:gd name="T9" fmla="*/ 48 h 164"/>
                <a:gd name="T10" fmla="*/ 501 w 502"/>
                <a:gd name="T11" fmla="*/ 17 h 164"/>
                <a:gd name="T12" fmla="*/ 501 w 502"/>
                <a:gd name="T13" fmla="*/ 16 h 164"/>
                <a:gd name="T14" fmla="*/ 241 w 502"/>
                <a:gd name="T15" fmla="*/ 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2" h="164">
                  <a:moveTo>
                    <a:pt x="241" y="22"/>
                  </a:moveTo>
                  <a:cubicBezTo>
                    <a:pt x="164" y="41"/>
                    <a:pt x="58" y="79"/>
                    <a:pt x="7" y="144"/>
                  </a:cubicBezTo>
                  <a:cubicBezTo>
                    <a:pt x="0" y="153"/>
                    <a:pt x="9" y="164"/>
                    <a:pt x="19" y="160"/>
                  </a:cubicBezTo>
                  <a:cubicBezTo>
                    <a:pt x="55" y="144"/>
                    <a:pt x="86" y="118"/>
                    <a:pt x="120" y="100"/>
                  </a:cubicBezTo>
                  <a:cubicBezTo>
                    <a:pt x="161" y="79"/>
                    <a:pt x="204" y="62"/>
                    <a:pt x="248" y="48"/>
                  </a:cubicBezTo>
                  <a:cubicBezTo>
                    <a:pt x="331" y="24"/>
                    <a:pt x="415" y="11"/>
                    <a:pt x="501" y="17"/>
                  </a:cubicBezTo>
                  <a:cubicBezTo>
                    <a:pt x="502" y="17"/>
                    <a:pt x="502" y="16"/>
                    <a:pt x="501" y="16"/>
                  </a:cubicBezTo>
                  <a:cubicBezTo>
                    <a:pt x="415" y="1"/>
                    <a:pt x="326" y="0"/>
                    <a:pt x="241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7" name="Freeform 11">
              <a:extLst>
                <a:ext uri="{FF2B5EF4-FFF2-40B4-BE49-F238E27FC236}">
                  <a16:creationId xmlns:a16="http://schemas.microsoft.com/office/drawing/2014/main" id="{0E9F1644-305B-486A-8552-5B82B3E3C1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4" y="3805"/>
              <a:ext cx="449" cy="175"/>
            </a:xfrm>
            <a:custGeom>
              <a:avLst/>
              <a:gdLst>
                <a:gd name="T0" fmla="*/ 3 w 301"/>
                <a:gd name="T1" fmla="*/ 24 h 118"/>
                <a:gd name="T2" fmla="*/ 5 w 301"/>
                <a:gd name="T3" fmla="*/ 29 h 118"/>
                <a:gd name="T4" fmla="*/ 300 w 301"/>
                <a:gd name="T5" fmla="*/ 117 h 118"/>
                <a:gd name="T6" fmla="*/ 301 w 301"/>
                <a:gd name="T7" fmla="*/ 117 h 118"/>
                <a:gd name="T8" fmla="*/ 177 w 301"/>
                <a:gd name="T9" fmla="*/ 33 h 118"/>
                <a:gd name="T10" fmla="*/ 3 w 301"/>
                <a:gd name="T11" fmla="*/ 2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1" h="118">
                  <a:moveTo>
                    <a:pt x="3" y="24"/>
                  </a:moveTo>
                  <a:cubicBezTo>
                    <a:pt x="0" y="25"/>
                    <a:pt x="2" y="30"/>
                    <a:pt x="5" y="29"/>
                  </a:cubicBezTo>
                  <a:cubicBezTo>
                    <a:pt x="100" y="7"/>
                    <a:pt x="234" y="47"/>
                    <a:pt x="300" y="117"/>
                  </a:cubicBezTo>
                  <a:cubicBezTo>
                    <a:pt x="301" y="118"/>
                    <a:pt x="301" y="117"/>
                    <a:pt x="301" y="117"/>
                  </a:cubicBezTo>
                  <a:cubicBezTo>
                    <a:pt x="276" y="69"/>
                    <a:pt x="226" y="48"/>
                    <a:pt x="177" y="33"/>
                  </a:cubicBezTo>
                  <a:cubicBezTo>
                    <a:pt x="122" y="17"/>
                    <a:pt x="58" y="0"/>
                    <a:pt x="3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8" name="Freeform 12">
              <a:extLst>
                <a:ext uri="{FF2B5EF4-FFF2-40B4-BE49-F238E27FC236}">
                  <a16:creationId xmlns:a16="http://schemas.microsoft.com/office/drawing/2014/main" id="{1FD89EE4-B626-4BA9-8D1C-0321E91A21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15" y="3726"/>
              <a:ext cx="1002" cy="430"/>
            </a:xfrm>
            <a:custGeom>
              <a:avLst/>
              <a:gdLst>
                <a:gd name="T0" fmla="*/ 298 w 672"/>
                <a:gd name="T1" fmla="*/ 66 h 289"/>
                <a:gd name="T2" fmla="*/ 2 w 672"/>
                <a:gd name="T3" fmla="*/ 278 h 289"/>
                <a:gd name="T4" fmla="*/ 10 w 672"/>
                <a:gd name="T5" fmla="*/ 285 h 289"/>
                <a:gd name="T6" fmla="*/ 142 w 672"/>
                <a:gd name="T7" fmla="*/ 177 h 289"/>
                <a:gd name="T8" fmla="*/ 312 w 672"/>
                <a:gd name="T9" fmla="*/ 87 h 289"/>
                <a:gd name="T10" fmla="*/ 671 w 672"/>
                <a:gd name="T11" fmla="*/ 33 h 289"/>
                <a:gd name="T12" fmla="*/ 671 w 672"/>
                <a:gd name="T13" fmla="*/ 31 h 289"/>
                <a:gd name="T14" fmla="*/ 298 w 672"/>
                <a:gd name="T15" fmla="*/ 66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2" h="289">
                  <a:moveTo>
                    <a:pt x="298" y="66"/>
                  </a:moveTo>
                  <a:cubicBezTo>
                    <a:pt x="190" y="107"/>
                    <a:pt x="64" y="176"/>
                    <a:pt x="2" y="278"/>
                  </a:cubicBezTo>
                  <a:cubicBezTo>
                    <a:pt x="0" y="282"/>
                    <a:pt x="5" y="289"/>
                    <a:pt x="10" y="285"/>
                  </a:cubicBezTo>
                  <a:cubicBezTo>
                    <a:pt x="55" y="250"/>
                    <a:pt x="95" y="210"/>
                    <a:pt x="142" y="177"/>
                  </a:cubicBezTo>
                  <a:cubicBezTo>
                    <a:pt x="194" y="140"/>
                    <a:pt x="252" y="109"/>
                    <a:pt x="312" y="87"/>
                  </a:cubicBezTo>
                  <a:cubicBezTo>
                    <a:pt x="428" y="43"/>
                    <a:pt x="548" y="33"/>
                    <a:pt x="671" y="33"/>
                  </a:cubicBezTo>
                  <a:cubicBezTo>
                    <a:pt x="672" y="33"/>
                    <a:pt x="672" y="31"/>
                    <a:pt x="671" y="31"/>
                  </a:cubicBezTo>
                  <a:cubicBezTo>
                    <a:pt x="549" y="0"/>
                    <a:pt x="414" y="21"/>
                    <a:pt x="298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9" name="Freeform 13">
              <a:extLst>
                <a:ext uri="{FF2B5EF4-FFF2-40B4-BE49-F238E27FC236}">
                  <a16:creationId xmlns:a16="http://schemas.microsoft.com/office/drawing/2014/main" id="{D323B938-AC77-4A03-A5EA-6647F223A4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02" y="3507"/>
              <a:ext cx="363" cy="249"/>
            </a:xfrm>
            <a:custGeom>
              <a:avLst/>
              <a:gdLst>
                <a:gd name="T0" fmla="*/ 6 w 243"/>
                <a:gd name="T1" fmla="*/ 165 h 167"/>
                <a:gd name="T2" fmla="*/ 123 w 243"/>
                <a:gd name="T3" fmla="*/ 62 h 167"/>
                <a:gd name="T4" fmla="*/ 243 w 243"/>
                <a:gd name="T5" fmla="*/ 1 h 167"/>
                <a:gd name="T6" fmla="*/ 243 w 243"/>
                <a:gd name="T7" fmla="*/ 1 h 167"/>
                <a:gd name="T8" fmla="*/ 111 w 243"/>
                <a:gd name="T9" fmla="*/ 58 h 167"/>
                <a:gd name="T10" fmla="*/ 1 w 243"/>
                <a:gd name="T11" fmla="*/ 162 h 167"/>
                <a:gd name="T12" fmla="*/ 6 w 243"/>
                <a:gd name="T13" fmla="*/ 165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3" h="167">
                  <a:moveTo>
                    <a:pt x="6" y="165"/>
                  </a:moveTo>
                  <a:cubicBezTo>
                    <a:pt x="38" y="123"/>
                    <a:pt x="79" y="90"/>
                    <a:pt x="123" y="62"/>
                  </a:cubicBezTo>
                  <a:cubicBezTo>
                    <a:pt x="158" y="40"/>
                    <a:pt x="201" y="8"/>
                    <a:pt x="243" y="1"/>
                  </a:cubicBezTo>
                  <a:cubicBezTo>
                    <a:pt x="243" y="1"/>
                    <a:pt x="243" y="1"/>
                    <a:pt x="243" y="1"/>
                  </a:cubicBezTo>
                  <a:cubicBezTo>
                    <a:pt x="197" y="0"/>
                    <a:pt x="149" y="34"/>
                    <a:pt x="111" y="58"/>
                  </a:cubicBezTo>
                  <a:cubicBezTo>
                    <a:pt x="67" y="85"/>
                    <a:pt x="30" y="118"/>
                    <a:pt x="1" y="162"/>
                  </a:cubicBezTo>
                  <a:cubicBezTo>
                    <a:pt x="0" y="165"/>
                    <a:pt x="4" y="167"/>
                    <a:pt x="6" y="1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0" name="Freeform 14">
              <a:extLst>
                <a:ext uri="{FF2B5EF4-FFF2-40B4-BE49-F238E27FC236}">
                  <a16:creationId xmlns:a16="http://schemas.microsoft.com/office/drawing/2014/main" id="{B9ED1BDA-6B52-42B6-901F-2D6602F11D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3" y="3645"/>
              <a:ext cx="575" cy="157"/>
            </a:xfrm>
            <a:custGeom>
              <a:avLst/>
              <a:gdLst>
                <a:gd name="T0" fmla="*/ 2 w 386"/>
                <a:gd name="T1" fmla="*/ 99 h 105"/>
                <a:gd name="T2" fmla="*/ 4 w 386"/>
                <a:gd name="T3" fmla="*/ 104 h 105"/>
                <a:gd name="T4" fmla="*/ 384 w 386"/>
                <a:gd name="T5" fmla="*/ 39 h 105"/>
                <a:gd name="T6" fmla="*/ 385 w 386"/>
                <a:gd name="T7" fmla="*/ 37 h 105"/>
                <a:gd name="T8" fmla="*/ 2 w 386"/>
                <a:gd name="T9" fmla="*/ 9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6" h="105">
                  <a:moveTo>
                    <a:pt x="2" y="99"/>
                  </a:moveTo>
                  <a:cubicBezTo>
                    <a:pt x="0" y="101"/>
                    <a:pt x="2" y="105"/>
                    <a:pt x="4" y="104"/>
                  </a:cubicBezTo>
                  <a:cubicBezTo>
                    <a:pt x="132" y="68"/>
                    <a:pt x="248" y="12"/>
                    <a:pt x="384" y="39"/>
                  </a:cubicBezTo>
                  <a:cubicBezTo>
                    <a:pt x="385" y="39"/>
                    <a:pt x="386" y="37"/>
                    <a:pt x="385" y="37"/>
                  </a:cubicBezTo>
                  <a:cubicBezTo>
                    <a:pt x="257" y="0"/>
                    <a:pt x="116" y="33"/>
                    <a:pt x="2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1" name="Freeform 15">
              <a:extLst>
                <a:ext uri="{FF2B5EF4-FFF2-40B4-BE49-F238E27FC236}">
                  <a16:creationId xmlns:a16="http://schemas.microsoft.com/office/drawing/2014/main" id="{1434F4F3-22ED-4740-BBD2-B7372F7F2D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4" y="3851"/>
              <a:ext cx="106" cy="62"/>
            </a:xfrm>
            <a:custGeom>
              <a:avLst/>
              <a:gdLst>
                <a:gd name="T0" fmla="*/ 2 w 71"/>
                <a:gd name="T1" fmla="*/ 36 h 42"/>
                <a:gd name="T2" fmla="*/ 5 w 71"/>
                <a:gd name="T3" fmla="*/ 40 h 42"/>
                <a:gd name="T4" fmla="*/ 35 w 71"/>
                <a:gd name="T5" fmla="*/ 20 h 42"/>
                <a:gd name="T6" fmla="*/ 70 w 71"/>
                <a:gd name="T7" fmla="*/ 2 h 42"/>
                <a:gd name="T8" fmla="*/ 70 w 71"/>
                <a:gd name="T9" fmla="*/ 1 h 42"/>
                <a:gd name="T10" fmla="*/ 2 w 71"/>
                <a:gd name="T11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" h="42">
                  <a:moveTo>
                    <a:pt x="2" y="36"/>
                  </a:moveTo>
                  <a:cubicBezTo>
                    <a:pt x="0" y="38"/>
                    <a:pt x="3" y="42"/>
                    <a:pt x="5" y="40"/>
                  </a:cubicBezTo>
                  <a:cubicBezTo>
                    <a:pt x="16" y="34"/>
                    <a:pt x="25" y="26"/>
                    <a:pt x="35" y="20"/>
                  </a:cubicBezTo>
                  <a:cubicBezTo>
                    <a:pt x="46" y="13"/>
                    <a:pt x="58" y="7"/>
                    <a:pt x="70" y="2"/>
                  </a:cubicBezTo>
                  <a:cubicBezTo>
                    <a:pt x="71" y="2"/>
                    <a:pt x="71" y="0"/>
                    <a:pt x="70" y="1"/>
                  </a:cubicBezTo>
                  <a:cubicBezTo>
                    <a:pt x="47" y="8"/>
                    <a:pt x="18" y="18"/>
                    <a:pt x="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2" name="Freeform 16">
              <a:extLst>
                <a:ext uri="{FF2B5EF4-FFF2-40B4-BE49-F238E27FC236}">
                  <a16:creationId xmlns:a16="http://schemas.microsoft.com/office/drawing/2014/main" id="{4D19EDF0-F006-459C-8F24-F1DCDBE41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8" y="3733"/>
              <a:ext cx="58" cy="58"/>
            </a:xfrm>
            <a:custGeom>
              <a:avLst/>
              <a:gdLst>
                <a:gd name="T0" fmla="*/ 3 w 39"/>
                <a:gd name="T1" fmla="*/ 38 h 39"/>
                <a:gd name="T2" fmla="*/ 20 w 39"/>
                <a:gd name="T3" fmla="*/ 21 h 39"/>
                <a:gd name="T4" fmla="*/ 38 w 39"/>
                <a:gd name="T5" fmla="*/ 1 h 39"/>
                <a:gd name="T6" fmla="*/ 37 w 39"/>
                <a:gd name="T7" fmla="*/ 0 h 39"/>
                <a:gd name="T8" fmla="*/ 18 w 39"/>
                <a:gd name="T9" fmla="*/ 18 h 39"/>
                <a:gd name="T10" fmla="*/ 1 w 39"/>
                <a:gd name="T11" fmla="*/ 36 h 39"/>
                <a:gd name="T12" fmla="*/ 3 w 39"/>
                <a:gd name="T13" fmla="*/ 3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9">
                  <a:moveTo>
                    <a:pt x="3" y="38"/>
                  </a:moveTo>
                  <a:cubicBezTo>
                    <a:pt x="9" y="33"/>
                    <a:pt x="15" y="27"/>
                    <a:pt x="20" y="21"/>
                  </a:cubicBezTo>
                  <a:cubicBezTo>
                    <a:pt x="26" y="15"/>
                    <a:pt x="32" y="8"/>
                    <a:pt x="38" y="1"/>
                  </a:cubicBezTo>
                  <a:cubicBezTo>
                    <a:pt x="39" y="1"/>
                    <a:pt x="38" y="0"/>
                    <a:pt x="37" y="0"/>
                  </a:cubicBezTo>
                  <a:cubicBezTo>
                    <a:pt x="31" y="6"/>
                    <a:pt x="24" y="12"/>
                    <a:pt x="18" y="18"/>
                  </a:cubicBezTo>
                  <a:cubicBezTo>
                    <a:pt x="12" y="24"/>
                    <a:pt x="5" y="29"/>
                    <a:pt x="1" y="36"/>
                  </a:cubicBezTo>
                  <a:cubicBezTo>
                    <a:pt x="0" y="37"/>
                    <a:pt x="2" y="39"/>
                    <a:pt x="3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3" name="Freeform 17">
              <a:extLst>
                <a:ext uri="{FF2B5EF4-FFF2-40B4-BE49-F238E27FC236}">
                  <a16:creationId xmlns:a16="http://schemas.microsoft.com/office/drawing/2014/main" id="{F12262FB-01FB-4639-8D48-223F054D1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05" y="3395"/>
              <a:ext cx="544" cy="325"/>
            </a:xfrm>
            <a:custGeom>
              <a:avLst/>
              <a:gdLst>
                <a:gd name="T0" fmla="*/ 364 w 365"/>
                <a:gd name="T1" fmla="*/ 1 h 218"/>
                <a:gd name="T2" fmla="*/ 364 w 365"/>
                <a:gd name="T3" fmla="*/ 0 h 218"/>
                <a:gd name="T4" fmla="*/ 3 w 365"/>
                <a:gd name="T5" fmla="*/ 211 h 218"/>
                <a:gd name="T6" fmla="*/ 9 w 365"/>
                <a:gd name="T7" fmla="*/ 216 h 218"/>
                <a:gd name="T8" fmla="*/ 174 w 365"/>
                <a:gd name="T9" fmla="*/ 88 h 218"/>
                <a:gd name="T10" fmla="*/ 364 w 365"/>
                <a:gd name="T11" fmla="*/ 1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5" h="218">
                  <a:moveTo>
                    <a:pt x="364" y="1"/>
                  </a:moveTo>
                  <a:cubicBezTo>
                    <a:pt x="365" y="1"/>
                    <a:pt x="364" y="0"/>
                    <a:pt x="364" y="0"/>
                  </a:cubicBezTo>
                  <a:cubicBezTo>
                    <a:pt x="229" y="24"/>
                    <a:pt x="81" y="95"/>
                    <a:pt x="3" y="211"/>
                  </a:cubicBezTo>
                  <a:cubicBezTo>
                    <a:pt x="0" y="215"/>
                    <a:pt x="6" y="218"/>
                    <a:pt x="9" y="216"/>
                  </a:cubicBezTo>
                  <a:cubicBezTo>
                    <a:pt x="64" y="172"/>
                    <a:pt x="115" y="126"/>
                    <a:pt x="174" y="88"/>
                  </a:cubicBezTo>
                  <a:cubicBezTo>
                    <a:pt x="232" y="49"/>
                    <a:pt x="297" y="23"/>
                    <a:pt x="36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4" name="Freeform 18">
              <a:extLst>
                <a:ext uri="{FF2B5EF4-FFF2-40B4-BE49-F238E27FC236}">
                  <a16:creationId xmlns:a16="http://schemas.microsoft.com/office/drawing/2014/main" id="{5C502C0B-BCF0-4CBC-9373-6438AC8D89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3" y="3558"/>
              <a:ext cx="675" cy="312"/>
            </a:xfrm>
            <a:custGeom>
              <a:avLst/>
              <a:gdLst>
                <a:gd name="T0" fmla="*/ 2 w 453"/>
                <a:gd name="T1" fmla="*/ 200 h 210"/>
                <a:gd name="T2" fmla="*/ 9 w 453"/>
                <a:gd name="T3" fmla="*/ 207 h 210"/>
                <a:gd name="T4" fmla="*/ 210 w 453"/>
                <a:gd name="T5" fmla="*/ 81 h 210"/>
                <a:gd name="T6" fmla="*/ 452 w 453"/>
                <a:gd name="T7" fmla="*/ 19 h 210"/>
                <a:gd name="T8" fmla="*/ 451 w 453"/>
                <a:gd name="T9" fmla="*/ 18 h 210"/>
                <a:gd name="T10" fmla="*/ 2 w 453"/>
                <a:gd name="T11" fmla="*/ 20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" h="210">
                  <a:moveTo>
                    <a:pt x="2" y="200"/>
                  </a:moveTo>
                  <a:cubicBezTo>
                    <a:pt x="0" y="205"/>
                    <a:pt x="5" y="210"/>
                    <a:pt x="9" y="207"/>
                  </a:cubicBezTo>
                  <a:cubicBezTo>
                    <a:pt x="78" y="167"/>
                    <a:pt x="136" y="115"/>
                    <a:pt x="210" y="81"/>
                  </a:cubicBezTo>
                  <a:cubicBezTo>
                    <a:pt x="289" y="45"/>
                    <a:pt x="367" y="33"/>
                    <a:pt x="452" y="19"/>
                  </a:cubicBezTo>
                  <a:cubicBezTo>
                    <a:pt x="453" y="19"/>
                    <a:pt x="452" y="18"/>
                    <a:pt x="451" y="18"/>
                  </a:cubicBezTo>
                  <a:cubicBezTo>
                    <a:pt x="304" y="0"/>
                    <a:pt x="86" y="71"/>
                    <a:pt x="2" y="2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5" name="Freeform 19">
              <a:extLst>
                <a:ext uri="{FF2B5EF4-FFF2-40B4-BE49-F238E27FC236}">
                  <a16:creationId xmlns:a16="http://schemas.microsoft.com/office/drawing/2014/main" id="{0D7E55B7-DD9C-4400-AEFE-0211670B04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4" y="3474"/>
              <a:ext cx="811" cy="445"/>
            </a:xfrm>
            <a:custGeom>
              <a:avLst/>
              <a:gdLst>
                <a:gd name="T0" fmla="*/ 542 w 544"/>
                <a:gd name="T1" fmla="*/ 0 h 299"/>
                <a:gd name="T2" fmla="*/ 232 w 544"/>
                <a:gd name="T3" fmla="*/ 81 h 299"/>
                <a:gd name="T4" fmla="*/ 98 w 544"/>
                <a:gd name="T5" fmla="*/ 173 h 299"/>
                <a:gd name="T6" fmla="*/ 2 w 544"/>
                <a:gd name="T7" fmla="*/ 286 h 299"/>
                <a:gd name="T8" fmla="*/ 14 w 544"/>
                <a:gd name="T9" fmla="*/ 295 h 299"/>
                <a:gd name="T10" fmla="*/ 107 w 544"/>
                <a:gd name="T11" fmla="*/ 205 h 299"/>
                <a:gd name="T12" fmla="*/ 239 w 544"/>
                <a:gd name="T13" fmla="*/ 108 h 299"/>
                <a:gd name="T14" fmla="*/ 542 w 544"/>
                <a:gd name="T15" fmla="*/ 2 h 299"/>
                <a:gd name="T16" fmla="*/ 542 w 544"/>
                <a:gd name="T1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4" h="299">
                  <a:moveTo>
                    <a:pt x="542" y="0"/>
                  </a:moveTo>
                  <a:cubicBezTo>
                    <a:pt x="435" y="6"/>
                    <a:pt x="328" y="30"/>
                    <a:pt x="232" y="81"/>
                  </a:cubicBezTo>
                  <a:cubicBezTo>
                    <a:pt x="184" y="106"/>
                    <a:pt x="139" y="138"/>
                    <a:pt x="98" y="173"/>
                  </a:cubicBezTo>
                  <a:cubicBezTo>
                    <a:pt x="64" y="202"/>
                    <a:pt x="13" y="241"/>
                    <a:pt x="2" y="286"/>
                  </a:cubicBezTo>
                  <a:cubicBezTo>
                    <a:pt x="0" y="293"/>
                    <a:pt x="8" y="299"/>
                    <a:pt x="14" y="295"/>
                  </a:cubicBezTo>
                  <a:cubicBezTo>
                    <a:pt x="51" y="276"/>
                    <a:pt x="77" y="233"/>
                    <a:pt x="107" y="205"/>
                  </a:cubicBezTo>
                  <a:cubicBezTo>
                    <a:pt x="147" y="168"/>
                    <a:pt x="192" y="136"/>
                    <a:pt x="239" y="108"/>
                  </a:cubicBezTo>
                  <a:cubicBezTo>
                    <a:pt x="333" y="54"/>
                    <a:pt x="434" y="15"/>
                    <a:pt x="542" y="2"/>
                  </a:cubicBezTo>
                  <a:cubicBezTo>
                    <a:pt x="544" y="2"/>
                    <a:pt x="544" y="0"/>
                    <a:pt x="5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6" name="Freeform 20">
              <a:extLst>
                <a:ext uri="{FF2B5EF4-FFF2-40B4-BE49-F238E27FC236}">
                  <a16:creationId xmlns:a16="http://schemas.microsoft.com/office/drawing/2014/main" id="{774F9047-F17E-49C1-A12F-E044E406E4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5" y="3592"/>
              <a:ext cx="200" cy="95"/>
            </a:xfrm>
            <a:custGeom>
              <a:avLst/>
              <a:gdLst>
                <a:gd name="T0" fmla="*/ 134 w 134"/>
                <a:gd name="T1" fmla="*/ 1 h 64"/>
                <a:gd name="T2" fmla="*/ 134 w 134"/>
                <a:gd name="T3" fmla="*/ 0 h 64"/>
                <a:gd name="T4" fmla="*/ 2 w 134"/>
                <a:gd name="T5" fmla="*/ 55 h 64"/>
                <a:gd name="T6" fmla="*/ 8 w 134"/>
                <a:gd name="T7" fmla="*/ 62 h 64"/>
                <a:gd name="T8" fmla="*/ 62 w 134"/>
                <a:gd name="T9" fmla="*/ 29 h 64"/>
                <a:gd name="T10" fmla="*/ 134 w 134"/>
                <a:gd name="T11" fmla="*/ 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4" h="64">
                  <a:moveTo>
                    <a:pt x="134" y="1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90" y="2"/>
                    <a:pt x="26" y="14"/>
                    <a:pt x="2" y="55"/>
                  </a:cubicBezTo>
                  <a:cubicBezTo>
                    <a:pt x="0" y="59"/>
                    <a:pt x="4" y="64"/>
                    <a:pt x="8" y="62"/>
                  </a:cubicBezTo>
                  <a:cubicBezTo>
                    <a:pt x="28" y="55"/>
                    <a:pt x="43" y="40"/>
                    <a:pt x="62" y="29"/>
                  </a:cubicBezTo>
                  <a:cubicBezTo>
                    <a:pt x="84" y="17"/>
                    <a:pt x="109" y="7"/>
                    <a:pt x="13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7" name="Freeform 21">
              <a:extLst>
                <a:ext uri="{FF2B5EF4-FFF2-40B4-BE49-F238E27FC236}">
                  <a16:creationId xmlns:a16="http://schemas.microsoft.com/office/drawing/2014/main" id="{3BFF9D71-5FD9-4D86-B6FF-B924C6A895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7" y="3830"/>
              <a:ext cx="77" cy="147"/>
            </a:xfrm>
            <a:custGeom>
              <a:avLst/>
              <a:gdLst>
                <a:gd name="T0" fmla="*/ 0 w 51"/>
                <a:gd name="T1" fmla="*/ 1 h 99"/>
                <a:gd name="T2" fmla="*/ 47 w 51"/>
                <a:gd name="T3" fmla="*/ 97 h 99"/>
                <a:gd name="T4" fmla="*/ 51 w 51"/>
                <a:gd name="T5" fmla="*/ 96 h 99"/>
                <a:gd name="T6" fmla="*/ 1 w 51"/>
                <a:gd name="T7" fmla="*/ 1 h 99"/>
                <a:gd name="T8" fmla="*/ 0 w 51"/>
                <a:gd name="T9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99">
                  <a:moveTo>
                    <a:pt x="0" y="1"/>
                  </a:moveTo>
                  <a:cubicBezTo>
                    <a:pt x="14" y="33"/>
                    <a:pt x="27" y="69"/>
                    <a:pt x="47" y="97"/>
                  </a:cubicBezTo>
                  <a:cubicBezTo>
                    <a:pt x="48" y="99"/>
                    <a:pt x="51" y="98"/>
                    <a:pt x="51" y="96"/>
                  </a:cubicBezTo>
                  <a:cubicBezTo>
                    <a:pt x="40" y="63"/>
                    <a:pt x="18" y="31"/>
                    <a:pt x="1" y="1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8" name="Freeform 22">
              <a:extLst>
                <a:ext uri="{FF2B5EF4-FFF2-40B4-BE49-F238E27FC236}">
                  <a16:creationId xmlns:a16="http://schemas.microsoft.com/office/drawing/2014/main" id="{CF9F093E-5D25-4185-A573-A21E115B7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7" y="4196"/>
              <a:ext cx="80" cy="73"/>
            </a:xfrm>
            <a:custGeom>
              <a:avLst/>
              <a:gdLst>
                <a:gd name="T0" fmla="*/ 53 w 54"/>
                <a:gd name="T1" fmla="*/ 44 h 49"/>
                <a:gd name="T2" fmla="*/ 27 w 54"/>
                <a:gd name="T3" fmla="*/ 22 h 49"/>
                <a:gd name="T4" fmla="*/ 1 w 54"/>
                <a:gd name="T5" fmla="*/ 0 h 49"/>
                <a:gd name="T6" fmla="*/ 1 w 54"/>
                <a:gd name="T7" fmla="*/ 1 h 49"/>
                <a:gd name="T8" fmla="*/ 25 w 54"/>
                <a:gd name="T9" fmla="*/ 27 h 49"/>
                <a:gd name="T10" fmla="*/ 50 w 54"/>
                <a:gd name="T11" fmla="*/ 47 h 49"/>
                <a:gd name="T12" fmla="*/ 53 w 54"/>
                <a:gd name="T13" fmla="*/ 4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49">
                  <a:moveTo>
                    <a:pt x="53" y="44"/>
                  </a:moveTo>
                  <a:cubicBezTo>
                    <a:pt x="46" y="35"/>
                    <a:pt x="35" y="29"/>
                    <a:pt x="27" y="22"/>
                  </a:cubicBezTo>
                  <a:cubicBezTo>
                    <a:pt x="18" y="15"/>
                    <a:pt x="10" y="7"/>
                    <a:pt x="1" y="0"/>
                  </a:cubicBezTo>
                  <a:cubicBezTo>
                    <a:pt x="1" y="0"/>
                    <a:pt x="0" y="0"/>
                    <a:pt x="1" y="1"/>
                  </a:cubicBezTo>
                  <a:cubicBezTo>
                    <a:pt x="8" y="10"/>
                    <a:pt x="16" y="18"/>
                    <a:pt x="25" y="27"/>
                  </a:cubicBezTo>
                  <a:cubicBezTo>
                    <a:pt x="33" y="34"/>
                    <a:pt x="40" y="43"/>
                    <a:pt x="50" y="47"/>
                  </a:cubicBezTo>
                  <a:cubicBezTo>
                    <a:pt x="52" y="49"/>
                    <a:pt x="54" y="46"/>
                    <a:pt x="53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9" name="Freeform 23">
              <a:extLst>
                <a:ext uri="{FF2B5EF4-FFF2-40B4-BE49-F238E27FC236}">
                  <a16:creationId xmlns:a16="http://schemas.microsoft.com/office/drawing/2014/main" id="{D1BE43B9-68ED-4577-AD7E-59F39E97D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" y="2593"/>
              <a:ext cx="452" cy="796"/>
            </a:xfrm>
            <a:custGeom>
              <a:avLst/>
              <a:gdLst>
                <a:gd name="T0" fmla="*/ 301 w 303"/>
                <a:gd name="T1" fmla="*/ 534 h 535"/>
                <a:gd name="T2" fmla="*/ 10 w 303"/>
                <a:gd name="T3" fmla="*/ 3 h 535"/>
                <a:gd name="T4" fmla="*/ 4 w 303"/>
                <a:gd name="T5" fmla="*/ 10 h 535"/>
                <a:gd name="T6" fmla="*/ 207 w 303"/>
                <a:gd name="T7" fmla="*/ 232 h 535"/>
                <a:gd name="T8" fmla="*/ 299 w 303"/>
                <a:gd name="T9" fmla="*/ 534 h 535"/>
                <a:gd name="T10" fmla="*/ 301 w 303"/>
                <a:gd name="T11" fmla="*/ 534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3" h="535">
                  <a:moveTo>
                    <a:pt x="301" y="534"/>
                  </a:moveTo>
                  <a:cubicBezTo>
                    <a:pt x="303" y="329"/>
                    <a:pt x="194" y="105"/>
                    <a:pt x="10" y="3"/>
                  </a:cubicBezTo>
                  <a:cubicBezTo>
                    <a:pt x="5" y="0"/>
                    <a:pt x="0" y="7"/>
                    <a:pt x="4" y="10"/>
                  </a:cubicBezTo>
                  <a:cubicBezTo>
                    <a:pt x="84" y="75"/>
                    <a:pt x="156" y="141"/>
                    <a:pt x="207" y="232"/>
                  </a:cubicBezTo>
                  <a:cubicBezTo>
                    <a:pt x="257" y="324"/>
                    <a:pt x="291" y="430"/>
                    <a:pt x="299" y="534"/>
                  </a:cubicBezTo>
                  <a:cubicBezTo>
                    <a:pt x="300" y="535"/>
                    <a:pt x="301" y="535"/>
                    <a:pt x="301" y="5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0" name="Freeform 24">
              <a:extLst>
                <a:ext uri="{FF2B5EF4-FFF2-40B4-BE49-F238E27FC236}">
                  <a16:creationId xmlns:a16="http://schemas.microsoft.com/office/drawing/2014/main" id="{42742B73-2DBA-4A8C-B52D-DF0CD9408D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9" y="3048"/>
              <a:ext cx="88" cy="556"/>
            </a:xfrm>
            <a:custGeom>
              <a:avLst/>
              <a:gdLst>
                <a:gd name="T0" fmla="*/ 5 w 59"/>
                <a:gd name="T1" fmla="*/ 370 h 373"/>
                <a:gd name="T2" fmla="*/ 7 w 59"/>
                <a:gd name="T3" fmla="*/ 1 h 373"/>
                <a:gd name="T4" fmla="*/ 5 w 59"/>
                <a:gd name="T5" fmla="*/ 2 h 373"/>
                <a:gd name="T6" fmla="*/ 0 w 59"/>
                <a:gd name="T7" fmla="*/ 368 h 373"/>
                <a:gd name="T8" fmla="*/ 5 w 59"/>
                <a:gd name="T9" fmla="*/ 37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373">
                  <a:moveTo>
                    <a:pt x="5" y="370"/>
                  </a:moveTo>
                  <a:cubicBezTo>
                    <a:pt x="59" y="252"/>
                    <a:pt x="47" y="121"/>
                    <a:pt x="7" y="1"/>
                  </a:cubicBezTo>
                  <a:cubicBezTo>
                    <a:pt x="6" y="0"/>
                    <a:pt x="5" y="1"/>
                    <a:pt x="5" y="2"/>
                  </a:cubicBezTo>
                  <a:cubicBezTo>
                    <a:pt x="36" y="124"/>
                    <a:pt x="23" y="245"/>
                    <a:pt x="0" y="368"/>
                  </a:cubicBezTo>
                  <a:cubicBezTo>
                    <a:pt x="0" y="371"/>
                    <a:pt x="4" y="373"/>
                    <a:pt x="5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1" name="Freeform 25">
              <a:extLst>
                <a:ext uri="{FF2B5EF4-FFF2-40B4-BE49-F238E27FC236}">
                  <a16:creationId xmlns:a16="http://schemas.microsoft.com/office/drawing/2014/main" id="{3E90CA25-B2DC-42B1-9755-C74533490F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1205"/>
              <a:ext cx="1297" cy="1443"/>
            </a:xfrm>
            <a:custGeom>
              <a:avLst/>
              <a:gdLst>
                <a:gd name="T0" fmla="*/ 538 w 870"/>
                <a:gd name="T1" fmla="*/ 129 h 969"/>
                <a:gd name="T2" fmla="*/ 122 w 870"/>
                <a:gd name="T3" fmla="*/ 8 h 969"/>
                <a:gd name="T4" fmla="*/ 122 w 870"/>
                <a:gd name="T5" fmla="*/ 10 h 969"/>
                <a:gd name="T6" fmla="*/ 554 w 870"/>
                <a:gd name="T7" fmla="*/ 171 h 969"/>
                <a:gd name="T8" fmla="*/ 720 w 870"/>
                <a:gd name="T9" fmla="*/ 616 h 969"/>
                <a:gd name="T10" fmla="*/ 334 w 870"/>
                <a:gd name="T11" fmla="*/ 885 h 969"/>
                <a:gd name="T12" fmla="*/ 0 w 870"/>
                <a:gd name="T13" fmla="*/ 875 h 969"/>
                <a:gd name="T14" fmla="*/ 0 w 870"/>
                <a:gd name="T15" fmla="*/ 914 h 969"/>
                <a:gd name="T16" fmla="*/ 636 w 870"/>
                <a:gd name="T17" fmla="*/ 789 h 969"/>
                <a:gd name="T18" fmla="*/ 538 w 870"/>
                <a:gd name="T19" fmla="*/ 12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0" h="969">
                  <a:moveTo>
                    <a:pt x="538" y="129"/>
                  </a:moveTo>
                  <a:cubicBezTo>
                    <a:pt x="417" y="39"/>
                    <a:pt x="271" y="0"/>
                    <a:pt x="122" y="8"/>
                  </a:cubicBezTo>
                  <a:cubicBezTo>
                    <a:pt x="121" y="8"/>
                    <a:pt x="121" y="10"/>
                    <a:pt x="122" y="10"/>
                  </a:cubicBezTo>
                  <a:cubicBezTo>
                    <a:pt x="279" y="5"/>
                    <a:pt x="437" y="67"/>
                    <a:pt x="554" y="171"/>
                  </a:cubicBezTo>
                  <a:cubicBezTo>
                    <a:pt x="672" y="277"/>
                    <a:pt x="771" y="454"/>
                    <a:pt x="720" y="616"/>
                  </a:cubicBezTo>
                  <a:cubicBezTo>
                    <a:pt x="670" y="775"/>
                    <a:pt x="484" y="855"/>
                    <a:pt x="334" y="885"/>
                  </a:cubicBezTo>
                  <a:cubicBezTo>
                    <a:pt x="221" y="907"/>
                    <a:pt x="109" y="901"/>
                    <a:pt x="0" y="875"/>
                  </a:cubicBezTo>
                  <a:cubicBezTo>
                    <a:pt x="0" y="914"/>
                    <a:pt x="0" y="914"/>
                    <a:pt x="0" y="914"/>
                  </a:cubicBezTo>
                  <a:cubicBezTo>
                    <a:pt x="215" y="969"/>
                    <a:pt x="468" y="926"/>
                    <a:pt x="636" y="789"/>
                  </a:cubicBezTo>
                  <a:cubicBezTo>
                    <a:pt x="870" y="599"/>
                    <a:pt x="745" y="283"/>
                    <a:pt x="538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2" name="Freeform 26">
              <a:extLst>
                <a:ext uri="{FF2B5EF4-FFF2-40B4-BE49-F238E27FC236}">
                  <a16:creationId xmlns:a16="http://schemas.microsoft.com/office/drawing/2014/main" id="{508F099D-708A-4BD8-B283-656B56E38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2" y="2329"/>
              <a:ext cx="277" cy="195"/>
            </a:xfrm>
            <a:custGeom>
              <a:avLst/>
              <a:gdLst>
                <a:gd name="T0" fmla="*/ 185 w 186"/>
                <a:gd name="T1" fmla="*/ 3 h 131"/>
                <a:gd name="T2" fmla="*/ 183 w 186"/>
                <a:gd name="T3" fmla="*/ 1 h 131"/>
                <a:gd name="T4" fmla="*/ 2 w 186"/>
                <a:gd name="T5" fmla="*/ 127 h 131"/>
                <a:gd name="T6" fmla="*/ 3 w 186"/>
                <a:gd name="T7" fmla="*/ 130 h 131"/>
                <a:gd name="T8" fmla="*/ 185 w 186"/>
                <a:gd name="T9" fmla="*/ 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31">
                  <a:moveTo>
                    <a:pt x="185" y="3"/>
                  </a:moveTo>
                  <a:cubicBezTo>
                    <a:pt x="186" y="2"/>
                    <a:pt x="184" y="0"/>
                    <a:pt x="183" y="1"/>
                  </a:cubicBezTo>
                  <a:cubicBezTo>
                    <a:pt x="138" y="58"/>
                    <a:pt x="71" y="105"/>
                    <a:pt x="2" y="127"/>
                  </a:cubicBezTo>
                  <a:cubicBezTo>
                    <a:pt x="0" y="127"/>
                    <a:pt x="1" y="131"/>
                    <a:pt x="3" y="130"/>
                  </a:cubicBezTo>
                  <a:cubicBezTo>
                    <a:pt x="82" y="110"/>
                    <a:pt x="140" y="70"/>
                    <a:pt x="18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3" name="Freeform 27">
              <a:extLst>
                <a:ext uri="{FF2B5EF4-FFF2-40B4-BE49-F238E27FC236}">
                  <a16:creationId xmlns:a16="http://schemas.microsoft.com/office/drawing/2014/main" id="{183D941E-2095-4E1E-A749-F6898A6895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2627"/>
              <a:ext cx="1094" cy="1541"/>
            </a:xfrm>
            <a:custGeom>
              <a:avLst/>
              <a:gdLst>
                <a:gd name="T0" fmla="*/ 672 w 734"/>
                <a:gd name="T1" fmla="*/ 713 h 1035"/>
                <a:gd name="T2" fmla="*/ 670 w 734"/>
                <a:gd name="T3" fmla="*/ 285 h 1035"/>
                <a:gd name="T4" fmla="*/ 420 w 734"/>
                <a:gd name="T5" fmla="*/ 0 h 1035"/>
                <a:gd name="T6" fmla="*/ 419 w 734"/>
                <a:gd name="T7" fmla="*/ 3 h 1035"/>
                <a:gd name="T8" fmla="*/ 642 w 734"/>
                <a:gd name="T9" fmla="*/ 293 h 1035"/>
                <a:gd name="T10" fmla="*/ 634 w 734"/>
                <a:gd name="T11" fmla="*/ 700 h 1035"/>
                <a:gd name="T12" fmla="*/ 0 w 734"/>
                <a:gd name="T13" fmla="*/ 976 h 1035"/>
                <a:gd name="T14" fmla="*/ 0 w 734"/>
                <a:gd name="T15" fmla="*/ 1015 h 1035"/>
                <a:gd name="T16" fmla="*/ 352 w 734"/>
                <a:gd name="T17" fmla="*/ 971 h 1035"/>
                <a:gd name="T18" fmla="*/ 672 w 734"/>
                <a:gd name="T19" fmla="*/ 713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1035">
                  <a:moveTo>
                    <a:pt x="672" y="713"/>
                  </a:moveTo>
                  <a:cubicBezTo>
                    <a:pt x="734" y="579"/>
                    <a:pt x="722" y="421"/>
                    <a:pt x="670" y="285"/>
                  </a:cubicBezTo>
                  <a:cubicBezTo>
                    <a:pt x="626" y="170"/>
                    <a:pt x="541" y="44"/>
                    <a:pt x="420" y="0"/>
                  </a:cubicBezTo>
                  <a:cubicBezTo>
                    <a:pt x="419" y="0"/>
                    <a:pt x="417" y="2"/>
                    <a:pt x="419" y="3"/>
                  </a:cubicBezTo>
                  <a:cubicBezTo>
                    <a:pt x="516" y="86"/>
                    <a:pt x="598" y="169"/>
                    <a:pt x="642" y="293"/>
                  </a:cubicBezTo>
                  <a:cubicBezTo>
                    <a:pt x="687" y="419"/>
                    <a:pt x="692" y="578"/>
                    <a:pt x="634" y="700"/>
                  </a:cubicBezTo>
                  <a:cubicBezTo>
                    <a:pt x="530" y="918"/>
                    <a:pt x="235" y="999"/>
                    <a:pt x="0" y="976"/>
                  </a:cubicBezTo>
                  <a:cubicBezTo>
                    <a:pt x="0" y="1015"/>
                    <a:pt x="0" y="1015"/>
                    <a:pt x="0" y="1015"/>
                  </a:cubicBezTo>
                  <a:cubicBezTo>
                    <a:pt x="117" y="1035"/>
                    <a:pt x="241" y="1010"/>
                    <a:pt x="352" y="971"/>
                  </a:cubicBezTo>
                  <a:cubicBezTo>
                    <a:pt x="484" y="925"/>
                    <a:pt x="612" y="844"/>
                    <a:pt x="672" y="7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4" name="Freeform 28">
              <a:extLst>
                <a:ext uri="{FF2B5EF4-FFF2-40B4-BE49-F238E27FC236}">
                  <a16:creationId xmlns:a16="http://schemas.microsoft.com/office/drawing/2014/main" id="{11AF5075-BCC1-4E66-AAB8-966856BA38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" y="3852"/>
              <a:ext cx="348" cy="146"/>
            </a:xfrm>
            <a:custGeom>
              <a:avLst/>
              <a:gdLst>
                <a:gd name="T0" fmla="*/ 231 w 233"/>
                <a:gd name="T1" fmla="*/ 1 h 98"/>
                <a:gd name="T2" fmla="*/ 4 w 233"/>
                <a:gd name="T3" fmla="*/ 91 h 98"/>
                <a:gd name="T4" fmla="*/ 5 w 233"/>
                <a:gd name="T5" fmla="*/ 98 h 98"/>
                <a:gd name="T6" fmla="*/ 232 w 233"/>
                <a:gd name="T7" fmla="*/ 2 h 98"/>
                <a:gd name="T8" fmla="*/ 231 w 233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98">
                  <a:moveTo>
                    <a:pt x="231" y="1"/>
                  </a:moveTo>
                  <a:cubicBezTo>
                    <a:pt x="166" y="61"/>
                    <a:pt x="85" y="68"/>
                    <a:pt x="4" y="91"/>
                  </a:cubicBezTo>
                  <a:cubicBezTo>
                    <a:pt x="0" y="92"/>
                    <a:pt x="1" y="98"/>
                    <a:pt x="5" y="98"/>
                  </a:cubicBezTo>
                  <a:cubicBezTo>
                    <a:pt x="89" y="93"/>
                    <a:pt x="176" y="66"/>
                    <a:pt x="232" y="2"/>
                  </a:cubicBezTo>
                  <a:cubicBezTo>
                    <a:pt x="233" y="1"/>
                    <a:pt x="232" y="0"/>
                    <a:pt x="23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5" name="Freeform 29">
              <a:extLst>
                <a:ext uri="{FF2B5EF4-FFF2-40B4-BE49-F238E27FC236}">
                  <a16:creationId xmlns:a16="http://schemas.microsoft.com/office/drawing/2014/main" id="{8A6BE1E4-B6DF-4FF6-8F56-8730D5F4F4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2" y="2618"/>
              <a:ext cx="284" cy="259"/>
            </a:xfrm>
            <a:custGeom>
              <a:avLst/>
              <a:gdLst>
                <a:gd name="T0" fmla="*/ 186 w 190"/>
                <a:gd name="T1" fmla="*/ 173 h 174"/>
                <a:gd name="T2" fmla="*/ 188 w 190"/>
                <a:gd name="T3" fmla="*/ 171 h 174"/>
                <a:gd name="T4" fmla="*/ 8 w 190"/>
                <a:gd name="T5" fmla="*/ 1 h 174"/>
                <a:gd name="T6" fmla="*/ 3 w 190"/>
                <a:gd name="T7" fmla="*/ 9 h 174"/>
                <a:gd name="T8" fmla="*/ 97 w 190"/>
                <a:gd name="T9" fmla="*/ 87 h 174"/>
                <a:gd name="T10" fmla="*/ 186 w 190"/>
                <a:gd name="T11" fmla="*/ 173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0" h="174">
                  <a:moveTo>
                    <a:pt x="186" y="173"/>
                  </a:moveTo>
                  <a:cubicBezTo>
                    <a:pt x="188" y="174"/>
                    <a:pt x="190" y="172"/>
                    <a:pt x="188" y="171"/>
                  </a:cubicBezTo>
                  <a:cubicBezTo>
                    <a:pt x="138" y="110"/>
                    <a:pt x="89" y="23"/>
                    <a:pt x="8" y="1"/>
                  </a:cubicBezTo>
                  <a:cubicBezTo>
                    <a:pt x="3" y="0"/>
                    <a:pt x="0" y="6"/>
                    <a:pt x="3" y="9"/>
                  </a:cubicBezTo>
                  <a:cubicBezTo>
                    <a:pt x="32" y="37"/>
                    <a:pt x="67" y="59"/>
                    <a:pt x="97" y="87"/>
                  </a:cubicBezTo>
                  <a:cubicBezTo>
                    <a:pt x="127" y="115"/>
                    <a:pt x="159" y="142"/>
                    <a:pt x="186" y="1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6" name="Freeform 30">
              <a:extLst>
                <a:ext uri="{FF2B5EF4-FFF2-40B4-BE49-F238E27FC236}">
                  <a16:creationId xmlns:a16="http://schemas.microsoft.com/office/drawing/2014/main" id="{7BC28F85-AFD5-4596-9274-F7CD07577D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5" y="2718"/>
              <a:ext cx="59" cy="113"/>
            </a:xfrm>
            <a:custGeom>
              <a:avLst/>
              <a:gdLst>
                <a:gd name="T0" fmla="*/ 1 w 39"/>
                <a:gd name="T1" fmla="*/ 5 h 76"/>
                <a:gd name="T2" fmla="*/ 36 w 39"/>
                <a:gd name="T3" fmla="*/ 75 h 76"/>
                <a:gd name="T4" fmla="*/ 38 w 39"/>
                <a:gd name="T5" fmla="*/ 74 h 76"/>
                <a:gd name="T6" fmla="*/ 6 w 39"/>
                <a:gd name="T7" fmla="*/ 2 h 76"/>
                <a:gd name="T8" fmla="*/ 1 w 39"/>
                <a:gd name="T9" fmla="*/ 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76">
                  <a:moveTo>
                    <a:pt x="1" y="5"/>
                  </a:moveTo>
                  <a:cubicBezTo>
                    <a:pt x="11" y="29"/>
                    <a:pt x="25" y="52"/>
                    <a:pt x="36" y="75"/>
                  </a:cubicBezTo>
                  <a:cubicBezTo>
                    <a:pt x="37" y="76"/>
                    <a:pt x="39" y="75"/>
                    <a:pt x="38" y="74"/>
                  </a:cubicBezTo>
                  <a:cubicBezTo>
                    <a:pt x="27" y="50"/>
                    <a:pt x="19" y="25"/>
                    <a:pt x="6" y="2"/>
                  </a:cubicBezTo>
                  <a:cubicBezTo>
                    <a:pt x="5" y="0"/>
                    <a:pt x="0" y="2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7" name="Freeform 31">
              <a:extLst>
                <a:ext uri="{FF2B5EF4-FFF2-40B4-BE49-F238E27FC236}">
                  <a16:creationId xmlns:a16="http://schemas.microsoft.com/office/drawing/2014/main" id="{11B85F23-01D9-4C6B-81BD-438DEFE7C0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" y="2809"/>
              <a:ext cx="291" cy="994"/>
            </a:xfrm>
            <a:custGeom>
              <a:avLst/>
              <a:gdLst>
                <a:gd name="T0" fmla="*/ 4 w 195"/>
                <a:gd name="T1" fmla="*/ 656 h 668"/>
                <a:gd name="T2" fmla="*/ 13 w 195"/>
                <a:gd name="T3" fmla="*/ 663 h 668"/>
                <a:gd name="T4" fmla="*/ 35 w 195"/>
                <a:gd name="T5" fmla="*/ 1 h 668"/>
                <a:gd name="T6" fmla="*/ 33 w 195"/>
                <a:gd name="T7" fmla="*/ 1 h 668"/>
                <a:gd name="T8" fmla="*/ 4 w 195"/>
                <a:gd name="T9" fmla="*/ 656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668">
                  <a:moveTo>
                    <a:pt x="4" y="656"/>
                  </a:moveTo>
                  <a:cubicBezTo>
                    <a:pt x="0" y="662"/>
                    <a:pt x="8" y="668"/>
                    <a:pt x="13" y="663"/>
                  </a:cubicBezTo>
                  <a:cubicBezTo>
                    <a:pt x="195" y="477"/>
                    <a:pt x="189" y="203"/>
                    <a:pt x="35" y="1"/>
                  </a:cubicBezTo>
                  <a:cubicBezTo>
                    <a:pt x="34" y="0"/>
                    <a:pt x="33" y="1"/>
                    <a:pt x="33" y="1"/>
                  </a:cubicBezTo>
                  <a:cubicBezTo>
                    <a:pt x="159" y="202"/>
                    <a:pt x="134" y="464"/>
                    <a:pt x="4" y="6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8" name="Freeform 32">
              <a:extLst>
                <a:ext uri="{FF2B5EF4-FFF2-40B4-BE49-F238E27FC236}">
                  <a16:creationId xmlns:a16="http://schemas.microsoft.com/office/drawing/2014/main" id="{D5878612-FD12-404D-ADA3-5EA282EB8C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9" y="3698"/>
              <a:ext cx="358" cy="236"/>
            </a:xfrm>
            <a:custGeom>
              <a:avLst/>
              <a:gdLst>
                <a:gd name="T0" fmla="*/ 6 w 240"/>
                <a:gd name="T1" fmla="*/ 158 h 159"/>
                <a:gd name="T2" fmla="*/ 239 w 240"/>
                <a:gd name="T3" fmla="*/ 2 h 159"/>
                <a:gd name="T4" fmla="*/ 238 w 240"/>
                <a:gd name="T5" fmla="*/ 1 h 159"/>
                <a:gd name="T6" fmla="*/ 4 w 240"/>
                <a:gd name="T7" fmla="*/ 152 h 159"/>
                <a:gd name="T8" fmla="*/ 6 w 240"/>
                <a:gd name="T9" fmla="*/ 158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159">
                  <a:moveTo>
                    <a:pt x="6" y="158"/>
                  </a:moveTo>
                  <a:cubicBezTo>
                    <a:pt x="98" y="145"/>
                    <a:pt x="195" y="85"/>
                    <a:pt x="239" y="2"/>
                  </a:cubicBezTo>
                  <a:cubicBezTo>
                    <a:pt x="240" y="1"/>
                    <a:pt x="238" y="0"/>
                    <a:pt x="238" y="1"/>
                  </a:cubicBezTo>
                  <a:cubicBezTo>
                    <a:pt x="184" y="73"/>
                    <a:pt x="90" y="128"/>
                    <a:pt x="4" y="152"/>
                  </a:cubicBezTo>
                  <a:cubicBezTo>
                    <a:pt x="0" y="153"/>
                    <a:pt x="2" y="159"/>
                    <a:pt x="6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9" name="Freeform 33">
              <a:extLst>
                <a:ext uri="{FF2B5EF4-FFF2-40B4-BE49-F238E27FC236}">
                  <a16:creationId xmlns:a16="http://schemas.microsoft.com/office/drawing/2014/main" id="{AFCBA05F-4E17-46B4-91C1-CDBBDF274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3" y="3519"/>
              <a:ext cx="598" cy="658"/>
            </a:xfrm>
            <a:custGeom>
              <a:avLst/>
              <a:gdLst>
                <a:gd name="T0" fmla="*/ 399 w 401"/>
                <a:gd name="T1" fmla="*/ 1 h 442"/>
                <a:gd name="T2" fmla="*/ 4 w 401"/>
                <a:gd name="T3" fmla="*/ 434 h 442"/>
                <a:gd name="T4" fmla="*/ 6 w 401"/>
                <a:gd name="T5" fmla="*/ 441 h 442"/>
                <a:gd name="T6" fmla="*/ 401 w 401"/>
                <a:gd name="T7" fmla="*/ 1 h 442"/>
                <a:gd name="T8" fmla="*/ 399 w 401"/>
                <a:gd name="T9" fmla="*/ 1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442">
                  <a:moveTo>
                    <a:pt x="399" y="1"/>
                  </a:moveTo>
                  <a:cubicBezTo>
                    <a:pt x="354" y="215"/>
                    <a:pt x="204" y="360"/>
                    <a:pt x="4" y="434"/>
                  </a:cubicBezTo>
                  <a:cubicBezTo>
                    <a:pt x="0" y="436"/>
                    <a:pt x="1" y="442"/>
                    <a:pt x="6" y="441"/>
                  </a:cubicBezTo>
                  <a:cubicBezTo>
                    <a:pt x="211" y="401"/>
                    <a:pt x="372" y="202"/>
                    <a:pt x="401" y="1"/>
                  </a:cubicBezTo>
                  <a:cubicBezTo>
                    <a:pt x="401" y="0"/>
                    <a:pt x="400" y="0"/>
                    <a:pt x="39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0" name="Freeform 34">
              <a:extLst>
                <a:ext uri="{FF2B5EF4-FFF2-40B4-BE49-F238E27FC236}">
                  <a16:creationId xmlns:a16="http://schemas.microsoft.com/office/drawing/2014/main" id="{03D014FA-FF2C-4909-938C-D7C3036CF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" y="3656"/>
              <a:ext cx="161" cy="149"/>
            </a:xfrm>
            <a:custGeom>
              <a:avLst/>
              <a:gdLst>
                <a:gd name="T0" fmla="*/ 106 w 108"/>
                <a:gd name="T1" fmla="*/ 1 h 100"/>
                <a:gd name="T2" fmla="*/ 2 w 108"/>
                <a:gd name="T3" fmla="*/ 94 h 100"/>
                <a:gd name="T4" fmla="*/ 6 w 108"/>
                <a:gd name="T5" fmla="*/ 98 h 100"/>
                <a:gd name="T6" fmla="*/ 107 w 108"/>
                <a:gd name="T7" fmla="*/ 2 h 100"/>
                <a:gd name="T8" fmla="*/ 106 w 108"/>
                <a:gd name="T9" fmla="*/ 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00">
                  <a:moveTo>
                    <a:pt x="106" y="1"/>
                  </a:moveTo>
                  <a:cubicBezTo>
                    <a:pt x="65" y="24"/>
                    <a:pt x="28" y="55"/>
                    <a:pt x="2" y="94"/>
                  </a:cubicBezTo>
                  <a:cubicBezTo>
                    <a:pt x="0" y="97"/>
                    <a:pt x="4" y="100"/>
                    <a:pt x="6" y="98"/>
                  </a:cubicBezTo>
                  <a:cubicBezTo>
                    <a:pt x="37" y="62"/>
                    <a:pt x="68" y="29"/>
                    <a:pt x="107" y="2"/>
                  </a:cubicBezTo>
                  <a:cubicBezTo>
                    <a:pt x="108" y="2"/>
                    <a:pt x="107" y="0"/>
                    <a:pt x="10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1" name="Freeform 35">
              <a:extLst>
                <a:ext uri="{FF2B5EF4-FFF2-40B4-BE49-F238E27FC236}">
                  <a16:creationId xmlns:a16="http://schemas.microsoft.com/office/drawing/2014/main" id="{54DFB72F-C4FE-4A42-9E5B-39125992D8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1" y="3446"/>
              <a:ext cx="340" cy="232"/>
            </a:xfrm>
            <a:custGeom>
              <a:avLst/>
              <a:gdLst>
                <a:gd name="T0" fmla="*/ 1 w 228"/>
                <a:gd name="T1" fmla="*/ 0 h 156"/>
                <a:gd name="T2" fmla="*/ 1 w 228"/>
                <a:gd name="T3" fmla="*/ 1 h 156"/>
                <a:gd name="T4" fmla="*/ 222 w 228"/>
                <a:gd name="T5" fmla="*/ 154 h 156"/>
                <a:gd name="T6" fmla="*/ 227 w 228"/>
                <a:gd name="T7" fmla="*/ 150 h 156"/>
                <a:gd name="T8" fmla="*/ 1 w 228"/>
                <a:gd name="T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156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88" y="37"/>
                    <a:pt x="158" y="83"/>
                    <a:pt x="222" y="154"/>
                  </a:cubicBezTo>
                  <a:cubicBezTo>
                    <a:pt x="224" y="156"/>
                    <a:pt x="228" y="153"/>
                    <a:pt x="227" y="150"/>
                  </a:cubicBezTo>
                  <a:cubicBezTo>
                    <a:pt x="175" y="76"/>
                    <a:pt x="91" y="17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2" name="Freeform 36">
              <a:extLst>
                <a:ext uri="{FF2B5EF4-FFF2-40B4-BE49-F238E27FC236}">
                  <a16:creationId xmlns:a16="http://schemas.microsoft.com/office/drawing/2014/main" id="{523510A8-154E-4C60-9461-1A623523B5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4" y="1564"/>
              <a:ext cx="899" cy="1082"/>
            </a:xfrm>
            <a:custGeom>
              <a:avLst/>
              <a:gdLst>
                <a:gd name="T0" fmla="*/ 119 w 603"/>
                <a:gd name="T1" fmla="*/ 1 h 727"/>
                <a:gd name="T2" fmla="*/ 188 w 603"/>
                <a:gd name="T3" fmla="*/ 568 h 727"/>
                <a:gd name="T4" fmla="*/ 462 w 603"/>
                <a:gd name="T5" fmla="*/ 711 h 727"/>
                <a:gd name="T6" fmla="*/ 603 w 603"/>
                <a:gd name="T7" fmla="*/ 727 h 727"/>
                <a:gd name="T8" fmla="*/ 603 w 603"/>
                <a:gd name="T9" fmla="*/ 691 h 727"/>
                <a:gd name="T10" fmla="*/ 526 w 603"/>
                <a:gd name="T11" fmla="*/ 684 h 727"/>
                <a:gd name="T12" fmla="*/ 239 w 603"/>
                <a:gd name="T13" fmla="*/ 560 h 727"/>
                <a:gd name="T14" fmla="*/ 120 w 603"/>
                <a:gd name="T15" fmla="*/ 2 h 727"/>
                <a:gd name="T16" fmla="*/ 119 w 603"/>
                <a:gd name="T17" fmla="*/ 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3" h="727">
                  <a:moveTo>
                    <a:pt x="119" y="1"/>
                  </a:moveTo>
                  <a:cubicBezTo>
                    <a:pt x="0" y="179"/>
                    <a:pt x="35" y="420"/>
                    <a:pt x="188" y="568"/>
                  </a:cubicBezTo>
                  <a:cubicBezTo>
                    <a:pt x="263" y="641"/>
                    <a:pt x="360" y="690"/>
                    <a:pt x="462" y="711"/>
                  </a:cubicBezTo>
                  <a:cubicBezTo>
                    <a:pt x="509" y="721"/>
                    <a:pt x="556" y="726"/>
                    <a:pt x="603" y="727"/>
                  </a:cubicBezTo>
                  <a:cubicBezTo>
                    <a:pt x="603" y="691"/>
                    <a:pt x="603" y="691"/>
                    <a:pt x="603" y="691"/>
                  </a:cubicBezTo>
                  <a:cubicBezTo>
                    <a:pt x="577" y="690"/>
                    <a:pt x="551" y="688"/>
                    <a:pt x="526" y="684"/>
                  </a:cubicBezTo>
                  <a:cubicBezTo>
                    <a:pt x="421" y="670"/>
                    <a:pt x="320" y="628"/>
                    <a:pt x="239" y="560"/>
                  </a:cubicBezTo>
                  <a:cubicBezTo>
                    <a:pt x="77" y="424"/>
                    <a:pt x="11" y="192"/>
                    <a:pt x="120" y="2"/>
                  </a:cubicBezTo>
                  <a:cubicBezTo>
                    <a:pt x="120" y="1"/>
                    <a:pt x="120" y="0"/>
                    <a:pt x="1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3" name="Freeform 37">
              <a:extLst>
                <a:ext uri="{FF2B5EF4-FFF2-40B4-BE49-F238E27FC236}">
                  <a16:creationId xmlns:a16="http://schemas.microsoft.com/office/drawing/2014/main" id="{2228A352-1A7C-4B00-86DA-6B1E6AF873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1596"/>
              <a:ext cx="192" cy="812"/>
            </a:xfrm>
            <a:custGeom>
              <a:avLst/>
              <a:gdLst>
                <a:gd name="T0" fmla="*/ 69 w 129"/>
                <a:gd name="T1" fmla="*/ 1 h 545"/>
                <a:gd name="T2" fmla="*/ 5 w 129"/>
                <a:gd name="T3" fmla="*/ 271 h 545"/>
                <a:gd name="T4" fmla="*/ 109 w 129"/>
                <a:gd name="T5" fmla="*/ 539 h 545"/>
                <a:gd name="T6" fmla="*/ 123 w 129"/>
                <a:gd name="T7" fmla="*/ 528 h 545"/>
                <a:gd name="T8" fmla="*/ 35 w 129"/>
                <a:gd name="T9" fmla="*/ 271 h 545"/>
                <a:gd name="T10" fmla="*/ 72 w 129"/>
                <a:gd name="T11" fmla="*/ 3 h 545"/>
                <a:gd name="T12" fmla="*/ 69 w 129"/>
                <a:gd name="T13" fmla="*/ 1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545">
                  <a:moveTo>
                    <a:pt x="69" y="1"/>
                  </a:moveTo>
                  <a:cubicBezTo>
                    <a:pt x="0" y="71"/>
                    <a:pt x="0" y="178"/>
                    <a:pt x="5" y="271"/>
                  </a:cubicBezTo>
                  <a:cubicBezTo>
                    <a:pt x="10" y="369"/>
                    <a:pt x="34" y="471"/>
                    <a:pt x="109" y="539"/>
                  </a:cubicBezTo>
                  <a:cubicBezTo>
                    <a:pt x="116" y="545"/>
                    <a:pt x="129" y="537"/>
                    <a:pt x="123" y="528"/>
                  </a:cubicBezTo>
                  <a:cubicBezTo>
                    <a:pt x="72" y="450"/>
                    <a:pt x="44" y="364"/>
                    <a:pt x="35" y="271"/>
                  </a:cubicBezTo>
                  <a:cubicBezTo>
                    <a:pt x="26" y="183"/>
                    <a:pt x="20" y="79"/>
                    <a:pt x="72" y="3"/>
                  </a:cubicBezTo>
                  <a:cubicBezTo>
                    <a:pt x="73" y="1"/>
                    <a:pt x="71" y="0"/>
                    <a:pt x="6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4" name="Freeform 38">
              <a:extLst>
                <a:ext uri="{FF2B5EF4-FFF2-40B4-BE49-F238E27FC236}">
                  <a16:creationId xmlns:a16="http://schemas.microsoft.com/office/drawing/2014/main" id="{C7D33656-2EF7-4DD1-88C0-BC2A925580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28" y="1756"/>
              <a:ext cx="85" cy="262"/>
            </a:xfrm>
            <a:custGeom>
              <a:avLst/>
              <a:gdLst>
                <a:gd name="T0" fmla="*/ 56 w 57"/>
                <a:gd name="T1" fmla="*/ 170 h 176"/>
                <a:gd name="T2" fmla="*/ 6 w 57"/>
                <a:gd name="T3" fmla="*/ 3 h 176"/>
                <a:gd name="T4" fmla="*/ 1 w 57"/>
                <a:gd name="T5" fmla="*/ 3 h 176"/>
                <a:gd name="T6" fmla="*/ 50 w 57"/>
                <a:gd name="T7" fmla="*/ 173 h 176"/>
                <a:gd name="T8" fmla="*/ 56 w 57"/>
                <a:gd name="T9" fmla="*/ 17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76">
                  <a:moveTo>
                    <a:pt x="56" y="170"/>
                  </a:moveTo>
                  <a:cubicBezTo>
                    <a:pt x="31" y="117"/>
                    <a:pt x="13" y="61"/>
                    <a:pt x="6" y="3"/>
                  </a:cubicBezTo>
                  <a:cubicBezTo>
                    <a:pt x="5" y="1"/>
                    <a:pt x="1" y="0"/>
                    <a:pt x="1" y="3"/>
                  </a:cubicBezTo>
                  <a:cubicBezTo>
                    <a:pt x="0" y="65"/>
                    <a:pt x="15" y="122"/>
                    <a:pt x="50" y="173"/>
                  </a:cubicBezTo>
                  <a:cubicBezTo>
                    <a:pt x="53" y="176"/>
                    <a:pt x="57" y="174"/>
                    <a:pt x="5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5" name="Freeform 39">
              <a:extLst>
                <a:ext uri="{FF2B5EF4-FFF2-40B4-BE49-F238E27FC236}">
                  <a16:creationId xmlns:a16="http://schemas.microsoft.com/office/drawing/2014/main" id="{0D22C20D-9787-4D3E-AFEE-7C773C8F0C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73" y="2549"/>
              <a:ext cx="485" cy="1294"/>
            </a:xfrm>
            <a:custGeom>
              <a:avLst/>
              <a:gdLst>
                <a:gd name="T0" fmla="*/ 263 w 325"/>
                <a:gd name="T1" fmla="*/ 868 h 869"/>
                <a:gd name="T2" fmla="*/ 265 w 325"/>
                <a:gd name="T3" fmla="*/ 866 h 869"/>
                <a:gd name="T4" fmla="*/ 105 w 325"/>
                <a:gd name="T5" fmla="*/ 696 h 869"/>
                <a:gd name="T6" fmla="*/ 46 w 325"/>
                <a:gd name="T7" fmla="*/ 465 h 869"/>
                <a:gd name="T8" fmla="*/ 308 w 325"/>
                <a:gd name="T9" fmla="*/ 40 h 869"/>
                <a:gd name="T10" fmla="*/ 291 w 325"/>
                <a:gd name="T11" fmla="*/ 11 h 869"/>
                <a:gd name="T12" fmla="*/ 5 w 325"/>
                <a:gd name="T13" fmla="*/ 465 h 869"/>
                <a:gd name="T14" fmla="*/ 263 w 325"/>
                <a:gd name="T15" fmla="*/ 868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5" h="869">
                  <a:moveTo>
                    <a:pt x="263" y="868"/>
                  </a:moveTo>
                  <a:cubicBezTo>
                    <a:pt x="264" y="869"/>
                    <a:pt x="266" y="867"/>
                    <a:pt x="265" y="866"/>
                  </a:cubicBezTo>
                  <a:cubicBezTo>
                    <a:pt x="206" y="814"/>
                    <a:pt x="145" y="764"/>
                    <a:pt x="105" y="696"/>
                  </a:cubicBezTo>
                  <a:cubicBezTo>
                    <a:pt x="64" y="627"/>
                    <a:pt x="43" y="546"/>
                    <a:pt x="46" y="465"/>
                  </a:cubicBezTo>
                  <a:cubicBezTo>
                    <a:pt x="52" y="286"/>
                    <a:pt x="168" y="140"/>
                    <a:pt x="308" y="40"/>
                  </a:cubicBezTo>
                  <a:cubicBezTo>
                    <a:pt x="325" y="27"/>
                    <a:pt x="310" y="0"/>
                    <a:pt x="291" y="11"/>
                  </a:cubicBezTo>
                  <a:cubicBezTo>
                    <a:pt x="130" y="101"/>
                    <a:pt x="11" y="278"/>
                    <a:pt x="5" y="465"/>
                  </a:cubicBezTo>
                  <a:cubicBezTo>
                    <a:pt x="0" y="621"/>
                    <a:pt x="89" y="843"/>
                    <a:pt x="263" y="8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6" name="Freeform 40">
              <a:extLst>
                <a:ext uri="{FF2B5EF4-FFF2-40B4-BE49-F238E27FC236}">
                  <a16:creationId xmlns:a16="http://schemas.microsoft.com/office/drawing/2014/main" id="{8089F230-B091-4789-938D-15A9ABDBC7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41" y="1656"/>
              <a:ext cx="65" cy="441"/>
            </a:xfrm>
            <a:custGeom>
              <a:avLst/>
              <a:gdLst>
                <a:gd name="T0" fmla="*/ 39 w 43"/>
                <a:gd name="T1" fmla="*/ 2 h 296"/>
                <a:gd name="T2" fmla="*/ 21 w 43"/>
                <a:gd name="T3" fmla="*/ 292 h 296"/>
                <a:gd name="T4" fmla="*/ 26 w 43"/>
                <a:gd name="T5" fmla="*/ 291 h 296"/>
                <a:gd name="T6" fmla="*/ 43 w 43"/>
                <a:gd name="T7" fmla="*/ 3 h 296"/>
                <a:gd name="T8" fmla="*/ 39 w 43"/>
                <a:gd name="T9" fmla="*/ 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96">
                  <a:moveTo>
                    <a:pt x="39" y="2"/>
                  </a:moveTo>
                  <a:cubicBezTo>
                    <a:pt x="4" y="98"/>
                    <a:pt x="0" y="193"/>
                    <a:pt x="21" y="292"/>
                  </a:cubicBezTo>
                  <a:cubicBezTo>
                    <a:pt x="22" y="296"/>
                    <a:pt x="26" y="294"/>
                    <a:pt x="26" y="291"/>
                  </a:cubicBezTo>
                  <a:cubicBezTo>
                    <a:pt x="11" y="195"/>
                    <a:pt x="19" y="97"/>
                    <a:pt x="43" y="3"/>
                  </a:cubicBezTo>
                  <a:cubicBezTo>
                    <a:pt x="43" y="1"/>
                    <a:pt x="40" y="0"/>
                    <a:pt x="3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7" name="Freeform 41">
              <a:extLst>
                <a:ext uri="{FF2B5EF4-FFF2-40B4-BE49-F238E27FC236}">
                  <a16:creationId xmlns:a16="http://schemas.microsoft.com/office/drawing/2014/main" id="{B1862257-BB7B-4969-9F5F-03CE869D3E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12" y="3059"/>
              <a:ext cx="98" cy="345"/>
            </a:xfrm>
            <a:custGeom>
              <a:avLst/>
              <a:gdLst>
                <a:gd name="T0" fmla="*/ 23 w 66"/>
                <a:gd name="T1" fmla="*/ 1 h 232"/>
                <a:gd name="T2" fmla="*/ 52 w 66"/>
                <a:gd name="T3" fmla="*/ 226 h 232"/>
                <a:gd name="T4" fmla="*/ 64 w 66"/>
                <a:gd name="T5" fmla="*/ 219 h 232"/>
                <a:gd name="T6" fmla="*/ 29 w 66"/>
                <a:gd name="T7" fmla="*/ 119 h 232"/>
                <a:gd name="T8" fmla="*/ 24 w 66"/>
                <a:gd name="T9" fmla="*/ 1 h 232"/>
                <a:gd name="T10" fmla="*/ 23 w 66"/>
                <a:gd name="T11" fmla="*/ 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232">
                  <a:moveTo>
                    <a:pt x="23" y="1"/>
                  </a:moveTo>
                  <a:cubicBezTo>
                    <a:pt x="3" y="70"/>
                    <a:pt x="0" y="170"/>
                    <a:pt x="52" y="226"/>
                  </a:cubicBezTo>
                  <a:cubicBezTo>
                    <a:pt x="57" y="232"/>
                    <a:pt x="66" y="226"/>
                    <a:pt x="64" y="219"/>
                  </a:cubicBezTo>
                  <a:cubicBezTo>
                    <a:pt x="55" y="185"/>
                    <a:pt x="37" y="154"/>
                    <a:pt x="29" y="119"/>
                  </a:cubicBezTo>
                  <a:cubicBezTo>
                    <a:pt x="20" y="79"/>
                    <a:pt x="20" y="41"/>
                    <a:pt x="24" y="1"/>
                  </a:cubicBezTo>
                  <a:cubicBezTo>
                    <a:pt x="24" y="0"/>
                    <a:pt x="23" y="0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8" name="Freeform 42">
              <a:extLst>
                <a:ext uri="{FF2B5EF4-FFF2-40B4-BE49-F238E27FC236}">
                  <a16:creationId xmlns:a16="http://schemas.microsoft.com/office/drawing/2014/main" id="{1F16BFD2-AD51-4CEB-824B-1C19C481C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8" y="2652"/>
              <a:ext cx="361" cy="640"/>
            </a:xfrm>
            <a:custGeom>
              <a:avLst/>
              <a:gdLst>
                <a:gd name="T0" fmla="*/ 240 w 242"/>
                <a:gd name="T1" fmla="*/ 4 h 430"/>
                <a:gd name="T2" fmla="*/ 238 w 242"/>
                <a:gd name="T3" fmla="*/ 1 h 430"/>
                <a:gd name="T4" fmla="*/ 58 w 242"/>
                <a:gd name="T5" fmla="*/ 162 h 430"/>
                <a:gd name="T6" fmla="*/ 31 w 242"/>
                <a:gd name="T7" fmla="*/ 422 h 430"/>
                <a:gd name="T8" fmla="*/ 47 w 242"/>
                <a:gd name="T9" fmla="*/ 420 h 430"/>
                <a:gd name="T10" fmla="*/ 97 w 242"/>
                <a:gd name="T11" fmla="*/ 176 h 430"/>
                <a:gd name="T12" fmla="*/ 240 w 242"/>
                <a:gd name="T13" fmla="*/ 4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2" h="430">
                  <a:moveTo>
                    <a:pt x="240" y="4"/>
                  </a:moveTo>
                  <a:cubicBezTo>
                    <a:pt x="242" y="2"/>
                    <a:pt x="241" y="0"/>
                    <a:pt x="238" y="1"/>
                  </a:cubicBezTo>
                  <a:cubicBezTo>
                    <a:pt x="157" y="38"/>
                    <a:pt x="100" y="80"/>
                    <a:pt x="58" y="162"/>
                  </a:cubicBezTo>
                  <a:cubicBezTo>
                    <a:pt x="17" y="243"/>
                    <a:pt x="0" y="335"/>
                    <a:pt x="31" y="422"/>
                  </a:cubicBezTo>
                  <a:cubicBezTo>
                    <a:pt x="34" y="430"/>
                    <a:pt x="46" y="429"/>
                    <a:pt x="47" y="420"/>
                  </a:cubicBezTo>
                  <a:cubicBezTo>
                    <a:pt x="51" y="337"/>
                    <a:pt x="57" y="251"/>
                    <a:pt x="97" y="176"/>
                  </a:cubicBezTo>
                  <a:cubicBezTo>
                    <a:pt x="129" y="114"/>
                    <a:pt x="184" y="45"/>
                    <a:pt x="24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9" name="Freeform 43">
              <a:extLst>
                <a:ext uri="{FF2B5EF4-FFF2-40B4-BE49-F238E27FC236}">
                  <a16:creationId xmlns:a16="http://schemas.microsoft.com/office/drawing/2014/main" id="{7818B61E-549B-4BD4-B904-B6C9907638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5" y="2984"/>
              <a:ext cx="162" cy="669"/>
            </a:xfrm>
            <a:custGeom>
              <a:avLst/>
              <a:gdLst>
                <a:gd name="T0" fmla="*/ 54 w 109"/>
                <a:gd name="T1" fmla="*/ 1 h 449"/>
                <a:gd name="T2" fmla="*/ 5 w 109"/>
                <a:gd name="T3" fmla="*/ 246 h 449"/>
                <a:gd name="T4" fmla="*/ 32 w 109"/>
                <a:gd name="T5" fmla="*/ 364 h 449"/>
                <a:gd name="T6" fmla="*/ 99 w 109"/>
                <a:gd name="T7" fmla="*/ 446 h 449"/>
                <a:gd name="T8" fmla="*/ 106 w 109"/>
                <a:gd name="T9" fmla="*/ 440 h 449"/>
                <a:gd name="T10" fmla="*/ 55 w 109"/>
                <a:gd name="T11" fmla="*/ 2 h 449"/>
                <a:gd name="T12" fmla="*/ 54 w 109"/>
                <a:gd name="T13" fmla="*/ 1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449">
                  <a:moveTo>
                    <a:pt x="54" y="1"/>
                  </a:moveTo>
                  <a:cubicBezTo>
                    <a:pt x="20" y="78"/>
                    <a:pt x="0" y="162"/>
                    <a:pt x="5" y="246"/>
                  </a:cubicBezTo>
                  <a:cubicBezTo>
                    <a:pt x="8" y="287"/>
                    <a:pt x="16" y="326"/>
                    <a:pt x="32" y="364"/>
                  </a:cubicBezTo>
                  <a:cubicBezTo>
                    <a:pt x="47" y="399"/>
                    <a:pt x="72" y="420"/>
                    <a:pt x="99" y="446"/>
                  </a:cubicBezTo>
                  <a:cubicBezTo>
                    <a:pt x="103" y="449"/>
                    <a:pt x="109" y="445"/>
                    <a:pt x="106" y="440"/>
                  </a:cubicBezTo>
                  <a:cubicBezTo>
                    <a:pt x="20" y="310"/>
                    <a:pt x="14" y="148"/>
                    <a:pt x="55" y="2"/>
                  </a:cubicBezTo>
                  <a:cubicBezTo>
                    <a:pt x="56" y="1"/>
                    <a:pt x="54" y="0"/>
                    <a:pt x="5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0" name="Freeform 44">
              <a:extLst>
                <a:ext uri="{FF2B5EF4-FFF2-40B4-BE49-F238E27FC236}">
                  <a16:creationId xmlns:a16="http://schemas.microsoft.com/office/drawing/2014/main" id="{661B8975-26A9-4E89-92DF-329129D0F7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3" y="2499"/>
              <a:ext cx="250" cy="280"/>
            </a:xfrm>
            <a:custGeom>
              <a:avLst/>
              <a:gdLst>
                <a:gd name="T0" fmla="*/ 1 w 168"/>
                <a:gd name="T1" fmla="*/ 187 h 188"/>
                <a:gd name="T2" fmla="*/ 82 w 168"/>
                <a:gd name="T3" fmla="*/ 88 h 188"/>
                <a:gd name="T4" fmla="*/ 165 w 168"/>
                <a:gd name="T5" fmla="*/ 7 h 188"/>
                <a:gd name="T6" fmla="*/ 161 w 168"/>
                <a:gd name="T7" fmla="*/ 2 h 188"/>
                <a:gd name="T8" fmla="*/ 0 w 168"/>
                <a:gd name="T9" fmla="*/ 186 h 188"/>
                <a:gd name="T10" fmla="*/ 1 w 168"/>
                <a:gd name="T11" fmla="*/ 18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188">
                  <a:moveTo>
                    <a:pt x="1" y="187"/>
                  </a:moveTo>
                  <a:cubicBezTo>
                    <a:pt x="26" y="153"/>
                    <a:pt x="53" y="119"/>
                    <a:pt x="82" y="88"/>
                  </a:cubicBezTo>
                  <a:cubicBezTo>
                    <a:pt x="109" y="61"/>
                    <a:pt x="140" y="36"/>
                    <a:pt x="165" y="7"/>
                  </a:cubicBezTo>
                  <a:cubicBezTo>
                    <a:pt x="168" y="4"/>
                    <a:pt x="164" y="0"/>
                    <a:pt x="161" y="2"/>
                  </a:cubicBezTo>
                  <a:cubicBezTo>
                    <a:pt x="94" y="41"/>
                    <a:pt x="39" y="121"/>
                    <a:pt x="0" y="186"/>
                  </a:cubicBezTo>
                  <a:cubicBezTo>
                    <a:pt x="0" y="187"/>
                    <a:pt x="1" y="188"/>
                    <a:pt x="1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1" name="Freeform 45">
              <a:extLst>
                <a:ext uri="{FF2B5EF4-FFF2-40B4-BE49-F238E27FC236}">
                  <a16:creationId xmlns:a16="http://schemas.microsoft.com/office/drawing/2014/main" id="{CC882386-0640-47B8-A267-2756E3EBCE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9" y="3686"/>
              <a:ext cx="125" cy="56"/>
            </a:xfrm>
            <a:custGeom>
              <a:avLst/>
              <a:gdLst>
                <a:gd name="T0" fmla="*/ 1 w 84"/>
                <a:gd name="T1" fmla="*/ 2 h 38"/>
                <a:gd name="T2" fmla="*/ 79 w 84"/>
                <a:gd name="T3" fmla="*/ 37 h 38"/>
                <a:gd name="T4" fmla="*/ 81 w 84"/>
                <a:gd name="T5" fmla="*/ 32 h 38"/>
                <a:gd name="T6" fmla="*/ 2 w 84"/>
                <a:gd name="T7" fmla="*/ 0 h 38"/>
                <a:gd name="T8" fmla="*/ 1 w 84"/>
                <a:gd name="T9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38">
                  <a:moveTo>
                    <a:pt x="1" y="2"/>
                  </a:moveTo>
                  <a:cubicBezTo>
                    <a:pt x="26" y="14"/>
                    <a:pt x="52" y="30"/>
                    <a:pt x="79" y="37"/>
                  </a:cubicBezTo>
                  <a:cubicBezTo>
                    <a:pt x="82" y="38"/>
                    <a:pt x="84" y="33"/>
                    <a:pt x="81" y="32"/>
                  </a:cubicBezTo>
                  <a:cubicBezTo>
                    <a:pt x="57" y="17"/>
                    <a:pt x="27" y="10"/>
                    <a:pt x="2" y="0"/>
                  </a:cubicBezTo>
                  <a:cubicBezTo>
                    <a:pt x="1" y="0"/>
                    <a:pt x="0" y="1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2" name="Freeform 46">
              <a:extLst>
                <a:ext uri="{FF2B5EF4-FFF2-40B4-BE49-F238E27FC236}">
                  <a16:creationId xmlns:a16="http://schemas.microsoft.com/office/drawing/2014/main" id="{21697B08-1F32-4566-893F-3C7F98AD6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5" y="1791"/>
              <a:ext cx="628" cy="624"/>
            </a:xfrm>
            <a:custGeom>
              <a:avLst/>
              <a:gdLst>
                <a:gd name="T0" fmla="*/ 16 w 421"/>
                <a:gd name="T1" fmla="*/ 3 h 419"/>
                <a:gd name="T2" fmla="*/ 164 w 421"/>
                <a:gd name="T3" fmla="*/ 326 h 419"/>
                <a:gd name="T4" fmla="*/ 336 w 421"/>
                <a:gd name="T5" fmla="*/ 405 h 419"/>
                <a:gd name="T6" fmla="*/ 421 w 421"/>
                <a:gd name="T7" fmla="*/ 419 h 419"/>
                <a:gd name="T8" fmla="*/ 421 w 421"/>
                <a:gd name="T9" fmla="*/ 393 h 419"/>
                <a:gd name="T10" fmla="*/ 360 w 421"/>
                <a:gd name="T11" fmla="*/ 381 h 419"/>
                <a:gd name="T12" fmla="*/ 200 w 421"/>
                <a:gd name="T13" fmla="*/ 306 h 419"/>
                <a:gd name="T14" fmla="*/ 19 w 421"/>
                <a:gd name="T15" fmla="*/ 3 h 419"/>
                <a:gd name="T16" fmla="*/ 16 w 421"/>
                <a:gd name="T17" fmla="*/ 3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1" h="419">
                  <a:moveTo>
                    <a:pt x="16" y="3"/>
                  </a:moveTo>
                  <a:cubicBezTo>
                    <a:pt x="0" y="130"/>
                    <a:pt x="64" y="249"/>
                    <a:pt x="164" y="326"/>
                  </a:cubicBezTo>
                  <a:cubicBezTo>
                    <a:pt x="216" y="366"/>
                    <a:pt x="272" y="392"/>
                    <a:pt x="336" y="405"/>
                  </a:cubicBezTo>
                  <a:cubicBezTo>
                    <a:pt x="363" y="410"/>
                    <a:pt x="392" y="416"/>
                    <a:pt x="421" y="419"/>
                  </a:cubicBezTo>
                  <a:cubicBezTo>
                    <a:pt x="421" y="393"/>
                    <a:pt x="421" y="393"/>
                    <a:pt x="421" y="393"/>
                  </a:cubicBezTo>
                  <a:cubicBezTo>
                    <a:pt x="400" y="391"/>
                    <a:pt x="380" y="387"/>
                    <a:pt x="360" y="381"/>
                  </a:cubicBezTo>
                  <a:cubicBezTo>
                    <a:pt x="305" y="364"/>
                    <a:pt x="248" y="338"/>
                    <a:pt x="200" y="306"/>
                  </a:cubicBezTo>
                  <a:cubicBezTo>
                    <a:pt x="99" y="237"/>
                    <a:pt x="32" y="124"/>
                    <a:pt x="19" y="3"/>
                  </a:cubicBezTo>
                  <a:cubicBezTo>
                    <a:pt x="19" y="0"/>
                    <a:pt x="16" y="0"/>
                    <a:pt x="1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3" name="Freeform 47">
              <a:extLst>
                <a:ext uri="{FF2B5EF4-FFF2-40B4-BE49-F238E27FC236}">
                  <a16:creationId xmlns:a16="http://schemas.microsoft.com/office/drawing/2014/main" id="{BD24C2EB-8B2F-4070-BCDB-55828E0099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5" y="2707"/>
              <a:ext cx="598" cy="949"/>
            </a:xfrm>
            <a:custGeom>
              <a:avLst/>
              <a:gdLst>
                <a:gd name="T0" fmla="*/ 401 w 401"/>
                <a:gd name="T1" fmla="*/ 602 h 637"/>
                <a:gd name="T2" fmla="*/ 146 w 401"/>
                <a:gd name="T3" fmla="*/ 475 h 637"/>
                <a:gd name="T4" fmla="*/ 149 w 401"/>
                <a:gd name="T5" fmla="*/ 3 h 637"/>
                <a:gd name="T6" fmla="*/ 147 w 401"/>
                <a:gd name="T7" fmla="*/ 1 h 637"/>
                <a:gd name="T8" fmla="*/ 117 w 401"/>
                <a:gd name="T9" fmla="*/ 497 h 637"/>
                <a:gd name="T10" fmla="*/ 401 w 401"/>
                <a:gd name="T11" fmla="*/ 637 h 637"/>
                <a:gd name="T12" fmla="*/ 401 w 401"/>
                <a:gd name="T13" fmla="*/ 602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1" h="637">
                  <a:moveTo>
                    <a:pt x="401" y="602"/>
                  </a:moveTo>
                  <a:cubicBezTo>
                    <a:pt x="303" y="593"/>
                    <a:pt x="208" y="550"/>
                    <a:pt x="146" y="475"/>
                  </a:cubicBezTo>
                  <a:cubicBezTo>
                    <a:pt x="37" y="344"/>
                    <a:pt x="49" y="134"/>
                    <a:pt x="149" y="3"/>
                  </a:cubicBezTo>
                  <a:cubicBezTo>
                    <a:pt x="150" y="2"/>
                    <a:pt x="148" y="0"/>
                    <a:pt x="147" y="1"/>
                  </a:cubicBezTo>
                  <a:cubicBezTo>
                    <a:pt x="12" y="133"/>
                    <a:pt x="0" y="349"/>
                    <a:pt x="117" y="497"/>
                  </a:cubicBezTo>
                  <a:cubicBezTo>
                    <a:pt x="187" y="585"/>
                    <a:pt x="293" y="634"/>
                    <a:pt x="401" y="637"/>
                  </a:cubicBezTo>
                  <a:lnTo>
                    <a:pt x="401" y="6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4" name="Freeform 48">
              <a:extLst>
                <a:ext uri="{FF2B5EF4-FFF2-40B4-BE49-F238E27FC236}">
                  <a16:creationId xmlns:a16="http://schemas.microsoft.com/office/drawing/2014/main" id="{76663F33-751A-4FA5-BC12-730A9E5090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" y="4217"/>
              <a:ext cx="449" cy="85"/>
            </a:xfrm>
            <a:custGeom>
              <a:avLst/>
              <a:gdLst>
                <a:gd name="T0" fmla="*/ 168 w 301"/>
                <a:gd name="T1" fmla="*/ 7 h 57"/>
                <a:gd name="T2" fmla="*/ 0 w 301"/>
                <a:gd name="T3" fmla="*/ 57 h 57"/>
                <a:gd name="T4" fmla="*/ 20 w 301"/>
                <a:gd name="T5" fmla="*/ 57 h 57"/>
                <a:gd name="T6" fmla="*/ 179 w 301"/>
                <a:gd name="T7" fmla="*/ 36 h 57"/>
                <a:gd name="T8" fmla="*/ 238 w 301"/>
                <a:gd name="T9" fmla="*/ 57 h 57"/>
                <a:gd name="T10" fmla="*/ 301 w 301"/>
                <a:gd name="T11" fmla="*/ 57 h 57"/>
                <a:gd name="T12" fmla="*/ 168 w 301"/>
                <a:gd name="T13" fmla="*/ 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1" h="57">
                  <a:moveTo>
                    <a:pt x="168" y="7"/>
                  </a:moveTo>
                  <a:cubicBezTo>
                    <a:pt x="100" y="0"/>
                    <a:pt x="46" y="21"/>
                    <a:pt x="0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66" y="32"/>
                    <a:pt x="118" y="23"/>
                    <a:pt x="179" y="36"/>
                  </a:cubicBezTo>
                  <a:cubicBezTo>
                    <a:pt x="201" y="41"/>
                    <a:pt x="220" y="48"/>
                    <a:pt x="238" y="57"/>
                  </a:cubicBezTo>
                  <a:cubicBezTo>
                    <a:pt x="301" y="57"/>
                    <a:pt x="301" y="57"/>
                    <a:pt x="301" y="57"/>
                  </a:cubicBezTo>
                  <a:cubicBezTo>
                    <a:pt x="259" y="30"/>
                    <a:pt x="210" y="12"/>
                    <a:pt x="16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5" name="Freeform 49">
              <a:extLst>
                <a:ext uri="{FF2B5EF4-FFF2-40B4-BE49-F238E27FC236}">
                  <a16:creationId xmlns:a16="http://schemas.microsoft.com/office/drawing/2014/main" id="{A9C6D823-CD0C-4851-B218-2B59939583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68" y="3888"/>
              <a:ext cx="547" cy="414"/>
            </a:xfrm>
            <a:custGeom>
              <a:avLst/>
              <a:gdLst>
                <a:gd name="T0" fmla="*/ 110 w 367"/>
                <a:gd name="T1" fmla="*/ 100 h 278"/>
                <a:gd name="T2" fmla="*/ 365 w 367"/>
                <a:gd name="T3" fmla="*/ 30 h 278"/>
                <a:gd name="T4" fmla="*/ 366 w 367"/>
                <a:gd name="T5" fmla="*/ 29 h 278"/>
                <a:gd name="T6" fmla="*/ 94 w 367"/>
                <a:gd name="T7" fmla="*/ 93 h 278"/>
                <a:gd name="T8" fmla="*/ 23 w 367"/>
                <a:gd name="T9" fmla="*/ 206 h 278"/>
                <a:gd name="T10" fmla="*/ 0 w 367"/>
                <a:gd name="T11" fmla="*/ 278 h 278"/>
                <a:gd name="T12" fmla="*/ 17 w 367"/>
                <a:gd name="T13" fmla="*/ 278 h 278"/>
                <a:gd name="T14" fmla="*/ 110 w 367"/>
                <a:gd name="T15" fmla="*/ 10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7" h="278">
                  <a:moveTo>
                    <a:pt x="110" y="100"/>
                  </a:moveTo>
                  <a:cubicBezTo>
                    <a:pt x="185" y="41"/>
                    <a:pt x="271" y="20"/>
                    <a:pt x="365" y="30"/>
                  </a:cubicBezTo>
                  <a:cubicBezTo>
                    <a:pt x="366" y="31"/>
                    <a:pt x="367" y="29"/>
                    <a:pt x="366" y="29"/>
                  </a:cubicBezTo>
                  <a:cubicBezTo>
                    <a:pt x="272" y="0"/>
                    <a:pt x="168" y="33"/>
                    <a:pt x="94" y="93"/>
                  </a:cubicBezTo>
                  <a:cubicBezTo>
                    <a:pt x="58" y="123"/>
                    <a:pt x="38" y="162"/>
                    <a:pt x="23" y="206"/>
                  </a:cubicBezTo>
                  <a:cubicBezTo>
                    <a:pt x="14" y="230"/>
                    <a:pt x="6" y="254"/>
                    <a:pt x="0" y="278"/>
                  </a:cubicBezTo>
                  <a:cubicBezTo>
                    <a:pt x="17" y="278"/>
                    <a:pt x="17" y="278"/>
                    <a:pt x="17" y="278"/>
                  </a:cubicBezTo>
                  <a:cubicBezTo>
                    <a:pt x="30" y="209"/>
                    <a:pt x="60" y="139"/>
                    <a:pt x="110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6" name="Freeform 50">
              <a:extLst>
                <a:ext uri="{FF2B5EF4-FFF2-40B4-BE49-F238E27FC236}">
                  <a16:creationId xmlns:a16="http://schemas.microsoft.com/office/drawing/2014/main" id="{BEA5E363-9629-4438-9E9C-0BBC37A364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74" y="4040"/>
              <a:ext cx="116" cy="262"/>
            </a:xfrm>
            <a:custGeom>
              <a:avLst/>
              <a:gdLst>
                <a:gd name="T0" fmla="*/ 76 w 78"/>
                <a:gd name="T1" fmla="*/ 1 h 176"/>
                <a:gd name="T2" fmla="*/ 0 w 78"/>
                <a:gd name="T3" fmla="*/ 176 h 176"/>
                <a:gd name="T4" fmla="*/ 12 w 78"/>
                <a:gd name="T5" fmla="*/ 176 h 176"/>
                <a:gd name="T6" fmla="*/ 78 w 78"/>
                <a:gd name="T7" fmla="*/ 2 h 176"/>
                <a:gd name="T8" fmla="*/ 76 w 78"/>
                <a:gd name="T9" fmla="*/ 1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176">
                  <a:moveTo>
                    <a:pt x="76" y="1"/>
                  </a:moveTo>
                  <a:cubicBezTo>
                    <a:pt x="37" y="54"/>
                    <a:pt x="11" y="113"/>
                    <a:pt x="0" y="176"/>
                  </a:cubicBezTo>
                  <a:cubicBezTo>
                    <a:pt x="12" y="176"/>
                    <a:pt x="12" y="176"/>
                    <a:pt x="12" y="176"/>
                  </a:cubicBezTo>
                  <a:cubicBezTo>
                    <a:pt x="24" y="115"/>
                    <a:pt x="45" y="57"/>
                    <a:pt x="78" y="2"/>
                  </a:cubicBezTo>
                  <a:cubicBezTo>
                    <a:pt x="78" y="1"/>
                    <a:pt x="77" y="0"/>
                    <a:pt x="7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7" name="Freeform 51">
              <a:extLst>
                <a:ext uri="{FF2B5EF4-FFF2-40B4-BE49-F238E27FC236}">
                  <a16:creationId xmlns:a16="http://schemas.microsoft.com/office/drawing/2014/main" id="{3C11E065-9AF8-481E-98D9-EC561AD2D8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167"/>
              <a:ext cx="120" cy="397"/>
            </a:xfrm>
            <a:custGeom>
              <a:avLst/>
              <a:gdLst>
                <a:gd name="T0" fmla="*/ 14 w 80"/>
                <a:gd name="T1" fmla="*/ 1 h 266"/>
                <a:gd name="T2" fmla="*/ 68 w 80"/>
                <a:gd name="T3" fmla="*/ 262 h 266"/>
                <a:gd name="T4" fmla="*/ 78 w 80"/>
                <a:gd name="T5" fmla="*/ 256 h 266"/>
                <a:gd name="T6" fmla="*/ 31 w 80"/>
                <a:gd name="T7" fmla="*/ 140 h 266"/>
                <a:gd name="T8" fmla="*/ 15 w 80"/>
                <a:gd name="T9" fmla="*/ 1 h 266"/>
                <a:gd name="T10" fmla="*/ 14 w 80"/>
                <a:gd name="T11" fmla="*/ 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266">
                  <a:moveTo>
                    <a:pt x="14" y="1"/>
                  </a:moveTo>
                  <a:cubicBezTo>
                    <a:pt x="0" y="83"/>
                    <a:pt x="0" y="200"/>
                    <a:pt x="68" y="262"/>
                  </a:cubicBezTo>
                  <a:cubicBezTo>
                    <a:pt x="72" y="266"/>
                    <a:pt x="80" y="262"/>
                    <a:pt x="78" y="256"/>
                  </a:cubicBezTo>
                  <a:cubicBezTo>
                    <a:pt x="66" y="216"/>
                    <a:pt x="42" y="181"/>
                    <a:pt x="31" y="140"/>
                  </a:cubicBezTo>
                  <a:cubicBezTo>
                    <a:pt x="18" y="95"/>
                    <a:pt x="11" y="48"/>
                    <a:pt x="15" y="1"/>
                  </a:cubicBezTo>
                  <a:cubicBezTo>
                    <a:pt x="15" y="1"/>
                    <a:pt x="14" y="0"/>
                    <a:pt x="1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8" name="Freeform 52">
              <a:extLst>
                <a:ext uri="{FF2B5EF4-FFF2-40B4-BE49-F238E27FC236}">
                  <a16:creationId xmlns:a16="http://schemas.microsoft.com/office/drawing/2014/main" id="{2EA82BA7-EC25-44CF-9296-97EB11F95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6" y="4156"/>
              <a:ext cx="299" cy="146"/>
            </a:xfrm>
            <a:custGeom>
              <a:avLst/>
              <a:gdLst>
                <a:gd name="T0" fmla="*/ 200 w 201"/>
                <a:gd name="T1" fmla="*/ 0 h 98"/>
                <a:gd name="T2" fmla="*/ 0 w 201"/>
                <a:gd name="T3" fmla="*/ 98 h 98"/>
                <a:gd name="T4" fmla="*/ 40 w 201"/>
                <a:gd name="T5" fmla="*/ 98 h 98"/>
                <a:gd name="T6" fmla="*/ 200 w 201"/>
                <a:gd name="T7" fmla="*/ 2 h 98"/>
                <a:gd name="T8" fmla="*/ 200 w 201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98">
                  <a:moveTo>
                    <a:pt x="200" y="0"/>
                  </a:moveTo>
                  <a:cubicBezTo>
                    <a:pt x="130" y="19"/>
                    <a:pt x="59" y="52"/>
                    <a:pt x="0" y="98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87" y="58"/>
                    <a:pt x="138" y="25"/>
                    <a:pt x="200" y="2"/>
                  </a:cubicBezTo>
                  <a:cubicBezTo>
                    <a:pt x="201" y="1"/>
                    <a:pt x="201" y="0"/>
                    <a:pt x="20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9" name="Freeform 53">
              <a:extLst>
                <a:ext uri="{FF2B5EF4-FFF2-40B4-BE49-F238E27FC236}">
                  <a16:creationId xmlns:a16="http://schemas.microsoft.com/office/drawing/2014/main" id="{2F3E4A42-CE50-4E54-9265-8B27E45F53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5" y="4250"/>
              <a:ext cx="275" cy="52"/>
            </a:xfrm>
            <a:custGeom>
              <a:avLst/>
              <a:gdLst>
                <a:gd name="T0" fmla="*/ 4 w 185"/>
                <a:gd name="T1" fmla="*/ 13 h 35"/>
                <a:gd name="T2" fmla="*/ 5 w 185"/>
                <a:gd name="T3" fmla="*/ 19 h 35"/>
                <a:gd name="T4" fmla="*/ 163 w 185"/>
                <a:gd name="T5" fmla="*/ 35 h 35"/>
                <a:gd name="T6" fmla="*/ 185 w 185"/>
                <a:gd name="T7" fmla="*/ 35 h 35"/>
                <a:gd name="T8" fmla="*/ 4 w 185"/>
                <a:gd name="T9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35">
                  <a:moveTo>
                    <a:pt x="4" y="13"/>
                  </a:moveTo>
                  <a:cubicBezTo>
                    <a:pt x="0" y="13"/>
                    <a:pt x="1" y="19"/>
                    <a:pt x="5" y="19"/>
                  </a:cubicBezTo>
                  <a:cubicBezTo>
                    <a:pt x="57" y="23"/>
                    <a:pt x="115" y="16"/>
                    <a:pt x="163" y="35"/>
                  </a:cubicBezTo>
                  <a:cubicBezTo>
                    <a:pt x="185" y="35"/>
                    <a:pt x="185" y="35"/>
                    <a:pt x="185" y="35"/>
                  </a:cubicBezTo>
                  <a:cubicBezTo>
                    <a:pt x="136" y="0"/>
                    <a:pt x="58" y="2"/>
                    <a:pt x="4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0" name="Freeform 54">
              <a:extLst>
                <a:ext uri="{FF2B5EF4-FFF2-40B4-BE49-F238E27FC236}">
                  <a16:creationId xmlns:a16="http://schemas.microsoft.com/office/drawing/2014/main" id="{FE8A39BE-DB6A-44A2-AA40-E42D46AF10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" y="4199"/>
              <a:ext cx="140" cy="103"/>
            </a:xfrm>
            <a:custGeom>
              <a:avLst/>
              <a:gdLst>
                <a:gd name="T0" fmla="*/ 2 w 94"/>
                <a:gd name="T1" fmla="*/ 1 h 69"/>
                <a:gd name="T2" fmla="*/ 1 w 94"/>
                <a:gd name="T3" fmla="*/ 2 h 69"/>
                <a:gd name="T4" fmla="*/ 62 w 94"/>
                <a:gd name="T5" fmla="*/ 60 h 69"/>
                <a:gd name="T6" fmla="*/ 70 w 94"/>
                <a:gd name="T7" fmla="*/ 69 h 69"/>
                <a:gd name="T8" fmla="*/ 94 w 94"/>
                <a:gd name="T9" fmla="*/ 69 h 69"/>
                <a:gd name="T10" fmla="*/ 74 w 94"/>
                <a:gd name="T11" fmla="*/ 52 h 69"/>
                <a:gd name="T12" fmla="*/ 2 w 94"/>
                <a:gd name="T13" fmla="*/ 1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69">
                  <a:moveTo>
                    <a:pt x="2" y="1"/>
                  </a:moveTo>
                  <a:cubicBezTo>
                    <a:pt x="2" y="0"/>
                    <a:pt x="0" y="2"/>
                    <a:pt x="1" y="2"/>
                  </a:cubicBezTo>
                  <a:cubicBezTo>
                    <a:pt x="22" y="21"/>
                    <a:pt x="42" y="41"/>
                    <a:pt x="62" y="60"/>
                  </a:cubicBezTo>
                  <a:cubicBezTo>
                    <a:pt x="65" y="63"/>
                    <a:pt x="68" y="66"/>
                    <a:pt x="70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88" y="63"/>
                    <a:pt x="81" y="57"/>
                    <a:pt x="74" y="52"/>
                  </a:cubicBezTo>
                  <a:cubicBezTo>
                    <a:pt x="51" y="34"/>
                    <a:pt x="26" y="18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1" name="Freeform 55">
              <a:extLst>
                <a:ext uri="{FF2B5EF4-FFF2-40B4-BE49-F238E27FC236}">
                  <a16:creationId xmlns:a16="http://schemas.microsoft.com/office/drawing/2014/main" id="{FF4FE071-1CDA-41BF-9318-67AEDFE39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6" y="4210"/>
              <a:ext cx="382" cy="92"/>
            </a:xfrm>
            <a:custGeom>
              <a:avLst/>
              <a:gdLst>
                <a:gd name="T0" fmla="*/ 3 w 256"/>
                <a:gd name="T1" fmla="*/ 35 h 62"/>
                <a:gd name="T2" fmla="*/ 5 w 256"/>
                <a:gd name="T3" fmla="*/ 40 h 62"/>
                <a:gd name="T4" fmla="*/ 232 w 256"/>
                <a:gd name="T5" fmla="*/ 62 h 62"/>
                <a:gd name="T6" fmla="*/ 256 w 256"/>
                <a:gd name="T7" fmla="*/ 62 h 62"/>
                <a:gd name="T8" fmla="*/ 3 w 256"/>
                <a:gd name="T9" fmla="*/ 3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" h="62">
                  <a:moveTo>
                    <a:pt x="3" y="35"/>
                  </a:moveTo>
                  <a:cubicBezTo>
                    <a:pt x="0" y="36"/>
                    <a:pt x="1" y="41"/>
                    <a:pt x="5" y="40"/>
                  </a:cubicBezTo>
                  <a:cubicBezTo>
                    <a:pt x="81" y="20"/>
                    <a:pt x="162" y="29"/>
                    <a:pt x="232" y="62"/>
                  </a:cubicBezTo>
                  <a:cubicBezTo>
                    <a:pt x="256" y="62"/>
                    <a:pt x="256" y="62"/>
                    <a:pt x="256" y="62"/>
                  </a:cubicBezTo>
                  <a:cubicBezTo>
                    <a:pt x="183" y="11"/>
                    <a:pt x="89" y="0"/>
                    <a:pt x="3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2" name="Freeform 56">
              <a:extLst>
                <a:ext uri="{FF2B5EF4-FFF2-40B4-BE49-F238E27FC236}">
                  <a16:creationId xmlns:a16="http://schemas.microsoft.com/office/drawing/2014/main" id="{E8E9F202-BBB2-491D-B7D0-24915E0E44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3" y="4109"/>
              <a:ext cx="905" cy="193"/>
            </a:xfrm>
            <a:custGeom>
              <a:avLst/>
              <a:gdLst>
                <a:gd name="T0" fmla="*/ 533 w 607"/>
                <a:gd name="T1" fmla="*/ 60 h 130"/>
                <a:gd name="T2" fmla="*/ 340 w 607"/>
                <a:gd name="T3" fmla="*/ 5 h 130"/>
                <a:gd name="T4" fmla="*/ 132 w 607"/>
                <a:gd name="T5" fmla="*/ 35 h 130"/>
                <a:gd name="T6" fmla="*/ 0 w 607"/>
                <a:gd name="T7" fmla="*/ 130 h 130"/>
                <a:gd name="T8" fmla="*/ 48 w 607"/>
                <a:gd name="T9" fmla="*/ 130 h 130"/>
                <a:gd name="T10" fmla="*/ 71 w 607"/>
                <a:gd name="T11" fmla="*/ 112 h 130"/>
                <a:gd name="T12" fmla="*/ 143 w 607"/>
                <a:gd name="T13" fmla="*/ 74 h 130"/>
                <a:gd name="T14" fmla="*/ 318 w 607"/>
                <a:gd name="T15" fmla="*/ 45 h 130"/>
                <a:gd name="T16" fmla="*/ 579 w 607"/>
                <a:gd name="T17" fmla="*/ 130 h 130"/>
                <a:gd name="T18" fmla="*/ 607 w 607"/>
                <a:gd name="T19" fmla="*/ 130 h 130"/>
                <a:gd name="T20" fmla="*/ 533 w 607"/>
                <a:gd name="T21" fmla="*/ 6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7" h="130">
                  <a:moveTo>
                    <a:pt x="533" y="60"/>
                  </a:moveTo>
                  <a:cubicBezTo>
                    <a:pt x="475" y="26"/>
                    <a:pt x="406" y="10"/>
                    <a:pt x="340" y="5"/>
                  </a:cubicBezTo>
                  <a:cubicBezTo>
                    <a:pt x="270" y="0"/>
                    <a:pt x="197" y="9"/>
                    <a:pt x="132" y="35"/>
                  </a:cubicBezTo>
                  <a:cubicBezTo>
                    <a:pt x="89" y="53"/>
                    <a:pt x="27" y="85"/>
                    <a:pt x="0" y="130"/>
                  </a:cubicBezTo>
                  <a:cubicBezTo>
                    <a:pt x="48" y="130"/>
                    <a:pt x="48" y="130"/>
                    <a:pt x="48" y="130"/>
                  </a:cubicBezTo>
                  <a:cubicBezTo>
                    <a:pt x="56" y="124"/>
                    <a:pt x="63" y="117"/>
                    <a:pt x="71" y="112"/>
                  </a:cubicBezTo>
                  <a:cubicBezTo>
                    <a:pt x="94" y="96"/>
                    <a:pt x="118" y="84"/>
                    <a:pt x="143" y="74"/>
                  </a:cubicBezTo>
                  <a:cubicBezTo>
                    <a:pt x="199" y="52"/>
                    <a:pt x="258" y="43"/>
                    <a:pt x="318" y="45"/>
                  </a:cubicBezTo>
                  <a:cubicBezTo>
                    <a:pt x="398" y="47"/>
                    <a:pt x="507" y="73"/>
                    <a:pt x="579" y="130"/>
                  </a:cubicBezTo>
                  <a:cubicBezTo>
                    <a:pt x="607" y="130"/>
                    <a:pt x="607" y="130"/>
                    <a:pt x="607" y="130"/>
                  </a:cubicBezTo>
                  <a:cubicBezTo>
                    <a:pt x="588" y="102"/>
                    <a:pt x="564" y="77"/>
                    <a:pt x="533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3" name="Freeform 57">
              <a:extLst>
                <a:ext uri="{FF2B5EF4-FFF2-40B4-BE49-F238E27FC236}">
                  <a16:creationId xmlns:a16="http://schemas.microsoft.com/office/drawing/2014/main" id="{118764FD-0BD9-4196-8121-0FEEAA3055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4" y="4201"/>
              <a:ext cx="57" cy="101"/>
            </a:xfrm>
            <a:custGeom>
              <a:avLst/>
              <a:gdLst>
                <a:gd name="T0" fmla="*/ 2 w 38"/>
                <a:gd name="T1" fmla="*/ 1 h 68"/>
                <a:gd name="T2" fmla="*/ 0 w 38"/>
                <a:gd name="T3" fmla="*/ 3 h 68"/>
                <a:gd name="T4" fmla="*/ 28 w 38"/>
                <a:gd name="T5" fmla="*/ 68 h 68"/>
                <a:gd name="T6" fmla="*/ 38 w 38"/>
                <a:gd name="T7" fmla="*/ 68 h 68"/>
                <a:gd name="T8" fmla="*/ 2 w 38"/>
                <a:gd name="T9" fmla="*/ 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68">
                  <a:moveTo>
                    <a:pt x="2" y="1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12" y="24"/>
                    <a:pt x="22" y="45"/>
                    <a:pt x="28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0" y="44"/>
                    <a:pt x="19" y="22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4" name="Freeform 58">
              <a:extLst>
                <a:ext uri="{FF2B5EF4-FFF2-40B4-BE49-F238E27FC236}">
                  <a16:creationId xmlns:a16="http://schemas.microsoft.com/office/drawing/2014/main" id="{04D86984-3BE8-4FE3-A112-C7D417DF8B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6" y="4187"/>
              <a:ext cx="182" cy="115"/>
            </a:xfrm>
            <a:custGeom>
              <a:avLst/>
              <a:gdLst>
                <a:gd name="T0" fmla="*/ 1 w 122"/>
                <a:gd name="T1" fmla="*/ 2 h 77"/>
                <a:gd name="T2" fmla="*/ 99 w 122"/>
                <a:gd name="T3" fmla="*/ 77 h 77"/>
                <a:gd name="T4" fmla="*/ 122 w 122"/>
                <a:gd name="T5" fmla="*/ 77 h 77"/>
                <a:gd name="T6" fmla="*/ 2 w 122"/>
                <a:gd name="T7" fmla="*/ 0 h 77"/>
                <a:gd name="T8" fmla="*/ 1 w 122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7">
                  <a:moveTo>
                    <a:pt x="1" y="2"/>
                  </a:moveTo>
                  <a:cubicBezTo>
                    <a:pt x="38" y="22"/>
                    <a:pt x="71" y="47"/>
                    <a:pt x="99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89" y="43"/>
                    <a:pt x="47" y="16"/>
                    <a:pt x="2" y="0"/>
                  </a:cubicBezTo>
                  <a:cubicBezTo>
                    <a:pt x="1" y="0"/>
                    <a:pt x="0" y="1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5" name="Freeform 59">
              <a:extLst>
                <a:ext uri="{FF2B5EF4-FFF2-40B4-BE49-F238E27FC236}">
                  <a16:creationId xmlns:a16="http://schemas.microsoft.com/office/drawing/2014/main" id="{50F8B704-7858-4C46-8C87-1833B4F4B6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3833"/>
              <a:ext cx="1376" cy="469"/>
            </a:xfrm>
            <a:custGeom>
              <a:avLst/>
              <a:gdLst>
                <a:gd name="T0" fmla="*/ 415 w 923"/>
                <a:gd name="T1" fmla="*/ 21 h 315"/>
                <a:gd name="T2" fmla="*/ 0 w 923"/>
                <a:gd name="T3" fmla="*/ 315 h 315"/>
                <a:gd name="T4" fmla="*/ 40 w 923"/>
                <a:gd name="T5" fmla="*/ 315 h 315"/>
                <a:gd name="T6" fmla="*/ 423 w 923"/>
                <a:gd name="T7" fmla="*/ 56 h 315"/>
                <a:gd name="T8" fmla="*/ 743 w 923"/>
                <a:gd name="T9" fmla="*/ 141 h 315"/>
                <a:gd name="T10" fmla="*/ 902 w 923"/>
                <a:gd name="T11" fmla="*/ 315 h 315"/>
                <a:gd name="T12" fmla="*/ 923 w 923"/>
                <a:gd name="T13" fmla="*/ 315 h 315"/>
                <a:gd name="T14" fmla="*/ 415 w 923"/>
                <a:gd name="T15" fmla="*/ 21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3" h="315">
                  <a:moveTo>
                    <a:pt x="415" y="21"/>
                  </a:moveTo>
                  <a:cubicBezTo>
                    <a:pt x="238" y="39"/>
                    <a:pt x="75" y="156"/>
                    <a:pt x="0" y="315"/>
                  </a:cubicBezTo>
                  <a:cubicBezTo>
                    <a:pt x="40" y="315"/>
                    <a:pt x="40" y="315"/>
                    <a:pt x="40" y="315"/>
                  </a:cubicBezTo>
                  <a:cubicBezTo>
                    <a:pt x="115" y="174"/>
                    <a:pt x="248" y="72"/>
                    <a:pt x="423" y="56"/>
                  </a:cubicBezTo>
                  <a:cubicBezTo>
                    <a:pt x="536" y="46"/>
                    <a:pt x="651" y="76"/>
                    <a:pt x="743" y="141"/>
                  </a:cubicBezTo>
                  <a:cubicBezTo>
                    <a:pt x="812" y="190"/>
                    <a:pt x="862" y="247"/>
                    <a:pt x="902" y="315"/>
                  </a:cubicBezTo>
                  <a:cubicBezTo>
                    <a:pt x="923" y="315"/>
                    <a:pt x="923" y="315"/>
                    <a:pt x="923" y="315"/>
                  </a:cubicBezTo>
                  <a:cubicBezTo>
                    <a:pt x="844" y="120"/>
                    <a:pt x="624" y="0"/>
                    <a:pt x="4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6" name="Freeform 60">
              <a:extLst>
                <a:ext uri="{FF2B5EF4-FFF2-40B4-BE49-F238E27FC236}">
                  <a16:creationId xmlns:a16="http://schemas.microsoft.com/office/drawing/2014/main" id="{6947FA2C-C5DD-43CC-95DD-F794044596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" y="3922"/>
              <a:ext cx="660" cy="380"/>
            </a:xfrm>
            <a:custGeom>
              <a:avLst/>
              <a:gdLst>
                <a:gd name="T0" fmla="*/ 150 w 443"/>
                <a:gd name="T1" fmla="*/ 121 h 255"/>
                <a:gd name="T2" fmla="*/ 442 w 443"/>
                <a:gd name="T3" fmla="*/ 35 h 255"/>
                <a:gd name="T4" fmla="*/ 442 w 443"/>
                <a:gd name="T5" fmla="*/ 34 h 255"/>
                <a:gd name="T6" fmla="*/ 0 w 443"/>
                <a:gd name="T7" fmla="*/ 255 h 255"/>
                <a:gd name="T8" fmla="*/ 31 w 443"/>
                <a:gd name="T9" fmla="*/ 255 h 255"/>
                <a:gd name="T10" fmla="*/ 150 w 443"/>
                <a:gd name="T11" fmla="*/ 121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3" h="255">
                  <a:moveTo>
                    <a:pt x="150" y="121"/>
                  </a:moveTo>
                  <a:cubicBezTo>
                    <a:pt x="237" y="58"/>
                    <a:pt x="337" y="38"/>
                    <a:pt x="442" y="35"/>
                  </a:cubicBezTo>
                  <a:cubicBezTo>
                    <a:pt x="443" y="35"/>
                    <a:pt x="443" y="34"/>
                    <a:pt x="442" y="34"/>
                  </a:cubicBezTo>
                  <a:cubicBezTo>
                    <a:pt x="273" y="0"/>
                    <a:pt x="80" y="100"/>
                    <a:pt x="0" y="255"/>
                  </a:cubicBezTo>
                  <a:cubicBezTo>
                    <a:pt x="31" y="255"/>
                    <a:pt x="31" y="255"/>
                    <a:pt x="31" y="255"/>
                  </a:cubicBezTo>
                  <a:cubicBezTo>
                    <a:pt x="61" y="204"/>
                    <a:pt x="98" y="158"/>
                    <a:pt x="150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7" name="Freeform 61">
              <a:extLst>
                <a:ext uri="{FF2B5EF4-FFF2-40B4-BE49-F238E27FC236}">
                  <a16:creationId xmlns:a16="http://schemas.microsoft.com/office/drawing/2014/main" id="{95DBE516-2FC2-496D-9C99-1CB9061E89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8" y="3989"/>
              <a:ext cx="942" cy="313"/>
            </a:xfrm>
            <a:custGeom>
              <a:avLst/>
              <a:gdLst>
                <a:gd name="T0" fmla="*/ 255 w 632"/>
                <a:gd name="T1" fmla="*/ 49 h 210"/>
                <a:gd name="T2" fmla="*/ 0 w 632"/>
                <a:gd name="T3" fmla="*/ 210 h 210"/>
                <a:gd name="T4" fmla="*/ 38 w 632"/>
                <a:gd name="T5" fmla="*/ 210 h 210"/>
                <a:gd name="T6" fmla="*/ 237 w 632"/>
                <a:gd name="T7" fmla="*/ 86 h 210"/>
                <a:gd name="T8" fmla="*/ 619 w 632"/>
                <a:gd name="T9" fmla="*/ 210 h 210"/>
                <a:gd name="T10" fmla="*/ 632 w 632"/>
                <a:gd name="T11" fmla="*/ 210 h 210"/>
                <a:gd name="T12" fmla="*/ 255 w 632"/>
                <a:gd name="T13" fmla="*/ 4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2" h="210">
                  <a:moveTo>
                    <a:pt x="255" y="49"/>
                  </a:moveTo>
                  <a:cubicBezTo>
                    <a:pt x="170" y="76"/>
                    <a:pt x="72" y="134"/>
                    <a:pt x="0" y="210"/>
                  </a:cubicBezTo>
                  <a:cubicBezTo>
                    <a:pt x="38" y="210"/>
                    <a:pt x="38" y="210"/>
                    <a:pt x="38" y="210"/>
                  </a:cubicBezTo>
                  <a:cubicBezTo>
                    <a:pt x="94" y="154"/>
                    <a:pt x="163" y="109"/>
                    <a:pt x="237" y="86"/>
                  </a:cubicBezTo>
                  <a:cubicBezTo>
                    <a:pt x="375" y="42"/>
                    <a:pt x="537" y="93"/>
                    <a:pt x="619" y="210"/>
                  </a:cubicBezTo>
                  <a:cubicBezTo>
                    <a:pt x="632" y="210"/>
                    <a:pt x="632" y="210"/>
                    <a:pt x="632" y="210"/>
                  </a:cubicBezTo>
                  <a:cubicBezTo>
                    <a:pt x="562" y="75"/>
                    <a:pt x="411" y="0"/>
                    <a:pt x="255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8" name="Freeform 62">
              <a:extLst>
                <a:ext uri="{FF2B5EF4-FFF2-40B4-BE49-F238E27FC236}">
                  <a16:creationId xmlns:a16="http://schemas.microsoft.com/office/drawing/2014/main" id="{42E5AA20-CAFA-4009-B70C-EE2DC30C3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4" y="4174"/>
              <a:ext cx="112" cy="128"/>
            </a:xfrm>
            <a:custGeom>
              <a:avLst/>
              <a:gdLst>
                <a:gd name="T0" fmla="*/ 2 w 75"/>
                <a:gd name="T1" fmla="*/ 1 h 86"/>
                <a:gd name="T2" fmla="*/ 1 w 75"/>
                <a:gd name="T3" fmla="*/ 2 h 86"/>
                <a:gd name="T4" fmla="*/ 64 w 75"/>
                <a:gd name="T5" fmla="*/ 86 h 86"/>
                <a:gd name="T6" fmla="*/ 75 w 75"/>
                <a:gd name="T7" fmla="*/ 86 h 86"/>
                <a:gd name="T8" fmla="*/ 2 w 75"/>
                <a:gd name="T9" fmla="*/ 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6">
                  <a:moveTo>
                    <a:pt x="2" y="1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25" y="27"/>
                    <a:pt x="46" y="55"/>
                    <a:pt x="64" y="86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53" y="55"/>
                    <a:pt x="28" y="27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89" name="Freeform 63">
              <a:extLst>
                <a:ext uri="{FF2B5EF4-FFF2-40B4-BE49-F238E27FC236}">
                  <a16:creationId xmlns:a16="http://schemas.microsoft.com/office/drawing/2014/main" id="{1349E7AE-016D-48E7-AAC4-150CF59A24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3" y="3230"/>
              <a:ext cx="663" cy="179"/>
            </a:xfrm>
            <a:custGeom>
              <a:avLst/>
              <a:gdLst>
                <a:gd name="T0" fmla="*/ 5 w 445"/>
                <a:gd name="T1" fmla="*/ 119 h 120"/>
                <a:gd name="T2" fmla="*/ 444 w 445"/>
                <a:gd name="T3" fmla="*/ 42 h 120"/>
                <a:gd name="T4" fmla="*/ 444 w 445"/>
                <a:gd name="T5" fmla="*/ 41 h 120"/>
                <a:gd name="T6" fmla="*/ 3 w 445"/>
                <a:gd name="T7" fmla="*/ 114 h 120"/>
                <a:gd name="T8" fmla="*/ 5 w 445"/>
                <a:gd name="T9" fmla="*/ 11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5" h="120">
                  <a:moveTo>
                    <a:pt x="5" y="119"/>
                  </a:moveTo>
                  <a:cubicBezTo>
                    <a:pt x="147" y="70"/>
                    <a:pt x="291" y="18"/>
                    <a:pt x="444" y="42"/>
                  </a:cubicBezTo>
                  <a:cubicBezTo>
                    <a:pt x="445" y="42"/>
                    <a:pt x="445" y="41"/>
                    <a:pt x="444" y="41"/>
                  </a:cubicBezTo>
                  <a:cubicBezTo>
                    <a:pt x="291" y="0"/>
                    <a:pt x="142" y="49"/>
                    <a:pt x="3" y="114"/>
                  </a:cubicBezTo>
                  <a:cubicBezTo>
                    <a:pt x="0" y="116"/>
                    <a:pt x="2" y="120"/>
                    <a:pt x="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0" name="Freeform 64">
              <a:extLst>
                <a:ext uri="{FF2B5EF4-FFF2-40B4-BE49-F238E27FC236}">
                  <a16:creationId xmlns:a16="http://schemas.microsoft.com/office/drawing/2014/main" id="{537D03AC-7D57-4F5A-A986-3B4D91F870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6" y="3126"/>
              <a:ext cx="367" cy="415"/>
            </a:xfrm>
            <a:custGeom>
              <a:avLst/>
              <a:gdLst>
                <a:gd name="T0" fmla="*/ 1 w 246"/>
                <a:gd name="T1" fmla="*/ 1 h 279"/>
                <a:gd name="T2" fmla="*/ 0 w 246"/>
                <a:gd name="T3" fmla="*/ 1 h 279"/>
                <a:gd name="T4" fmla="*/ 246 w 246"/>
                <a:gd name="T5" fmla="*/ 279 h 279"/>
                <a:gd name="T6" fmla="*/ 246 w 246"/>
                <a:gd name="T7" fmla="*/ 241 h 279"/>
                <a:gd name="T8" fmla="*/ 125 w 246"/>
                <a:gd name="T9" fmla="*/ 188 h 279"/>
                <a:gd name="T10" fmla="*/ 1 w 246"/>
                <a:gd name="T11" fmla="*/ 1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6" h="279">
                  <a:moveTo>
                    <a:pt x="1" y="1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20" y="146"/>
                    <a:pt x="111" y="269"/>
                    <a:pt x="246" y="279"/>
                  </a:cubicBezTo>
                  <a:cubicBezTo>
                    <a:pt x="246" y="241"/>
                    <a:pt x="246" y="241"/>
                    <a:pt x="246" y="241"/>
                  </a:cubicBezTo>
                  <a:cubicBezTo>
                    <a:pt x="203" y="233"/>
                    <a:pt x="163" y="220"/>
                    <a:pt x="125" y="188"/>
                  </a:cubicBezTo>
                  <a:cubicBezTo>
                    <a:pt x="66" y="139"/>
                    <a:pt x="22" y="75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1" name="Freeform 65">
              <a:extLst>
                <a:ext uri="{FF2B5EF4-FFF2-40B4-BE49-F238E27FC236}">
                  <a16:creationId xmlns:a16="http://schemas.microsoft.com/office/drawing/2014/main" id="{9D606236-1FF6-49D0-9CB9-4990C4D94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72" y="2722"/>
              <a:ext cx="281" cy="655"/>
            </a:xfrm>
            <a:custGeom>
              <a:avLst/>
              <a:gdLst>
                <a:gd name="T0" fmla="*/ 108 w 188"/>
                <a:gd name="T1" fmla="*/ 3 h 440"/>
                <a:gd name="T2" fmla="*/ 28 w 188"/>
                <a:gd name="T3" fmla="*/ 256 h 440"/>
                <a:gd name="T4" fmla="*/ 188 w 188"/>
                <a:gd name="T5" fmla="*/ 440 h 440"/>
                <a:gd name="T6" fmla="*/ 188 w 188"/>
                <a:gd name="T7" fmla="*/ 415 h 440"/>
                <a:gd name="T8" fmla="*/ 67 w 188"/>
                <a:gd name="T9" fmla="*/ 245 h 440"/>
                <a:gd name="T10" fmla="*/ 113 w 188"/>
                <a:gd name="T11" fmla="*/ 9 h 440"/>
                <a:gd name="T12" fmla="*/ 108 w 188"/>
                <a:gd name="T13" fmla="*/ 3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440">
                  <a:moveTo>
                    <a:pt x="108" y="3"/>
                  </a:moveTo>
                  <a:cubicBezTo>
                    <a:pt x="29" y="63"/>
                    <a:pt x="0" y="160"/>
                    <a:pt x="28" y="256"/>
                  </a:cubicBezTo>
                  <a:cubicBezTo>
                    <a:pt x="52" y="337"/>
                    <a:pt x="109" y="414"/>
                    <a:pt x="188" y="440"/>
                  </a:cubicBezTo>
                  <a:cubicBezTo>
                    <a:pt x="188" y="415"/>
                    <a:pt x="188" y="415"/>
                    <a:pt x="188" y="415"/>
                  </a:cubicBezTo>
                  <a:cubicBezTo>
                    <a:pt x="132" y="373"/>
                    <a:pt x="85" y="305"/>
                    <a:pt x="67" y="245"/>
                  </a:cubicBezTo>
                  <a:cubicBezTo>
                    <a:pt x="44" y="166"/>
                    <a:pt x="61" y="74"/>
                    <a:pt x="113" y="9"/>
                  </a:cubicBezTo>
                  <a:cubicBezTo>
                    <a:pt x="116" y="6"/>
                    <a:pt x="112" y="0"/>
                    <a:pt x="10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2" name="Freeform 66">
              <a:extLst>
                <a:ext uri="{FF2B5EF4-FFF2-40B4-BE49-F238E27FC236}">
                  <a16:creationId xmlns:a16="http://schemas.microsoft.com/office/drawing/2014/main" id="{3BD4DD3B-CA2A-4E88-9B99-B09BB56826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62" y="2920"/>
              <a:ext cx="91" cy="235"/>
            </a:xfrm>
            <a:custGeom>
              <a:avLst/>
              <a:gdLst>
                <a:gd name="T0" fmla="*/ 7 w 61"/>
                <a:gd name="T1" fmla="*/ 6 h 158"/>
                <a:gd name="T2" fmla="*/ 61 w 61"/>
                <a:gd name="T3" fmla="*/ 158 h 158"/>
                <a:gd name="T4" fmla="*/ 61 w 61"/>
                <a:gd name="T5" fmla="*/ 118 h 158"/>
                <a:gd name="T6" fmla="*/ 15 w 61"/>
                <a:gd name="T7" fmla="*/ 5 h 158"/>
                <a:gd name="T8" fmla="*/ 7 w 61"/>
                <a:gd name="T9" fmla="*/ 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58">
                  <a:moveTo>
                    <a:pt x="7" y="6"/>
                  </a:moveTo>
                  <a:cubicBezTo>
                    <a:pt x="0" y="68"/>
                    <a:pt x="21" y="119"/>
                    <a:pt x="61" y="158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42" y="82"/>
                    <a:pt x="26" y="42"/>
                    <a:pt x="15" y="5"/>
                  </a:cubicBezTo>
                  <a:cubicBezTo>
                    <a:pt x="14" y="0"/>
                    <a:pt x="8" y="2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3" name="Freeform 67">
              <a:extLst>
                <a:ext uri="{FF2B5EF4-FFF2-40B4-BE49-F238E27FC236}">
                  <a16:creationId xmlns:a16="http://schemas.microsoft.com/office/drawing/2014/main" id="{72265CAA-54A1-4026-B4BA-664FA338E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7" y="2264"/>
              <a:ext cx="536" cy="272"/>
            </a:xfrm>
            <a:custGeom>
              <a:avLst/>
              <a:gdLst>
                <a:gd name="T0" fmla="*/ 2 w 359"/>
                <a:gd name="T1" fmla="*/ 1 h 183"/>
                <a:gd name="T2" fmla="*/ 1 w 359"/>
                <a:gd name="T3" fmla="*/ 2 h 183"/>
                <a:gd name="T4" fmla="*/ 260 w 359"/>
                <a:gd name="T5" fmla="*/ 166 h 183"/>
                <a:gd name="T6" fmla="*/ 359 w 359"/>
                <a:gd name="T7" fmla="*/ 183 h 183"/>
                <a:gd name="T8" fmla="*/ 359 w 359"/>
                <a:gd name="T9" fmla="*/ 170 h 183"/>
                <a:gd name="T10" fmla="*/ 263 w 359"/>
                <a:gd name="T11" fmla="*/ 154 h 183"/>
                <a:gd name="T12" fmla="*/ 2 w 359"/>
                <a:gd name="T13" fmla="*/ 1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83">
                  <a:moveTo>
                    <a:pt x="2" y="1"/>
                  </a:moveTo>
                  <a:cubicBezTo>
                    <a:pt x="1" y="0"/>
                    <a:pt x="0" y="2"/>
                    <a:pt x="1" y="2"/>
                  </a:cubicBezTo>
                  <a:cubicBezTo>
                    <a:pt x="77" y="69"/>
                    <a:pt x="162" y="139"/>
                    <a:pt x="260" y="166"/>
                  </a:cubicBezTo>
                  <a:cubicBezTo>
                    <a:pt x="293" y="175"/>
                    <a:pt x="326" y="180"/>
                    <a:pt x="359" y="183"/>
                  </a:cubicBezTo>
                  <a:cubicBezTo>
                    <a:pt x="359" y="170"/>
                    <a:pt x="359" y="170"/>
                    <a:pt x="359" y="170"/>
                  </a:cubicBezTo>
                  <a:cubicBezTo>
                    <a:pt x="327" y="167"/>
                    <a:pt x="295" y="163"/>
                    <a:pt x="263" y="154"/>
                  </a:cubicBezTo>
                  <a:cubicBezTo>
                    <a:pt x="164" y="127"/>
                    <a:pt x="88" y="54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4" name="Freeform 68">
              <a:extLst>
                <a:ext uri="{FF2B5EF4-FFF2-40B4-BE49-F238E27FC236}">
                  <a16:creationId xmlns:a16="http://schemas.microsoft.com/office/drawing/2014/main" id="{6970D7FB-FFE4-435F-95D2-B5B661D07D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5" y="3377"/>
              <a:ext cx="404" cy="338"/>
            </a:xfrm>
            <a:custGeom>
              <a:avLst/>
              <a:gdLst>
                <a:gd name="T0" fmla="*/ 266 w 271"/>
                <a:gd name="T1" fmla="*/ 193 h 227"/>
                <a:gd name="T2" fmla="*/ 265 w 271"/>
                <a:gd name="T3" fmla="*/ 184 h 227"/>
                <a:gd name="T4" fmla="*/ 100 w 271"/>
                <a:gd name="T5" fmla="*/ 116 h 227"/>
                <a:gd name="T6" fmla="*/ 2 w 271"/>
                <a:gd name="T7" fmla="*/ 1 h 227"/>
                <a:gd name="T8" fmla="*/ 0 w 271"/>
                <a:gd name="T9" fmla="*/ 2 h 227"/>
                <a:gd name="T10" fmla="*/ 266 w 271"/>
                <a:gd name="T11" fmla="*/ 19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1" h="227">
                  <a:moveTo>
                    <a:pt x="266" y="193"/>
                  </a:moveTo>
                  <a:cubicBezTo>
                    <a:pt x="271" y="192"/>
                    <a:pt x="270" y="183"/>
                    <a:pt x="265" y="184"/>
                  </a:cubicBezTo>
                  <a:cubicBezTo>
                    <a:pt x="199" y="189"/>
                    <a:pt x="147" y="158"/>
                    <a:pt x="100" y="116"/>
                  </a:cubicBezTo>
                  <a:cubicBezTo>
                    <a:pt x="63" y="82"/>
                    <a:pt x="23" y="48"/>
                    <a:pt x="2" y="1"/>
                  </a:cubicBezTo>
                  <a:cubicBezTo>
                    <a:pt x="2" y="0"/>
                    <a:pt x="0" y="1"/>
                    <a:pt x="0" y="2"/>
                  </a:cubicBezTo>
                  <a:cubicBezTo>
                    <a:pt x="34" y="128"/>
                    <a:pt x="126" y="227"/>
                    <a:pt x="266" y="1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5" name="Freeform 69">
              <a:extLst>
                <a:ext uri="{FF2B5EF4-FFF2-40B4-BE49-F238E27FC236}">
                  <a16:creationId xmlns:a16="http://schemas.microsoft.com/office/drawing/2014/main" id="{75F1DBBB-FA32-42F1-B536-B297E484DF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05" y="2776"/>
              <a:ext cx="48" cy="58"/>
            </a:xfrm>
            <a:custGeom>
              <a:avLst/>
              <a:gdLst>
                <a:gd name="T0" fmla="*/ 2 w 32"/>
                <a:gd name="T1" fmla="*/ 38 h 39"/>
                <a:gd name="T2" fmla="*/ 32 w 32"/>
                <a:gd name="T3" fmla="*/ 5 h 39"/>
                <a:gd name="T4" fmla="*/ 32 w 32"/>
                <a:gd name="T5" fmla="*/ 0 h 39"/>
                <a:gd name="T6" fmla="*/ 1 w 32"/>
                <a:gd name="T7" fmla="*/ 37 h 39"/>
                <a:gd name="T8" fmla="*/ 2 w 32"/>
                <a:gd name="T9" fmla="*/ 3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9">
                  <a:moveTo>
                    <a:pt x="2" y="38"/>
                  </a:moveTo>
                  <a:cubicBezTo>
                    <a:pt x="12" y="27"/>
                    <a:pt x="23" y="17"/>
                    <a:pt x="32" y="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1" y="11"/>
                    <a:pt x="11" y="25"/>
                    <a:pt x="1" y="37"/>
                  </a:cubicBezTo>
                  <a:cubicBezTo>
                    <a:pt x="0" y="38"/>
                    <a:pt x="1" y="39"/>
                    <a:pt x="2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6" name="Freeform 70">
              <a:extLst>
                <a:ext uri="{FF2B5EF4-FFF2-40B4-BE49-F238E27FC236}">
                  <a16:creationId xmlns:a16="http://schemas.microsoft.com/office/drawing/2014/main" id="{E23254FF-5768-410A-BDE7-72152ED395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9" y="3672"/>
              <a:ext cx="221" cy="112"/>
            </a:xfrm>
            <a:custGeom>
              <a:avLst/>
              <a:gdLst>
                <a:gd name="T0" fmla="*/ 142 w 148"/>
                <a:gd name="T1" fmla="*/ 75 h 75"/>
                <a:gd name="T2" fmla="*/ 144 w 148"/>
                <a:gd name="T3" fmla="*/ 66 h 75"/>
                <a:gd name="T4" fmla="*/ 71 w 148"/>
                <a:gd name="T5" fmla="*/ 37 h 75"/>
                <a:gd name="T6" fmla="*/ 1 w 148"/>
                <a:gd name="T7" fmla="*/ 1 h 75"/>
                <a:gd name="T8" fmla="*/ 0 w 148"/>
                <a:gd name="T9" fmla="*/ 2 h 75"/>
                <a:gd name="T10" fmla="*/ 71 w 148"/>
                <a:gd name="T11" fmla="*/ 47 h 75"/>
                <a:gd name="T12" fmla="*/ 142 w 148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75">
                  <a:moveTo>
                    <a:pt x="142" y="75"/>
                  </a:moveTo>
                  <a:cubicBezTo>
                    <a:pt x="147" y="75"/>
                    <a:pt x="148" y="68"/>
                    <a:pt x="144" y="66"/>
                  </a:cubicBezTo>
                  <a:cubicBezTo>
                    <a:pt x="122" y="53"/>
                    <a:pt x="95" y="48"/>
                    <a:pt x="71" y="37"/>
                  </a:cubicBezTo>
                  <a:cubicBezTo>
                    <a:pt x="47" y="27"/>
                    <a:pt x="25" y="12"/>
                    <a:pt x="1" y="1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20" y="21"/>
                    <a:pt x="46" y="35"/>
                    <a:pt x="71" y="47"/>
                  </a:cubicBezTo>
                  <a:cubicBezTo>
                    <a:pt x="93" y="59"/>
                    <a:pt x="116" y="73"/>
                    <a:pt x="142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7" name="Freeform 71">
              <a:extLst>
                <a:ext uri="{FF2B5EF4-FFF2-40B4-BE49-F238E27FC236}">
                  <a16:creationId xmlns:a16="http://schemas.microsoft.com/office/drawing/2014/main" id="{E09FF08F-3369-4454-84D6-BB8BEBCF18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896"/>
              <a:ext cx="301" cy="427"/>
            </a:xfrm>
            <a:custGeom>
              <a:avLst/>
              <a:gdLst>
                <a:gd name="T0" fmla="*/ 201 w 202"/>
                <a:gd name="T1" fmla="*/ 2 h 287"/>
                <a:gd name="T2" fmla="*/ 200 w 202"/>
                <a:gd name="T3" fmla="*/ 1 h 287"/>
                <a:gd name="T4" fmla="*/ 17 w 202"/>
                <a:gd name="T5" fmla="*/ 276 h 287"/>
                <a:gd name="T6" fmla="*/ 34 w 202"/>
                <a:gd name="T7" fmla="*/ 274 h 287"/>
                <a:gd name="T8" fmla="*/ 201 w 202"/>
                <a:gd name="T9" fmla="*/ 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287">
                  <a:moveTo>
                    <a:pt x="201" y="2"/>
                  </a:moveTo>
                  <a:cubicBezTo>
                    <a:pt x="202" y="1"/>
                    <a:pt x="201" y="0"/>
                    <a:pt x="200" y="1"/>
                  </a:cubicBezTo>
                  <a:cubicBezTo>
                    <a:pt x="121" y="56"/>
                    <a:pt x="0" y="168"/>
                    <a:pt x="17" y="276"/>
                  </a:cubicBezTo>
                  <a:cubicBezTo>
                    <a:pt x="19" y="287"/>
                    <a:pt x="33" y="283"/>
                    <a:pt x="34" y="274"/>
                  </a:cubicBezTo>
                  <a:cubicBezTo>
                    <a:pt x="47" y="171"/>
                    <a:pt x="128" y="70"/>
                    <a:pt x="20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8" name="Freeform 72">
              <a:extLst>
                <a:ext uri="{FF2B5EF4-FFF2-40B4-BE49-F238E27FC236}">
                  <a16:creationId xmlns:a16="http://schemas.microsoft.com/office/drawing/2014/main" id="{D7108702-EECE-46AD-89C5-1F3A8C329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2" y="3315"/>
              <a:ext cx="316" cy="147"/>
            </a:xfrm>
            <a:custGeom>
              <a:avLst/>
              <a:gdLst>
                <a:gd name="T0" fmla="*/ 1 w 212"/>
                <a:gd name="T1" fmla="*/ 2 h 99"/>
                <a:gd name="T2" fmla="*/ 205 w 212"/>
                <a:gd name="T3" fmla="*/ 97 h 99"/>
                <a:gd name="T4" fmla="*/ 209 w 212"/>
                <a:gd name="T5" fmla="*/ 92 h 99"/>
                <a:gd name="T6" fmla="*/ 2 w 212"/>
                <a:gd name="T7" fmla="*/ 0 h 99"/>
                <a:gd name="T8" fmla="*/ 1 w 212"/>
                <a:gd name="T9" fmla="*/ 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99">
                  <a:moveTo>
                    <a:pt x="1" y="2"/>
                  </a:moveTo>
                  <a:cubicBezTo>
                    <a:pt x="77" y="23"/>
                    <a:pt x="137" y="59"/>
                    <a:pt x="205" y="97"/>
                  </a:cubicBezTo>
                  <a:cubicBezTo>
                    <a:pt x="208" y="99"/>
                    <a:pt x="212" y="95"/>
                    <a:pt x="209" y="92"/>
                  </a:cubicBezTo>
                  <a:cubicBezTo>
                    <a:pt x="155" y="40"/>
                    <a:pt x="73" y="13"/>
                    <a:pt x="2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99" name="Freeform 73">
              <a:extLst>
                <a:ext uri="{FF2B5EF4-FFF2-40B4-BE49-F238E27FC236}">
                  <a16:creationId xmlns:a16="http://schemas.microsoft.com/office/drawing/2014/main" id="{7BE1FE6F-86AB-481E-B6D5-9A9727ACB8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29" y="1885"/>
              <a:ext cx="424" cy="376"/>
            </a:xfrm>
            <a:custGeom>
              <a:avLst/>
              <a:gdLst>
                <a:gd name="T0" fmla="*/ 2 w 284"/>
                <a:gd name="T1" fmla="*/ 1 h 252"/>
                <a:gd name="T2" fmla="*/ 0 w 284"/>
                <a:gd name="T3" fmla="*/ 2 h 252"/>
                <a:gd name="T4" fmla="*/ 284 w 284"/>
                <a:gd name="T5" fmla="*/ 252 h 252"/>
                <a:gd name="T6" fmla="*/ 284 w 284"/>
                <a:gd name="T7" fmla="*/ 219 h 252"/>
                <a:gd name="T8" fmla="*/ 163 w 284"/>
                <a:gd name="T9" fmla="*/ 159 h 252"/>
                <a:gd name="T10" fmla="*/ 2 w 284"/>
                <a:gd name="T11" fmla="*/ 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4" h="252">
                  <a:moveTo>
                    <a:pt x="2" y="1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36" y="117"/>
                    <a:pt x="159" y="222"/>
                    <a:pt x="284" y="252"/>
                  </a:cubicBezTo>
                  <a:cubicBezTo>
                    <a:pt x="284" y="219"/>
                    <a:pt x="284" y="219"/>
                    <a:pt x="284" y="219"/>
                  </a:cubicBezTo>
                  <a:cubicBezTo>
                    <a:pt x="243" y="203"/>
                    <a:pt x="203" y="185"/>
                    <a:pt x="163" y="159"/>
                  </a:cubicBezTo>
                  <a:cubicBezTo>
                    <a:pt x="97" y="115"/>
                    <a:pt x="53" y="60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0" name="Freeform 74">
              <a:extLst>
                <a:ext uri="{FF2B5EF4-FFF2-40B4-BE49-F238E27FC236}">
                  <a16:creationId xmlns:a16="http://schemas.microsoft.com/office/drawing/2014/main" id="{72476FCF-FA9D-422C-83FD-ADE37DBC1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50" y="2788"/>
              <a:ext cx="97" cy="238"/>
            </a:xfrm>
            <a:custGeom>
              <a:avLst/>
              <a:gdLst>
                <a:gd name="T0" fmla="*/ 12 w 65"/>
                <a:gd name="T1" fmla="*/ 153 h 160"/>
                <a:gd name="T2" fmla="*/ 26 w 65"/>
                <a:gd name="T3" fmla="*/ 153 h 160"/>
                <a:gd name="T4" fmla="*/ 38 w 65"/>
                <a:gd name="T5" fmla="*/ 75 h 160"/>
                <a:gd name="T6" fmla="*/ 65 w 65"/>
                <a:gd name="T7" fmla="*/ 1 h 160"/>
                <a:gd name="T8" fmla="*/ 64 w 65"/>
                <a:gd name="T9" fmla="*/ 0 h 160"/>
                <a:gd name="T10" fmla="*/ 12 w 65"/>
                <a:gd name="T11" fmla="*/ 15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60">
                  <a:moveTo>
                    <a:pt x="12" y="153"/>
                  </a:moveTo>
                  <a:cubicBezTo>
                    <a:pt x="14" y="160"/>
                    <a:pt x="24" y="159"/>
                    <a:pt x="26" y="153"/>
                  </a:cubicBezTo>
                  <a:cubicBezTo>
                    <a:pt x="35" y="129"/>
                    <a:pt x="32" y="100"/>
                    <a:pt x="38" y="75"/>
                  </a:cubicBezTo>
                  <a:cubicBezTo>
                    <a:pt x="45" y="49"/>
                    <a:pt x="55" y="25"/>
                    <a:pt x="65" y="1"/>
                  </a:cubicBezTo>
                  <a:cubicBezTo>
                    <a:pt x="65" y="0"/>
                    <a:pt x="64" y="0"/>
                    <a:pt x="64" y="0"/>
                  </a:cubicBezTo>
                  <a:cubicBezTo>
                    <a:pt x="34" y="35"/>
                    <a:pt x="0" y="107"/>
                    <a:pt x="12" y="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1" name="Freeform 75">
              <a:extLst>
                <a:ext uri="{FF2B5EF4-FFF2-40B4-BE49-F238E27FC236}">
                  <a16:creationId xmlns:a16="http://schemas.microsoft.com/office/drawing/2014/main" id="{6946B8CA-82D1-4FEE-BA69-C4E400663E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2" y="3771"/>
              <a:ext cx="673" cy="251"/>
            </a:xfrm>
            <a:custGeom>
              <a:avLst/>
              <a:gdLst>
                <a:gd name="T0" fmla="*/ 4 w 451"/>
                <a:gd name="T1" fmla="*/ 12 h 169"/>
                <a:gd name="T2" fmla="*/ 4 w 451"/>
                <a:gd name="T3" fmla="*/ 18 h 169"/>
                <a:gd name="T4" fmla="*/ 450 w 451"/>
                <a:gd name="T5" fmla="*/ 169 h 169"/>
                <a:gd name="T6" fmla="*/ 451 w 451"/>
                <a:gd name="T7" fmla="*/ 169 h 169"/>
                <a:gd name="T8" fmla="*/ 4 w 451"/>
                <a:gd name="T9" fmla="*/ 12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1" h="169">
                  <a:moveTo>
                    <a:pt x="4" y="12"/>
                  </a:moveTo>
                  <a:cubicBezTo>
                    <a:pt x="0" y="12"/>
                    <a:pt x="0" y="18"/>
                    <a:pt x="4" y="18"/>
                  </a:cubicBezTo>
                  <a:cubicBezTo>
                    <a:pt x="173" y="16"/>
                    <a:pt x="319" y="62"/>
                    <a:pt x="450" y="169"/>
                  </a:cubicBezTo>
                  <a:cubicBezTo>
                    <a:pt x="450" y="169"/>
                    <a:pt x="451" y="169"/>
                    <a:pt x="451" y="169"/>
                  </a:cubicBezTo>
                  <a:cubicBezTo>
                    <a:pt x="354" y="26"/>
                    <a:pt x="161" y="0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2" name="Freeform 76">
              <a:extLst>
                <a:ext uri="{FF2B5EF4-FFF2-40B4-BE49-F238E27FC236}">
                  <a16:creationId xmlns:a16="http://schemas.microsoft.com/office/drawing/2014/main" id="{7FD0B67E-D309-4673-8530-66EA7FFEA3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" y="3823"/>
              <a:ext cx="108" cy="40"/>
            </a:xfrm>
            <a:custGeom>
              <a:avLst/>
              <a:gdLst>
                <a:gd name="T0" fmla="*/ 12 w 73"/>
                <a:gd name="T1" fmla="*/ 15 h 27"/>
                <a:gd name="T2" fmla="*/ 9 w 73"/>
                <a:gd name="T3" fmla="*/ 13 h 27"/>
                <a:gd name="T4" fmla="*/ 8 w 73"/>
                <a:gd name="T5" fmla="*/ 25 h 27"/>
                <a:gd name="T6" fmla="*/ 34 w 73"/>
                <a:gd name="T7" fmla="*/ 17 h 27"/>
                <a:gd name="T8" fmla="*/ 71 w 73"/>
                <a:gd name="T9" fmla="*/ 3 h 27"/>
                <a:gd name="T10" fmla="*/ 70 w 73"/>
                <a:gd name="T11" fmla="*/ 1 h 27"/>
                <a:gd name="T12" fmla="*/ 40 w 73"/>
                <a:gd name="T13" fmla="*/ 10 h 27"/>
                <a:gd name="T14" fmla="*/ 12 w 73"/>
                <a:gd name="T15" fmla="*/ 18 h 27"/>
                <a:gd name="T16" fmla="*/ 12 w 73"/>
                <a:gd name="T17" fmla="*/ 17 h 27"/>
                <a:gd name="T18" fmla="*/ 12 w 73"/>
                <a:gd name="T19" fmla="*/ 1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27">
                  <a:moveTo>
                    <a:pt x="12" y="15"/>
                  </a:moveTo>
                  <a:cubicBezTo>
                    <a:pt x="12" y="14"/>
                    <a:pt x="11" y="13"/>
                    <a:pt x="9" y="13"/>
                  </a:cubicBezTo>
                  <a:cubicBezTo>
                    <a:pt x="1" y="13"/>
                    <a:pt x="0" y="22"/>
                    <a:pt x="8" y="25"/>
                  </a:cubicBezTo>
                  <a:cubicBezTo>
                    <a:pt x="15" y="27"/>
                    <a:pt x="27" y="19"/>
                    <a:pt x="34" y="17"/>
                  </a:cubicBezTo>
                  <a:cubicBezTo>
                    <a:pt x="46" y="12"/>
                    <a:pt x="59" y="8"/>
                    <a:pt x="71" y="3"/>
                  </a:cubicBezTo>
                  <a:cubicBezTo>
                    <a:pt x="73" y="3"/>
                    <a:pt x="72" y="0"/>
                    <a:pt x="70" y="1"/>
                  </a:cubicBezTo>
                  <a:cubicBezTo>
                    <a:pt x="60" y="4"/>
                    <a:pt x="50" y="7"/>
                    <a:pt x="40" y="10"/>
                  </a:cubicBezTo>
                  <a:cubicBezTo>
                    <a:pt x="37" y="10"/>
                    <a:pt x="21" y="15"/>
                    <a:pt x="12" y="18"/>
                  </a:cubicBezTo>
                  <a:cubicBezTo>
                    <a:pt x="12" y="17"/>
                    <a:pt x="13" y="17"/>
                    <a:pt x="12" y="17"/>
                  </a:cubicBezTo>
                  <a:cubicBezTo>
                    <a:pt x="12" y="16"/>
                    <a:pt x="12" y="16"/>
                    <a:pt x="1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3" name="Freeform 77">
              <a:extLst>
                <a:ext uri="{FF2B5EF4-FFF2-40B4-BE49-F238E27FC236}">
                  <a16:creationId xmlns:a16="http://schemas.microsoft.com/office/drawing/2014/main" id="{24E3B67A-AC18-4C2E-8E3E-8E191F40D9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3" y="3961"/>
              <a:ext cx="191" cy="341"/>
            </a:xfrm>
            <a:custGeom>
              <a:avLst/>
              <a:gdLst>
                <a:gd name="T0" fmla="*/ 119 w 128"/>
                <a:gd name="T1" fmla="*/ 208 h 229"/>
                <a:gd name="T2" fmla="*/ 1 w 128"/>
                <a:gd name="T3" fmla="*/ 0 h 229"/>
                <a:gd name="T4" fmla="*/ 0 w 128"/>
                <a:gd name="T5" fmla="*/ 1 h 229"/>
                <a:gd name="T6" fmla="*/ 92 w 128"/>
                <a:gd name="T7" fmla="*/ 227 h 229"/>
                <a:gd name="T8" fmla="*/ 92 w 128"/>
                <a:gd name="T9" fmla="*/ 229 h 229"/>
                <a:gd name="T10" fmla="*/ 128 w 128"/>
                <a:gd name="T11" fmla="*/ 229 h 229"/>
                <a:gd name="T12" fmla="*/ 119 w 128"/>
                <a:gd name="T13" fmla="*/ 20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29">
                  <a:moveTo>
                    <a:pt x="119" y="208"/>
                  </a:moveTo>
                  <a:cubicBezTo>
                    <a:pt x="87" y="135"/>
                    <a:pt x="46" y="65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39" y="74"/>
                    <a:pt x="69" y="147"/>
                    <a:pt x="92" y="227"/>
                  </a:cubicBezTo>
                  <a:cubicBezTo>
                    <a:pt x="92" y="227"/>
                    <a:pt x="92" y="228"/>
                    <a:pt x="92" y="229"/>
                  </a:cubicBezTo>
                  <a:cubicBezTo>
                    <a:pt x="128" y="229"/>
                    <a:pt x="128" y="229"/>
                    <a:pt x="128" y="229"/>
                  </a:cubicBezTo>
                  <a:cubicBezTo>
                    <a:pt x="125" y="222"/>
                    <a:pt x="122" y="215"/>
                    <a:pt x="119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4" name="Freeform 78">
              <a:extLst>
                <a:ext uri="{FF2B5EF4-FFF2-40B4-BE49-F238E27FC236}">
                  <a16:creationId xmlns:a16="http://schemas.microsoft.com/office/drawing/2014/main" id="{35991C96-3DBF-4C77-889C-34221366B9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" y="3450"/>
              <a:ext cx="1627" cy="852"/>
            </a:xfrm>
            <a:custGeom>
              <a:avLst/>
              <a:gdLst>
                <a:gd name="T0" fmla="*/ 996 w 1091"/>
                <a:gd name="T1" fmla="*/ 325 h 572"/>
                <a:gd name="T2" fmla="*/ 708 w 1091"/>
                <a:gd name="T3" fmla="*/ 48 h 572"/>
                <a:gd name="T4" fmla="*/ 284 w 1091"/>
                <a:gd name="T5" fmla="*/ 94 h 572"/>
                <a:gd name="T6" fmla="*/ 0 w 1091"/>
                <a:gd name="T7" fmla="*/ 395 h 572"/>
                <a:gd name="T8" fmla="*/ 1 w 1091"/>
                <a:gd name="T9" fmla="*/ 395 h 572"/>
                <a:gd name="T10" fmla="*/ 301 w 1091"/>
                <a:gd name="T11" fmla="*/ 108 h 572"/>
                <a:gd name="T12" fmla="*/ 734 w 1091"/>
                <a:gd name="T13" fmla="*/ 98 h 572"/>
                <a:gd name="T14" fmla="*/ 1041 w 1091"/>
                <a:gd name="T15" fmla="*/ 572 h 572"/>
                <a:gd name="T16" fmla="*/ 1091 w 1091"/>
                <a:gd name="T17" fmla="*/ 572 h 572"/>
                <a:gd name="T18" fmla="*/ 996 w 1091"/>
                <a:gd name="T19" fmla="*/ 325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1" h="572">
                  <a:moveTo>
                    <a:pt x="996" y="325"/>
                  </a:moveTo>
                  <a:cubicBezTo>
                    <a:pt x="935" y="202"/>
                    <a:pt x="841" y="93"/>
                    <a:pt x="708" y="48"/>
                  </a:cubicBezTo>
                  <a:cubicBezTo>
                    <a:pt x="566" y="0"/>
                    <a:pt x="414" y="24"/>
                    <a:pt x="284" y="94"/>
                  </a:cubicBezTo>
                  <a:cubicBezTo>
                    <a:pt x="169" y="155"/>
                    <a:pt x="28" y="261"/>
                    <a:pt x="0" y="395"/>
                  </a:cubicBezTo>
                  <a:cubicBezTo>
                    <a:pt x="0" y="395"/>
                    <a:pt x="1" y="395"/>
                    <a:pt x="1" y="395"/>
                  </a:cubicBezTo>
                  <a:cubicBezTo>
                    <a:pt x="38" y="266"/>
                    <a:pt x="186" y="162"/>
                    <a:pt x="301" y="108"/>
                  </a:cubicBezTo>
                  <a:cubicBezTo>
                    <a:pt x="435" y="44"/>
                    <a:pt x="599" y="30"/>
                    <a:pt x="734" y="98"/>
                  </a:cubicBezTo>
                  <a:cubicBezTo>
                    <a:pt x="920" y="191"/>
                    <a:pt x="987" y="383"/>
                    <a:pt x="1041" y="572"/>
                  </a:cubicBezTo>
                  <a:cubicBezTo>
                    <a:pt x="1091" y="572"/>
                    <a:pt x="1091" y="572"/>
                    <a:pt x="1091" y="572"/>
                  </a:cubicBezTo>
                  <a:cubicBezTo>
                    <a:pt x="1067" y="486"/>
                    <a:pt x="1034" y="401"/>
                    <a:pt x="996" y="3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5" name="Freeform 79">
              <a:extLst>
                <a:ext uri="{FF2B5EF4-FFF2-40B4-BE49-F238E27FC236}">
                  <a16:creationId xmlns:a16="http://schemas.microsoft.com/office/drawing/2014/main" id="{1CC0F957-BDA0-4D19-9C11-72458662B3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0" y="3619"/>
              <a:ext cx="556" cy="333"/>
            </a:xfrm>
            <a:custGeom>
              <a:avLst/>
              <a:gdLst>
                <a:gd name="T0" fmla="*/ 209 w 373"/>
                <a:gd name="T1" fmla="*/ 84 h 224"/>
                <a:gd name="T2" fmla="*/ 372 w 373"/>
                <a:gd name="T3" fmla="*/ 223 h 224"/>
                <a:gd name="T4" fmla="*/ 373 w 373"/>
                <a:gd name="T5" fmla="*/ 223 h 224"/>
                <a:gd name="T6" fmla="*/ 233 w 373"/>
                <a:gd name="T7" fmla="*/ 77 h 224"/>
                <a:gd name="T8" fmla="*/ 5 w 373"/>
                <a:gd name="T9" fmla="*/ 7 h 224"/>
                <a:gd name="T10" fmla="*/ 5 w 373"/>
                <a:gd name="T11" fmla="*/ 16 h 224"/>
                <a:gd name="T12" fmla="*/ 209 w 373"/>
                <a:gd name="T13" fmla="*/ 8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3" h="224">
                  <a:moveTo>
                    <a:pt x="209" y="84"/>
                  </a:moveTo>
                  <a:cubicBezTo>
                    <a:pt x="265" y="118"/>
                    <a:pt x="347" y="161"/>
                    <a:pt x="372" y="223"/>
                  </a:cubicBezTo>
                  <a:cubicBezTo>
                    <a:pt x="372" y="224"/>
                    <a:pt x="373" y="224"/>
                    <a:pt x="373" y="223"/>
                  </a:cubicBezTo>
                  <a:cubicBezTo>
                    <a:pt x="354" y="159"/>
                    <a:pt x="286" y="113"/>
                    <a:pt x="233" y="77"/>
                  </a:cubicBezTo>
                  <a:cubicBezTo>
                    <a:pt x="164" y="29"/>
                    <a:pt x="90" y="0"/>
                    <a:pt x="5" y="7"/>
                  </a:cubicBezTo>
                  <a:cubicBezTo>
                    <a:pt x="0" y="8"/>
                    <a:pt x="0" y="15"/>
                    <a:pt x="5" y="16"/>
                  </a:cubicBezTo>
                  <a:cubicBezTo>
                    <a:pt x="78" y="19"/>
                    <a:pt x="148" y="46"/>
                    <a:pt x="209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6" name="Freeform 80">
              <a:extLst>
                <a:ext uri="{FF2B5EF4-FFF2-40B4-BE49-F238E27FC236}">
                  <a16:creationId xmlns:a16="http://schemas.microsoft.com/office/drawing/2014/main" id="{51678059-2B95-4E1A-A247-2B34C741D8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89" y="3632"/>
              <a:ext cx="575" cy="466"/>
            </a:xfrm>
            <a:custGeom>
              <a:avLst/>
              <a:gdLst>
                <a:gd name="T0" fmla="*/ 384 w 386"/>
                <a:gd name="T1" fmla="*/ 0 h 313"/>
                <a:gd name="T2" fmla="*/ 157 w 386"/>
                <a:gd name="T3" fmla="*/ 108 h 313"/>
                <a:gd name="T4" fmla="*/ 1 w 386"/>
                <a:gd name="T5" fmla="*/ 303 h 313"/>
                <a:gd name="T6" fmla="*/ 11 w 386"/>
                <a:gd name="T7" fmla="*/ 309 h 313"/>
                <a:gd name="T8" fmla="*/ 88 w 386"/>
                <a:gd name="T9" fmla="*/ 213 h 313"/>
                <a:gd name="T10" fmla="*/ 164 w 386"/>
                <a:gd name="T11" fmla="*/ 136 h 313"/>
                <a:gd name="T12" fmla="*/ 385 w 386"/>
                <a:gd name="T13" fmla="*/ 2 h 313"/>
                <a:gd name="T14" fmla="*/ 384 w 386"/>
                <a:gd name="T15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6" h="313">
                  <a:moveTo>
                    <a:pt x="384" y="0"/>
                  </a:moveTo>
                  <a:cubicBezTo>
                    <a:pt x="303" y="23"/>
                    <a:pt x="224" y="55"/>
                    <a:pt x="157" y="108"/>
                  </a:cubicBezTo>
                  <a:cubicBezTo>
                    <a:pt x="100" y="153"/>
                    <a:pt x="15" y="228"/>
                    <a:pt x="1" y="303"/>
                  </a:cubicBezTo>
                  <a:cubicBezTo>
                    <a:pt x="0" y="309"/>
                    <a:pt x="6" y="313"/>
                    <a:pt x="11" y="309"/>
                  </a:cubicBezTo>
                  <a:cubicBezTo>
                    <a:pt x="42" y="283"/>
                    <a:pt x="61" y="244"/>
                    <a:pt x="88" y="213"/>
                  </a:cubicBezTo>
                  <a:cubicBezTo>
                    <a:pt x="111" y="185"/>
                    <a:pt x="137" y="160"/>
                    <a:pt x="164" y="136"/>
                  </a:cubicBezTo>
                  <a:cubicBezTo>
                    <a:pt x="230" y="79"/>
                    <a:pt x="303" y="31"/>
                    <a:pt x="385" y="2"/>
                  </a:cubicBezTo>
                  <a:cubicBezTo>
                    <a:pt x="386" y="1"/>
                    <a:pt x="385" y="0"/>
                    <a:pt x="38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7" name="Freeform 81">
              <a:extLst>
                <a:ext uri="{FF2B5EF4-FFF2-40B4-BE49-F238E27FC236}">
                  <a16:creationId xmlns:a16="http://schemas.microsoft.com/office/drawing/2014/main" id="{5CBC2262-4A99-4333-8AEF-2395E32F9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8" y="3596"/>
              <a:ext cx="167" cy="30"/>
            </a:xfrm>
            <a:custGeom>
              <a:avLst/>
              <a:gdLst>
                <a:gd name="T0" fmla="*/ 110 w 112"/>
                <a:gd name="T1" fmla="*/ 6 h 20"/>
                <a:gd name="T2" fmla="*/ 110 w 112"/>
                <a:gd name="T3" fmla="*/ 4 h 20"/>
                <a:gd name="T4" fmla="*/ 4 w 112"/>
                <a:gd name="T5" fmla="*/ 13 h 20"/>
                <a:gd name="T6" fmla="*/ 5 w 112"/>
                <a:gd name="T7" fmla="*/ 20 h 20"/>
                <a:gd name="T8" fmla="*/ 110 w 112"/>
                <a:gd name="T9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20">
                  <a:moveTo>
                    <a:pt x="110" y="6"/>
                  </a:moveTo>
                  <a:cubicBezTo>
                    <a:pt x="112" y="6"/>
                    <a:pt x="112" y="4"/>
                    <a:pt x="110" y="4"/>
                  </a:cubicBezTo>
                  <a:cubicBezTo>
                    <a:pt x="76" y="2"/>
                    <a:pt x="36" y="0"/>
                    <a:pt x="4" y="13"/>
                  </a:cubicBezTo>
                  <a:cubicBezTo>
                    <a:pt x="0" y="14"/>
                    <a:pt x="0" y="20"/>
                    <a:pt x="5" y="20"/>
                  </a:cubicBezTo>
                  <a:cubicBezTo>
                    <a:pt x="40" y="19"/>
                    <a:pt x="75" y="9"/>
                    <a:pt x="1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8" name="Freeform 82">
              <a:extLst>
                <a:ext uri="{FF2B5EF4-FFF2-40B4-BE49-F238E27FC236}">
                  <a16:creationId xmlns:a16="http://schemas.microsoft.com/office/drawing/2014/main" id="{96027151-3970-41FB-BFD0-136284413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" y="3940"/>
              <a:ext cx="78" cy="99"/>
            </a:xfrm>
            <a:custGeom>
              <a:avLst/>
              <a:gdLst>
                <a:gd name="T0" fmla="*/ 5 w 52"/>
                <a:gd name="T1" fmla="*/ 63 h 66"/>
                <a:gd name="T2" fmla="*/ 51 w 52"/>
                <a:gd name="T3" fmla="*/ 2 h 66"/>
                <a:gd name="T4" fmla="*/ 50 w 52"/>
                <a:gd name="T5" fmla="*/ 0 h 66"/>
                <a:gd name="T6" fmla="*/ 1 w 52"/>
                <a:gd name="T7" fmla="*/ 61 h 66"/>
                <a:gd name="T8" fmla="*/ 5 w 52"/>
                <a:gd name="T9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6">
                  <a:moveTo>
                    <a:pt x="5" y="63"/>
                  </a:moveTo>
                  <a:cubicBezTo>
                    <a:pt x="19" y="41"/>
                    <a:pt x="31" y="19"/>
                    <a:pt x="51" y="2"/>
                  </a:cubicBezTo>
                  <a:cubicBezTo>
                    <a:pt x="52" y="1"/>
                    <a:pt x="51" y="0"/>
                    <a:pt x="50" y="0"/>
                  </a:cubicBezTo>
                  <a:cubicBezTo>
                    <a:pt x="30" y="16"/>
                    <a:pt x="9" y="37"/>
                    <a:pt x="1" y="61"/>
                  </a:cubicBezTo>
                  <a:cubicBezTo>
                    <a:pt x="0" y="64"/>
                    <a:pt x="4" y="66"/>
                    <a:pt x="5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09" name="Freeform 83">
              <a:extLst>
                <a:ext uri="{FF2B5EF4-FFF2-40B4-BE49-F238E27FC236}">
                  <a16:creationId xmlns:a16="http://schemas.microsoft.com/office/drawing/2014/main" id="{5AFDEBEE-7B66-460A-BD8D-B08867CFE9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3" y="3648"/>
              <a:ext cx="1031" cy="268"/>
            </a:xfrm>
            <a:custGeom>
              <a:avLst/>
              <a:gdLst>
                <a:gd name="T0" fmla="*/ 2 w 691"/>
                <a:gd name="T1" fmla="*/ 158 h 180"/>
                <a:gd name="T2" fmla="*/ 681 w 691"/>
                <a:gd name="T3" fmla="*/ 176 h 180"/>
                <a:gd name="T4" fmla="*/ 687 w 691"/>
                <a:gd name="T5" fmla="*/ 169 h 180"/>
                <a:gd name="T6" fmla="*/ 346 w 691"/>
                <a:gd name="T7" fmla="*/ 7 h 180"/>
                <a:gd name="T8" fmla="*/ 1 w 691"/>
                <a:gd name="T9" fmla="*/ 157 h 180"/>
                <a:gd name="T10" fmla="*/ 2 w 691"/>
                <a:gd name="T11" fmla="*/ 15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1" h="180">
                  <a:moveTo>
                    <a:pt x="2" y="158"/>
                  </a:moveTo>
                  <a:cubicBezTo>
                    <a:pt x="204" y="0"/>
                    <a:pt x="483" y="18"/>
                    <a:pt x="681" y="176"/>
                  </a:cubicBezTo>
                  <a:cubicBezTo>
                    <a:pt x="686" y="180"/>
                    <a:pt x="691" y="174"/>
                    <a:pt x="687" y="169"/>
                  </a:cubicBezTo>
                  <a:cubicBezTo>
                    <a:pt x="601" y="65"/>
                    <a:pt x="482" y="8"/>
                    <a:pt x="346" y="7"/>
                  </a:cubicBezTo>
                  <a:cubicBezTo>
                    <a:pt x="218" y="6"/>
                    <a:pt x="90" y="66"/>
                    <a:pt x="1" y="157"/>
                  </a:cubicBezTo>
                  <a:cubicBezTo>
                    <a:pt x="0" y="158"/>
                    <a:pt x="1" y="158"/>
                    <a:pt x="2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0" name="Freeform 84">
              <a:extLst>
                <a:ext uri="{FF2B5EF4-FFF2-40B4-BE49-F238E27FC236}">
                  <a16:creationId xmlns:a16="http://schemas.microsoft.com/office/drawing/2014/main" id="{833C00C4-2AC5-44DF-AFC2-C7E0A901AD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9" y="4246"/>
              <a:ext cx="91" cy="56"/>
            </a:xfrm>
            <a:custGeom>
              <a:avLst/>
              <a:gdLst>
                <a:gd name="T0" fmla="*/ 60 w 61"/>
                <a:gd name="T1" fmla="*/ 2 h 38"/>
                <a:gd name="T2" fmla="*/ 60 w 61"/>
                <a:gd name="T3" fmla="*/ 0 h 38"/>
                <a:gd name="T4" fmla="*/ 0 w 61"/>
                <a:gd name="T5" fmla="*/ 38 h 38"/>
                <a:gd name="T6" fmla="*/ 22 w 61"/>
                <a:gd name="T7" fmla="*/ 38 h 38"/>
                <a:gd name="T8" fmla="*/ 60 w 61"/>
                <a:gd name="T9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8">
                  <a:moveTo>
                    <a:pt x="60" y="2"/>
                  </a:moveTo>
                  <a:cubicBezTo>
                    <a:pt x="61" y="1"/>
                    <a:pt x="60" y="0"/>
                    <a:pt x="60" y="0"/>
                  </a:cubicBezTo>
                  <a:cubicBezTo>
                    <a:pt x="36" y="7"/>
                    <a:pt x="15" y="20"/>
                    <a:pt x="0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32" y="24"/>
                    <a:pt x="44" y="11"/>
                    <a:pt x="6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1" name="Freeform 85">
              <a:extLst>
                <a:ext uri="{FF2B5EF4-FFF2-40B4-BE49-F238E27FC236}">
                  <a16:creationId xmlns:a16="http://schemas.microsoft.com/office/drawing/2014/main" id="{7124380A-078F-46B2-916E-12FEDA6851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34" y="4164"/>
              <a:ext cx="203" cy="138"/>
            </a:xfrm>
            <a:custGeom>
              <a:avLst/>
              <a:gdLst>
                <a:gd name="T0" fmla="*/ 28 w 136"/>
                <a:gd name="T1" fmla="*/ 80 h 93"/>
                <a:gd name="T2" fmla="*/ 135 w 136"/>
                <a:gd name="T3" fmla="*/ 20 h 93"/>
                <a:gd name="T4" fmla="*/ 135 w 136"/>
                <a:gd name="T5" fmla="*/ 18 h 93"/>
                <a:gd name="T6" fmla="*/ 20 w 136"/>
                <a:gd name="T7" fmla="*/ 62 h 93"/>
                <a:gd name="T8" fmla="*/ 0 w 136"/>
                <a:gd name="T9" fmla="*/ 93 h 93"/>
                <a:gd name="T10" fmla="*/ 19 w 136"/>
                <a:gd name="T11" fmla="*/ 93 h 93"/>
                <a:gd name="T12" fmla="*/ 28 w 136"/>
                <a:gd name="T13" fmla="*/ 8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93">
                  <a:moveTo>
                    <a:pt x="28" y="80"/>
                  </a:moveTo>
                  <a:cubicBezTo>
                    <a:pt x="53" y="44"/>
                    <a:pt x="89" y="17"/>
                    <a:pt x="135" y="20"/>
                  </a:cubicBezTo>
                  <a:cubicBezTo>
                    <a:pt x="136" y="20"/>
                    <a:pt x="136" y="18"/>
                    <a:pt x="135" y="18"/>
                  </a:cubicBezTo>
                  <a:cubicBezTo>
                    <a:pt x="92" y="0"/>
                    <a:pt x="46" y="29"/>
                    <a:pt x="20" y="62"/>
                  </a:cubicBezTo>
                  <a:cubicBezTo>
                    <a:pt x="13" y="71"/>
                    <a:pt x="6" y="81"/>
                    <a:pt x="0" y="93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2" y="88"/>
                    <a:pt x="25" y="84"/>
                    <a:pt x="2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2" name="Freeform 86">
              <a:extLst>
                <a:ext uri="{FF2B5EF4-FFF2-40B4-BE49-F238E27FC236}">
                  <a16:creationId xmlns:a16="http://schemas.microsoft.com/office/drawing/2014/main" id="{7C28A659-4435-49C6-AB4D-14B3541704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08" y="3772"/>
              <a:ext cx="113" cy="83"/>
            </a:xfrm>
            <a:custGeom>
              <a:avLst/>
              <a:gdLst>
                <a:gd name="T0" fmla="*/ 4 w 76"/>
                <a:gd name="T1" fmla="*/ 46 h 56"/>
                <a:gd name="T2" fmla="*/ 10 w 76"/>
                <a:gd name="T3" fmla="*/ 52 h 56"/>
                <a:gd name="T4" fmla="*/ 75 w 76"/>
                <a:gd name="T5" fmla="*/ 2 h 56"/>
                <a:gd name="T6" fmla="*/ 74 w 76"/>
                <a:gd name="T7" fmla="*/ 0 h 56"/>
                <a:gd name="T8" fmla="*/ 4 w 76"/>
                <a:gd name="T9" fmla="*/ 4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56">
                  <a:moveTo>
                    <a:pt x="4" y="46"/>
                  </a:moveTo>
                  <a:cubicBezTo>
                    <a:pt x="0" y="50"/>
                    <a:pt x="6" y="56"/>
                    <a:pt x="10" y="52"/>
                  </a:cubicBezTo>
                  <a:cubicBezTo>
                    <a:pt x="28" y="31"/>
                    <a:pt x="49" y="14"/>
                    <a:pt x="75" y="2"/>
                  </a:cubicBezTo>
                  <a:cubicBezTo>
                    <a:pt x="76" y="2"/>
                    <a:pt x="75" y="0"/>
                    <a:pt x="74" y="0"/>
                  </a:cubicBezTo>
                  <a:cubicBezTo>
                    <a:pt x="47" y="9"/>
                    <a:pt x="22" y="24"/>
                    <a:pt x="4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3" name="Freeform 87">
              <a:extLst>
                <a:ext uri="{FF2B5EF4-FFF2-40B4-BE49-F238E27FC236}">
                  <a16:creationId xmlns:a16="http://schemas.microsoft.com/office/drawing/2014/main" id="{4B4905D0-9AAA-43EB-A312-F0614DD888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8" y="4009"/>
              <a:ext cx="117" cy="126"/>
            </a:xfrm>
            <a:custGeom>
              <a:avLst/>
              <a:gdLst>
                <a:gd name="T0" fmla="*/ 43 w 79"/>
                <a:gd name="T1" fmla="*/ 45 h 85"/>
                <a:gd name="T2" fmla="*/ 74 w 79"/>
                <a:gd name="T3" fmla="*/ 84 h 85"/>
                <a:gd name="T4" fmla="*/ 79 w 79"/>
                <a:gd name="T5" fmla="*/ 81 h 85"/>
                <a:gd name="T6" fmla="*/ 49 w 79"/>
                <a:gd name="T7" fmla="*/ 34 h 85"/>
                <a:gd name="T8" fmla="*/ 1 w 79"/>
                <a:gd name="T9" fmla="*/ 0 h 85"/>
                <a:gd name="T10" fmla="*/ 0 w 79"/>
                <a:gd name="T11" fmla="*/ 0 h 85"/>
                <a:gd name="T12" fmla="*/ 43 w 79"/>
                <a:gd name="T13" fmla="*/ 4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85">
                  <a:moveTo>
                    <a:pt x="43" y="45"/>
                  </a:moveTo>
                  <a:cubicBezTo>
                    <a:pt x="53" y="58"/>
                    <a:pt x="60" y="74"/>
                    <a:pt x="74" y="84"/>
                  </a:cubicBezTo>
                  <a:cubicBezTo>
                    <a:pt x="76" y="85"/>
                    <a:pt x="79" y="83"/>
                    <a:pt x="79" y="81"/>
                  </a:cubicBezTo>
                  <a:cubicBezTo>
                    <a:pt x="78" y="62"/>
                    <a:pt x="62" y="47"/>
                    <a:pt x="49" y="34"/>
                  </a:cubicBezTo>
                  <a:cubicBezTo>
                    <a:pt x="35" y="21"/>
                    <a:pt x="19" y="6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16"/>
                    <a:pt x="31" y="28"/>
                    <a:pt x="43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4" name="Freeform 88">
              <a:extLst>
                <a:ext uri="{FF2B5EF4-FFF2-40B4-BE49-F238E27FC236}">
                  <a16:creationId xmlns:a16="http://schemas.microsoft.com/office/drawing/2014/main" id="{E509DB3F-DA6F-4C81-985C-C6977F2B90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64" y="4030"/>
              <a:ext cx="289" cy="272"/>
            </a:xfrm>
            <a:custGeom>
              <a:avLst/>
              <a:gdLst>
                <a:gd name="T0" fmla="*/ 2 w 194"/>
                <a:gd name="T1" fmla="*/ 30 h 183"/>
                <a:gd name="T2" fmla="*/ 2 w 194"/>
                <a:gd name="T3" fmla="*/ 33 h 183"/>
                <a:gd name="T4" fmla="*/ 155 w 194"/>
                <a:gd name="T5" fmla="*/ 137 h 183"/>
                <a:gd name="T6" fmla="*/ 167 w 194"/>
                <a:gd name="T7" fmla="*/ 183 h 183"/>
                <a:gd name="T8" fmla="*/ 194 w 194"/>
                <a:gd name="T9" fmla="*/ 183 h 183"/>
                <a:gd name="T10" fmla="*/ 2 w 194"/>
                <a:gd name="T11" fmla="*/ 3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183">
                  <a:moveTo>
                    <a:pt x="2" y="30"/>
                  </a:moveTo>
                  <a:cubicBezTo>
                    <a:pt x="0" y="31"/>
                    <a:pt x="1" y="33"/>
                    <a:pt x="2" y="33"/>
                  </a:cubicBezTo>
                  <a:cubicBezTo>
                    <a:pt x="73" y="22"/>
                    <a:pt x="131" y="74"/>
                    <a:pt x="155" y="137"/>
                  </a:cubicBezTo>
                  <a:cubicBezTo>
                    <a:pt x="160" y="152"/>
                    <a:pt x="164" y="168"/>
                    <a:pt x="167" y="183"/>
                  </a:cubicBezTo>
                  <a:cubicBezTo>
                    <a:pt x="194" y="183"/>
                    <a:pt x="194" y="183"/>
                    <a:pt x="194" y="183"/>
                  </a:cubicBezTo>
                  <a:cubicBezTo>
                    <a:pt x="168" y="91"/>
                    <a:pt x="97" y="0"/>
                    <a:pt x="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5" name="Freeform 89">
              <a:extLst>
                <a:ext uri="{FF2B5EF4-FFF2-40B4-BE49-F238E27FC236}">
                  <a16:creationId xmlns:a16="http://schemas.microsoft.com/office/drawing/2014/main" id="{01710F9C-35DD-489C-846A-9D7B1B6C39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97" y="3997"/>
              <a:ext cx="333" cy="305"/>
            </a:xfrm>
            <a:custGeom>
              <a:avLst/>
              <a:gdLst>
                <a:gd name="T0" fmla="*/ 64 w 223"/>
                <a:gd name="T1" fmla="*/ 117 h 205"/>
                <a:gd name="T2" fmla="*/ 222 w 223"/>
                <a:gd name="T3" fmla="*/ 2 h 205"/>
                <a:gd name="T4" fmla="*/ 222 w 223"/>
                <a:gd name="T5" fmla="*/ 0 h 205"/>
                <a:gd name="T6" fmla="*/ 50 w 223"/>
                <a:gd name="T7" fmla="*/ 100 h 205"/>
                <a:gd name="T8" fmla="*/ 0 w 223"/>
                <a:gd name="T9" fmla="*/ 205 h 205"/>
                <a:gd name="T10" fmla="*/ 27 w 223"/>
                <a:gd name="T11" fmla="*/ 205 h 205"/>
                <a:gd name="T12" fmla="*/ 64 w 223"/>
                <a:gd name="T13" fmla="*/ 117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05">
                  <a:moveTo>
                    <a:pt x="64" y="117"/>
                  </a:moveTo>
                  <a:cubicBezTo>
                    <a:pt x="102" y="62"/>
                    <a:pt x="159" y="22"/>
                    <a:pt x="222" y="2"/>
                  </a:cubicBezTo>
                  <a:cubicBezTo>
                    <a:pt x="223" y="1"/>
                    <a:pt x="223" y="0"/>
                    <a:pt x="222" y="0"/>
                  </a:cubicBezTo>
                  <a:cubicBezTo>
                    <a:pt x="153" y="12"/>
                    <a:pt x="93" y="43"/>
                    <a:pt x="50" y="100"/>
                  </a:cubicBezTo>
                  <a:cubicBezTo>
                    <a:pt x="28" y="129"/>
                    <a:pt x="10" y="166"/>
                    <a:pt x="0" y="205"/>
                  </a:cubicBezTo>
                  <a:cubicBezTo>
                    <a:pt x="27" y="205"/>
                    <a:pt x="27" y="205"/>
                    <a:pt x="27" y="205"/>
                  </a:cubicBezTo>
                  <a:cubicBezTo>
                    <a:pt x="34" y="175"/>
                    <a:pt x="44" y="146"/>
                    <a:pt x="64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6" name="Freeform 90">
              <a:extLst>
                <a:ext uri="{FF2B5EF4-FFF2-40B4-BE49-F238E27FC236}">
                  <a16:creationId xmlns:a16="http://schemas.microsoft.com/office/drawing/2014/main" id="{028055B4-7B3C-440B-86BD-7EBA5E2A9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3" y="4070"/>
              <a:ext cx="59" cy="117"/>
            </a:xfrm>
            <a:custGeom>
              <a:avLst/>
              <a:gdLst>
                <a:gd name="T0" fmla="*/ 1 w 40"/>
                <a:gd name="T1" fmla="*/ 75 h 79"/>
                <a:gd name="T2" fmla="*/ 5 w 40"/>
                <a:gd name="T3" fmla="*/ 77 h 79"/>
                <a:gd name="T4" fmla="*/ 40 w 40"/>
                <a:gd name="T5" fmla="*/ 1 h 79"/>
                <a:gd name="T6" fmla="*/ 39 w 40"/>
                <a:gd name="T7" fmla="*/ 1 h 79"/>
                <a:gd name="T8" fmla="*/ 1 w 40"/>
                <a:gd name="T9" fmla="*/ 7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79">
                  <a:moveTo>
                    <a:pt x="1" y="75"/>
                  </a:moveTo>
                  <a:cubicBezTo>
                    <a:pt x="0" y="77"/>
                    <a:pt x="4" y="79"/>
                    <a:pt x="5" y="77"/>
                  </a:cubicBezTo>
                  <a:cubicBezTo>
                    <a:pt x="20" y="54"/>
                    <a:pt x="29" y="26"/>
                    <a:pt x="40" y="1"/>
                  </a:cubicBezTo>
                  <a:cubicBezTo>
                    <a:pt x="40" y="1"/>
                    <a:pt x="39" y="0"/>
                    <a:pt x="39" y="1"/>
                  </a:cubicBezTo>
                  <a:cubicBezTo>
                    <a:pt x="26" y="25"/>
                    <a:pt x="10" y="49"/>
                    <a:pt x="1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7" name="Freeform 91">
              <a:extLst>
                <a:ext uri="{FF2B5EF4-FFF2-40B4-BE49-F238E27FC236}">
                  <a16:creationId xmlns:a16="http://schemas.microsoft.com/office/drawing/2014/main" id="{7BFDA120-5A82-42D3-B4CC-F0D7228CCC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33" y="4009"/>
              <a:ext cx="213" cy="293"/>
            </a:xfrm>
            <a:custGeom>
              <a:avLst/>
              <a:gdLst>
                <a:gd name="T0" fmla="*/ 31 w 143"/>
                <a:gd name="T1" fmla="*/ 127 h 197"/>
                <a:gd name="T2" fmla="*/ 143 w 143"/>
                <a:gd name="T3" fmla="*/ 1 h 197"/>
                <a:gd name="T4" fmla="*/ 142 w 143"/>
                <a:gd name="T5" fmla="*/ 1 h 197"/>
                <a:gd name="T6" fmla="*/ 24 w 143"/>
                <a:gd name="T7" fmla="*/ 123 h 197"/>
                <a:gd name="T8" fmla="*/ 0 w 143"/>
                <a:gd name="T9" fmla="*/ 197 h 197"/>
                <a:gd name="T10" fmla="*/ 8 w 143"/>
                <a:gd name="T11" fmla="*/ 197 h 197"/>
                <a:gd name="T12" fmla="*/ 31 w 143"/>
                <a:gd name="T13" fmla="*/ 12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197">
                  <a:moveTo>
                    <a:pt x="31" y="127"/>
                  </a:moveTo>
                  <a:cubicBezTo>
                    <a:pt x="56" y="76"/>
                    <a:pt x="97" y="34"/>
                    <a:pt x="143" y="1"/>
                  </a:cubicBezTo>
                  <a:cubicBezTo>
                    <a:pt x="143" y="1"/>
                    <a:pt x="143" y="0"/>
                    <a:pt x="142" y="1"/>
                  </a:cubicBezTo>
                  <a:cubicBezTo>
                    <a:pt x="93" y="32"/>
                    <a:pt x="51" y="70"/>
                    <a:pt x="24" y="123"/>
                  </a:cubicBezTo>
                  <a:cubicBezTo>
                    <a:pt x="13" y="147"/>
                    <a:pt x="5" y="172"/>
                    <a:pt x="0" y="197"/>
                  </a:cubicBezTo>
                  <a:cubicBezTo>
                    <a:pt x="8" y="197"/>
                    <a:pt x="8" y="197"/>
                    <a:pt x="8" y="197"/>
                  </a:cubicBezTo>
                  <a:cubicBezTo>
                    <a:pt x="13" y="173"/>
                    <a:pt x="20" y="149"/>
                    <a:pt x="31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8" name="Freeform 92">
              <a:extLst>
                <a:ext uri="{FF2B5EF4-FFF2-40B4-BE49-F238E27FC236}">
                  <a16:creationId xmlns:a16="http://schemas.microsoft.com/office/drawing/2014/main" id="{285C4739-5DD7-47A6-A6D3-95A0998E03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4" y="3812"/>
              <a:ext cx="590" cy="490"/>
            </a:xfrm>
            <a:custGeom>
              <a:avLst/>
              <a:gdLst>
                <a:gd name="T0" fmla="*/ 128 w 396"/>
                <a:gd name="T1" fmla="*/ 127 h 329"/>
                <a:gd name="T2" fmla="*/ 395 w 396"/>
                <a:gd name="T3" fmla="*/ 2 h 329"/>
                <a:gd name="T4" fmla="*/ 395 w 396"/>
                <a:gd name="T5" fmla="*/ 1 h 329"/>
                <a:gd name="T6" fmla="*/ 117 w 396"/>
                <a:gd name="T7" fmla="*/ 105 h 329"/>
                <a:gd name="T8" fmla="*/ 0 w 396"/>
                <a:gd name="T9" fmla="*/ 329 h 329"/>
                <a:gd name="T10" fmla="*/ 25 w 396"/>
                <a:gd name="T11" fmla="*/ 329 h 329"/>
                <a:gd name="T12" fmla="*/ 128 w 396"/>
                <a:gd name="T13" fmla="*/ 127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6" h="329">
                  <a:moveTo>
                    <a:pt x="128" y="127"/>
                  </a:moveTo>
                  <a:cubicBezTo>
                    <a:pt x="197" y="57"/>
                    <a:pt x="296" y="10"/>
                    <a:pt x="395" y="2"/>
                  </a:cubicBezTo>
                  <a:cubicBezTo>
                    <a:pt x="395" y="2"/>
                    <a:pt x="396" y="1"/>
                    <a:pt x="395" y="1"/>
                  </a:cubicBezTo>
                  <a:cubicBezTo>
                    <a:pt x="290" y="0"/>
                    <a:pt x="194" y="31"/>
                    <a:pt x="117" y="105"/>
                  </a:cubicBezTo>
                  <a:cubicBezTo>
                    <a:pt x="59" y="161"/>
                    <a:pt x="9" y="245"/>
                    <a:pt x="0" y="329"/>
                  </a:cubicBezTo>
                  <a:cubicBezTo>
                    <a:pt x="25" y="329"/>
                    <a:pt x="25" y="329"/>
                    <a:pt x="25" y="329"/>
                  </a:cubicBezTo>
                  <a:cubicBezTo>
                    <a:pt x="45" y="254"/>
                    <a:pt x="70" y="186"/>
                    <a:pt x="128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19" name="Freeform 93">
              <a:extLst>
                <a:ext uri="{FF2B5EF4-FFF2-40B4-BE49-F238E27FC236}">
                  <a16:creationId xmlns:a16="http://schemas.microsoft.com/office/drawing/2014/main" id="{CDCB20DE-5704-4B95-92E8-035230C842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3" y="3845"/>
              <a:ext cx="309" cy="153"/>
            </a:xfrm>
            <a:custGeom>
              <a:avLst/>
              <a:gdLst>
                <a:gd name="T0" fmla="*/ 11 w 207"/>
                <a:gd name="T1" fmla="*/ 99 h 103"/>
                <a:gd name="T2" fmla="*/ 198 w 207"/>
                <a:gd name="T3" fmla="*/ 7 h 103"/>
                <a:gd name="T4" fmla="*/ 201 w 207"/>
                <a:gd name="T5" fmla="*/ 9 h 103"/>
                <a:gd name="T6" fmla="*/ 201 w 207"/>
                <a:gd name="T7" fmla="*/ 0 h 103"/>
                <a:gd name="T8" fmla="*/ 197 w 207"/>
                <a:gd name="T9" fmla="*/ 6 h 103"/>
                <a:gd name="T10" fmla="*/ 4 w 207"/>
                <a:gd name="T11" fmla="*/ 93 h 103"/>
                <a:gd name="T12" fmla="*/ 11 w 207"/>
                <a:gd name="T13" fmla="*/ 9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" h="103">
                  <a:moveTo>
                    <a:pt x="11" y="99"/>
                  </a:moveTo>
                  <a:cubicBezTo>
                    <a:pt x="68" y="55"/>
                    <a:pt x="127" y="24"/>
                    <a:pt x="198" y="7"/>
                  </a:cubicBezTo>
                  <a:cubicBezTo>
                    <a:pt x="198" y="8"/>
                    <a:pt x="199" y="9"/>
                    <a:pt x="201" y="9"/>
                  </a:cubicBezTo>
                  <a:cubicBezTo>
                    <a:pt x="207" y="9"/>
                    <a:pt x="207" y="0"/>
                    <a:pt x="201" y="0"/>
                  </a:cubicBezTo>
                  <a:cubicBezTo>
                    <a:pt x="198" y="0"/>
                    <a:pt x="196" y="3"/>
                    <a:pt x="197" y="6"/>
                  </a:cubicBezTo>
                  <a:cubicBezTo>
                    <a:pt x="126" y="14"/>
                    <a:pt x="57" y="43"/>
                    <a:pt x="4" y="93"/>
                  </a:cubicBezTo>
                  <a:cubicBezTo>
                    <a:pt x="0" y="97"/>
                    <a:pt x="6" y="103"/>
                    <a:pt x="1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0" name="Freeform 94">
              <a:extLst>
                <a:ext uri="{FF2B5EF4-FFF2-40B4-BE49-F238E27FC236}">
                  <a16:creationId xmlns:a16="http://schemas.microsoft.com/office/drawing/2014/main" id="{9D6AEAD5-7E44-4499-9C8F-CC46A3F52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73" y="3982"/>
              <a:ext cx="219" cy="320"/>
            </a:xfrm>
            <a:custGeom>
              <a:avLst/>
              <a:gdLst>
                <a:gd name="T0" fmla="*/ 111 w 147"/>
                <a:gd name="T1" fmla="*/ 133 h 215"/>
                <a:gd name="T2" fmla="*/ 1 w 147"/>
                <a:gd name="T3" fmla="*/ 0 h 215"/>
                <a:gd name="T4" fmla="*/ 0 w 147"/>
                <a:gd name="T5" fmla="*/ 1 h 215"/>
                <a:gd name="T6" fmla="*/ 102 w 147"/>
                <a:gd name="T7" fmla="*/ 175 h 215"/>
                <a:gd name="T8" fmla="*/ 113 w 147"/>
                <a:gd name="T9" fmla="*/ 215 h 215"/>
                <a:gd name="T10" fmla="*/ 147 w 147"/>
                <a:gd name="T11" fmla="*/ 215 h 215"/>
                <a:gd name="T12" fmla="*/ 111 w 147"/>
                <a:gd name="T13" fmla="*/ 133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215">
                  <a:moveTo>
                    <a:pt x="111" y="133"/>
                  </a:moveTo>
                  <a:cubicBezTo>
                    <a:pt x="88" y="88"/>
                    <a:pt x="55" y="16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59" y="27"/>
                    <a:pt x="84" y="119"/>
                    <a:pt x="102" y="175"/>
                  </a:cubicBezTo>
                  <a:cubicBezTo>
                    <a:pt x="106" y="188"/>
                    <a:pt x="110" y="202"/>
                    <a:pt x="113" y="215"/>
                  </a:cubicBezTo>
                  <a:cubicBezTo>
                    <a:pt x="147" y="215"/>
                    <a:pt x="147" y="215"/>
                    <a:pt x="147" y="215"/>
                  </a:cubicBezTo>
                  <a:cubicBezTo>
                    <a:pt x="136" y="186"/>
                    <a:pt x="123" y="159"/>
                    <a:pt x="111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1" name="Freeform 95">
              <a:extLst>
                <a:ext uri="{FF2B5EF4-FFF2-40B4-BE49-F238E27FC236}">
                  <a16:creationId xmlns:a16="http://schemas.microsoft.com/office/drawing/2014/main" id="{08D82AF5-46AB-4F79-861E-28959E56E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2718"/>
              <a:ext cx="695" cy="1268"/>
            </a:xfrm>
            <a:custGeom>
              <a:avLst/>
              <a:gdLst>
                <a:gd name="T0" fmla="*/ 374 w 466"/>
                <a:gd name="T1" fmla="*/ 669 h 852"/>
                <a:gd name="T2" fmla="*/ 459 w 466"/>
                <a:gd name="T3" fmla="*/ 316 h 852"/>
                <a:gd name="T4" fmla="*/ 338 w 466"/>
                <a:gd name="T5" fmla="*/ 1 h 852"/>
                <a:gd name="T6" fmla="*/ 336 w 466"/>
                <a:gd name="T7" fmla="*/ 3 h 852"/>
                <a:gd name="T8" fmla="*/ 425 w 466"/>
                <a:gd name="T9" fmla="*/ 307 h 852"/>
                <a:gd name="T10" fmla="*/ 351 w 466"/>
                <a:gd name="T11" fmla="*/ 630 h 852"/>
                <a:gd name="T12" fmla="*/ 0 w 466"/>
                <a:gd name="T13" fmla="*/ 797 h 852"/>
                <a:gd name="T14" fmla="*/ 0 w 466"/>
                <a:gd name="T15" fmla="*/ 841 h 852"/>
                <a:gd name="T16" fmla="*/ 374 w 466"/>
                <a:gd name="T17" fmla="*/ 669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6" h="852">
                  <a:moveTo>
                    <a:pt x="374" y="669"/>
                  </a:moveTo>
                  <a:cubicBezTo>
                    <a:pt x="449" y="567"/>
                    <a:pt x="466" y="439"/>
                    <a:pt x="459" y="316"/>
                  </a:cubicBezTo>
                  <a:cubicBezTo>
                    <a:pt x="453" y="199"/>
                    <a:pt x="422" y="86"/>
                    <a:pt x="338" y="1"/>
                  </a:cubicBezTo>
                  <a:cubicBezTo>
                    <a:pt x="337" y="0"/>
                    <a:pt x="335" y="2"/>
                    <a:pt x="336" y="3"/>
                  </a:cubicBezTo>
                  <a:cubicBezTo>
                    <a:pt x="403" y="90"/>
                    <a:pt x="424" y="201"/>
                    <a:pt x="425" y="307"/>
                  </a:cubicBezTo>
                  <a:cubicBezTo>
                    <a:pt x="427" y="418"/>
                    <a:pt x="414" y="536"/>
                    <a:pt x="351" y="630"/>
                  </a:cubicBezTo>
                  <a:cubicBezTo>
                    <a:pt x="268" y="755"/>
                    <a:pt x="135" y="806"/>
                    <a:pt x="0" y="797"/>
                  </a:cubicBezTo>
                  <a:cubicBezTo>
                    <a:pt x="0" y="841"/>
                    <a:pt x="0" y="841"/>
                    <a:pt x="0" y="841"/>
                  </a:cubicBezTo>
                  <a:cubicBezTo>
                    <a:pt x="140" y="852"/>
                    <a:pt x="287" y="787"/>
                    <a:pt x="374" y="6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2" name="Freeform 96">
              <a:extLst>
                <a:ext uri="{FF2B5EF4-FFF2-40B4-BE49-F238E27FC236}">
                  <a16:creationId xmlns:a16="http://schemas.microsoft.com/office/drawing/2014/main" id="{AAFDCCD3-999E-4AD4-AA55-DE59F9E4DF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49" y="3552"/>
              <a:ext cx="1274" cy="750"/>
            </a:xfrm>
            <a:custGeom>
              <a:avLst/>
              <a:gdLst>
                <a:gd name="T0" fmla="*/ 754 w 855"/>
                <a:gd name="T1" fmla="*/ 344 h 504"/>
                <a:gd name="T2" fmla="*/ 556 w 855"/>
                <a:gd name="T3" fmla="*/ 120 h 504"/>
                <a:gd name="T4" fmla="*/ 2 w 855"/>
                <a:gd name="T5" fmla="*/ 109 h 504"/>
                <a:gd name="T6" fmla="*/ 3 w 855"/>
                <a:gd name="T7" fmla="*/ 112 h 504"/>
                <a:gd name="T8" fmla="*/ 561 w 855"/>
                <a:gd name="T9" fmla="*/ 168 h 504"/>
                <a:gd name="T10" fmla="*/ 814 w 855"/>
                <a:gd name="T11" fmla="*/ 504 h 504"/>
                <a:gd name="T12" fmla="*/ 855 w 855"/>
                <a:gd name="T13" fmla="*/ 504 h 504"/>
                <a:gd name="T14" fmla="*/ 754 w 855"/>
                <a:gd name="T15" fmla="*/ 34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5" h="504">
                  <a:moveTo>
                    <a:pt x="754" y="344"/>
                  </a:moveTo>
                  <a:cubicBezTo>
                    <a:pt x="698" y="261"/>
                    <a:pt x="638" y="180"/>
                    <a:pt x="556" y="120"/>
                  </a:cubicBezTo>
                  <a:cubicBezTo>
                    <a:pt x="393" y="0"/>
                    <a:pt x="176" y="25"/>
                    <a:pt x="2" y="109"/>
                  </a:cubicBezTo>
                  <a:cubicBezTo>
                    <a:pt x="0" y="110"/>
                    <a:pt x="1" y="113"/>
                    <a:pt x="3" y="112"/>
                  </a:cubicBezTo>
                  <a:cubicBezTo>
                    <a:pt x="188" y="52"/>
                    <a:pt x="403" y="33"/>
                    <a:pt x="561" y="168"/>
                  </a:cubicBezTo>
                  <a:cubicBezTo>
                    <a:pt x="665" y="257"/>
                    <a:pt x="745" y="380"/>
                    <a:pt x="814" y="504"/>
                  </a:cubicBezTo>
                  <a:cubicBezTo>
                    <a:pt x="855" y="504"/>
                    <a:pt x="855" y="504"/>
                    <a:pt x="855" y="504"/>
                  </a:cubicBezTo>
                  <a:cubicBezTo>
                    <a:pt x="826" y="448"/>
                    <a:pt x="789" y="396"/>
                    <a:pt x="754" y="3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3" name="Freeform 97">
              <a:extLst>
                <a:ext uri="{FF2B5EF4-FFF2-40B4-BE49-F238E27FC236}">
                  <a16:creationId xmlns:a16="http://schemas.microsoft.com/office/drawing/2014/main" id="{0C624D1D-8B65-4339-9AE0-EA6B4834C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3486"/>
              <a:ext cx="60" cy="128"/>
            </a:xfrm>
            <a:custGeom>
              <a:avLst/>
              <a:gdLst>
                <a:gd name="T0" fmla="*/ 0 w 40"/>
                <a:gd name="T1" fmla="*/ 2 h 86"/>
                <a:gd name="T2" fmla="*/ 34 w 40"/>
                <a:gd name="T3" fmla="*/ 83 h 86"/>
                <a:gd name="T4" fmla="*/ 39 w 40"/>
                <a:gd name="T5" fmla="*/ 80 h 86"/>
                <a:gd name="T6" fmla="*/ 21 w 40"/>
                <a:gd name="T7" fmla="*/ 43 h 86"/>
                <a:gd name="T8" fmla="*/ 2 w 40"/>
                <a:gd name="T9" fmla="*/ 1 h 86"/>
                <a:gd name="T10" fmla="*/ 0 w 40"/>
                <a:gd name="T11" fmla="*/ 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86">
                  <a:moveTo>
                    <a:pt x="0" y="2"/>
                  </a:moveTo>
                  <a:cubicBezTo>
                    <a:pt x="5" y="29"/>
                    <a:pt x="16" y="62"/>
                    <a:pt x="34" y="83"/>
                  </a:cubicBezTo>
                  <a:cubicBezTo>
                    <a:pt x="36" y="86"/>
                    <a:pt x="40" y="83"/>
                    <a:pt x="39" y="80"/>
                  </a:cubicBezTo>
                  <a:cubicBezTo>
                    <a:pt x="35" y="67"/>
                    <a:pt x="28" y="55"/>
                    <a:pt x="21" y="43"/>
                  </a:cubicBezTo>
                  <a:cubicBezTo>
                    <a:pt x="15" y="29"/>
                    <a:pt x="9" y="15"/>
                    <a:pt x="2" y="1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4" name="Freeform 98">
              <a:extLst>
                <a:ext uri="{FF2B5EF4-FFF2-40B4-BE49-F238E27FC236}">
                  <a16:creationId xmlns:a16="http://schemas.microsoft.com/office/drawing/2014/main" id="{6C1859D2-2433-4C7F-A17E-7E46BAAC3D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65" y="4031"/>
              <a:ext cx="110" cy="130"/>
            </a:xfrm>
            <a:custGeom>
              <a:avLst/>
              <a:gdLst>
                <a:gd name="T0" fmla="*/ 3 w 74"/>
                <a:gd name="T1" fmla="*/ 86 h 87"/>
                <a:gd name="T2" fmla="*/ 72 w 74"/>
                <a:gd name="T3" fmla="*/ 5 h 87"/>
                <a:gd name="T4" fmla="*/ 68 w 74"/>
                <a:gd name="T5" fmla="*/ 2 h 87"/>
                <a:gd name="T6" fmla="*/ 1 w 74"/>
                <a:gd name="T7" fmla="*/ 85 h 87"/>
                <a:gd name="T8" fmla="*/ 3 w 74"/>
                <a:gd name="T9" fmla="*/ 8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7">
                  <a:moveTo>
                    <a:pt x="3" y="86"/>
                  </a:moveTo>
                  <a:cubicBezTo>
                    <a:pt x="27" y="61"/>
                    <a:pt x="53" y="34"/>
                    <a:pt x="72" y="5"/>
                  </a:cubicBezTo>
                  <a:cubicBezTo>
                    <a:pt x="74" y="3"/>
                    <a:pt x="70" y="0"/>
                    <a:pt x="68" y="2"/>
                  </a:cubicBezTo>
                  <a:cubicBezTo>
                    <a:pt x="43" y="26"/>
                    <a:pt x="21" y="57"/>
                    <a:pt x="1" y="85"/>
                  </a:cubicBezTo>
                  <a:cubicBezTo>
                    <a:pt x="0" y="86"/>
                    <a:pt x="2" y="87"/>
                    <a:pt x="3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5" name="Freeform 99">
              <a:extLst>
                <a:ext uri="{FF2B5EF4-FFF2-40B4-BE49-F238E27FC236}">
                  <a16:creationId xmlns:a16="http://schemas.microsoft.com/office/drawing/2014/main" id="{F2C2352C-42EE-4863-8840-83D27D625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3" y="3781"/>
              <a:ext cx="234" cy="310"/>
            </a:xfrm>
            <a:custGeom>
              <a:avLst/>
              <a:gdLst>
                <a:gd name="T0" fmla="*/ 156 w 157"/>
                <a:gd name="T1" fmla="*/ 203 h 208"/>
                <a:gd name="T2" fmla="*/ 1 w 157"/>
                <a:gd name="T3" fmla="*/ 0 h 208"/>
                <a:gd name="T4" fmla="*/ 1 w 157"/>
                <a:gd name="T5" fmla="*/ 1 h 208"/>
                <a:gd name="T6" fmla="*/ 152 w 157"/>
                <a:gd name="T7" fmla="*/ 206 h 208"/>
                <a:gd name="T8" fmla="*/ 156 w 157"/>
                <a:gd name="T9" fmla="*/ 20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208">
                  <a:moveTo>
                    <a:pt x="156" y="203"/>
                  </a:moveTo>
                  <a:cubicBezTo>
                    <a:pt x="132" y="123"/>
                    <a:pt x="62" y="54"/>
                    <a:pt x="1" y="0"/>
                  </a:cubicBezTo>
                  <a:cubicBezTo>
                    <a:pt x="1" y="0"/>
                    <a:pt x="0" y="0"/>
                    <a:pt x="1" y="1"/>
                  </a:cubicBezTo>
                  <a:cubicBezTo>
                    <a:pt x="60" y="64"/>
                    <a:pt x="98" y="139"/>
                    <a:pt x="152" y="206"/>
                  </a:cubicBezTo>
                  <a:cubicBezTo>
                    <a:pt x="153" y="208"/>
                    <a:pt x="157" y="205"/>
                    <a:pt x="156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6" name="Freeform 100">
              <a:extLst>
                <a:ext uri="{FF2B5EF4-FFF2-40B4-BE49-F238E27FC236}">
                  <a16:creationId xmlns:a16="http://schemas.microsoft.com/office/drawing/2014/main" id="{E440C68A-FE30-47ED-B913-F33195C68A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80" y="3492"/>
              <a:ext cx="474" cy="191"/>
            </a:xfrm>
            <a:custGeom>
              <a:avLst/>
              <a:gdLst>
                <a:gd name="T0" fmla="*/ 313 w 318"/>
                <a:gd name="T1" fmla="*/ 127 h 128"/>
                <a:gd name="T2" fmla="*/ 316 w 318"/>
                <a:gd name="T3" fmla="*/ 123 h 128"/>
                <a:gd name="T4" fmla="*/ 1 w 318"/>
                <a:gd name="T5" fmla="*/ 0 h 128"/>
                <a:gd name="T6" fmla="*/ 1 w 318"/>
                <a:gd name="T7" fmla="*/ 2 h 128"/>
                <a:gd name="T8" fmla="*/ 313 w 318"/>
                <a:gd name="T9" fmla="*/ 12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128">
                  <a:moveTo>
                    <a:pt x="313" y="127"/>
                  </a:moveTo>
                  <a:cubicBezTo>
                    <a:pt x="315" y="128"/>
                    <a:pt x="318" y="125"/>
                    <a:pt x="316" y="123"/>
                  </a:cubicBezTo>
                  <a:cubicBezTo>
                    <a:pt x="235" y="42"/>
                    <a:pt x="114" y="6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ubicBezTo>
                    <a:pt x="115" y="24"/>
                    <a:pt x="211" y="74"/>
                    <a:pt x="31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7" name="Freeform 101">
              <a:extLst>
                <a:ext uri="{FF2B5EF4-FFF2-40B4-BE49-F238E27FC236}">
                  <a16:creationId xmlns:a16="http://schemas.microsoft.com/office/drawing/2014/main" id="{FF5B28C8-0577-48DD-AB7B-FC742A38DC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2" y="3328"/>
              <a:ext cx="1939" cy="974"/>
            </a:xfrm>
            <a:custGeom>
              <a:avLst/>
              <a:gdLst>
                <a:gd name="T0" fmla="*/ 1144 w 1301"/>
                <a:gd name="T1" fmla="*/ 359 h 654"/>
                <a:gd name="T2" fmla="*/ 782 w 1301"/>
                <a:gd name="T3" fmla="*/ 46 h 654"/>
                <a:gd name="T4" fmla="*/ 325 w 1301"/>
                <a:gd name="T5" fmla="*/ 56 h 654"/>
                <a:gd name="T6" fmla="*/ 1 w 1301"/>
                <a:gd name="T7" fmla="*/ 313 h 654"/>
                <a:gd name="T8" fmla="*/ 7 w 1301"/>
                <a:gd name="T9" fmla="*/ 316 h 654"/>
                <a:gd name="T10" fmla="*/ 373 w 1301"/>
                <a:gd name="T11" fmla="*/ 84 h 654"/>
                <a:gd name="T12" fmla="*/ 793 w 1301"/>
                <a:gd name="T13" fmla="*/ 93 h 654"/>
                <a:gd name="T14" fmla="*/ 1128 w 1301"/>
                <a:gd name="T15" fmla="*/ 410 h 654"/>
                <a:gd name="T16" fmla="*/ 1238 w 1301"/>
                <a:gd name="T17" fmla="*/ 618 h 654"/>
                <a:gd name="T18" fmla="*/ 1252 w 1301"/>
                <a:gd name="T19" fmla="*/ 654 h 654"/>
                <a:gd name="T20" fmla="*/ 1301 w 1301"/>
                <a:gd name="T21" fmla="*/ 654 h 654"/>
                <a:gd name="T22" fmla="*/ 1144 w 1301"/>
                <a:gd name="T23" fmla="*/ 359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01" h="654">
                  <a:moveTo>
                    <a:pt x="1144" y="359"/>
                  </a:moveTo>
                  <a:cubicBezTo>
                    <a:pt x="1053" y="220"/>
                    <a:pt x="945" y="98"/>
                    <a:pt x="782" y="46"/>
                  </a:cubicBezTo>
                  <a:cubicBezTo>
                    <a:pt x="634" y="0"/>
                    <a:pt x="471" y="11"/>
                    <a:pt x="325" y="56"/>
                  </a:cubicBezTo>
                  <a:cubicBezTo>
                    <a:pt x="189" y="98"/>
                    <a:pt x="47" y="170"/>
                    <a:pt x="1" y="313"/>
                  </a:cubicBezTo>
                  <a:cubicBezTo>
                    <a:pt x="0" y="317"/>
                    <a:pt x="5" y="319"/>
                    <a:pt x="7" y="316"/>
                  </a:cubicBezTo>
                  <a:cubicBezTo>
                    <a:pt x="87" y="190"/>
                    <a:pt x="234" y="121"/>
                    <a:pt x="373" y="84"/>
                  </a:cubicBezTo>
                  <a:cubicBezTo>
                    <a:pt x="509" y="49"/>
                    <a:pt x="659" y="44"/>
                    <a:pt x="793" y="93"/>
                  </a:cubicBezTo>
                  <a:cubicBezTo>
                    <a:pt x="946" y="149"/>
                    <a:pt x="1045" y="276"/>
                    <a:pt x="1128" y="410"/>
                  </a:cubicBezTo>
                  <a:cubicBezTo>
                    <a:pt x="1170" y="477"/>
                    <a:pt x="1206" y="547"/>
                    <a:pt x="1238" y="618"/>
                  </a:cubicBezTo>
                  <a:cubicBezTo>
                    <a:pt x="1243" y="630"/>
                    <a:pt x="1248" y="642"/>
                    <a:pt x="1252" y="654"/>
                  </a:cubicBezTo>
                  <a:cubicBezTo>
                    <a:pt x="1301" y="654"/>
                    <a:pt x="1301" y="654"/>
                    <a:pt x="1301" y="654"/>
                  </a:cubicBezTo>
                  <a:cubicBezTo>
                    <a:pt x="1261" y="549"/>
                    <a:pt x="1201" y="447"/>
                    <a:pt x="1144" y="3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8" name="Freeform 102">
              <a:extLst>
                <a:ext uri="{FF2B5EF4-FFF2-40B4-BE49-F238E27FC236}">
                  <a16:creationId xmlns:a16="http://schemas.microsoft.com/office/drawing/2014/main" id="{3E731294-7B04-4109-889C-6FFEC34CB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8" y="2100"/>
              <a:ext cx="146" cy="111"/>
            </a:xfrm>
            <a:custGeom>
              <a:avLst/>
              <a:gdLst>
                <a:gd name="T0" fmla="*/ 1 w 98"/>
                <a:gd name="T1" fmla="*/ 0 h 75"/>
                <a:gd name="T2" fmla="*/ 1 w 98"/>
                <a:gd name="T3" fmla="*/ 1 h 75"/>
                <a:gd name="T4" fmla="*/ 98 w 98"/>
                <a:gd name="T5" fmla="*/ 75 h 75"/>
                <a:gd name="T6" fmla="*/ 98 w 98"/>
                <a:gd name="T7" fmla="*/ 54 h 75"/>
                <a:gd name="T8" fmla="*/ 69 w 98"/>
                <a:gd name="T9" fmla="*/ 41 h 75"/>
                <a:gd name="T10" fmla="*/ 1 w 98"/>
                <a:gd name="T11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75">
                  <a:moveTo>
                    <a:pt x="1" y="0"/>
                  </a:moveTo>
                  <a:cubicBezTo>
                    <a:pt x="1" y="0"/>
                    <a:pt x="0" y="0"/>
                    <a:pt x="1" y="1"/>
                  </a:cubicBezTo>
                  <a:cubicBezTo>
                    <a:pt x="24" y="32"/>
                    <a:pt x="58" y="56"/>
                    <a:pt x="98" y="75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88" y="50"/>
                    <a:pt x="79" y="45"/>
                    <a:pt x="69" y="41"/>
                  </a:cubicBezTo>
                  <a:cubicBezTo>
                    <a:pt x="43" y="29"/>
                    <a:pt x="20" y="2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29" name="Freeform 103">
              <a:extLst>
                <a:ext uri="{FF2B5EF4-FFF2-40B4-BE49-F238E27FC236}">
                  <a16:creationId xmlns:a16="http://schemas.microsoft.com/office/drawing/2014/main" id="{DADB4BA9-7170-4F74-9BB4-56D7651EE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1" y="794"/>
              <a:ext cx="523" cy="1316"/>
            </a:xfrm>
            <a:custGeom>
              <a:avLst/>
              <a:gdLst>
                <a:gd name="T0" fmla="*/ 184 w 351"/>
                <a:gd name="T1" fmla="*/ 751 h 884"/>
                <a:gd name="T2" fmla="*/ 70 w 351"/>
                <a:gd name="T3" fmla="*/ 545 h 884"/>
                <a:gd name="T4" fmla="*/ 196 w 351"/>
                <a:gd name="T5" fmla="*/ 112 h 884"/>
                <a:gd name="T6" fmla="*/ 351 w 351"/>
                <a:gd name="T7" fmla="*/ 4 h 884"/>
                <a:gd name="T8" fmla="*/ 351 w 351"/>
                <a:gd name="T9" fmla="*/ 0 h 884"/>
                <a:gd name="T10" fmla="*/ 66 w 351"/>
                <a:gd name="T11" fmla="*/ 280 h 884"/>
                <a:gd name="T12" fmla="*/ 150 w 351"/>
                <a:gd name="T13" fmla="*/ 750 h 884"/>
                <a:gd name="T14" fmla="*/ 351 w 351"/>
                <a:gd name="T15" fmla="*/ 884 h 884"/>
                <a:gd name="T16" fmla="*/ 351 w 351"/>
                <a:gd name="T17" fmla="*/ 876 h 884"/>
                <a:gd name="T18" fmla="*/ 184 w 351"/>
                <a:gd name="T19" fmla="*/ 751 h 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1" h="884">
                  <a:moveTo>
                    <a:pt x="184" y="751"/>
                  </a:moveTo>
                  <a:cubicBezTo>
                    <a:pt x="129" y="690"/>
                    <a:pt x="90" y="620"/>
                    <a:pt x="70" y="545"/>
                  </a:cubicBezTo>
                  <a:cubicBezTo>
                    <a:pt x="29" y="391"/>
                    <a:pt x="75" y="232"/>
                    <a:pt x="196" y="112"/>
                  </a:cubicBezTo>
                  <a:cubicBezTo>
                    <a:pt x="240" y="69"/>
                    <a:pt x="293" y="32"/>
                    <a:pt x="351" y="4"/>
                  </a:cubicBezTo>
                  <a:cubicBezTo>
                    <a:pt x="351" y="0"/>
                    <a:pt x="351" y="0"/>
                    <a:pt x="351" y="0"/>
                  </a:cubicBezTo>
                  <a:cubicBezTo>
                    <a:pt x="220" y="60"/>
                    <a:pt x="116" y="161"/>
                    <a:pt x="66" y="280"/>
                  </a:cubicBezTo>
                  <a:cubicBezTo>
                    <a:pt x="0" y="437"/>
                    <a:pt x="33" y="617"/>
                    <a:pt x="150" y="750"/>
                  </a:cubicBezTo>
                  <a:cubicBezTo>
                    <a:pt x="202" y="809"/>
                    <a:pt x="271" y="858"/>
                    <a:pt x="351" y="884"/>
                  </a:cubicBezTo>
                  <a:cubicBezTo>
                    <a:pt x="351" y="876"/>
                    <a:pt x="351" y="876"/>
                    <a:pt x="351" y="876"/>
                  </a:cubicBezTo>
                  <a:cubicBezTo>
                    <a:pt x="284" y="848"/>
                    <a:pt x="228" y="800"/>
                    <a:pt x="184" y="7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0" name="Freeform 104">
              <a:extLst>
                <a:ext uri="{FF2B5EF4-FFF2-40B4-BE49-F238E27FC236}">
                  <a16:creationId xmlns:a16="http://schemas.microsoft.com/office/drawing/2014/main" id="{67D61BA2-D1CF-4176-B483-1C1E332CE3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49" y="1820"/>
              <a:ext cx="80" cy="104"/>
            </a:xfrm>
            <a:custGeom>
              <a:avLst/>
              <a:gdLst>
                <a:gd name="T0" fmla="*/ 0 w 54"/>
                <a:gd name="T1" fmla="*/ 0 h 70"/>
                <a:gd name="T2" fmla="*/ 51 w 54"/>
                <a:gd name="T3" fmla="*/ 69 h 70"/>
                <a:gd name="T4" fmla="*/ 53 w 54"/>
                <a:gd name="T5" fmla="*/ 68 h 70"/>
                <a:gd name="T6" fmla="*/ 0 w 54"/>
                <a:gd name="T7" fmla="*/ 0 h 70"/>
                <a:gd name="T8" fmla="*/ 0 w 54"/>
                <a:gd name="T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70">
                  <a:moveTo>
                    <a:pt x="0" y="0"/>
                  </a:moveTo>
                  <a:cubicBezTo>
                    <a:pt x="12" y="25"/>
                    <a:pt x="29" y="50"/>
                    <a:pt x="51" y="69"/>
                  </a:cubicBezTo>
                  <a:cubicBezTo>
                    <a:pt x="52" y="70"/>
                    <a:pt x="54" y="69"/>
                    <a:pt x="53" y="68"/>
                  </a:cubicBezTo>
                  <a:cubicBezTo>
                    <a:pt x="35" y="45"/>
                    <a:pt x="16" y="24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1" name="Freeform 105">
              <a:extLst>
                <a:ext uri="{FF2B5EF4-FFF2-40B4-BE49-F238E27FC236}">
                  <a16:creationId xmlns:a16="http://schemas.microsoft.com/office/drawing/2014/main" id="{1892E3E7-2B01-4C26-97E7-58EF2FD5DB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8" y="1940"/>
              <a:ext cx="126" cy="85"/>
            </a:xfrm>
            <a:custGeom>
              <a:avLst/>
              <a:gdLst>
                <a:gd name="T0" fmla="*/ 1 w 85"/>
                <a:gd name="T1" fmla="*/ 1 h 57"/>
                <a:gd name="T2" fmla="*/ 0 w 85"/>
                <a:gd name="T3" fmla="*/ 2 h 57"/>
                <a:gd name="T4" fmla="*/ 85 w 85"/>
                <a:gd name="T5" fmla="*/ 57 h 57"/>
                <a:gd name="T6" fmla="*/ 85 w 85"/>
                <a:gd name="T7" fmla="*/ 45 h 57"/>
                <a:gd name="T8" fmla="*/ 1 w 85"/>
                <a:gd name="T9" fmla="*/ 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57">
                  <a:moveTo>
                    <a:pt x="1" y="1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27" y="22"/>
                    <a:pt x="55" y="41"/>
                    <a:pt x="85" y="57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56" y="31"/>
                    <a:pt x="28" y="16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2" name="Freeform 106">
              <a:extLst>
                <a:ext uri="{FF2B5EF4-FFF2-40B4-BE49-F238E27FC236}">
                  <a16:creationId xmlns:a16="http://schemas.microsoft.com/office/drawing/2014/main" id="{BF05A847-D506-4D06-AA3E-8FC4F872CF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" y="926"/>
              <a:ext cx="280" cy="1010"/>
            </a:xfrm>
            <a:custGeom>
              <a:avLst/>
              <a:gdLst>
                <a:gd name="T0" fmla="*/ 108 w 188"/>
                <a:gd name="T1" fmla="*/ 564 h 678"/>
                <a:gd name="T2" fmla="*/ 24 w 188"/>
                <a:gd name="T3" fmla="*/ 325 h 678"/>
                <a:gd name="T4" fmla="*/ 188 w 188"/>
                <a:gd name="T5" fmla="*/ 4 h 678"/>
                <a:gd name="T6" fmla="*/ 188 w 188"/>
                <a:gd name="T7" fmla="*/ 0 h 678"/>
                <a:gd name="T8" fmla="*/ 3 w 188"/>
                <a:gd name="T9" fmla="*/ 330 h 678"/>
                <a:gd name="T10" fmla="*/ 98 w 188"/>
                <a:gd name="T11" fmla="*/ 591 h 678"/>
                <a:gd name="T12" fmla="*/ 188 w 188"/>
                <a:gd name="T13" fmla="*/ 678 h 678"/>
                <a:gd name="T14" fmla="*/ 188 w 188"/>
                <a:gd name="T15" fmla="*/ 654 h 678"/>
                <a:gd name="T16" fmla="*/ 108 w 188"/>
                <a:gd name="T17" fmla="*/ 564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678">
                  <a:moveTo>
                    <a:pt x="108" y="564"/>
                  </a:moveTo>
                  <a:cubicBezTo>
                    <a:pt x="58" y="492"/>
                    <a:pt x="28" y="409"/>
                    <a:pt x="24" y="325"/>
                  </a:cubicBezTo>
                  <a:cubicBezTo>
                    <a:pt x="19" y="203"/>
                    <a:pt x="79" y="81"/>
                    <a:pt x="188" y="4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70" y="75"/>
                    <a:pt x="0" y="201"/>
                    <a:pt x="3" y="330"/>
                  </a:cubicBezTo>
                  <a:cubicBezTo>
                    <a:pt x="5" y="422"/>
                    <a:pt x="41" y="513"/>
                    <a:pt x="98" y="591"/>
                  </a:cubicBezTo>
                  <a:cubicBezTo>
                    <a:pt x="124" y="625"/>
                    <a:pt x="153" y="655"/>
                    <a:pt x="188" y="678"/>
                  </a:cubicBezTo>
                  <a:cubicBezTo>
                    <a:pt x="188" y="654"/>
                    <a:pt x="188" y="654"/>
                    <a:pt x="188" y="654"/>
                  </a:cubicBezTo>
                  <a:cubicBezTo>
                    <a:pt x="156" y="627"/>
                    <a:pt x="129" y="594"/>
                    <a:pt x="108" y="5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3" name="Freeform 107">
              <a:extLst>
                <a:ext uri="{FF2B5EF4-FFF2-40B4-BE49-F238E27FC236}">
                  <a16:creationId xmlns:a16="http://schemas.microsoft.com/office/drawing/2014/main" id="{74117061-FD46-4C4F-9F95-BC93D7E5DA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37" y="1529"/>
              <a:ext cx="162" cy="350"/>
            </a:xfrm>
            <a:custGeom>
              <a:avLst/>
              <a:gdLst>
                <a:gd name="T0" fmla="*/ 0 w 109"/>
                <a:gd name="T1" fmla="*/ 1 h 235"/>
                <a:gd name="T2" fmla="*/ 102 w 109"/>
                <a:gd name="T3" fmla="*/ 234 h 235"/>
                <a:gd name="T4" fmla="*/ 108 w 109"/>
                <a:gd name="T5" fmla="*/ 231 h 235"/>
                <a:gd name="T6" fmla="*/ 49 w 109"/>
                <a:gd name="T7" fmla="*/ 126 h 235"/>
                <a:gd name="T8" fmla="*/ 0 w 109"/>
                <a:gd name="T9" fmla="*/ 1 h 235"/>
                <a:gd name="T10" fmla="*/ 0 w 109"/>
                <a:gd name="T11" fmla="*/ 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235">
                  <a:moveTo>
                    <a:pt x="0" y="1"/>
                  </a:moveTo>
                  <a:cubicBezTo>
                    <a:pt x="2" y="82"/>
                    <a:pt x="30" y="177"/>
                    <a:pt x="102" y="234"/>
                  </a:cubicBezTo>
                  <a:cubicBezTo>
                    <a:pt x="105" y="235"/>
                    <a:pt x="109" y="234"/>
                    <a:pt x="108" y="231"/>
                  </a:cubicBezTo>
                  <a:cubicBezTo>
                    <a:pt x="90" y="195"/>
                    <a:pt x="67" y="162"/>
                    <a:pt x="49" y="126"/>
                  </a:cubicBezTo>
                  <a:cubicBezTo>
                    <a:pt x="28" y="85"/>
                    <a:pt x="12" y="44"/>
                    <a:pt x="0" y="1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4" name="Freeform 108">
              <a:extLst>
                <a:ext uri="{FF2B5EF4-FFF2-40B4-BE49-F238E27FC236}">
                  <a16:creationId xmlns:a16="http://schemas.microsoft.com/office/drawing/2014/main" id="{3920B560-E285-49E2-90F8-7D1E9FF618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23" y="1447"/>
              <a:ext cx="88" cy="310"/>
            </a:xfrm>
            <a:custGeom>
              <a:avLst/>
              <a:gdLst>
                <a:gd name="T0" fmla="*/ 58 w 59"/>
                <a:gd name="T1" fmla="*/ 205 h 208"/>
                <a:gd name="T2" fmla="*/ 5 w 59"/>
                <a:gd name="T3" fmla="*/ 0 h 208"/>
                <a:gd name="T4" fmla="*/ 4 w 59"/>
                <a:gd name="T5" fmla="*/ 0 h 208"/>
                <a:gd name="T6" fmla="*/ 54 w 59"/>
                <a:gd name="T7" fmla="*/ 206 h 208"/>
                <a:gd name="T8" fmla="*/ 58 w 59"/>
                <a:gd name="T9" fmla="*/ 205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08">
                  <a:moveTo>
                    <a:pt x="58" y="205"/>
                  </a:moveTo>
                  <a:cubicBezTo>
                    <a:pt x="32" y="136"/>
                    <a:pt x="6" y="73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0" y="69"/>
                    <a:pt x="11" y="146"/>
                    <a:pt x="54" y="206"/>
                  </a:cubicBezTo>
                  <a:cubicBezTo>
                    <a:pt x="55" y="208"/>
                    <a:pt x="59" y="207"/>
                    <a:pt x="58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5" name="Freeform 109">
              <a:extLst>
                <a:ext uri="{FF2B5EF4-FFF2-40B4-BE49-F238E27FC236}">
                  <a16:creationId xmlns:a16="http://schemas.microsoft.com/office/drawing/2014/main" id="{4B0BE71E-8C06-4A85-8BAB-940FED3F7A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8" y="962"/>
              <a:ext cx="239" cy="338"/>
            </a:xfrm>
            <a:custGeom>
              <a:avLst/>
              <a:gdLst>
                <a:gd name="T0" fmla="*/ 4 w 160"/>
                <a:gd name="T1" fmla="*/ 226 h 227"/>
                <a:gd name="T2" fmla="*/ 159 w 160"/>
                <a:gd name="T3" fmla="*/ 3 h 227"/>
                <a:gd name="T4" fmla="*/ 157 w 160"/>
                <a:gd name="T5" fmla="*/ 1 h 227"/>
                <a:gd name="T6" fmla="*/ 0 w 160"/>
                <a:gd name="T7" fmla="*/ 225 h 227"/>
                <a:gd name="T8" fmla="*/ 4 w 160"/>
                <a:gd name="T9" fmla="*/ 226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27">
                  <a:moveTo>
                    <a:pt x="4" y="226"/>
                  </a:moveTo>
                  <a:cubicBezTo>
                    <a:pt x="36" y="145"/>
                    <a:pt x="91" y="65"/>
                    <a:pt x="159" y="3"/>
                  </a:cubicBezTo>
                  <a:cubicBezTo>
                    <a:pt x="160" y="2"/>
                    <a:pt x="158" y="0"/>
                    <a:pt x="157" y="1"/>
                  </a:cubicBezTo>
                  <a:cubicBezTo>
                    <a:pt x="68" y="56"/>
                    <a:pt x="15" y="132"/>
                    <a:pt x="0" y="225"/>
                  </a:cubicBezTo>
                  <a:cubicBezTo>
                    <a:pt x="0" y="227"/>
                    <a:pt x="3" y="227"/>
                    <a:pt x="4" y="2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6" name="Freeform 110">
              <a:extLst>
                <a:ext uri="{FF2B5EF4-FFF2-40B4-BE49-F238E27FC236}">
                  <a16:creationId xmlns:a16="http://schemas.microsoft.com/office/drawing/2014/main" id="{D8EC68A5-00BE-4C8A-A312-9272BD6B1A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90" y="978"/>
              <a:ext cx="225" cy="461"/>
            </a:xfrm>
            <a:custGeom>
              <a:avLst/>
              <a:gdLst>
                <a:gd name="T0" fmla="*/ 150 w 151"/>
                <a:gd name="T1" fmla="*/ 0 h 309"/>
                <a:gd name="T2" fmla="*/ 30 w 151"/>
                <a:gd name="T3" fmla="*/ 141 h 309"/>
                <a:gd name="T4" fmla="*/ 2 w 151"/>
                <a:gd name="T5" fmla="*/ 307 h 309"/>
                <a:gd name="T6" fmla="*/ 6 w 151"/>
                <a:gd name="T7" fmla="*/ 307 h 309"/>
                <a:gd name="T8" fmla="*/ 51 w 151"/>
                <a:gd name="T9" fmla="*/ 149 h 309"/>
                <a:gd name="T10" fmla="*/ 150 w 151"/>
                <a:gd name="T11" fmla="*/ 1 h 309"/>
                <a:gd name="T12" fmla="*/ 150 w 151"/>
                <a:gd name="T13" fmla="*/ 0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309">
                  <a:moveTo>
                    <a:pt x="150" y="0"/>
                  </a:moveTo>
                  <a:cubicBezTo>
                    <a:pt x="99" y="41"/>
                    <a:pt x="57" y="86"/>
                    <a:pt x="30" y="141"/>
                  </a:cubicBezTo>
                  <a:cubicBezTo>
                    <a:pt x="4" y="195"/>
                    <a:pt x="0" y="249"/>
                    <a:pt x="2" y="307"/>
                  </a:cubicBezTo>
                  <a:cubicBezTo>
                    <a:pt x="2" y="309"/>
                    <a:pt x="6" y="309"/>
                    <a:pt x="6" y="307"/>
                  </a:cubicBezTo>
                  <a:cubicBezTo>
                    <a:pt x="9" y="253"/>
                    <a:pt x="29" y="199"/>
                    <a:pt x="51" y="149"/>
                  </a:cubicBezTo>
                  <a:cubicBezTo>
                    <a:pt x="75" y="96"/>
                    <a:pt x="107" y="44"/>
                    <a:pt x="150" y="1"/>
                  </a:cubicBezTo>
                  <a:cubicBezTo>
                    <a:pt x="151" y="1"/>
                    <a:pt x="150" y="0"/>
                    <a:pt x="15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7" name="Freeform 111">
              <a:extLst>
                <a:ext uri="{FF2B5EF4-FFF2-40B4-BE49-F238E27FC236}">
                  <a16:creationId xmlns:a16="http://schemas.microsoft.com/office/drawing/2014/main" id="{F47CDD29-928E-48D0-8779-A95F39427E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3" y="1477"/>
              <a:ext cx="131" cy="256"/>
            </a:xfrm>
            <a:custGeom>
              <a:avLst/>
              <a:gdLst>
                <a:gd name="T0" fmla="*/ 0 w 88"/>
                <a:gd name="T1" fmla="*/ 1 h 172"/>
                <a:gd name="T2" fmla="*/ 74 w 88"/>
                <a:gd name="T3" fmla="*/ 154 h 172"/>
                <a:gd name="T4" fmla="*/ 88 w 88"/>
                <a:gd name="T5" fmla="*/ 172 h 172"/>
                <a:gd name="T6" fmla="*/ 88 w 88"/>
                <a:gd name="T7" fmla="*/ 151 h 172"/>
                <a:gd name="T8" fmla="*/ 80 w 88"/>
                <a:gd name="T9" fmla="*/ 141 h 172"/>
                <a:gd name="T10" fmla="*/ 1 w 88"/>
                <a:gd name="T11" fmla="*/ 1 h 172"/>
                <a:gd name="T12" fmla="*/ 0 w 88"/>
                <a:gd name="T13" fmla="*/ 1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72">
                  <a:moveTo>
                    <a:pt x="0" y="1"/>
                  </a:moveTo>
                  <a:cubicBezTo>
                    <a:pt x="13" y="56"/>
                    <a:pt x="38" y="107"/>
                    <a:pt x="74" y="154"/>
                  </a:cubicBezTo>
                  <a:cubicBezTo>
                    <a:pt x="78" y="160"/>
                    <a:pt x="83" y="166"/>
                    <a:pt x="88" y="172"/>
                  </a:cubicBezTo>
                  <a:cubicBezTo>
                    <a:pt x="88" y="151"/>
                    <a:pt x="88" y="151"/>
                    <a:pt x="88" y="151"/>
                  </a:cubicBezTo>
                  <a:cubicBezTo>
                    <a:pt x="85" y="147"/>
                    <a:pt x="82" y="144"/>
                    <a:pt x="80" y="141"/>
                  </a:cubicBezTo>
                  <a:cubicBezTo>
                    <a:pt x="44" y="98"/>
                    <a:pt x="18" y="50"/>
                    <a:pt x="1" y="1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8" name="Freeform 112">
              <a:extLst>
                <a:ext uri="{FF2B5EF4-FFF2-40B4-BE49-F238E27FC236}">
                  <a16:creationId xmlns:a16="http://schemas.microsoft.com/office/drawing/2014/main" id="{EAFC75D5-A990-4571-91F5-5231D8DED6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2" y="1066"/>
              <a:ext cx="132" cy="524"/>
            </a:xfrm>
            <a:custGeom>
              <a:avLst/>
              <a:gdLst>
                <a:gd name="T0" fmla="*/ 89 w 89"/>
                <a:gd name="T1" fmla="*/ 352 h 352"/>
                <a:gd name="T2" fmla="*/ 89 w 89"/>
                <a:gd name="T3" fmla="*/ 328 h 352"/>
                <a:gd name="T4" fmla="*/ 23 w 89"/>
                <a:gd name="T5" fmla="*/ 174 h 352"/>
                <a:gd name="T6" fmla="*/ 64 w 89"/>
                <a:gd name="T7" fmla="*/ 39 h 352"/>
                <a:gd name="T8" fmla="*/ 89 w 89"/>
                <a:gd name="T9" fmla="*/ 9 h 352"/>
                <a:gd name="T10" fmla="*/ 89 w 89"/>
                <a:gd name="T11" fmla="*/ 0 h 352"/>
                <a:gd name="T12" fmla="*/ 15 w 89"/>
                <a:gd name="T13" fmla="*/ 124 h 352"/>
                <a:gd name="T14" fmla="*/ 89 w 89"/>
                <a:gd name="T15" fmla="*/ 35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352">
                  <a:moveTo>
                    <a:pt x="89" y="352"/>
                  </a:moveTo>
                  <a:cubicBezTo>
                    <a:pt x="89" y="328"/>
                    <a:pt x="89" y="328"/>
                    <a:pt x="89" y="328"/>
                  </a:cubicBezTo>
                  <a:cubicBezTo>
                    <a:pt x="55" y="281"/>
                    <a:pt x="27" y="233"/>
                    <a:pt x="23" y="174"/>
                  </a:cubicBezTo>
                  <a:cubicBezTo>
                    <a:pt x="19" y="126"/>
                    <a:pt x="34" y="80"/>
                    <a:pt x="64" y="39"/>
                  </a:cubicBezTo>
                  <a:cubicBezTo>
                    <a:pt x="68" y="34"/>
                    <a:pt x="77" y="22"/>
                    <a:pt x="89" y="9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53" y="35"/>
                    <a:pt x="24" y="77"/>
                    <a:pt x="15" y="124"/>
                  </a:cubicBezTo>
                  <a:cubicBezTo>
                    <a:pt x="0" y="203"/>
                    <a:pt x="36" y="284"/>
                    <a:pt x="89" y="3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39" name="Freeform 113">
              <a:extLst>
                <a:ext uri="{FF2B5EF4-FFF2-40B4-BE49-F238E27FC236}">
                  <a16:creationId xmlns:a16="http://schemas.microsoft.com/office/drawing/2014/main" id="{499A34F1-B0B9-4D0C-BB82-72979D283F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" y="1166"/>
              <a:ext cx="47" cy="235"/>
            </a:xfrm>
            <a:custGeom>
              <a:avLst/>
              <a:gdLst>
                <a:gd name="T0" fmla="*/ 32 w 32"/>
                <a:gd name="T1" fmla="*/ 158 h 158"/>
                <a:gd name="T2" fmla="*/ 32 w 32"/>
                <a:gd name="T3" fmla="*/ 137 h 158"/>
                <a:gd name="T4" fmla="*/ 32 w 32"/>
                <a:gd name="T5" fmla="*/ 12 h 158"/>
                <a:gd name="T6" fmla="*/ 32 w 32"/>
                <a:gd name="T7" fmla="*/ 0 h 158"/>
                <a:gd name="T8" fmla="*/ 32 w 32"/>
                <a:gd name="T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58">
                  <a:moveTo>
                    <a:pt x="32" y="158"/>
                  </a:moveTo>
                  <a:cubicBezTo>
                    <a:pt x="32" y="137"/>
                    <a:pt x="32" y="137"/>
                    <a:pt x="32" y="137"/>
                  </a:cubicBezTo>
                  <a:cubicBezTo>
                    <a:pt x="14" y="97"/>
                    <a:pt x="13" y="53"/>
                    <a:pt x="32" y="1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50"/>
                    <a:pt x="1" y="109"/>
                    <a:pt x="32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0" name="Freeform 114">
              <a:extLst>
                <a:ext uri="{FF2B5EF4-FFF2-40B4-BE49-F238E27FC236}">
                  <a16:creationId xmlns:a16="http://schemas.microsoft.com/office/drawing/2014/main" id="{9D11079B-E3E8-4973-9C0D-BB34548FE4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15" y="1348"/>
              <a:ext cx="649" cy="947"/>
            </a:xfrm>
            <a:custGeom>
              <a:avLst/>
              <a:gdLst>
                <a:gd name="T0" fmla="*/ 216 w 436"/>
                <a:gd name="T1" fmla="*/ 445 h 636"/>
                <a:gd name="T2" fmla="*/ 59 w 436"/>
                <a:gd name="T3" fmla="*/ 2 h 636"/>
                <a:gd name="T4" fmla="*/ 57 w 436"/>
                <a:gd name="T5" fmla="*/ 1 h 636"/>
                <a:gd name="T6" fmla="*/ 180 w 436"/>
                <a:gd name="T7" fmla="*/ 442 h 636"/>
                <a:gd name="T8" fmla="*/ 436 w 436"/>
                <a:gd name="T9" fmla="*/ 636 h 636"/>
                <a:gd name="T10" fmla="*/ 436 w 436"/>
                <a:gd name="T11" fmla="*/ 619 h 636"/>
                <a:gd name="T12" fmla="*/ 216 w 436"/>
                <a:gd name="T13" fmla="*/ 445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6" h="636">
                  <a:moveTo>
                    <a:pt x="216" y="445"/>
                  </a:moveTo>
                  <a:cubicBezTo>
                    <a:pt x="93" y="322"/>
                    <a:pt x="15" y="164"/>
                    <a:pt x="59" y="2"/>
                  </a:cubicBezTo>
                  <a:cubicBezTo>
                    <a:pt x="59" y="1"/>
                    <a:pt x="57" y="0"/>
                    <a:pt x="57" y="1"/>
                  </a:cubicBezTo>
                  <a:cubicBezTo>
                    <a:pt x="0" y="156"/>
                    <a:pt x="67" y="319"/>
                    <a:pt x="180" y="442"/>
                  </a:cubicBezTo>
                  <a:cubicBezTo>
                    <a:pt x="250" y="519"/>
                    <a:pt x="339" y="583"/>
                    <a:pt x="436" y="636"/>
                  </a:cubicBezTo>
                  <a:cubicBezTo>
                    <a:pt x="436" y="619"/>
                    <a:pt x="436" y="619"/>
                    <a:pt x="436" y="619"/>
                  </a:cubicBezTo>
                  <a:cubicBezTo>
                    <a:pt x="355" y="568"/>
                    <a:pt x="281" y="510"/>
                    <a:pt x="216" y="4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1" name="Freeform 115">
              <a:extLst>
                <a:ext uri="{FF2B5EF4-FFF2-40B4-BE49-F238E27FC236}">
                  <a16:creationId xmlns:a16="http://schemas.microsoft.com/office/drawing/2014/main" id="{3B2C6CFA-00D3-42DC-8513-3F0FA20DC1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14" y="4216"/>
              <a:ext cx="31" cy="86"/>
            </a:xfrm>
            <a:custGeom>
              <a:avLst/>
              <a:gdLst>
                <a:gd name="T0" fmla="*/ 2 w 21"/>
                <a:gd name="T1" fmla="*/ 1 h 58"/>
                <a:gd name="T2" fmla="*/ 0 w 21"/>
                <a:gd name="T3" fmla="*/ 2 h 58"/>
                <a:gd name="T4" fmla="*/ 14 w 21"/>
                <a:gd name="T5" fmla="*/ 58 h 58"/>
                <a:gd name="T6" fmla="*/ 21 w 21"/>
                <a:gd name="T7" fmla="*/ 58 h 58"/>
                <a:gd name="T8" fmla="*/ 2 w 21"/>
                <a:gd name="T9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58">
                  <a:moveTo>
                    <a:pt x="2" y="1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4" y="20"/>
                    <a:pt x="9" y="39"/>
                    <a:pt x="14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16" y="39"/>
                    <a:pt x="9" y="20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2" name="Freeform 116">
              <a:extLst>
                <a:ext uri="{FF2B5EF4-FFF2-40B4-BE49-F238E27FC236}">
                  <a16:creationId xmlns:a16="http://schemas.microsoft.com/office/drawing/2014/main" id="{F7D86FB6-BEA6-4643-A194-38E2A67CC2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89" y="3371"/>
              <a:ext cx="1519" cy="931"/>
            </a:xfrm>
            <a:custGeom>
              <a:avLst/>
              <a:gdLst>
                <a:gd name="T0" fmla="*/ 918 w 1019"/>
                <a:gd name="T1" fmla="*/ 359 h 625"/>
                <a:gd name="T2" fmla="*/ 646 w 1019"/>
                <a:gd name="T3" fmla="*/ 96 h 625"/>
                <a:gd name="T4" fmla="*/ 1 w 1019"/>
                <a:gd name="T5" fmla="*/ 374 h 625"/>
                <a:gd name="T6" fmla="*/ 5 w 1019"/>
                <a:gd name="T7" fmla="*/ 377 h 625"/>
                <a:gd name="T8" fmla="*/ 635 w 1019"/>
                <a:gd name="T9" fmla="*/ 135 h 625"/>
                <a:gd name="T10" fmla="*/ 895 w 1019"/>
                <a:gd name="T11" fmla="*/ 403 h 625"/>
                <a:gd name="T12" fmla="*/ 972 w 1019"/>
                <a:gd name="T13" fmla="*/ 625 h 625"/>
                <a:gd name="T14" fmla="*/ 1019 w 1019"/>
                <a:gd name="T15" fmla="*/ 625 h 625"/>
                <a:gd name="T16" fmla="*/ 918 w 1019"/>
                <a:gd name="T17" fmla="*/ 359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9" h="625">
                  <a:moveTo>
                    <a:pt x="918" y="359"/>
                  </a:moveTo>
                  <a:cubicBezTo>
                    <a:pt x="855" y="247"/>
                    <a:pt x="770" y="142"/>
                    <a:pt x="646" y="96"/>
                  </a:cubicBezTo>
                  <a:cubicBezTo>
                    <a:pt x="390" y="0"/>
                    <a:pt x="131" y="156"/>
                    <a:pt x="1" y="374"/>
                  </a:cubicBezTo>
                  <a:cubicBezTo>
                    <a:pt x="0" y="377"/>
                    <a:pt x="3" y="380"/>
                    <a:pt x="5" y="377"/>
                  </a:cubicBezTo>
                  <a:cubicBezTo>
                    <a:pt x="152" y="192"/>
                    <a:pt x="393" y="41"/>
                    <a:pt x="635" y="135"/>
                  </a:cubicBezTo>
                  <a:cubicBezTo>
                    <a:pt x="756" y="182"/>
                    <a:pt x="837" y="291"/>
                    <a:pt x="895" y="403"/>
                  </a:cubicBezTo>
                  <a:cubicBezTo>
                    <a:pt x="933" y="475"/>
                    <a:pt x="955" y="549"/>
                    <a:pt x="972" y="625"/>
                  </a:cubicBezTo>
                  <a:cubicBezTo>
                    <a:pt x="1019" y="625"/>
                    <a:pt x="1019" y="625"/>
                    <a:pt x="1019" y="625"/>
                  </a:cubicBezTo>
                  <a:cubicBezTo>
                    <a:pt x="1001" y="531"/>
                    <a:pt x="963" y="439"/>
                    <a:pt x="918" y="3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3" name="Freeform 117">
              <a:extLst>
                <a:ext uri="{FF2B5EF4-FFF2-40B4-BE49-F238E27FC236}">
                  <a16:creationId xmlns:a16="http://schemas.microsoft.com/office/drawing/2014/main" id="{576A735B-9CEE-403C-8D56-94C696726C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3" y="4131"/>
              <a:ext cx="62" cy="171"/>
            </a:xfrm>
            <a:custGeom>
              <a:avLst/>
              <a:gdLst>
                <a:gd name="T0" fmla="*/ 2 w 42"/>
                <a:gd name="T1" fmla="*/ 1 h 115"/>
                <a:gd name="T2" fmla="*/ 0 w 42"/>
                <a:gd name="T3" fmla="*/ 2 h 115"/>
                <a:gd name="T4" fmla="*/ 31 w 42"/>
                <a:gd name="T5" fmla="*/ 115 h 115"/>
                <a:gd name="T6" fmla="*/ 42 w 42"/>
                <a:gd name="T7" fmla="*/ 115 h 115"/>
                <a:gd name="T8" fmla="*/ 2 w 42"/>
                <a:gd name="T9" fmla="*/ 1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15">
                  <a:moveTo>
                    <a:pt x="2" y="1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16" y="39"/>
                    <a:pt x="26" y="77"/>
                    <a:pt x="31" y="115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33" y="76"/>
                    <a:pt x="19" y="38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4" name="Freeform 118">
              <a:extLst>
                <a:ext uri="{FF2B5EF4-FFF2-40B4-BE49-F238E27FC236}">
                  <a16:creationId xmlns:a16="http://schemas.microsoft.com/office/drawing/2014/main" id="{6544F37D-CB52-48D8-A62F-E2E98B4876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27" y="3903"/>
              <a:ext cx="404" cy="153"/>
            </a:xfrm>
            <a:custGeom>
              <a:avLst/>
              <a:gdLst>
                <a:gd name="T0" fmla="*/ 9 w 271"/>
                <a:gd name="T1" fmla="*/ 100 h 103"/>
                <a:gd name="T2" fmla="*/ 270 w 271"/>
                <a:gd name="T3" fmla="*/ 2 h 103"/>
                <a:gd name="T4" fmla="*/ 270 w 271"/>
                <a:gd name="T5" fmla="*/ 0 h 103"/>
                <a:gd name="T6" fmla="*/ 4 w 271"/>
                <a:gd name="T7" fmla="*/ 94 h 103"/>
                <a:gd name="T8" fmla="*/ 9 w 271"/>
                <a:gd name="T9" fmla="*/ 10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" h="103">
                  <a:moveTo>
                    <a:pt x="9" y="100"/>
                  </a:moveTo>
                  <a:cubicBezTo>
                    <a:pt x="91" y="53"/>
                    <a:pt x="177" y="23"/>
                    <a:pt x="270" y="2"/>
                  </a:cubicBezTo>
                  <a:cubicBezTo>
                    <a:pt x="271" y="2"/>
                    <a:pt x="271" y="0"/>
                    <a:pt x="270" y="0"/>
                  </a:cubicBezTo>
                  <a:cubicBezTo>
                    <a:pt x="175" y="7"/>
                    <a:pt x="73" y="23"/>
                    <a:pt x="4" y="94"/>
                  </a:cubicBezTo>
                  <a:cubicBezTo>
                    <a:pt x="0" y="97"/>
                    <a:pt x="5" y="103"/>
                    <a:pt x="9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5" name="Freeform 119">
              <a:extLst>
                <a:ext uri="{FF2B5EF4-FFF2-40B4-BE49-F238E27FC236}">
                  <a16:creationId xmlns:a16="http://schemas.microsoft.com/office/drawing/2014/main" id="{7E14D6C3-5F14-4EEA-8FF8-C1004C6733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02" y="4097"/>
              <a:ext cx="378" cy="68"/>
            </a:xfrm>
            <a:custGeom>
              <a:avLst/>
              <a:gdLst>
                <a:gd name="T0" fmla="*/ 252 w 254"/>
                <a:gd name="T1" fmla="*/ 46 h 46"/>
                <a:gd name="T2" fmla="*/ 253 w 254"/>
                <a:gd name="T3" fmla="*/ 45 h 46"/>
                <a:gd name="T4" fmla="*/ 125 w 254"/>
                <a:gd name="T5" fmla="*/ 6 h 46"/>
                <a:gd name="T6" fmla="*/ 3 w 254"/>
                <a:gd name="T7" fmla="*/ 18 h 46"/>
                <a:gd name="T8" fmla="*/ 6 w 254"/>
                <a:gd name="T9" fmla="*/ 24 h 46"/>
                <a:gd name="T10" fmla="*/ 252 w 254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4" h="46">
                  <a:moveTo>
                    <a:pt x="252" y="46"/>
                  </a:moveTo>
                  <a:cubicBezTo>
                    <a:pt x="253" y="46"/>
                    <a:pt x="254" y="45"/>
                    <a:pt x="253" y="45"/>
                  </a:cubicBezTo>
                  <a:cubicBezTo>
                    <a:pt x="218" y="15"/>
                    <a:pt x="169" y="11"/>
                    <a:pt x="125" y="6"/>
                  </a:cubicBezTo>
                  <a:cubicBezTo>
                    <a:pt x="84" y="1"/>
                    <a:pt x="42" y="0"/>
                    <a:pt x="3" y="18"/>
                  </a:cubicBezTo>
                  <a:cubicBezTo>
                    <a:pt x="0" y="19"/>
                    <a:pt x="2" y="24"/>
                    <a:pt x="6" y="24"/>
                  </a:cubicBezTo>
                  <a:cubicBezTo>
                    <a:pt x="83" y="9"/>
                    <a:pt x="180" y="10"/>
                    <a:pt x="25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6" name="Freeform 120">
              <a:extLst>
                <a:ext uri="{FF2B5EF4-FFF2-40B4-BE49-F238E27FC236}">
                  <a16:creationId xmlns:a16="http://schemas.microsoft.com/office/drawing/2014/main" id="{B9E7B6B4-05B3-48B9-92F9-E95F7AC356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35" y="3977"/>
              <a:ext cx="848" cy="325"/>
            </a:xfrm>
            <a:custGeom>
              <a:avLst/>
              <a:gdLst>
                <a:gd name="T0" fmla="*/ 379 w 569"/>
                <a:gd name="T1" fmla="*/ 43 h 218"/>
                <a:gd name="T2" fmla="*/ 6 w 569"/>
                <a:gd name="T3" fmla="*/ 97 h 218"/>
                <a:gd name="T4" fmla="*/ 11 w 569"/>
                <a:gd name="T5" fmla="*/ 109 h 218"/>
                <a:gd name="T6" fmla="*/ 356 w 569"/>
                <a:gd name="T7" fmla="*/ 71 h 218"/>
                <a:gd name="T8" fmla="*/ 554 w 569"/>
                <a:gd name="T9" fmla="*/ 218 h 218"/>
                <a:gd name="T10" fmla="*/ 569 w 569"/>
                <a:gd name="T11" fmla="*/ 218 h 218"/>
                <a:gd name="T12" fmla="*/ 379 w 569"/>
                <a:gd name="T13" fmla="*/ 4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9" h="218">
                  <a:moveTo>
                    <a:pt x="379" y="43"/>
                  </a:moveTo>
                  <a:cubicBezTo>
                    <a:pt x="258" y="0"/>
                    <a:pt x="112" y="27"/>
                    <a:pt x="6" y="97"/>
                  </a:cubicBezTo>
                  <a:cubicBezTo>
                    <a:pt x="0" y="101"/>
                    <a:pt x="4" y="111"/>
                    <a:pt x="11" y="109"/>
                  </a:cubicBezTo>
                  <a:cubicBezTo>
                    <a:pt x="124" y="71"/>
                    <a:pt x="237" y="33"/>
                    <a:pt x="356" y="71"/>
                  </a:cubicBezTo>
                  <a:cubicBezTo>
                    <a:pt x="430" y="94"/>
                    <a:pt x="506" y="151"/>
                    <a:pt x="554" y="218"/>
                  </a:cubicBezTo>
                  <a:cubicBezTo>
                    <a:pt x="569" y="218"/>
                    <a:pt x="569" y="218"/>
                    <a:pt x="569" y="218"/>
                  </a:cubicBezTo>
                  <a:cubicBezTo>
                    <a:pt x="531" y="136"/>
                    <a:pt x="472" y="76"/>
                    <a:pt x="379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7" name="Freeform 121">
              <a:extLst>
                <a:ext uri="{FF2B5EF4-FFF2-40B4-BE49-F238E27FC236}">
                  <a16:creationId xmlns:a16="http://schemas.microsoft.com/office/drawing/2014/main" id="{4C50CF25-EC48-4ED5-BC03-42694B38CF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8" y="4155"/>
              <a:ext cx="613" cy="147"/>
            </a:xfrm>
            <a:custGeom>
              <a:avLst/>
              <a:gdLst>
                <a:gd name="T0" fmla="*/ 265 w 411"/>
                <a:gd name="T1" fmla="*/ 22 h 99"/>
                <a:gd name="T2" fmla="*/ 2 w 411"/>
                <a:gd name="T3" fmla="*/ 63 h 99"/>
                <a:gd name="T4" fmla="*/ 5 w 411"/>
                <a:gd name="T5" fmla="*/ 69 h 99"/>
                <a:gd name="T6" fmla="*/ 104 w 411"/>
                <a:gd name="T7" fmla="*/ 50 h 99"/>
                <a:gd name="T8" fmla="*/ 225 w 411"/>
                <a:gd name="T9" fmla="*/ 47 h 99"/>
                <a:gd name="T10" fmla="*/ 389 w 411"/>
                <a:gd name="T11" fmla="*/ 99 h 99"/>
                <a:gd name="T12" fmla="*/ 411 w 411"/>
                <a:gd name="T13" fmla="*/ 99 h 99"/>
                <a:gd name="T14" fmla="*/ 265 w 411"/>
                <a:gd name="T15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1" h="99">
                  <a:moveTo>
                    <a:pt x="265" y="22"/>
                  </a:moveTo>
                  <a:cubicBezTo>
                    <a:pt x="190" y="11"/>
                    <a:pt x="58" y="0"/>
                    <a:pt x="2" y="63"/>
                  </a:cubicBezTo>
                  <a:cubicBezTo>
                    <a:pt x="0" y="65"/>
                    <a:pt x="1" y="70"/>
                    <a:pt x="5" y="69"/>
                  </a:cubicBezTo>
                  <a:cubicBezTo>
                    <a:pt x="39" y="65"/>
                    <a:pt x="70" y="54"/>
                    <a:pt x="104" y="50"/>
                  </a:cubicBezTo>
                  <a:cubicBezTo>
                    <a:pt x="144" y="45"/>
                    <a:pt x="185" y="44"/>
                    <a:pt x="225" y="47"/>
                  </a:cubicBezTo>
                  <a:cubicBezTo>
                    <a:pt x="283" y="51"/>
                    <a:pt x="343" y="65"/>
                    <a:pt x="389" y="99"/>
                  </a:cubicBezTo>
                  <a:cubicBezTo>
                    <a:pt x="411" y="99"/>
                    <a:pt x="411" y="99"/>
                    <a:pt x="411" y="99"/>
                  </a:cubicBezTo>
                  <a:cubicBezTo>
                    <a:pt x="376" y="56"/>
                    <a:pt x="323" y="31"/>
                    <a:pt x="26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8" name="Freeform 122">
              <a:extLst>
                <a:ext uri="{FF2B5EF4-FFF2-40B4-BE49-F238E27FC236}">
                  <a16:creationId xmlns:a16="http://schemas.microsoft.com/office/drawing/2014/main" id="{956076B8-4F0B-43A6-94AA-473EDAF533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7" y="3650"/>
              <a:ext cx="846" cy="652"/>
            </a:xfrm>
            <a:custGeom>
              <a:avLst/>
              <a:gdLst>
                <a:gd name="T0" fmla="*/ 398 w 567"/>
                <a:gd name="T1" fmla="*/ 116 h 438"/>
                <a:gd name="T2" fmla="*/ 2 w 567"/>
                <a:gd name="T3" fmla="*/ 79 h 438"/>
                <a:gd name="T4" fmla="*/ 4 w 567"/>
                <a:gd name="T5" fmla="*/ 82 h 438"/>
                <a:gd name="T6" fmla="*/ 404 w 567"/>
                <a:gd name="T7" fmla="*/ 153 h 438"/>
                <a:gd name="T8" fmla="*/ 545 w 567"/>
                <a:gd name="T9" fmla="*/ 438 h 438"/>
                <a:gd name="T10" fmla="*/ 567 w 567"/>
                <a:gd name="T11" fmla="*/ 438 h 438"/>
                <a:gd name="T12" fmla="*/ 398 w 567"/>
                <a:gd name="T13" fmla="*/ 116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7" h="438">
                  <a:moveTo>
                    <a:pt x="398" y="116"/>
                  </a:moveTo>
                  <a:cubicBezTo>
                    <a:pt x="286" y="25"/>
                    <a:pt x="127" y="0"/>
                    <a:pt x="2" y="79"/>
                  </a:cubicBezTo>
                  <a:cubicBezTo>
                    <a:pt x="0" y="80"/>
                    <a:pt x="2" y="83"/>
                    <a:pt x="4" y="82"/>
                  </a:cubicBezTo>
                  <a:cubicBezTo>
                    <a:pt x="136" y="23"/>
                    <a:pt x="298" y="55"/>
                    <a:pt x="404" y="153"/>
                  </a:cubicBezTo>
                  <a:cubicBezTo>
                    <a:pt x="487" y="229"/>
                    <a:pt x="525" y="331"/>
                    <a:pt x="545" y="438"/>
                  </a:cubicBezTo>
                  <a:cubicBezTo>
                    <a:pt x="567" y="438"/>
                    <a:pt x="567" y="438"/>
                    <a:pt x="567" y="438"/>
                  </a:cubicBezTo>
                  <a:cubicBezTo>
                    <a:pt x="555" y="315"/>
                    <a:pt x="494" y="193"/>
                    <a:pt x="398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49" name="Freeform 123">
              <a:extLst>
                <a:ext uri="{FF2B5EF4-FFF2-40B4-BE49-F238E27FC236}">
                  <a16:creationId xmlns:a16="http://schemas.microsoft.com/office/drawing/2014/main" id="{CBAD8B29-C165-41C6-B8AA-0BE54B44BB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67" y="3575"/>
              <a:ext cx="91" cy="33"/>
            </a:xfrm>
            <a:custGeom>
              <a:avLst/>
              <a:gdLst>
                <a:gd name="T0" fmla="*/ 11 w 61"/>
                <a:gd name="T1" fmla="*/ 19 h 22"/>
                <a:gd name="T2" fmla="*/ 60 w 61"/>
                <a:gd name="T3" fmla="*/ 4 h 22"/>
                <a:gd name="T4" fmla="*/ 60 w 61"/>
                <a:gd name="T5" fmla="*/ 3 h 22"/>
                <a:gd name="T6" fmla="*/ 6 w 61"/>
                <a:gd name="T7" fmla="*/ 10 h 22"/>
                <a:gd name="T8" fmla="*/ 11 w 61"/>
                <a:gd name="T9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22">
                  <a:moveTo>
                    <a:pt x="11" y="19"/>
                  </a:moveTo>
                  <a:cubicBezTo>
                    <a:pt x="25" y="10"/>
                    <a:pt x="43" y="4"/>
                    <a:pt x="60" y="4"/>
                  </a:cubicBezTo>
                  <a:cubicBezTo>
                    <a:pt x="61" y="4"/>
                    <a:pt x="61" y="3"/>
                    <a:pt x="60" y="3"/>
                  </a:cubicBezTo>
                  <a:cubicBezTo>
                    <a:pt x="41" y="0"/>
                    <a:pt x="23" y="2"/>
                    <a:pt x="6" y="10"/>
                  </a:cubicBezTo>
                  <a:cubicBezTo>
                    <a:pt x="0" y="13"/>
                    <a:pt x="5" y="22"/>
                    <a:pt x="1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0" name="Freeform 124">
              <a:extLst>
                <a:ext uri="{FF2B5EF4-FFF2-40B4-BE49-F238E27FC236}">
                  <a16:creationId xmlns:a16="http://schemas.microsoft.com/office/drawing/2014/main" id="{C0F3BA64-0B7A-4201-9F1E-9B53F793C7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74" y="3861"/>
              <a:ext cx="106" cy="173"/>
            </a:xfrm>
            <a:custGeom>
              <a:avLst/>
              <a:gdLst>
                <a:gd name="T0" fmla="*/ 70 w 71"/>
                <a:gd name="T1" fmla="*/ 110 h 116"/>
                <a:gd name="T2" fmla="*/ 1 w 71"/>
                <a:gd name="T3" fmla="*/ 1 h 116"/>
                <a:gd name="T4" fmla="*/ 1 w 71"/>
                <a:gd name="T5" fmla="*/ 2 h 116"/>
                <a:gd name="T6" fmla="*/ 64 w 71"/>
                <a:gd name="T7" fmla="*/ 113 h 116"/>
                <a:gd name="T8" fmla="*/ 70 w 71"/>
                <a:gd name="T9" fmla="*/ 11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16">
                  <a:moveTo>
                    <a:pt x="70" y="110"/>
                  </a:moveTo>
                  <a:cubicBezTo>
                    <a:pt x="58" y="69"/>
                    <a:pt x="30" y="33"/>
                    <a:pt x="1" y="1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27" y="36"/>
                    <a:pt x="44" y="75"/>
                    <a:pt x="64" y="113"/>
                  </a:cubicBezTo>
                  <a:cubicBezTo>
                    <a:pt x="66" y="116"/>
                    <a:pt x="71" y="114"/>
                    <a:pt x="70" y="1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1" name="Freeform 125">
              <a:extLst>
                <a:ext uri="{FF2B5EF4-FFF2-40B4-BE49-F238E27FC236}">
                  <a16:creationId xmlns:a16="http://schemas.microsoft.com/office/drawing/2014/main" id="{81B5BBEA-CD93-4D39-8F2A-FB1BBE40DD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66" y="3613"/>
              <a:ext cx="396" cy="140"/>
            </a:xfrm>
            <a:custGeom>
              <a:avLst/>
              <a:gdLst>
                <a:gd name="T0" fmla="*/ 262 w 266"/>
                <a:gd name="T1" fmla="*/ 93 h 94"/>
                <a:gd name="T2" fmla="*/ 264 w 266"/>
                <a:gd name="T3" fmla="*/ 90 h 94"/>
                <a:gd name="T4" fmla="*/ 2 w 266"/>
                <a:gd name="T5" fmla="*/ 8 h 94"/>
                <a:gd name="T6" fmla="*/ 2 w 266"/>
                <a:gd name="T7" fmla="*/ 11 h 94"/>
                <a:gd name="T8" fmla="*/ 262 w 266"/>
                <a:gd name="T9" fmla="*/ 9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6" h="94">
                  <a:moveTo>
                    <a:pt x="262" y="93"/>
                  </a:moveTo>
                  <a:cubicBezTo>
                    <a:pt x="264" y="94"/>
                    <a:pt x="266" y="91"/>
                    <a:pt x="264" y="90"/>
                  </a:cubicBezTo>
                  <a:cubicBezTo>
                    <a:pt x="192" y="27"/>
                    <a:pt x="96" y="0"/>
                    <a:pt x="2" y="8"/>
                  </a:cubicBezTo>
                  <a:cubicBezTo>
                    <a:pt x="0" y="8"/>
                    <a:pt x="0" y="11"/>
                    <a:pt x="2" y="11"/>
                  </a:cubicBezTo>
                  <a:cubicBezTo>
                    <a:pt x="98" y="13"/>
                    <a:pt x="181" y="42"/>
                    <a:pt x="262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2" name="Freeform 126">
              <a:extLst>
                <a:ext uri="{FF2B5EF4-FFF2-40B4-BE49-F238E27FC236}">
                  <a16:creationId xmlns:a16="http://schemas.microsoft.com/office/drawing/2014/main" id="{6D6DA24D-5E14-4CFF-9ACF-B3F588A11F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50" y="4155"/>
              <a:ext cx="133" cy="147"/>
            </a:xfrm>
            <a:custGeom>
              <a:avLst/>
              <a:gdLst>
                <a:gd name="T0" fmla="*/ 2 w 89"/>
                <a:gd name="T1" fmla="*/ 0 h 99"/>
                <a:gd name="T2" fmla="*/ 1 w 89"/>
                <a:gd name="T3" fmla="*/ 1 h 99"/>
                <a:gd name="T4" fmla="*/ 76 w 89"/>
                <a:gd name="T5" fmla="*/ 99 h 99"/>
                <a:gd name="T6" fmla="*/ 89 w 89"/>
                <a:gd name="T7" fmla="*/ 99 h 99"/>
                <a:gd name="T8" fmla="*/ 2 w 89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9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32" y="31"/>
                    <a:pt x="54" y="64"/>
                    <a:pt x="76" y="99"/>
                  </a:cubicBezTo>
                  <a:cubicBezTo>
                    <a:pt x="89" y="99"/>
                    <a:pt x="89" y="99"/>
                    <a:pt x="89" y="99"/>
                  </a:cubicBezTo>
                  <a:cubicBezTo>
                    <a:pt x="67" y="61"/>
                    <a:pt x="34" y="2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3" name="Freeform 127">
              <a:extLst>
                <a:ext uri="{FF2B5EF4-FFF2-40B4-BE49-F238E27FC236}">
                  <a16:creationId xmlns:a16="http://schemas.microsoft.com/office/drawing/2014/main" id="{FB245B37-76E2-4FA1-B36D-BC9DB7107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08" y="3794"/>
              <a:ext cx="468" cy="508"/>
            </a:xfrm>
            <a:custGeom>
              <a:avLst/>
              <a:gdLst>
                <a:gd name="T0" fmla="*/ 219 w 314"/>
                <a:gd name="T1" fmla="*/ 203 h 341"/>
                <a:gd name="T2" fmla="*/ 2 w 314"/>
                <a:gd name="T3" fmla="*/ 1 h 341"/>
                <a:gd name="T4" fmla="*/ 1 w 314"/>
                <a:gd name="T5" fmla="*/ 2 h 341"/>
                <a:gd name="T6" fmla="*/ 197 w 314"/>
                <a:gd name="T7" fmla="*/ 220 h 341"/>
                <a:gd name="T8" fmla="*/ 265 w 314"/>
                <a:gd name="T9" fmla="*/ 334 h 341"/>
                <a:gd name="T10" fmla="*/ 268 w 314"/>
                <a:gd name="T11" fmla="*/ 341 h 341"/>
                <a:gd name="T12" fmla="*/ 314 w 314"/>
                <a:gd name="T13" fmla="*/ 341 h 341"/>
                <a:gd name="T14" fmla="*/ 219 w 314"/>
                <a:gd name="T15" fmla="*/ 203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4" h="341">
                  <a:moveTo>
                    <a:pt x="219" y="203"/>
                  </a:moveTo>
                  <a:cubicBezTo>
                    <a:pt x="158" y="125"/>
                    <a:pt x="83" y="58"/>
                    <a:pt x="2" y="1"/>
                  </a:cubicBezTo>
                  <a:cubicBezTo>
                    <a:pt x="1" y="0"/>
                    <a:pt x="0" y="2"/>
                    <a:pt x="1" y="2"/>
                  </a:cubicBezTo>
                  <a:cubicBezTo>
                    <a:pt x="77" y="66"/>
                    <a:pt x="141" y="139"/>
                    <a:pt x="197" y="220"/>
                  </a:cubicBezTo>
                  <a:cubicBezTo>
                    <a:pt x="222" y="257"/>
                    <a:pt x="245" y="295"/>
                    <a:pt x="265" y="334"/>
                  </a:cubicBezTo>
                  <a:cubicBezTo>
                    <a:pt x="266" y="336"/>
                    <a:pt x="267" y="339"/>
                    <a:pt x="268" y="341"/>
                  </a:cubicBezTo>
                  <a:cubicBezTo>
                    <a:pt x="314" y="341"/>
                    <a:pt x="314" y="341"/>
                    <a:pt x="314" y="341"/>
                  </a:cubicBezTo>
                  <a:cubicBezTo>
                    <a:pt x="287" y="291"/>
                    <a:pt x="251" y="243"/>
                    <a:pt x="219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4" name="Freeform 128">
              <a:extLst>
                <a:ext uri="{FF2B5EF4-FFF2-40B4-BE49-F238E27FC236}">
                  <a16:creationId xmlns:a16="http://schemas.microsoft.com/office/drawing/2014/main" id="{0FE3184D-C477-42DF-8A42-7ABC3E0DF6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7" y="3833"/>
              <a:ext cx="453" cy="469"/>
            </a:xfrm>
            <a:custGeom>
              <a:avLst/>
              <a:gdLst>
                <a:gd name="T0" fmla="*/ 299 w 304"/>
                <a:gd name="T1" fmla="*/ 300 h 315"/>
                <a:gd name="T2" fmla="*/ 231 w 304"/>
                <a:gd name="T3" fmla="*/ 155 h 315"/>
                <a:gd name="T4" fmla="*/ 1 w 304"/>
                <a:gd name="T5" fmla="*/ 7 h 315"/>
                <a:gd name="T6" fmla="*/ 1 w 304"/>
                <a:gd name="T7" fmla="*/ 8 h 315"/>
                <a:gd name="T8" fmla="*/ 219 w 304"/>
                <a:gd name="T9" fmla="*/ 200 h 315"/>
                <a:gd name="T10" fmla="*/ 261 w 304"/>
                <a:gd name="T11" fmla="*/ 315 h 315"/>
                <a:gd name="T12" fmla="*/ 304 w 304"/>
                <a:gd name="T13" fmla="*/ 315 h 315"/>
                <a:gd name="T14" fmla="*/ 299 w 304"/>
                <a:gd name="T15" fmla="*/ 30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4" h="315">
                  <a:moveTo>
                    <a:pt x="299" y="300"/>
                  </a:moveTo>
                  <a:cubicBezTo>
                    <a:pt x="285" y="248"/>
                    <a:pt x="264" y="198"/>
                    <a:pt x="231" y="155"/>
                  </a:cubicBezTo>
                  <a:cubicBezTo>
                    <a:pt x="173" y="80"/>
                    <a:pt x="104" y="0"/>
                    <a:pt x="1" y="7"/>
                  </a:cubicBezTo>
                  <a:cubicBezTo>
                    <a:pt x="0" y="7"/>
                    <a:pt x="0" y="8"/>
                    <a:pt x="1" y="8"/>
                  </a:cubicBezTo>
                  <a:cubicBezTo>
                    <a:pt x="106" y="7"/>
                    <a:pt x="180" y="114"/>
                    <a:pt x="219" y="200"/>
                  </a:cubicBezTo>
                  <a:cubicBezTo>
                    <a:pt x="236" y="237"/>
                    <a:pt x="251" y="275"/>
                    <a:pt x="261" y="315"/>
                  </a:cubicBezTo>
                  <a:cubicBezTo>
                    <a:pt x="304" y="315"/>
                    <a:pt x="304" y="315"/>
                    <a:pt x="304" y="315"/>
                  </a:cubicBezTo>
                  <a:cubicBezTo>
                    <a:pt x="302" y="310"/>
                    <a:pt x="301" y="305"/>
                    <a:pt x="299" y="3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5" name="Freeform 129">
              <a:extLst>
                <a:ext uri="{FF2B5EF4-FFF2-40B4-BE49-F238E27FC236}">
                  <a16:creationId xmlns:a16="http://schemas.microsoft.com/office/drawing/2014/main" id="{6972A81E-B8C8-4388-91C2-D95353D27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41" y="3397"/>
              <a:ext cx="1568" cy="905"/>
            </a:xfrm>
            <a:custGeom>
              <a:avLst/>
              <a:gdLst>
                <a:gd name="T0" fmla="*/ 1018 w 1052"/>
                <a:gd name="T1" fmla="*/ 517 h 608"/>
                <a:gd name="T2" fmla="*/ 930 w 1052"/>
                <a:gd name="T3" fmla="*/ 344 h 608"/>
                <a:gd name="T4" fmla="*/ 648 w 1052"/>
                <a:gd name="T5" fmla="*/ 91 h 608"/>
                <a:gd name="T6" fmla="*/ 1 w 1052"/>
                <a:gd name="T7" fmla="*/ 225 h 608"/>
                <a:gd name="T8" fmla="*/ 4 w 1052"/>
                <a:gd name="T9" fmla="*/ 228 h 608"/>
                <a:gd name="T10" fmla="*/ 653 w 1052"/>
                <a:gd name="T11" fmla="*/ 138 h 608"/>
                <a:gd name="T12" fmla="*/ 911 w 1052"/>
                <a:gd name="T13" fmla="*/ 391 h 608"/>
                <a:gd name="T14" fmla="*/ 990 w 1052"/>
                <a:gd name="T15" fmla="*/ 558 h 608"/>
                <a:gd name="T16" fmla="*/ 1006 w 1052"/>
                <a:gd name="T17" fmla="*/ 608 h 608"/>
                <a:gd name="T18" fmla="*/ 1052 w 1052"/>
                <a:gd name="T19" fmla="*/ 608 h 608"/>
                <a:gd name="T20" fmla="*/ 1018 w 1052"/>
                <a:gd name="T21" fmla="*/ 517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2" h="608">
                  <a:moveTo>
                    <a:pt x="1018" y="517"/>
                  </a:moveTo>
                  <a:cubicBezTo>
                    <a:pt x="994" y="457"/>
                    <a:pt x="965" y="398"/>
                    <a:pt x="930" y="344"/>
                  </a:cubicBezTo>
                  <a:cubicBezTo>
                    <a:pt x="861" y="236"/>
                    <a:pt x="766" y="143"/>
                    <a:pt x="648" y="91"/>
                  </a:cubicBezTo>
                  <a:cubicBezTo>
                    <a:pt x="439" y="0"/>
                    <a:pt x="146" y="35"/>
                    <a:pt x="1" y="225"/>
                  </a:cubicBezTo>
                  <a:cubicBezTo>
                    <a:pt x="0" y="227"/>
                    <a:pt x="2" y="229"/>
                    <a:pt x="4" y="228"/>
                  </a:cubicBezTo>
                  <a:cubicBezTo>
                    <a:pt x="191" y="93"/>
                    <a:pt x="436" y="31"/>
                    <a:pt x="653" y="138"/>
                  </a:cubicBezTo>
                  <a:cubicBezTo>
                    <a:pt x="764" y="193"/>
                    <a:pt x="849" y="286"/>
                    <a:pt x="911" y="391"/>
                  </a:cubicBezTo>
                  <a:cubicBezTo>
                    <a:pt x="943" y="444"/>
                    <a:pt x="969" y="500"/>
                    <a:pt x="990" y="558"/>
                  </a:cubicBezTo>
                  <a:cubicBezTo>
                    <a:pt x="996" y="574"/>
                    <a:pt x="1001" y="591"/>
                    <a:pt x="1006" y="608"/>
                  </a:cubicBezTo>
                  <a:cubicBezTo>
                    <a:pt x="1052" y="608"/>
                    <a:pt x="1052" y="608"/>
                    <a:pt x="1052" y="608"/>
                  </a:cubicBezTo>
                  <a:cubicBezTo>
                    <a:pt x="1042" y="577"/>
                    <a:pt x="1029" y="546"/>
                    <a:pt x="1018" y="5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6" name="Freeform 130">
              <a:extLst>
                <a:ext uri="{FF2B5EF4-FFF2-40B4-BE49-F238E27FC236}">
                  <a16:creationId xmlns:a16="http://schemas.microsoft.com/office/drawing/2014/main" id="{A4B88071-A8BE-48DE-81EF-5739E9A49E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7" y="4043"/>
              <a:ext cx="285" cy="259"/>
            </a:xfrm>
            <a:custGeom>
              <a:avLst/>
              <a:gdLst>
                <a:gd name="T0" fmla="*/ 146 w 191"/>
                <a:gd name="T1" fmla="*/ 122 h 174"/>
                <a:gd name="T2" fmla="*/ 2 w 191"/>
                <a:gd name="T3" fmla="*/ 0 h 174"/>
                <a:gd name="T4" fmla="*/ 1 w 191"/>
                <a:gd name="T5" fmla="*/ 2 h 174"/>
                <a:gd name="T6" fmla="*/ 143 w 191"/>
                <a:gd name="T7" fmla="*/ 157 h 174"/>
                <a:gd name="T8" fmla="*/ 153 w 191"/>
                <a:gd name="T9" fmla="*/ 174 h 174"/>
                <a:gd name="T10" fmla="*/ 191 w 191"/>
                <a:gd name="T11" fmla="*/ 174 h 174"/>
                <a:gd name="T12" fmla="*/ 146 w 191"/>
                <a:gd name="T13" fmla="*/ 12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74">
                  <a:moveTo>
                    <a:pt x="146" y="122"/>
                  </a:moveTo>
                  <a:cubicBezTo>
                    <a:pt x="104" y="74"/>
                    <a:pt x="57" y="33"/>
                    <a:pt x="2" y="0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62" y="43"/>
                    <a:pt x="106" y="94"/>
                    <a:pt x="143" y="157"/>
                  </a:cubicBezTo>
                  <a:cubicBezTo>
                    <a:pt x="146" y="163"/>
                    <a:pt x="150" y="168"/>
                    <a:pt x="153" y="174"/>
                  </a:cubicBezTo>
                  <a:cubicBezTo>
                    <a:pt x="191" y="174"/>
                    <a:pt x="191" y="174"/>
                    <a:pt x="191" y="174"/>
                  </a:cubicBezTo>
                  <a:cubicBezTo>
                    <a:pt x="175" y="155"/>
                    <a:pt x="160" y="138"/>
                    <a:pt x="146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7" name="Freeform 131">
              <a:extLst>
                <a:ext uri="{FF2B5EF4-FFF2-40B4-BE49-F238E27FC236}">
                  <a16:creationId xmlns:a16="http://schemas.microsoft.com/office/drawing/2014/main" id="{E8F22F62-07E9-4CF6-9744-55A927BE0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95" y="3836"/>
              <a:ext cx="930" cy="466"/>
            </a:xfrm>
            <a:custGeom>
              <a:avLst/>
              <a:gdLst>
                <a:gd name="T0" fmla="*/ 424 w 624"/>
                <a:gd name="T1" fmla="*/ 90 h 313"/>
                <a:gd name="T2" fmla="*/ 1 w 624"/>
                <a:gd name="T3" fmla="*/ 64 h 313"/>
                <a:gd name="T4" fmla="*/ 2 w 624"/>
                <a:gd name="T5" fmla="*/ 66 h 313"/>
                <a:gd name="T6" fmla="*/ 413 w 624"/>
                <a:gd name="T7" fmla="*/ 124 h 313"/>
                <a:gd name="T8" fmla="*/ 587 w 624"/>
                <a:gd name="T9" fmla="*/ 313 h 313"/>
                <a:gd name="T10" fmla="*/ 624 w 624"/>
                <a:gd name="T11" fmla="*/ 313 h 313"/>
                <a:gd name="T12" fmla="*/ 424 w 624"/>
                <a:gd name="T13" fmla="*/ 9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4" h="313">
                  <a:moveTo>
                    <a:pt x="424" y="90"/>
                  </a:moveTo>
                  <a:cubicBezTo>
                    <a:pt x="292" y="0"/>
                    <a:pt x="147" y="26"/>
                    <a:pt x="1" y="64"/>
                  </a:cubicBezTo>
                  <a:cubicBezTo>
                    <a:pt x="0" y="65"/>
                    <a:pt x="1" y="66"/>
                    <a:pt x="2" y="66"/>
                  </a:cubicBezTo>
                  <a:cubicBezTo>
                    <a:pt x="145" y="44"/>
                    <a:pt x="290" y="33"/>
                    <a:pt x="413" y="124"/>
                  </a:cubicBezTo>
                  <a:cubicBezTo>
                    <a:pt x="479" y="172"/>
                    <a:pt x="540" y="240"/>
                    <a:pt x="587" y="313"/>
                  </a:cubicBezTo>
                  <a:cubicBezTo>
                    <a:pt x="624" y="313"/>
                    <a:pt x="624" y="313"/>
                    <a:pt x="624" y="313"/>
                  </a:cubicBezTo>
                  <a:cubicBezTo>
                    <a:pt x="578" y="223"/>
                    <a:pt x="502" y="142"/>
                    <a:pt x="424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8" name="Freeform 132">
              <a:extLst>
                <a:ext uri="{FF2B5EF4-FFF2-40B4-BE49-F238E27FC236}">
                  <a16:creationId xmlns:a16="http://schemas.microsoft.com/office/drawing/2014/main" id="{CF929E52-8072-4744-ABCF-2C31CAB3B6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07" y="3598"/>
              <a:ext cx="631" cy="704"/>
            </a:xfrm>
            <a:custGeom>
              <a:avLst/>
              <a:gdLst>
                <a:gd name="T0" fmla="*/ 391 w 423"/>
                <a:gd name="T1" fmla="*/ 382 h 473"/>
                <a:gd name="T2" fmla="*/ 298 w 423"/>
                <a:gd name="T3" fmla="*/ 217 h 473"/>
                <a:gd name="T4" fmla="*/ 1 w 423"/>
                <a:gd name="T5" fmla="*/ 0 h 473"/>
                <a:gd name="T6" fmla="*/ 0 w 423"/>
                <a:gd name="T7" fmla="*/ 1 h 473"/>
                <a:gd name="T8" fmla="*/ 287 w 423"/>
                <a:gd name="T9" fmla="*/ 241 h 473"/>
                <a:gd name="T10" fmla="*/ 374 w 423"/>
                <a:gd name="T11" fmla="*/ 403 h 473"/>
                <a:gd name="T12" fmla="*/ 393 w 423"/>
                <a:gd name="T13" fmla="*/ 473 h 473"/>
                <a:gd name="T14" fmla="*/ 423 w 423"/>
                <a:gd name="T15" fmla="*/ 473 h 473"/>
                <a:gd name="T16" fmla="*/ 391 w 423"/>
                <a:gd name="T17" fmla="*/ 382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473">
                  <a:moveTo>
                    <a:pt x="391" y="382"/>
                  </a:moveTo>
                  <a:cubicBezTo>
                    <a:pt x="368" y="323"/>
                    <a:pt x="336" y="268"/>
                    <a:pt x="298" y="217"/>
                  </a:cubicBezTo>
                  <a:cubicBezTo>
                    <a:pt x="223" y="119"/>
                    <a:pt x="119" y="38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14" y="60"/>
                    <a:pt x="212" y="136"/>
                    <a:pt x="287" y="241"/>
                  </a:cubicBezTo>
                  <a:cubicBezTo>
                    <a:pt x="323" y="291"/>
                    <a:pt x="352" y="345"/>
                    <a:pt x="374" y="403"/>
                  </a:cubicBezTo>
                  <a:cubicBezTo>
                    <a:pt x="383" y="426"/>
                    <a:pt x="388" y="449"/>
                    <a:pt x="393" y="473"/>
                  </a:cubicBezTo>
                  <a:cubicBezTo>
                    <a:pt x="423" y="473"/>
                    <a:pt x="423" y="473"/>
                    <a:pt x="423" y="473"/>
                  </a:cubicBezTo>
                  <a:cubicBezTo>
                    <a:pt x="414" y="441"/>
                    <a:pt x="402" y="410"/>
                    <a:pt x="391" y="3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59" name="Freeform 133">
              <a:extLst>
                <a:ext uri="{FF2B5EF4-FFF2-40B4-BE49-F238E27FC236}">
                  <a16:creationId xmlns:a16="http://schemas.microsoft.com/office/drawing/2014/main" id="{F1FA580B-210E-4FB6-BE90-79F0DD58C3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2" y="3706"/>
              <a:ext cx="1285" cy="596"/>
            </a:xfrm>
            <a:custGeom>
              <a:avLst/>
              <a:gdLst>
                <a:gd name="T0" fmla="*/ 529 w 862"/>
                <a:gd name="T1" fmla="*/ 59 h 400"/>
                <a:gd name="T2" fmla="*/ 5 w 862"/>
                <a:gd name="T3" fmla="*/ 182 h 400"/>
                <a:gd name="T4" fmla="*/ 11 w 862"/>
                <a:gd name="T5" fmla="*/ 191 h 400"/>
                <a:gd name="T6" fmla="*/ 519 w 862"/>
                <a:gd name="T7" fmla="*/ 94 h 400"/>
                <a:gd name="T8" fmla="*/ 844 w 862"/>
                <a:gd name="T9" fmla="*/ 400 h 400"/>
                <a:gd name="T10" fmla="*/ 862 w 862"/>
                <a:gd name="T11" fmla="*/ 400 h 400"/>
                <a:gd name="T12" fmla="*/ 529 w 862"/>
                <a:gd name="T13" fmla="*/ 59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2" h="400">
                  <a:moveTo>
                    <a:pt x="529" y="59"/>
                  </a:moveTo>
                  <a:cubicBezTo>
                    <a:pt x="353" y="0"/>
                    <a:pt x="144" y="68"/>
                    <a:pt x="5" y="182"/>
                  </a:cubicBezTo>
                  <a:cubicBezTo>
                    <a:pt x="0" y="186"/>
                    <a:pt x="6" y="193"/>
                    <a:pt x="11" y="191"/>
                  </a:cubicBezTo>
                  <a:cubicBezTo>
                    <a:pt x="173" y="111"/>
                    <a:pt x="335" y="27"/>
                    <a:pt x="519" y="94"/>
                  </a:cubicBezTo>
                  <a:cubicBezTo>
                    <a:pt x="669" y="148"/>
                    <a:pt x="763" y="271"/>
                    <a:pt x="844" y="400"/>
                  </a:cubicBezTo>
                  <a:cubicBezTo>
                    <a:pt x="862" y="400"/>
                    <a:pt x="862" y="400"/>
                    <a:pt x="862" y="400"/>
                  </a:cubicBezTo>
                  <a:cubicBezTo>
                    <a:pt x="808" y="245"/>
                    <a:pt x="687" y="111"/>
                    <a:pt x="529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0" name="Freeform 134">
              <a:extLst>
                <a:ext uri="{FF2B5EF4-FFF2-40B4-BE49-F238E27FC236}">
                  <a16:creationId xmlns:a16="http://schemas.microsoft.com/office/drawing/2014/main" id="{9F2756EC-2947-41B5-B694-935990DF3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7" y="4015"/>
              <a:ext cx="63" cy="71"/>
            </a:xfrm>
            <a:custGeom>
              <a:avLst/>
              <a:gdLst>
                <a:gd name="T0" fmla="*/ 40 w 42"/>
                <a:gd name="T1" fmla="*/ 43 h 48"/>
                <a:gd name="T2" fmla="*/ 2 w 42"/>
                <a:gd name="T3" fmla="*/ 1 h 48"/>
                <a:gd name="T4" fmla="*/ 1 w 42"/>
                <a:gd name="T5" fmla="*/ 2 h 48"/>
                <a:gd name="T6" fmla="*/ 35 w 42"/>
                <a:gd name="T7" fmla="*/ 45 h 48"/>
                <a:gd name="T8" fmla="*/ 40 w 42"/>
                <a:gd name="T9" fmla="*/ 4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8">
                  <a:moveTo>
                    <a:pt x="40" y="43"/>
                  </a:moveTo>
                  <a:cubicBezTo>
                    <a:pt x="29" y="27"/>
                    <a:pt x="16" y="14"/>
                    <a:pt x="2" y="1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14" y="16"/>
                    <a:pt x="24" y="31"/>
                    <a:pt x="35" y="45"/>
                  </a:cubicBezTo>
                  <a:cubicBezTo>
                    <a:pt x="37" y="48"/>
                    <a:pt x="42" y="45"/>
                    <a:pt x="4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1" name="Freeform 135">
              <a:extLst>
                <a:ext uri="{FF2B5EF4-FFF2-40B4-BE49-F238E27FC236}">
                  <a16:creationId xmlns:a16="http://schemas.microsoft.com/office/drawing/2014/main" id="{8D48C58E-3815-4C2D-9D7F-F0A642F2BC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24" y="3891"/>
              <a:ext cx="551" cy="411"/>
            </a:xfrm>
            <a:custGeom>
              <a:avLst/>
              <a:gdLst>
                <a:gd name="T0" fmla="*/ 332 w 370"/>
                <a:gd name="T1" fmla="*/ 216 h 276"/>
                <a:gd name="T2" fmla="*/ 229 w 370"/>
                <a:gd name="T3" fmla="*/ 99 h 276"/>
                <a:gd name="T4" fmla="*/ 0 w 370"/>
                <a:gd name="T5" fmla="*/ 0 h 276"/>
                <a:gd name="T6" fmla="*/ 0 w 370"/>
                <a:gd name="T7" fmla="*/ 1 h 276"/>
                <a:gd name="T8" fmla="*/ 233 w 370"/>
                <a:gd name="T9" fmla="*/ 129 h 276"/>
                <a:gd name="T10" fmla="*/ 320 w 370"/>
                <a:gd name="T11" fmla="*/ 244 h 276"/>
                <a:gd name="T12" fmla="*/ 338 w 370"/>
                <a:gd name="T13" fmla="*/ 276 h 276"/>
                <a:gd name="T14" fmla="*/ 370 w 370"/>
                <a:gd name="T15" fmla="*/ 276 h 276"/>
                <a:gd name="T16" fmla="*/ 332 w 370"/>
                <a:gd name="T17" fmla="*/ 21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0" h="276">
                  <a:moveTo>
                    <a:pt x="332" y="216"/>
                  </a:moveTo>
                  <a:cubicBezTo>
                    <a:pt x="303" y="172"/>
                    <a:pt x="270" y="131"/>
                    <a:pt x="229" y="99"/>
                  </a:cubicBezTo>
                  <a:cubicBezTo>
                    <a:pt x="163" y="46"/>
                    <a:pt x="85" y="8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89" y="26"/>
                    <a:pt x="169" y="62"/>
                    <a:pt x="233" y="129"/>
                  </a:cubicBezTo>
                  <a:cubicBezTo>
                    <a:pt x="266" y="164"/>
                    <a:pt x="295" y="203"/>
                    <a:pt x="320" y="244"/>
                  </a:cubicBezTo>
                  <a:cubicBezTo>
                    <a:pt x="326" y="254"/>
                    <a:pt x="332" y="265"/>
                    <a:pt x="338" y="276"/>
                  </a:cubicBezTo>
                  <a:cubicBezTo>
                    <a:pt x="370" y="276"/>
                    <a:pt x="370" y="276"/>
                    <a:pt x="370" y="276"/>
                  </a:cubicBezTo>
                  <a:cubicBezTo>
                    <a:pt x="358" y="255"/>
                    <a:pt x="344" y="234"/>
                    <a:pt x="332" y="2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2" name="Freeform 136">
              <a:extLst>
                <a:ext uri="{FF2B5EF4-FFF2-40B4-BE49-F238E27FC236}">
                  <a16:creationId xmlns:a16="http://schemas.microsoft.com/office/drawing/2014/main" id="{56919AD5-CD72-409B-8600-C1E7A8D01A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73" y="3738"/>
              <a:ext cx="277" cy="195"/>
            </a:xfrm>
            <a:custGeom>
              <a:avLst/>
              <a:gdLst>
                <a:gd name="T0" fmla="*/ 185 w 186"/>
                <a:gd name="T1" fmla="*/ 125 h 131"/>
                <a:gd name="T2" fmla="*/ 2 w 186"/>
                <a:gd name="T3" fmla="*/ 0 h 131"/>
                <a:gd name="T4" fmla="*/ 1 w 186"/>
                <a:gd name="T5" fmla="*/ 2 h 131"/>
                <a:gd name="T6" fmla="*/ 181 w 186"/>
                <a:gd name="T7" fmla="*/ 129 h 131"/>
                <a:gd name="T8" fmla="*/ 185 w 186"/>
                <a:gd name="T9" fmla="*/ 12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31">
                  <a:moveTo>
                    <a:pt x="185" y="125"/>
                  </a:moveTo>
                  <a:cubicBezTo>
                    <a:pt x="137" y="65"/>
                    <a:pt x="69" y="32"/>
                    <a:pt x="2" y="0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66" y="37"/>
                    <a:pt x="120" y="88"/>
                    <a:pt x="181" y="129"/>
                  </a:cubicBezTo>
                  <a:cubicBezTo>
                    <a:pt x="184" y="131"/>
                    <a:pt x="186" y="127"/>
                    <a:pt x="185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3" name="Freeform 137">
              <a:extLst>
                <a:ext uri="{FF2B5EF4-FFF2-40B4-BE49-F238E27FC236}">
                  <a16:creationId xmlns:a16="http://schemas.microsoft.com/office/drawing/2014/main" id="{657C2E82-88BA-4A22-BCB2-C97E627852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1115"/>
              <a:ext cx="1070" cy="417"/>
            </a:xfrm>
            <a:custGeom>
              <a:avLst/>
              <a:gdLst>
                <a:gd name="T0" fmla="*/ 342 w 718"/>
                <a:gd name="T1" fmla="*/ 51 h 280"/>
                <a:gd name="T2" fmla="*/ 548 w 718"/>
                <a:gd name="T3" fmla="*/ 145 h 280"/>
                <a:gd name="T4" fmla="*/ 716 w 718"/>
                <a:gd name="T5" fmla="*/ 279 h 280"/>
                <a:gd name="T6" fmla="*/ 717 w 718"/>
                <a:gd name="T7" fmla="*/ 278 h 280"/>
                <a:gd name="T8" fmla="*/ 571 w 718"/>
                <a:gd name="T9" fmla="*/ 137 h 280"/>
                <a:gd name="T10" fmla="*/ 357 w 718"/>
                <a:gd name="T11" fmla="*/ 32 h 280"/>
                <a:gd name="T12" fmla="*/ 0 w 718"/>
                <a:gd name="T13" fmla="*/ 29 h 280"/>
                <a:gd name="T14" fmla="*/ 0 w 718"/>
                <a:gd name="T15" fmla="*/ 52 h 280"/>
                <a:gd name="T16" fmla="*/ 342 w 718"/>
                <a:gd name="T17" fmla="*/ 5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8" h="280">
                  <a:moveTo>
                    <a:pt x="342" y="51"/>
                  </a:moveTo>
                  <a:cubicBezTo>
                    <a:pt x="414" y="70"/>
                    <a:pt x="483" y="109"/>
                    <a:pt x="548" y="145"/>
                  </a:cubicBezTo>
                  <a:cubicBezTo>
                    <a:pt x="611" y="180"/>
                    <a:pt x="673" y="220"/>
                    <a:pt x="716" y="279"/>
                  </a:cubicBezTo>
                  <a:cubicBezTo>
                    <a:pt x="717" y="280"/>
                    <a:pt x="718" y="279"/>
                    <a:pt x="717" y="278"/>
                  </a:cubicBezTo>
                  <a:cubicBezTo>
                    <a:pt x="680" y="218"/>
                    <a:pt x="631" y="174"/>
                    <a:pt x="571" y="137"/>
                  </a:cubicBezTo>
                  <a:cubicBezTo>
                    <a:pt x="504" y="96"/>
                    <a:pt x="432" y="54"/>
                    <a:pt x="357" y="32"/>
                  </a:cubicBezTo>
                  <a:cubicBezTo>
                    <a:pt x="249" y="0"/>
                    <a:pt x="118" y="2"/>
                    <a:pt x="0" y="29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13" y="31"/>
                    <a:pt x="229" y="22"/>
                    <a:pt x="342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4" name="Freeform 138">
              <a:extLst>
                <a:ext uri="{FF2B5EF4-FFF2-40B4-BE49-F238E27FC236}">
                  <a16:creationId xmlns:a16="http://schemas.microsoft.com/office/drawing/2014/main" id="{1CA90DBD-184B-4A50-BAFF-EBD916E4F5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2" y="1062"/>
              <a:ext cx="81" cy="33"/>
            </a:xfrm>
            <a:custGeom>
              <a:avLst/>
              <a:gdLst>
                <a:gd name="T0" fmla="*/ 53 w 54"/>
                <a:gd name="T1" fmla="*/ 1 h 22"/>
                <a:gd name="T2" fmla="*/ 27 w 54"/>
                <a:gd name="T3" fmla="*/ 12 h 22"/>
                <a:gd name="T4" fmla="*/ 2 w 54"/>
                <a:gd name="T5" fmla="*/ 14 h 22"/>
                <a:gd name="T6" fmla="*/ 2 w 54"/>
                <a:gd name="T7" fmla="*/ 18 h 22"/>
                <a:gd name="T8" fmla="*/ 54 w 54"/>
                <a:gd name="T9" fmla="*/ 3 h 22"/>
                <a:gd name="T10" fmla="*/ 53 w 54"/>
                <a:gd name="T11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22">
                  <a:moveTo>
                    <a:pt x="53" y="1"/>
                  </a:moveTo>
                  <a:cubicBezTo>
                    <a:pt x="45" y="6"/>
                    <a:pt x="36" y="10"/>
                    <a:pt x="27" y="12"/>
                  </a:cubicBezTo>
                  <a:cubicBezTo>
                    <a:pt x="19" y="14"/>
                    <a:pt x="10" y="13"/>
                    <a:pt x="2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19" y="22"/>
                    <a:pt x="40" y="12"/>
                    <a:pt x="54" y="3"/>
                  </a:cubicBezTo>
                  <a:cubicBezTo>
                    <a:pt x="54" y="2"/>
                    <a:pt x="54" y="0"/>
                    <a:pt x="5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5" name="Freeform 139">
              <a:extLst>
                <a:ext uri="{FF2B5EF4-FFF2-40B4-BE49-F238E27FC236}">
                  <a16:creationId xmlns:a16="http://schemas.microsoft.com/office/drawing/2014/main" id="{1622CEC7-68C1-48D2-9592-81A8DEA98C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" y="1768"/>
              <a:ext cx="328" cy="501"/>
            </a:xfrm>
            <a:custGeom>
              <a:avLst/>
              <a:gdLst>
                <a:gd name="T0" fmla="*/ 2 w 220"/>
                <a:gd name="T1" fmla="*/ 332 h 337"/>
                <a:gd name="T2" fmla="*/ 4 w 220"/>
                <a:gd name="T3" fmla="*/ 336 h 337"/>
                <a:gd name="T4" fmla="*/ 136 w 220"/>
                <a:gd name="T5" fmla="*/ 0 h 337"/>
                <a:gd name="T6" fmla="*/ 135 w 220"/>
                <a:gd name="T7" fmla="*/ 1 h 337"/>
                <a:gd name="T8" fmla="*/ 2 w 220"/>
                <a:gd name="T9" fmla="*/ 332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337">
                  <a:moveTo>
                    <a:pt x="2" y="332"/>
                  </a:moveTo>
                  <a:cubicBezTo>
                    <a:pt x="0" y="333"/>
                    <a:pt x="1" y="337"/>
                    <a:pt x="4" y="336"/>
                  </a:cubicBezTo>
                  <a:cubicBezTo>
                    <a:pt x="162" y="295"/>
                    <a:pt x="220" y="137"/>
                    <a:pt x="136" y="0"/>
                  </a:cubicBezTo>
                  <a:cubicBezTo>
                    <a:pt x="135" y="0"/>
                    <a:pt x="135" y="0"/>
                    <a:pt x="135" y="1"/>
                  </a:cubicBezTo>
                  <a:cubicBezTo>
                    <a:pt x="199" y="125"/>
                    <a:pt x="132" y="286"/>
                    <a:pt x="2" y="3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6" name="Freeform 140">
              <a:extLst>
                <a:ext uri="{FF2B5EF4-FFF2-40B4-BE49-F238E27FC236}">
                  <a16:creationId xmlns:a16="http://schemas.microsoft.com/office/drawing/2014/main" id="{6BF4B398-E902-49C2-8711-68EE2919BC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1579"/>
              <a:ext cx="312" cy="671"/>
            </a:xfrm>
            <a:custGeom>
              <a:avLst/>
              <a:gdLst>
                <a:gd name="T0" fmla="*/ 130 w 209"/>
                <a:gd name="T1" fmla="*/ 68 h 451"/>
                <a:gd name="T2" fmla="*/ 0 w 209"/>
                <a:gd name="T3" fmla="*/ 0 h 451"/>
                <a:gd name="T4" fmla="*/ 0 w 209"/>
                <a:gd name="T5" fmla="*/ 9 h 451"/>
                <a:gd name="T6" fmla="*/ 171 w 209"/>
                <a:gd name="T7" fmla="*/ 233 h 451"/>
                <a:gd name="T8" fmla="*/ 79 w 209"/>
                <a:gd name="T9" fmla="*/ 404 h 451"/>
                <a:gd name="T10" fmla="*/ 0 w 209"/>
                <a:gd name="T11" fmla="*/ 415 h 451"/>
                <a:gd name="T12" fmla="*/ 0 w 209"/>
                <a:gd name="T13" fmla="*/ 448 h 451"/>
                <a:gd name="T14" fmla="*/ 202 w 209"/>
                <a:gd name="T15" fmla="*/ 275 h 451"/>
                <a:gd name="T16" fmla="*/ 130 w 209"/>
                <a:gd name="T17" fmla="*/ 68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9" h="451">
                  <a:moveTo>
                    <a:pt x="130" y="68"/>
                  </a:moveTo>
                  <a:cubicBezTo>
                    <a:pt x="92" y="36"/>
                    <a:pt x="47" y="15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95" y="47"/>
                    <a:pt x="169" y="117"/>
                    <a:pt x="171" y="233"/>
                  </a:cubicBezTo>
                  <a:cubicBezTo>
                    <a:pt x="171" y="304"/>
                    <a:pt x="151" y="376"/>
                    <a:pt x="79" y="404"/>
                  </a:cubicBezTo>
                  <a:cubicBezTo>
                    <a:pt x="53" y="414"/>
                    <a:pt x="27" y="416"/>
                    <a:pt x="0" y="415"/>
                  </a:cubicBezTo>
                  <a:cubicBezTo>
                    <a:pt x="0" y="448"/>
                    <a:pt x="0" y="448"/>
                    <a:pt x="0" y="448"/>
                  </a:cubicBezTo>
                  <a:cubicBezTo>
                    <a:pt x="100" y="451"/>
                    <a:pt x="190" y="395"/>
                    <a:pt x="202" y="275"/>
                  </a:cubicBezTo>
                  <a:cubicBezTo>
                    <a:pt x="209" y="196"/>
                    <a:pt x="192" y="121"/>
                    <a:pt x="130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7" name="Freeform 141">
              <a:extLst>
                <a:ext uri="{FF2B5EF4-FFF2-40B4-BE49-F238E27FC236}">
                  <a16:creationId xmlns:a16="http://schemas.microsoft.com/office/drawing/2014/main" id="{5AD9F8DE-EE4E-45CE-AFB4-8F4848BDE6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0" y="1471"/>
              <a:ext cx="250" cy="782"/>
            </a:xfrm>
            <a:custGeom>
              <a:avLst/>
              <a:gdLst>
                <a:gd name="T0" fmla="*/ 42 w 168"/>
                <a:gd name="T1" fmla="*/ 520 h 525"/>
                <a:gd name="T2" fmla="*/ 43 w 168"/>
                <a:gd name="T3" fmla="*/ 524 h 525"/>
                <a:gd name="T4" fmla="*/ 162 w 168"/>
                <a:gd name="T5" fmla="*/ 274 h 525"/>
                <a:gd name="T6" fmla="*/ 1 w 168"/>
                <a:gd name="T7" fmla="*/ 0 h 525"/>
                <a:gd name="T8" fmla="*/ 1 w 168"/>
                <a:gd name="T9" fmla="*/ 1 h 525"/>
                <a:gd name="T10" fmla="*/ 138 w 168"/>
                <a:gd name="T11" fmla="*/ 247 h 525"/>
                <a:gd name="T12" fmla="*/ 42 w 168"/>
                <a:gd name="T13" fmla="*/ 52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525">
                  <a:moveTo>
                    <a:pt x="42" y="520"/>
                  </a:moveTo>
                  <a:cubicBezTo>
                    <a:pt x="40" y="521"/>
                    <a:pt x="40" y="525"/>
                    <a:pt x="43" y="524"/>
                  </a:cubicBezTo>
                  <a:cubicBezTo>
                    <a:pt x="148" y="493"/>
                    <a:pt x="168" y="369"/>
                    <a:pt x="162" y="274"/>
                  </a:cubicBezTo>
                  <a:cubicBezTo>
                    <a:pt x="154" y="163"/>
                    <a:pt x="104" y="52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ubicBezTo>
                    <a:pt x="86" y="59"/>
                    <a:pt x="126" y="147"/>
                    <a:pt x="138" y="247"/>
                  </a:cubicBezTo>
                  <a:cubicBezTo>
                    <a:pt x="150" y="345"/>
                    <a:pt x="152" y="478"/>
                    <a:pt x="42" y="5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8" name="Freeform 142">
              <a:extLst>
                <a:ext uri="{FF2B5EF4-FFF2-40B4-BE49-F238E27FC236}">
                  <a16:creationId xmlns:a16="http://schemas.microsoft.com/office/drawing/2014/main" id="{6FCAA68A-F5CF-4113-8AA0-25D0B6082E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5" y="1437"/>
              <a:ext cx="277" cy="366"/>
            </a:xfrm>
            <a:custGeom>
              <a:avLst/>
              <a:gdLst>
                <a:gd name="T0" fmla="*/ 3 w 186"/>
                <a:gd name="T1" fmla="*/ 1 h 246"/>
                <a:gd name="T2" fmla="*/ 1 w 186"/>
                <a:gd name="T3" fmla="*/ 3 h 246"/>
                <a:gd name="T4" fmla="*/ 183 w 186"/>
                <a:gd name="T5" fmla="*/ 245 h 246"/>
                <a:gd name="T6" fmla="*/ 185 w 186"/>
                <a:gd name="T7" fmla="*/ 244 h 246"/>
                <a:gd name="T8" fmla="*/ 130 w 186"/>
                <a:gd name="T9" fmla="*/ 116 h 246"/>
                <a:gd name="T10" fmla="*/ 3 w 186"/>
                <a:gd name="T11" fmla="*/ 1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" h="246">
                  <a:moveTo>
                    <a:pt x="3" y="1"/>
                  </a:moveTo>
                  <a:cubicBezTo>
                    <a:pt x="2" y="0"/>
                    <a:pt x="0" y="2"/>
                    <a:pt x="1" y="3"/>
                  </a:cubicBezTo>
                  <a:cubicBezTo>
                    <a:pt x="69" y="68"/>
                    <a:pt x="150" y="155"/>
                    <a:pt x="183" y="245"/>
                  </a:cubicBezTo>
                  <a:cubicBezTo>
                    <a:pt x="184" y="246"/>
                    <a:pt x="186" y="246"/>
                    <a:pt x="185" y="244"/>
                  </a:cubicBezTo>
                  <a:cubicBezTo>
                    <a:pt x="174" y="196"/>
                    <a:pt x="161" y="155"/>
                    <a:pt x="130" y="116"/>
                  </a:cubicBezTo>
                  <a:cubicBezTo>
                    <a:pt x="94" y="71"/>
                    <a:pt x="46" y="39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69" name="Freeform 143">
              <a:extLst>
                <a:ext uri="{FF2B5EF4-FFF2-40B4-BE49-F238E27FC236}">
                  <a16:creationId xmlns:a16="http://schemas.microsoft.com/office/drawing/2014/main" id="{369E264A-A6AB-49C3-975D-A1A878EAA2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9" y="1876"/>
              <a:ext cx="35" cy="194"/>
            </a:xfrm>
            <a:custGeom>
              <a:avLst/>
              <a:gdLst>
                <a:gd name="T0" fmla="*/ 0 w 23"/>
                <a:gd name="T1" fmla="*/ 119 h 130"/>
                <a:gd name="T2" fmla="*/ 1 w 23"/>
                <a:gd name="T3" fmla="*/ 125 h 130"/>
                <a:gd name="T4" fmla="*/ 11 w 23"/>
                <a:gd name="T5" fmla="*/ 125 h 130"/>
                <a:gd name="T6" fmla="*/ 13 w 23"/>
                <a:gd name="T7" fmla="*/ 1 h 130"/>
                <a:gd name="T8" fmla="*/ 12 w 23"/>
                <a:gd name="T9" fmla="*/ 1 h 130"/>
                <a:gd name="T10" fmla="*/ 3 w 23"/>
                <a:gd name="T11" fmla="*/ 115 h 130"/>
                <a:gd name="T12" fmla="*/ 0 w 23"/>
                <a:gd name="T13" fmla="*/ 119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30">
                  <a:moveTo>
                    <a:pt x="0" y="119"/>
                  </a:moveTo>
                  <a:cubicBezTo>
                    <a:pt x="0" y="121"/>
                    <a:pt x="1" y="123"/>
                    <a:pt x="1" y="125"/>
                  </a:cubicBezTo>
                  <a:cubicBezTo>
                    <a:pt x="2" y="130"/>
                    <a:pt x="9" y="129"/>
                    <a:pt x="11" y="125"/>
                  </a:cubicBezTo>
                  <a:cubicBezTo>
                    <a:pt x="23" y="85"/>
                    <a:pt x="21" y="41"/>
                    <a:pt x="13" y="1"/>
                  </a:cubicBezTo>
                  <a:cubicBezTo>
                    <a:pt x="13" y="0"/>
                    <a:pt x="12" y="0"/>
                    <a:pt x="12" y="1"/>
                  </a:cubicBezTo>
                  <a:cubicBezTo>
                    <a:pt x="17" y="40"/>
                    <a:pt x="12" y="77"/>
                    <a:pt x="3" y="115"/>
                  </a:cubicBezTo>
                  <a:cubicBezTo>
                    <a:pt x="1" y="115"/>
                    <a:pt x="0" y="117"/>
                    <a:pt x="0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0" name="Freeform 144">
              <a:extLst>
                <a:ext uri="{FF2B5EF4-FFF2-40B4-BE49-F238E27FC236}">
                  <a16:creationId xmlns:a16="http://schemas.microsoft.com/office/drawing/2014/main" id="{340C104D-F242-46D7-9D48-74D0470207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5" y="1596"/>
              <a:ext cx="111" cy="639"/>
            </a:xfrm>
            <a:custGeom>
              <a:avLst/>
              <a:gdLst>
                <a:gd name="T0" fmla="*/ 34 w 75"/>
                <a:gd name="T1" fmla="*/ 422 h 429"/>
                <a:gd name="T2" fmla="*/ 40 w 75"/>
                <a:gd name="T3" fmla="*/ 425 h 429"/>
                <a:gd name="T4" fmla="*/ 71 w 75"/>
                <a:gd name="T5" fmla="*/ 203 h 429"/>
                <a:gd name="T6" fmla="*/ 2 w 75"/>
                <a:gd name="T7" fmla="*/ 1 h 429"/>
                <a:gd name="T8" fmla="*/ 1 w 75"/>
                <a:gd name="T9" fmla="*/ 2 h 429"/>
                <a:gd name="T10" fmla="*/ 55 w 75"/>
                <a:gd name="T11" fmla="*/ 212 h 429"/>
                <a:gd name="T12" fmla="*/ 34 w 75"/>
                <a:gd name="T13" fmla="*/ 422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429">
                  <a:moveTo>
                    <a:pt x="34" y="422"/>
                  </a:moveTo>
                  <a:cubicBezTo>
                    <a:pt x="33" y="425"/>
                    <a:pt x="38" y="429"/>
                    <a:pt x="40" y="425"/>
                  </a:cubicBezTo>
                  <a:cubicBezTo>
                    <a:pt x="70" y="358"/>
                    <a:pt x="75" y="274"/>
                    <a:pt x="71" y="203"/>
                  </a:cubicBezTo>
                  <a:cubicBezTo>
                    <a:pt x="68" y="129"/>
                    <a:pt x="38" y="64"/>
                    <a:pt x="2" y="1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34" y="69"/>
                    <a:pt x="61" y="136"/>
                    <a:pt x="55" y="212"/>
                  </a:cubicBezTo>
                  <a:cubicBezTo>
                    <a:pt x="50" y="281"/>
                    <a:pt x="46" y="355"/>
                    <a:pt x="34" y="4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1" name="Freeform 145">
              <a:extLst>
                <a:ext uri="{FF2B5EF4-FFF2-40B4-BE49-F238E27FC236}">
                  <a16:creationId xmlns:a16="http://schemas.microsoft.com/office/drawing/2014/main" id="{1FB60044-FE18-4D65-BD80-161DE5EC8E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2" y="2880"/>
              <a:ext cx="149" cy="575"/>
            </a:xfrm>
            <a:custGeom>
              <a:avLst/>
              <a:gdLst>
                <a:gd name="T0" fmla="*/ 9 w 100"/>
                <a:gd name="T1" fmla="*/ 382 h 386"/>
                <a:gd name="T2" fmla="*/ 51 w 100"/>
                <a:gd name="T3" fmla="*/ 1 h 386"/>
                <a:gd name="T4" fmla="*/ 50 w 100"/>
                <a:gd name="T5" fmla="*/ 1 h 386"/>
                <a:gd name="T6" fmla="*/ 2 w 100"/>
                <a:gd name="T7" fmla="*/ 377 h 386"/>
                <a:gd name="T8" fmla="*/ 9 w 100"/>
                <a:gd name="T9" fmla="*/ 382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86">
                  <a:moveTo>
                    <a:pt x="9" y="382"/>
                  </a:moveTo>
                  <a:cubicBezTo>
                    <a:pt x="100" y="277"/>
                    <a:pt x="99" y="123"/>
                    <a:pt x="51" y="1"/>
                  </a:cubicBezTo>
                  <a:cubicBezTo>
                    <a:pt x="51" y="0"/>
                    <a:pt x="50" y="0"/>
                    <a:pt x="50" y="1"/>
                  </a:cubicBezTo>
                  <a:cubicBezTo>
                    <a:pt x="87" y="133"/>
                    <a:pt x="54" y="256"/>
                    <a:pt x="2" y="377"/>
                  </a:cubicBezTo>
                  <a:cubicBezTo>
                    <a:pt x="0" y="381"/>
                    <a:pt x="5" y="386"/>
                    <a:pt x="9" y="3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2" name="Freeform 146">
              <a:extLst>
                <a:ext uri="{FF2B5EF4-FFF2-40B4-BE49-F238E27FC236}">
                  <a16:creationId xmlns:a16="http://schemas.microsoft.com/office/drawing/2014/main" id="{53288D77-0D70-4B8C-8DD7-F7C5E11C9A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3499"/>
              <a:ext cx="109" cy="60"/>
            </a:xfrm>
            <a:custGeom>
              <a:avLst/>
              <a:gdLst>
                <a:gd name="T0" fmla="*/ 4 w 73"/>
                <a:gd name="T1" fmla="*/ 39 h 40"/>
                <a:gd name="T2" fmla="*/ 72 w 73"/>
                <a:gd name="T3" fmla="*/ 2 h 40"/>
                <a:gd name="T4" fmla="*/ 71 w 73"/>
                <a:gd name="T5" fmla="*/ 0 h 40"/>
                <a:gd name="T6" fmla="*/ 1 w 73"/>
                <a:gd name="T7" fmla="*/ 33 h 40"/>
                <a:gd name="T8" fmla="*/ 0 w 73"/>
                <a:gd name="T9" fmla="*/ 36 h 40"/>
                <a:gd name="T10" fmla="*/ 0 w 73"/>
                <a:gd name="T11" fmla="*/ 36 h 40"/>
                <a:gd name="T12" fmla="*/ 4 w 73"/>
                <a:gd name="T1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40">
                  <a:moveTo>
                    <a:pt x="4" y="39"/>
                  </a:moveTo>
                  <a:cubicBezTo>
                    <a:pt x="28" y="32"/>
                    <a:pt x="50" y="14"/>
                    <a:pt x="72" y="2"/>
                  </a:cubicBezTo>
                  <a:cubicBezTo>
                    <a:pt x="73" y="1"/>
                    <a:pt x="72" y="0"/>
                    <a:pt x="71" y="0"/>
                  </a:cubicBezTo>
                  <a:cubicBezTo>
                    <a:pt x="49" y="11"/>
                    <a:pt x="21" y="18"/>
                    <a:pt x="1" y="33"/>
                  </a:cubicBezTo>
                  <a:cubicBezTo>
                    <a:pt x="0" y="34"/>
                    <a:pt x="0" y="35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8"/>
                    <a:pt x="2" y="40"/>
                    <a:pt x="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3" name="Freeform 147">
              <a:extLst>
                <a:ext uri="{FF2B5EF4-FFF2-40B4-BE49-F238E27FC236}">
                  <a16:creationId xmlns:a16="http://schemas.microsoft.com/office/drawing/2014/main" id="{0332318F-E775-41A4-8FA6-F152C116DE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1762"/>
              <a:ext cx="122" cy="341"/>
            </a:xfrm>
            <a:custGeom>
              <a:avLst/>
              <a:gdLst>
                <a:gd name="T0" fmla="*/ 81 w 82"/>
                <a:gd name="T1" fmla="*/ 129 h 229"/>
                <a:gd name="T2" fmla="*/ 0 w 82"/>
                <a:gd name="T3" fmla="*/ 0 h 229"/>
                <a:gd name="T4" fmla="*/ 0 w 82"/>
                <a:gd name="T5" fmla="*/ 7 h 229"/>
                <a:gd name="T6" fmla="*/ 58 w 82"/>
                <a:gd name="T7" fmla="*/ 107 h 229"/>
                <a:gd name="T8" fmla="*/ 0 w 82"/>
                <a:gd name="T9" fmla="*/ 206 h 229"/>
                <a:gd name="T10" fmla="*/ 0 w 82"/>
                <a:gd name="T11" fmla="*/ 229 h 229"/>
                <a:gd name="T12" fmla="*/ 81 w 82"/>
                <a:gd name="T13" fmla="*/ 1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29">
                  <a:moveTo>
                    <a:pt x="81" y="129"/>
                  </a:moveTo>
                  <a:cubicBezTo>
                    <a:pt x="82" y="69"/>
                    <a:pt x="47" y="27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32" y="31"/>
                    <a:pt x="56" y="65"/>
                    <a:pt x="58" y="107"/>
                  </a:cubicBezTo>
                  <a:cubicBezTo>
                    <a:pt x="61" y="151"/>
                    <a:pt x="36" y="187"/>
                    <a:pt x="0" y="206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47" y="222"/>
                    <a:pt x="80" y="179"/>
                    <a:pt x="81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4" name="Freeform 148">
              <a:extLst>
                <a:ext uri="{FF2B5EF4-FFF2-40B4-BE49-F238E27FC236}">
                  <a16:creationId xmlns:a16="http://schemas.microsoft.com/office/drawing/2014/main" id="{BDF1CC48-F318-430B-9A86-DF8F0576C1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3492"/>
              <a:ext cx="227" cy="174"/>
            </a:xfrm>
            <a:custGeom>
              <a:avLst/>
              <a:gdLst>
                <a:gd name="T0" fmla="*/ 151 w 152"/>
                <a:gd name="T1" fmla="*/ 3 h 117"/>
                <a:gd name="T2" fmla="*/ 149 w 152"/>
                <a:gd name="T3" fmla="*/ 1 h 117"/>
                <a:gd name="T4" fmla="*/ 43 w 152"/>
                <a:gd name="T5" fmla="*/ 70 h 117"/>
                <a:gd name="T6" fmla="*/ 0 w 152"/>
                <a:gd name="T7" fmla="*/ 86 h 117"/>
                <a:gd name="T8" fmla="*/ 0 w 152"/>
                <a:gd name="T9" fmla="*/ 117 h 117"/>
                <a:gd name="T10" fmla="*/ 151 w 152"/>
                <a:gd name="T11" fmla="*/ 3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17">
                  <a:moveTo>
                    <a:pt x="151" y="3"/>
                  </a:moveTo>
                  <a:cubicBezTo>
                    <a:pt x="152" y="2"/>
                    <a:pt x="151" y="0"/>
                    <a:pt x="149" y="1"/>
                  </a:cubicBezTo>
                  <a:cubicBezTo>
                    <a:pt x="118" y="29"/>
                    <a:pt x="81" y="52"/>
                    <a:pt x="43" y="70"/>
                  </a:cubicBezTo>
                  <a:cubicBezTo>
                    <a:pt x="29" y="77"/>
                    <a:pt x="14" y="82"/>
                    <a:pt x="0" y="8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59" y="96"/>
                    <a:pt x="111" y="46"/>
                    <a:pt x="15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5" name="Freeform 149">
              <a:extLst>
                <a:ext uri="{FF2B5EF4-FFF2-40B4-BE49-F238E27FC236}">
                  <a16:creationId xmlns:a16="http://schemas.microsoft.com/office/drawing/2014/main" id="{01924309-B5D2-4ACB-87CA-CA43E26422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1" y="3153"/>
              <a:ext cx="30" cy="90"/>
            </a:xfrm>
            <a:custGeom>
              <a:avLst/>
              <a:gdLst>
                <a:gd name="T0" fmla="*/ 14 w 20"/>
                <a:gd name="T1" fmla="*/ 2 h 61"/>
                <a:gd name="T2" fmla="*/ 10 w 20"/>
                <a:gd name="T3" fmla="*/ 32 h 61"/>
                <a:gd name="T4" fmla="*/ 1 w 20"/>
                <a:gd name="T5" fmla="*/ 57 h 61"/>
                <a:gd name="T6" fmla="*/ 5 w 20"/>
                <a:gd name="T7" fmla="*/ 59 h 61"/>
                <a:gd name="T8" fmla="*/ 16 w 20"/>
                <a:gd name="T9" fmla="*/ 2 h 61"/>
                <a:gd name="T10" fmla="*/ 14 w 20"/>
                <a:gd name="T11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61">
                  <a:moveTo>
                    <a:pt x="14" y="2"/>
                  </a:moveTo>
                  <a:cubicBezTo>
                    <a:pt x="13" y="12"/>
                    <a:pt x="13" y="22"/>
                    <a:pt x="10" y="32"/>
                  </a:cubicBezTo>
                  <a:cubicBezTo>
                    <a:pt x="7" y="40"/>
                    <a:pt x="3" y="48"/>
                    <a:pt x="1" y="57"/>
                  </a:cubicBezTo>
                  <a:cubicBezTo>
                    <a:pt x="0" y="59"/>
                    <a:pt x="3" y="61"/>
                    <a:pt x="5" y="59"/>
                  </a:cubicBezTo>
                  <a:cubicBezTo>
                    <a:pt x="17" y="45"/>
                    <a:pt x="20" y="20"/>
                    <a:pt x="16" y="2"/>
                  </a:cubicBezTo>
                  <a:cubicBezTo>
                    <a:pt x="16" y="0"/>
                    <a:pt x="14" y="1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6" name="Freeform 150">
              <a:extLst>
                <a:ext uri="{FF2B5EF4-FFF2-40B4-BE49-F238E27FC236}">
                  <a16:creationId xmlns:a16="http://schemas.microsoft.com/office/drawing/2014/main" id="{5389ABE4-C009-44B2-BD90-5C2CEB3588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" y="3501"/>
              <a:ext cx="201" cy="156"/>
            </a:xfrm>
            <a:custGeom>
              <a:avLst/>
              <a:gdLst>
                <a:gd name="T0" fmla="*/ 7 w 135"/>
                <a:gd name="T1" fmla="*/ 104 h 105"/>
                <a:gd name="T2" fmla="*/ 134 w 135"/>
                <a:gd name="T3" fmla="*/ 2 h 105"/>
                <a:gd name="T4" fmla="*/ 133 w 135"/>
                <a:gd name="T5" fmla="*/ 1 h 105"/>
                <a:gd name="T6" fmla="*/ 4 w 135"/>
                <a:gd name="T7" fmla="*/ 96 h 105"/>
                <a:gd name="T8" fmla="*/ 7 w 135"/>
                <a:gd name="T9" fmla="*/ 10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05">
                  <a:moveTo>
                    <a:pt x="7" y="104"/>
                  </a:moveTo>
                  <a:cubicBezTo>
                    <a:pt x="59" y="87"/>
                    <a:pt x="105" y="46"/>
                    <a:pt x="134" y="2"/>
                  </a:cubicBezTo>
                  <a:cubicBezTo>
                    <a:pt x="135" y="1"/>
                    <a:pt x="133" y="0"/>
                    <a:pt x="133" y="1"/>
                  </a:cubicBezTo>
                  <a:cubicBezTo>
                    <a:pt x="93" y="38"/>
                    <a:pt x="49" y="66"/>
                    <a:pt x="4" y="96"/>
                  </a:cubicBezTo>
                  <a:cubicBezTo>
                    <a:pt x="0" y="99"/>
                    <a:pt x="2" y="105"/>
                    <a:pt x="7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7" name="Freeform 151">
              <a:extLst>
                <a:ext uri="{FF2B5EF4-FFF2-40B4-BE49-F238E27FC236}">
                  <a16:creationId xmlns:a16="http://schemas.microsoft.com/office/drawing/2014/main" id="{62D48B89-5862-4A52-8C08-F72A6E493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2700"/>
              <a:ext cx="371" cy="378"/>
            </a:xfrm>
            <a:custGeom>
              <a:avLst/>
              <a:gdLst>
                <a:gd name="T0" fmla="*/ 144 w 249"/>
                <a:gd name="T1" fmla="*/ 57 h 254"/>
                <a:gd name="T2" fmla="*/ 0 w 249"/>
                <a:gd name="T3" fmla="*/ 0 h 254"/>
                <a:gd name="T4" fmla="*/ 0 w 249"/>
                <a:gd name="T5" fmla="*/ 32 h 254"/>
                <a:gd name="T6" fmla="*/ 113 w 249"/>
                <a:gd name="T7" fmla="*/ 77 h 254"/>
                <a:gd name="T8" fmla="*/ 235 w 249"/>
                <a:gd name="T9" fmla="*/ 252 h 254"/>
                <a:gd name="T10" fmla="*/ 237 w 249"/>
                <a:gd name="T11" fmla="*/ 253 h 254"/>
                <a:gd name="T12" fmla="*/ 144 w 249"/>
                <a:gd name="T13" fmla="*/ 5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254">
                  <a:moveTo>
                    <a:pt x="144" y="57"/>
                  </a:moveTo>
                  <a:cubicBezTo>
                    <a:pt x="108" y="35"/>
                    <a:pt x="53" y="10"/>
                    <a:pt x="0" y="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42" y="44"/>
                    <a:pt x="83" y="62"/>
                    <a:pt x="113" y="77"/>
                  </a:cubicBezTo>
                  <a:cubicBezTo>
                    <a:pt x="178" y="110"/>
                    <a:pt x="242" y="174"/>
                    <a:pt x="235" y="252"/>
                  </a:cubicBezTo>
                  <a:cubicBezTo>
                    <a:pt x="235" y="253"/>
                    <a:pt x="237" y="254"/>
                    <a:pt x="237" y="253"/>
                  </a:cubicBezTo>
                  <a:cubicBezTo>
                    <a:pt x="249" y="171"/>
                    <a:pt x="214" y="100"/>
                    <a:pt x="144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8" name="Freeform 152">
              <a:extLst>
                <a:ext uri="{FF2B5EF4-FFF2-40B4-BE49-F238E27FC236}">
                  <a16:creationId xmlns:a16="http://schemas.microsoft.com/office/drawing/2014/main" id="{8AF74F0A-A728-4C99-AF78-CF27A6F212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9" y="3422"/>
              <a:ext cx="69" cy="75"/>
            </a:xfrm>
            <a:custGeom>
              <a:avLst/>
              <a:gdLst>
                <a:gd name="T0" fmla="*/ 7 w 46"/>
                <a:gd name="T1" fmla="*/ 47 h 50"/>
                <a:gd name="T2" fmla="*/ 33 w 46"/>
                <a:gd name="T3" fmla="*/ 28 h 50"/>
                <a:gd name="T4" fmla="*/ 45 w 46"/>
                <a:gd name="T5" fmla="*/ 2 h 50"/>
                <a:gd name="T6" fmla="*/ 44 w 46"/>
                <a:gd name="T7" fmla="*/ 1 h 50"/>
                <a:gd name="T8" fmla="*/ 18 w 46"/>
                <a:gd name="T9" fmla="*/ 29 h 50"/>
                <a:gd name="T10" fmla="*/ 1 w 46"/>
                <a:gd name="T11" fmla="*/ 45 h 50"/>
                <a:gd name="T12" fmla="*/ 7 w 46"/>
                <a:gd name="T13" fmla="*/ 4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50">
                  <a:moveTo>
                    <a:pt x="7" y="47"/>
                  </a:moveTo>
                  <a:cubicBezTo>
                    <a:pt x="13" y="38"/>
                    <a:pt x="25" y="36"/>
                    <a:pt x="33" y="28"/>
                  </a:cubicBezTo>
                  <a:cubicBezTo>
                    <a:pt x="39" y="20"/>
                    <a:pt x="43" y="11"/>
                    <a:pt x="45" y="2"/>
                  </a:cubicBezTo>
                  <a:cubicBezTo>
                    <a:pt x="46" y="0"/>
                    <a:pt x="44" y="0"/>
                    <a:pt x="44" y="1"/>
                  </a:cubicBezTo>
                  <a:cubicBezTo>
                    <a:pt x="39" y="13"/>
                    <a:pt x="30" y="23"/>
                    <a:pt x="18" y="29"/>
                  </a:cubicBezTo>
                  <a:cubicBezTo>
                    <a:pt x="10" y="33"/>
                    <a:pt x="0" y="35"/>
                    <a:pt x="1" y="45"/>
                  </a:cubicBezTo>
                  <a:cubicBezTo>
                    <a:pt x="1" y="49"/>
                    <a:pt x="5" y="50"/>
                    <a:pt x="7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79" name="Freeform 153">
              <a:extLst>
                <a:ext uri="{FF2B5EF4-FFF2-40B4-BE49-F238E27FC236}">
                  <a16:creationId xmlns:a16="http://schemas.microsoft.com/office/drawing/2014/main" id="{21D6444F-AB00-4F52-8EFC-A4BC2C9F4B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6" y="3053"/>
              <a:ext cx="44" cy="167"/>
            </a:xfrm>
            <a:custGeom>
              <a:avLst/>
              <a:gdLst>
                <a:gd name="T0" fmla="*/ 7 w 30"/>
                <a:gd name="T1" fmla="*/ 109 h 112"/>
                <a:gd name="T2" fmla="*/ 22 w 30"/>
                <a:gd name="T3" fmla="*/ 1 h 112"/>
                <a:gd name="T4" fmla="*/ 20 w 30"/>
                <a:gd name="T5" fmla="*/ 1 h 112"/>
                <a:gd name="T6" fmla="*/ 1 w 30"/>
                <a:gd name="T7" fmla="*/ 107 h 112"/>
                <a:gd name="T8" fmla="*/ 7 w 30"/>
                <a:gd name="T9" fmla="*/ 10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12">
                  <a:moveTo>
                    <a:pt x="7" y="109"/>
                  </a:moveTo>
                  <a:cubicBezTo>
                    <a:pt x="30" y="79"/>
                    <a:pt x="29" y="36"/>
                    <a:pt x="22" y="1"/>
                  </a:cubicBezTo>
                  <a:cubicBezTo>
                    <a:pt x="21" y="0"/>
                    <a:pt x="20" y="1"/>
                    <a:pt x="20" y="1"/>
                  </a:cubicBezTo>
                  <a:cubicBezTo>
                    <a:pt x="24" y="40"/>
                    <a:pt x="11" y="71"/>
                    <a:pt x="1" y="107"/>
                  </a:cubicBezTo>
                  <a:cubicBezTo>
                    <a:pt x="0" y="110"/>
                    <a:pt x="5" y="112"/>
                    <a:pt x="7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0" name="Freeform 154">
              <a:extLst>
                <a:ext uri="{FF2B5EF4-FFF2-40B4-BE49-F238E27FC236}">
                  <a16:creationId xmlns:a16="http://schemas.microsoft.com/office/drawing/2014/main" id="{A89D2D03-296C-4686-97FD-58E582D74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2785"/>
              <a:ext cx="273" cy="301"/>
            </a:xfrm>
            <a:custGeom>
              <a:avLst/>
              <a:gdLst>
                <a:gd name="T0" fmla="*/ 183 w 183"/>
                <a:gd name="T1" fmla="*/ 200 h 202"/>
                <a:gd name="T2" fmla="*/ 0 w 183"/>
                <a:gd name="T3" fmla="*/ 0 h 202"/>
                <a:gd name="T4" fmla="*/ 0 w 183"/>
                <a:gd name="T5" fmla="*/ 17 h 202"/>
                <a:gd name="T6" fmla="*/ 181 w 183"/>
                <a:gd name="T7" fmla="*/ 200 h 202"/>
                <a:gd name="T8" fmla="*/ 183 w 183"/>
                <a:gd name="T9" fmla="*/ 20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02">
                  <a:moveTo>
                    <a:pt x="183" y="200"/>
                  </a:moveTo>
                  <a:cubicBezTo>
                    <a:pt x="161" y="106"/>
                    <a:pt x="91" y="27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82" y="51"/>
                    <a:pt x="148" y="114"/>
                    <a:pt x="181" y="200"/>
                  </a:cubicBezTo>
                  <a:cubicBezTo>
                    <a:pt x="181" y="202"/>
                    <a:pt x="183" y="201"/>
                    <a:pt x="183" y="2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1" name="Freeform 155">
              <a:extLst>
                <a:ext uri="{FF2B5EF4-FFF2-40B4-BE49-F238E27FC236}">
                  <a16:creationId xmlns:a16="http://schemas.microsoft.com/office/drawing/2014/main" id="{C4880F1C-3C3C-47D5-B6D5-5BD71CB166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5" y="2704"/>
              <a:ext cx="85" cy="157"/>
            </a:xfrm>
            <a:custGeom>
              <a:avLst/>
              <a:gdLst>
                <a:gd name="T0" fmla="*/ 2 w 57"/>
                <a:gd name="T1" fmla="*/ 1 h 105"/>
                <a:gd name="T2" fmla="*/ 0 w 57"/>
                <a:gd name="T3" fmla="*/ 1 h 105"/>
                <a:gd name="T4" fmla="*/ 49 w 57"/>
                <a:gd name="T5" fmla="*/ 102 h 105"/>
                <a:gd name="T6" fmla="*/ 55 w 57"/>
                <a:gd name="T7" fmla="*/ 99 h 105"/>
                <a:gd name="T8" fmla="*/ 2 w 57"/>
                <a:gd name="T9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05">
                  <a:moveTo>
                    <a:pt x="2" y="1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6" y="35"/>
                    <a:pt x="29" y="71"/>
                    <a:pt x="49" y="102"/>
                  </a:cubicBezTo>
                  <a:cubicBezTo>
                    <a:pt x="51" y="105"/>
                    <a:pt x="57" y="103"/>
                    <a:pt x="55" y="99"/>
                  </a:cubicBezTo>
                  <a:cubicBezTo>
                    <a:pt x="41" y="65"/>
                    <a:pt x="20" y="33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2" name="Freeform 156">
              <a:extLst>
                <a:ext uri="{FF2B5EF4-FFF2-40B4-BE49-F238E27FC236}">
                  <a16:creationId xmlns:a16="http://schemas.microsoft.com/office/drawing/2014/main" id="{A4F881E9-7310-4EC6-A7E0-285C73C4E8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" y="3395"/>
              <a:ext cx="571" cy="188"/>
            </a:xfrm>
            <a:custGeom>
              <a:avLst/>
              <a:gdLst>
                <a:gd name="T0" fmla="*/ 11 w 383"/>
                <a:gd name="T1" fmla="*/ 123 h 126"/>
                <a:gd name="T2" fmla="*/ 381 w 383"/>
                <a:gd name="T3" fmla="*/ 13 h 126"/>
                <a:gd name="T4" fmla="*/ 381 w 383"/>
                <a:gd name="T5" fmla="*/ 10 h 126"/>
                <a:gd name="T6" fmla="*/ 6 w 383"/>
                <a:gd name="T7" fmla="*/ 112 h 126"/>
                <a:gd name="T8" fmla="*/ 11 w 383"/>
                <a:gd name="T9" fmla="*/ 12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3" h="126">
                  <a:moveTo>
                    <a:pt x="11" y="123"/>
                  </a:moveTo>
                  <a:cubicBezTo>
                    <a:pt x="128" y="78"/>
                    <a:pt x="254" y="22"/>
                    <a:pt x="381" y="13"/>
                  </a:cubicBezTo>
                  <a:cubicBezTo>
                    <a:pt x="383" y="13"/>
                    <a:pt x="383" y="10"/>
                    <a:pt x="381" y="10"/>
                  </a:cubicBezTo>
                  <a:cubicBezTo>
                    <a:pt x="253" y="0"/>
                    <a:pt x="113" y="46"/>
                    <a:pt x="6" y="112"/>
                  </a:cubicBezTo>
                  <a:cubicBezTo>
                    <a:pt x="0" y="116"/>
                    <a:pt x="4" y="126"/>
                    <a:pt x="11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3" name="Freeform 157">
              <a:extLst>
                <a:ext uri="{FF2B5EF4-FFF2-40B4-BE49-F238E27FC236}">
                  <a16:creationId xmlns:a16="http://schemas.microsoft.com/office/drawing/2014/main" id="{9EB98413-3CC4-40D5-B0C6-15BA9EDAE7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" y="2677"/>
              <a:ext cx="255" cy="443"/>
            </a:xfrm>
            <a:custGeom>
              <a:avLst/>
              <a:gdLst>
                <a:gd name="T0" fmla="*/ 1 w 171"/>
                <a:gd name="T1" fmla="*/ 0 h 297"/>
                <a:gd name="T2" fmla="*/ 0 w 171"/>
                <a:gd name="T3" fmla="*/ 1 h 297"/>
                <a:gd name="T4" fmla="*/ 162 w 171"/>
                <a:gd name="T5" fmla="*/ 293 h 297"/>
                <a:gd name="T6" fmla="*/ 170 w 171"/>
                <a:gd name="T7" fmla="*/ 292 h 297"/>
                <a:gd name="T8" fmla="*/ 1 w 171"/>
                <a:gd name="T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297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86" y="85"/>
                    <a:pt x="121" y="184"/>
                    <a:pt x="162" y="293"/>
                  </a:cubicBezTo>
                  <a:cubicBezTo>
                    <a:pt x="163" y="297"/>
                    <a:pt x="170" y="297"/>
                    <a:pt x="170" y="292"/>
                  </a:cubicBezTo>
                  <a:cubicBezTo>
                    <a:pt x="171" y="175"/>
                    <a:pt x="90" y="68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4" name="Freeform 158">
              <a:extLst>
                <a:ext uri="{FF2B5EF4-FFF2-40B4-BE49-F238E27FC236}">
                  <a16:creationId xmlns:a16="http://schemas.microsoft.com/office/drawing/2014/main" id="{F6287323-8949-43C9-A37C-4B57EC811A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3248"/>
              <a:ext cx="326" cy="265"/>
            </a:xfrm>
            <a:custGeom>
              <a:avLst/>
              <a:gdLst>
                <a:gd name="T0" fmla="*/ 218 w 219"/>
                <a:gd name="T1" fmla="*/ 2 h 178"/>
                <a:gd name="T2" fmla="*/ 217 w 219"/>
                <a:gd name="T3" fmla="*/ 1 h 178"/>
                <a:gd name="T4" fmla="*/ 26 w 219"/>
                <a:gd name="T5" fmla="*/ 134 h 178"/>
                <a:gd name="T6" fmla="*/ 0 w 219"/>
                <a:gd name="T7" fmla="*/ 142 h 178"/>
                <a:gd name="T8" fmla="*/ 0 w 219"/>
                <a:gd name="T9" fmla="*/ 178 h 178"/>
                <a:gd name="T10" fmla="*/ 218 w 219"/>
                <a:gd name="T11" fmla="*/ 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9" h="178">
                  <a:moveTo>
                    <a:pt x="218" y="2"/>
                  </a:moveTo>
                  <a:cubicBezTo>
                    <a:pt x="219" y="1"/>
                    <a:pt x="217" y="0"/>
                    <a:pt x="217" y="1"/>
                  </a:cubicBezTo>
                  <a:cubicBezTo>
                    <a:pt x="171" y="64"/>
                    <a:pt x="99" y="110"/>
                    <a:pt x="26" y="134"/>
                  </a:cubicBezTo>
                  <a:cubicBezTo>
                    <a:pt x="17" y="137"/>
                    <a:pt x="9" y="140"/>
                    <a:pt x="0" y="142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90" y="146"/>
                    <a:pt x="170" y="76"/>
                    <a:pt x="21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5" name="Freeform 159">
              <a:extLst>
                <a:ext uri="{FF2B5EF4-FFF2-40B4-BE49-F238E27FC236}">
                  <a16:creationId xmlns:a16="http://schemas.microsoft.com/office/drawing/2014/main" id="{CE0AF2DF-950A-4E04-8B22-99587DDCEE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" y="1701"/>
              <a:ext cx="207" cy="446"/>
            </a:xfrm>
            <a:custGeom>
              <a:avLst/>
              <a:gdLst>
                <a:gd name="T0" fmla="*/ 8 w 139"/>
                <a:gd name="T1" fmla="*/ 298 h 300"/>
                <a:gd name="T2" fmla="*/ 17 w 139"/>
                <a:gd name="T3" fmla="*/ 0 h 300"/>
                <a:gd name="T4" fmla="*/ 16 w 139"/>
                <a:gd name="T5" fmla="*/ 2 h 300"/>
                <a:gd name="T6" fmla="*/ 69 w 139"/>
                <a:gd name="T7" fmla="*/ 149 h 300"/>
                <a:gd name="T8" fmla="*/ 5 w 139"/>
                <a:gd name="T9" fmla="*/ 290 h 300"/>
                <a:gd name="T10" fmla="*/ 8 w 139"/>
                <a:gd name="T11" fmla="*/ 29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300">
                  <a:moveTo>
                    <a:pt x="8" y="298"/>
                  </a:moveTo>
                  <a:cubicBezTo>
                    <a:pt x="139" y="264"/>
                    <a:pt x="105" y="63"/>
                    <a:pt x="17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60" y="39"/>
                    <a:pt x="75" y="93"/>
                    <a:pt x="69" y="149"/>
                  </a:cubicBezTo>
                  <a:cubicBezTo>
                    <a:pt x="65" y="197"/>
                    <a:pt x="50" y="264"/>
                    <a:pt x="5" y="290"/>
                  </a:cubicBezTo>
                  <a:cubicBezTo>
                    <a:pt x="0" y="292"/>
                    <a:pt x="3" y="300"/>
                    <a:pt x="8" y="2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6" name="Freeform 160">
              <a:extLst>
                <a:ext uri="{FF2B5EF4-FFF2-40B4-BE49-F238E27FC236}">
                  <a16:creationId xmlns:a16="http://schemas.microsoft.com/office/drawing/2014/main" id="{CBB3FC06-7217-4E50-BA2F-698F3887CC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" y="3246"/>
              <a:ext cx="460" cy="592"/>
            </a:xfrm>
            <a:custGeom>
              <a:avLst/>
              <a:gdLst>
                <a:gd name="T0" fmla="*/ 4 w 309"/>
                <a:gd name="T1" fmla="*/ 396 h 397"/>
                <a:gd name="T2" fmla="*/ 223 w 309"/>
                <a:gd name="T3" fmla="*/ 270 h 397"/>
                <a:gd name="T4" fmla="*/ 308 w 309"/>
                <a:gd name="T5" fmla="*/ 1 h 397"/>
                <a:gd name="T6" fmla="*/ 307 w 309"/>
                <a:gd name="T7" fmla="*/ 1 h 397"/>
                <a:gd name="T8" fmla="*/ 3 w 309"/>
                <a:gd name="T9" fmla="*/ 392 h 397"/>
                <a:gd name="T10" fmla="*/ 4 w 309"/>
                <a:gd name="T11" fmla="*/ 396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9" h="397">
                  <a:moveTo>
                    <a:pt x="4" y="396"/>
                  </a:moveTo>
                  <a:cubicBezTo>
                    <a:pt x="88" y="383"/>
                    <a:pt x="169" y="337"/>
                    <a:pt x="223" y="270"/>
                  </a:cubicBezTo>
                  <a:cubicBezTo>
                    <a:pt x="285" y="192"/>
                    <a:pt x="299" y="98"/>
                    <a:pt x="308" y="1"/>
                  </a:cubicBezTo>
                  <a:cubicBezTo>
                    <a:pt x="309" y="0"/>
                    <a:pt x="307" y="0"/>
                    <a:pt x="307" y="1"/>
                  </a:cubicBezTo>
                  <a:cubicBezTo>
                    <a:pt x="285" y="168"/>
                    <a:pt x="172" y="349"/>
                    <a:pt x="3" y="392"/>
                  </a:cubicBezTo>
                  <a:cubicBezTo>
                    <a:pt x="0" y="393"/>
                    <a:pt x="1" y="397"/>
                    <a:pt x="4" y="3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7" name="Freeform 161">
              <a:extLst>
                <a:ext uri="{FF2B5EF4-FFF2-40B4-BE49-F238E27FC236}">
                  <a16:creationId xmlns:a16="http://schemas.microsoft.com/office/drawing/2014/main" id="{E448A435-EE34-45F8-B362-93AE6DD3ED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3063"/>
              <a:ext cx="555" cy="733"/>
            </a:xfrm>
            <a:custGeom>
              <a:avLst/>
              <a:gdLst>
                <a:gd name="T0" fmla="*/ 173 w 372"/>
                <a:gd name="T1" fmla="*/ 426 h 492"/>
                <a:gd name="T2" fmla="*/ 335 w 372"/>
                <a:gd name="T3" fmla="*/ 2 h 492"/>
                <a:gd name="T4" fmla="*/ 333 w 372"/>
                <a:gd name="T5" fmla="*/ 2 h 492"/>
                <a:gd name="T6" fmla="*/ 147 w 372"/>
                <a:gd name="T7" fmla="*/ 396 h 492"/>
                <a:gd name="T8" fmla="*/ 0 w 372"/>
                <a:gd name="T9" fmla="*/ 450 h 492"/>
                <a:gd name="T10" fmla="*/ 0 w 372"/>
                <a:gd name="T11" fmla="*/ 492 h 492"/>
                <a:gd name="T12" fmla="*/ 173 w 372"/>
                <a:gd name="T13" fmla="*/ 42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2" h="492">
                  <a:moveTo>
                    <a:pt x="173" y="426"/>
                  </a:moveTo>
                  <a:cubicBezTo>
                    <a:pt x="316" y="331"/>
                    <a:pt x="372" y="165"/>
                    <a:pt x="335" y="2"/>
                  </a:cubicBezTo>
                  <a:cubicBezTo>
                    <a:pt x="334" y="0"/>
                    <a:pt x="333" y="1"/>
                    <a:pt x="333" y="2"/>
                  </a:cubicBezTo>
                  <a:cubicBezTo>
                    <a:pt x="354" y="150"/>
                    <a:pt x="271" y="316"/>
                    <a:pt x="147" y="396"/>
                  </a:cubicBezTo>
                  <a:cubicBezTo>
                    <a:pt x="100" y="425"/>
                    <a:pt x="51" y="443"/>
                    <a:pt x="0" y="450"/>
                  </a:cubicBezTo>
                  <a:cubicBezTo>
                    <a:pt x="0" y="492"/>
                    <a:pt x="0" y="492"/>
                    <a:pt x="0" y="492"/>
                  </a:cubicBezTo>
                  <a:cubicBezTo>
                    <a:pt x="62" y="483"/>
                    <a:pt x="122" y="461"/>
                    <a:pt x="173" y="4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8" name="Freeform 162">
              <a:extLst>
                <a:ext uri="{FF2B5EF4-FFF2-40B4-BE49-F238E27FC236}">
                  <a16:creationId xmlns:a16="http://schemas.microsoft.com/office/drawing/2014/main" id="{ACA5D0B9-08E4-441B-B7B0-31A90A006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3038"/>
              <a:ext cx="27" cy="144"/>
            </a:xfrm>
            <a:custGeom>
              <a:avLst/>
              <a:gdLst>
                <a:gd name="T0" fmla="*/ 14 w 18"/>
                <a:gd name="T1" fmla="*/ 37 h 97"/>
                <a:gd name="T2" fmla="*/ 0 w 18"/>
                <a:gd name="T3" fmla="*/ 0 h 97"/>
                <a:gd name="T4" fmla="*/ 0 w 18"/>
                <a:gd name="T5" fmla="*/ 97 h 97"/>
                <a:gd name="T6" fmla="*/ 14 w 18"/>
                <a:gd name="T7" fmla="*/ 3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97">
                  <a:moveTo>
                    <a:pt x="14" y="37"/>
                  </a:moveTo>
                  <a:cubicBezTo>
                    <a:pt x="12" y="23"/>
                    <a:pt x="7" y="11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81"/>
                    <a:pt x="18" y="59"/>
                    <a:pt x="14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89" name="Freeform 163">
              <a:extLst>
                <a:ext uri="{FF2B5EF4-FFF2-40B4-BE49-F238E27FC236}">
                  <a16:creationId xmlns:a16="http://schemas.microsoft.com/office/drawing/2014/main" id="{208F1652-A586-447A-8F99-108171C5CD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1322"/>
              <a:ext cx="642" cy="559"/>
            </a:xfrm>
            <a:custGeom>
              <a:avLst/>
              <a:gdLst>
                <a:gd name="T0" fmla="*/ 431 w 431"/>
                <a:gd name="T1" fmla="*/ 374 h 375"/>
                <a:gd name="T2" fmla="*/ 256 w 431"/>
                <a:gd name="T3" fmla="*/ 87 h 375"/>
                <a:gd name="T4" fmla="*/ 0 w 431"/>
                <a:gd name="T5" fmla="*/ 0 h 375"/>
                <a:gd name="T6" fmla="*/ 0 w 431"/>
                <a:gd name="T7" fmla="*/ 14 h 375"/>
                <a:gd name="T8" fmla="*/ 230 w 431"/>
                <a:gd name="T9" fmla="*/ 99 h 375"/>
                <a:gd name="T10" fmla="*/ 429 w 431"/>
                <a:gd name="T11" fmla="*/ 374 h 375"/>
                <a:gd name="T12" fmla="*/ 431 w 431"/>
                <a:gd name="T13" fmla="*/ 37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1" h="375">
                  <a:moveTo>
                    <a:pt x="431" y="374"/>
                  </a:moveTo>
                  <a:cubicBezTo>
                    <a:pt x="425" y="248"/>
                    <a:pt x="361" y="154"/>
                    <a:pt x="256" y="87"/>
                  </a:cubicBezTo>
                  <a:cubicBezTo>
                    <a:pt x="181" y="40"/>
                    <a:pt x="90" y="5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82" y="23"/>
                    <a:pt x="159" y="54"/>
                    <a:pt x="230" y="99"/>
                  </a:cubicBezTo>
                  <a:cubicBezTo>
                    <a:pt x="325" y="159"/>
                    <a:pt x="415" y="260"/>
                    <a:pt x="429" y="374"/>
                  </a:cubicBezTo>
                  <a:cubicBezTo>
                    <a:pt x="429" y="375"/>
                    <a:pt x="431" y="375"/>
                    <a:pt x="431" y="3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0" name="Freeform 164">
              <a:extLst>
                <a:ext uri="{FF2B5EF4-FFF2-40B4-BE49-F238E27FC236}">
                  <a16:creationId xmlns:a16="http://schemas.microsoft.com/office/drawing/2014/main" id="{AD75727B-8D90-4279-B1C0-8F3DC51BF7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1419"/>
              <a:ext cx="402" cy="450"/>
            </a:xfrm>
            <a:custGeom>
              <a:avLst/>
              <a:gdLst>
                <a:gd name="T0" fmla="*/ 109 w 270"/>
                <a:gd name="T1" fmla="*/ 82 h 302"/>
                <a:gd name="T2" fmla="*/ 269 w 270"/>
                <a:gd name="T3" fmla="*/ 301 h 302"/>
                <a:gd name="T4" fmla="*/ 270 w 270"/>
                <a:gd name="T5" fmla="*/ 300 h 302"/>
                <a:gd name="T6" fmla="*/ 0 w 270"/>
                <a:gd name="T7" fmla="*/ 0 h 302"/>
                <a:gd name="T8" fmla="*/ 0 w 270"/>
                <a:gd name="T9" fmla="*/ 37 h 302"/>
                <a:gd name="T10" fmla="*/ 109 w 270"/>
                <a:gd name="T11" fmla="*/ 8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0" h="302">
                  <a:moveTo>
                    <a:pt x="109" y="82"/>
                  </a:moveTo>
                  <a:cubicBezTo>
                    <a:pt x="185" y="130"/>
                    <a:pt x="252" y="211"/>
                    <a:pt x="269" y="301"/>
                  </a:cubicBezTo>
                  <a:cubicBezTo>
                    <a:pt x="269" y="302"/>
                    <a:pt x="270" y="301"/>
                    <a:pt x="270" y="300"/>
                  </a:cubicBezTo>
                  <a:cubicBezTo>
                    <a:pt x="261" y="146"/>
                    <a:pt x="141" y="37"/>
                    <a:pt x="0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38" y="46"/>
                    <a:pt x="74" y="60"/>
                    <a:pt x="109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1" name="Freeform 165">
              <a:extLst>
                <a:ext uri="{FF2B5EF4-FFF2-40B4-BE49-F238E27FC236}">
                  <a16:creationId xmlns:a16="http://schemas.microsoft.com/office/drawing/2014/main" id="{19AE1C9A-DFAB-48FB-9C60-C4908F7423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3114"/>
              <a:ext cx="88" cy="165"/>
            </a:xfrm>
            <a:custGeom>
              <a:avLst/>
              <a:gdLst>
                <a:gd name="T0" fmla="*/ 57 w 59"/>
                <a:gd name="T1" fmla="*/ 1 h 111"/>
                <a:gd name="T2" fmla="*/ 0 w 59"/>
                <a:gd name="T3" fmla="*/ 81 h 111"/>
                <a:gd name="T4" fmla="*/ 0 w 59"/>
                <a:gd name="T5" fmla="*/ 111 h 111"/>
                <a:gd name="T6" fmla="*/ 59 w 59"/>
                <a:gd name="T7" fmla="*/ 1 h 111"/>
                <a:gd name="T8" fmla="*/ 57 w 59"/>
                <a:gd name="T9" fmla="*/ 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1">
                  <a:moveTo>
                    <a:pt x="57" y="1"/>
                  </a:moveTo>
                  <a:cubicBezTo>
                    <a:pt x="46" y="33"/>
                    <a:pt x="26" y="60"/>
                    <a:pt x="0" y="8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32" y="82"/>
                    <a:pt x="55" y="44"/>
                    <a:pt x="59" y="1"/>
                  </a:cubicBezTo>
                  <a:cubicBezTo>
                    <a:pt x="59" y="0"/>
                    <a:pt x="57" y="0"/>
                    <a:pt x="5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2" name="Freeform 166">
              <a:extLst>
                <a:ext uri="{FF2B5EF4-FFF2-40B4-BE49-F238E27FC236}">
                  <a16:creationId xmlns:a16="http://schemas.microsoft.com/office/drawing/2014/main" id="{59D87A03-D6D6-444B-9FA8-8429B73B44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2929"/>
              <a:ext cx="83" cy="118"/>
            </a:xfrm>
            <a:custGeom>
              <a:avLst/>
              <a:gdLst>
                <a:gd name="T0" fmla="*/ 0 w 56"/>
                <a:gd name="T1" fmla="*/ 0 h 79"/>
                <a:gd name="T2" fmla="*/ 0 w 56"/>
                <a:gd name="T3" fmla="*/ 22 h 79"/>
                <a:gd name="T4" fmla="*/ 53 w 56"/>
                <a:gd name="T5" fmla="*/ 78 h 79"/>
                <a:gd name="T6" fmla="*/ 55 w 56"/>
                <a:gd name="T7" fmla="*/ 77 h 79"/>
                <a:gd name="T8" fmla="*/ 0 w 5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79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19" y="39"/>
                    <a:pt x="37" y="58"/>
                    <a:pt x="53" y="78"/>
                  </a:cubicBezTo>
                  <a:cubicBezTo>
                    <a:pt x="54" y="79"/>
                    <a:pt x="56" y="78"/>
                    <a:pt x="55" y="77"/>
                  </a:cubicBezTo>
                  <a:cubicBezTo>
                    <a:pt x="44" y="51"/>
                    <a:pt x="24" y="2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3" name="Freeform 167">
              <a:extLst>
                <a:ext uri="{FF2B5EF4-FFF2-40B4-BE49-F238E27FC236}">
                  <a16:creationId xmlns:a16="http://schemas.microsoft.com/office/drawing/2014/main" id="{A9D0C74E-7CE6-47F9-87B7-49F5B89D98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3266"/>
              <a:ext cx="94" cy="92"/>
            </a:xfrm>
            <a:custGeom>
              <a:avLst/>
              <a:gdLst>
                <a:gd name="T0" fmla="*/ 63 w 63"/>
                <a:gd name="T1" fmla="*/ 1 h 62"/>
                <a:gd name="T2" fmla="*/ 61 w 63"/>
                <a:gd name="T3" fmla="*/ 0 h 62"/>
                <a:gd name="T4" fmla="*/ 16 w 63"/>
                <a:gd name="T5" fmla="*/ 35 h 62"/>
                <a:gd name="T6" fmla="*/ 0 w 63"/>
                <a:gd name="T7" fmla="*/ 43 h 62"/>
                <a:gd name="T8" fmla="*/ 0 w 63"/>
                <a:gd name="T9" fmla="*/ 62 h 62"/>
                <a:gd name="T10" fmla="*/ 2 w 63"/>
                <a:gd name="T11" fmla="*/ 61 h 62"/>
                <a:gd name="T12" fmla="*/ 63 w 63"/>
                <a:gd name="T1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62">
                  <a:moveTo>
                    <a:pt x="63" y="1"/>
                  </a:moveTo>
                  <a:cubicBezTo>
                    <a:pt x="63" y="1"/>
                    <a:pt x="62" y="0"/>
                    <a:pt x="61" y="0"/>
                  </a:cubicBezTo>
                  <a:cubicBezTo>
                    <a:pt x="49" y="15"/>
                    <a:pt x="33" y="26"/>
                    <a:pt x="16" y="35"/>
                  </a:cubicBezTo>
                  <a:cubicBezTo>
                    <a:pt x="12" y="37"/>
                    <a:pt x="6" y="40"/>
                    <a:pt x="0" y="43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2"/>
                    <a:pt x="2" y="61"/>
                    <a:pt x="2" y="61"/>
                  </a:cubicBezTo>
                  <a:cubicBezTo>
                    <a:pt x="28" y="47"/>
                    <a:pt x="46" y="25"/>
                    <a:pt x="6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4" name="Freeform 168">
              <a:extLst>
                <a:ext uri="{FF2B5EF4-FFF2-40B4-BE49-F238E27FC236}">
                  <a16:creationId xmlns:a16="http://schemas.microsoft.com/office/drawing/2014/main" id="{4E85C027-C244-420B-A8FD-B3D6781C67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1511"/>
              <a:ext cx="188" cy="94"/>
            </a:xfrm>
            <a:custGeom>
              <a:avLst/>
              <a:gdLst>
                <a:gd name="T0" fmla="*/ 0 w 126"/>
                <a:gd name="T1" fmla="*/ 0 h 63"/>
                <a:gd name="T2" fmla="*/ 0 w 126"/>
                <a:gd name="T3" fmla="*/ 14 h 63"/>
                <a:gd name="T4" fmla="*/ 124 w 126"/>
                <a:gd name="T5" fmla="*/ 62 h 63"/>
                <a:gd name="T6" fmla="*/ 125 w 126"/>
                <a:gd name="T7" fmla="*/ 61 h 63"/>
                <a:gd name="T8" fmla="*/ 0 w 126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63">
                  <a:moveTo>
                    <a:pt x="0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45" y="25"/>
                    <a:pt x="89" y="40"/>
                    <a:pt x="124" y="62"/>
                  </a:cubicBezTo>
                  <a:cubicBezTo>
                    <a:pt x="125" y="63"/>
                    <a:pt x="126" y="61"/>
                    <a:pt x="125" y="61"/>
                  </a:cubicBezTo>
                  <a:cubicBezTo>
                    <a:pt x="92" y="34"/>
                    <a:pt x="47" y="1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5" name="Freeform 169">
              <a:extLst>
                <a:ext uri="{FF2B5EF4-FFF2-40B4-BE49-F238E27FC236}">
                  <a16:creationId xmlns:a16="http://schemas.microsoft.com/office/drawing/2014/main" id="{6208F670-2A0B-4267-907F-E7889D69F8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1677"/>
              <a:ext cx="101" cy="86"/>
            </a:xfrm>
            <a:custGeom>
              <a:avLst/>
              <a:gdLst>
                <a:gd name="T0" fmla="*/ 0 w 68"/>
                <a:gd name="T1" fmla="*/ 23 h 58"/>
                <a:gd name="T2" fmla="*/ 67 w 68"/>
                <a:gd name="T3" fmla="*/ 58 h 58"/>
                <a:gd name="T4" fmla="*/ 68 w 68"/>
                <a:gd name="T5" fmla="*/ 57 h 58"/>
                <a:gd name="T6" fmla="*/ 0 w 68"/>
                <a:gd name="T7" fmla="*/ 0 h 58"/>
                <a:gd name="T8" fmla="*/ 0 w 68"/>
                <a:gd name="T9" fmla="*/ 2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58">
                  <a:moveTo>
                    <a:pt x="0" y="23"/>
                  </a:moveTo>
                  <a:cubicBezTo>
                    <a:pt x="23" y="34"/>
                    <a:pt x="45" y="45"/>
                    <a:pt x="67" y="58"/>
                  </a:cubicBezTo>
                  <a:cubicBezTo>
                    <a:pt x="68" y="58"/>
                    <a:pt x="68" y="58"/>
                    <a:pt x="68" y="57"/>
                  </a:cubicBezTo>
                  <a:cubicBezTo>
                    <a:pt x="49" y="38"/>
                    <a:pt x="26" y="18"/>
                    <a:pt x="0" y="0"/>
                  </a:cubicBezTo>
                  <a:lnTo>
                    <a:pt x="0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6" name="Freeform 170">
              <a:extLst>
                <a:ext uri="{FF2B5EF4-FFF2-40B4-BE49-F238E27FC236}">
                  <a16:creationId xmlns:a16="http://schemas.microsoft.com/office/drawing/2014/main" id="{04C7F87A-0731-4FE5-AA2B-0C6F53851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" y="1979"/>
              <a:ext cx="188" cy="334"/>
            </a:xfrm>
            <a:custGeom>
              <a:avLst/>
              <a:gdLst>
                <a:gd name="T0" fmla="*/ 2 w 126"/>
                <a:gd name="T1" fmla="*/ 223 h 224"/>
                <a:gd name="T2" fmla="*/ 126 w 126"/>
                <a:gd name="T3" fmla="*/ 1 h 224"/>
                <a:gd name="T4" fmla="*/ 125 w 126"/>
                <a:gd name="T5" fmla="*/ 0 h 224"/>
                <a:gd name="T6" fmla="*/ 1 w 126"/>
                <a:gd name="T7" fmla="*/ 220 h 224"/>
                <a:gd name="T8" fmla="*/ 2 w 126"/>
                <a:gd name="T9" fmla="*/ 22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224">
                  <a:moveTo>
                    <a:pt x="2" y="223"/>
                  </a:moveTo>
                  <a:cubicBezTo>
                    <a:pt x="74" y="169"/>
                    <a:pt x="113" y="87"/>
                    <a:pt x="126" y="1"/>
                  </a:cubicBezTo>
                  <a:cubicBezTo>
                    <a:pt x="126" y="0"/>
                    <a:pt x="126" y="0"/>
                    <a:pt x="125" y="0"/>
                  </a:cubicBezTo>
                  <a:cubicBezTo>
                    <a:pt x="101" y="84"/>
                    <a:pt x="55" y="153"/>
                    <a:pt x="1" y="220"/>
                  </a:cubicBezTo>
                  <a:cubicBezTo>
                    <a:pt x="0" y="221"/>
                    <a:pt x="1" y="224"/>
                    <a:pt x="2" y="2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7" name="Freeform 171">
              <a:extLst>
                <a:ext uri="{FF2B5EF4-FFF2-40B4-BE49-F238E27FC236}">
                  <a16:creationId xmlns:a16="http://schemas.microsoft.com/office/drawing/2014/main" id="{607BB550-E38A-4FF1-B72D-1B18FF3C11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1763"/>
              <a:ext cx="592" cy="633"/>
            </a:xfrm>
            <a:custGeom>
              <a:avLst/>
              <a:gdLst>
                <a:gd name="T0" fmla="*/ 249 w 397"/>
                <a:gd name="T1" fmla="*/ 358 h 425"/>
                <a:gd name="T2" fmla="*/ 352 w 397"/>
                <a:gd name="T3" fmla="*/ 1 h 425"/>
                <a:gd name="T4" fmla="*/ 351 w 397"/>
                <a:gd name="T5" fmla="*/ 1 h 425"/>
                <a:gd name="T6" fmla="*/ 214 w 397"/>
                <a:gd name="T7" fmla="*/ 343 h 425"/>
                <a:gd name="T8" fmla="*/ 0 w 397"/>
                <a:gd name="T9" fmla="*/ 370 h 425"/>
                <a:gd name="T10" fmla="*/ 0 w 397"/>
                <a:gd name="T11" fmla="*/ 410 h 425"/>
                <a:gd name="T12" fmla="*/ 249 w 397"/>
                <a:gd name="T13" fmla="*/ 35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7" h="425">
                  <a:moveTo>
                    <a:pt x="249" y="358"/>
                  </a:moveTo>
                  <a:cubicBezTo>
                    <a:pt x="361" y="274"/>
                    <a:pt x="397" y="131"/>
                    <a:pt x="352" y="1"/>
                  </a:cubicBezTo>
                  <a:cubicBezTo>
                    <a:pt x="352" y="0"/>
                    <a:pt x="351" y="0"/>
                    <a:pt x="351" y="1"/>
                  </a:cubicBezTo>
                  <a:cubicBezTo>
                    <a:pt x="386" y="133"/>
                    <a:pt x="335" y="275"/>
                    <a:pt x="214" y="343"/>
                  </a:cubicBezTo>
                  <a:cubicBezTo>
                    <a:pt x="143" y="382"/>
                    <a:pt x="72" y="383"/>
                    <a:pt x="0" y="370"/>
                  </a:cubicBezTo>
                  <a:cubicBezTo>
                    <a:pt x="0" y="410"/>
                    <a:pt x="0" y="410"/>
                    <a:pt x="0" y="410"/>
                  </a:cubicBezTo>
                  <a:cubicBezTo>
                    <a:pt x="86" y="425"/>
                    <a:pt x="174" y="415"/>
                    <a:pt x="249" y="3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8" name="Freeform 172">
              <a:extLst>
                <a:ext uri="{FF2B5EF4-FFF2-40B4-BE49-F238E27FC236}">
                  <a16:creationId xmlns:a16="http://schemas.microsoft.com/office/drawing/2014/main" id="{E493AE6F-333C-48B6-B110-3331D4C4F2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8" y="2228"/>
              <a:ext cx="520" cy="308"/>
            </a:xfrm>
            <a:custGeom>
              <a:avLst/>
              <a:gdLst>
                <a:gd name="T0" fmla="*/ 4 w 349"/>
                <a:gd name="T1" fmla="*/ 171 h 207"/>
                <a:gd name="T2" fmla="*/ 349 w 349"/>
                <a:gd name="T3" fmla="*/ 1 h 207"/>
                <a:gd name="T4" fmla="*/ 347 w 349"/>
                <a:gd name="T5" fmla="*/ 1 h 207"/>
                <a:gd name="T6" fmla="*/ 5 w 349"/>
                <a:gd name="T7" fmla="*/ 164 h 207"/>
                <a:gd name="T8" fmla="*/ 4 w 349"/>
                <a:gd name="T9" fmla="*/ 171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207">
                  <a:moveTo>
                    <a:pt x="4" y="171"/>
                  </a:moveTo>
                  <a:cubicBezTo>
                    <a:pt x="144" y="207"/>
                    <a:pt x="298" y="138"/>
                    <a:pt x="349" y="1"/>
                  </a:cubicBezTo>
                  <a:cubicBezTo>
                    <a:pt x="349" y="1"/>
                    <a:pt x="348" y="0"/>
                    <a:pt x="347" y="1"/>
                  </a:cubicBezTo>
                  <a:cubicBezTo>
                    <a:pt x="283" y="138"/>
                    <a:pt x="144" y="174"/>
                    <a:pt x="5" y="164"/>
                  </a:cubicBezTo>
                  <a:cubicBezTo>
                    <a:pt x="0" y="163"/>
                    <a:pt x="0" y="170"/>
                    <a:pt x="4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99" name="Freeform 173">
              <a:extLst>
                <a:ext uri="{FF2B5EF4-FFF2-40B4-BE49-F238E27FC236}">
                  <a16:creationId xmlns:a16="http://schemas.microsoft.com/office/drawing/2014/main" id="{9EC4DB1C-CF89-4C88-B734-FF9695F6D3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" y="1607"/>
              <a:ext cx="141" cy="601"/>
            </a:xfrm>
            <a:custGeom>
              <a:avLst/>
              <a:gdLst>
                <a:gd name="T0" fmla="*/ 20 w 95"/>
                <a:gd name="T1" fmla="*/ 402 h 404"/>
                <a:gd name="T2" fmla="*/ 2 w 95"/>
                <a:gd name="T3" fmla="*/ 1 h 404"/>
                <a:gd name="T4" fmla="*/ 1 w 95"/>
                <a:gd name="T5" fmla="*/ 2 h 404"/>
                <a:gd name="T6" fmla="*/ 17 w 95"/>
                <a:gd name="T7" fmla="*/ 401 h 404"/>
                <a:gd name="T8" fmla="*/ 20 w 95"/>
                <a:gd name="T9" fmla="*/ 402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404">
                  <a:moveTo>
                    <a:pt x="20" y="402"/>
                  </a:moveTo>
                  <a:cubicBezTo>
                    <a:pt x="74" y="269"/>
                    <a:pt x="95" y="122"/>
                    <a:pt x="2" y="1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75" y="123"/>
                    <a:pt x="41" y="270"/>
                    <a:pt x="17" y="401"/>
                  </a:cubicBezTo>
                  <a:cubicBezTo>
                    <a:pt x="17" y="403"/>
                    <a:pt x="20" y="404"/>
                    <a:pt x="20" y="4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0" name="Freeform 174">
              <a:extLst>
                <a:ext uri="{FF2B5EF4-FFF2-40B4-BE49-F238E27FC236}">
                  <a16:creationId xmlns:a16="http://schemas.microsoft.com/office/drawing/2014/main" id="{FAFDBA35-CDC6-4417-A40D-C628613852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" y="2125"/>
              <a:ext cx="342" cy="313"/>
            </a:xfrm>
            <a:custGeom>
              <a:avLst/>
              <a:gdLst>
                <a:gd name="T0" fmla="*/ 3 w 230"/>
                <a:gd name="T1" fmla="*/ 210 h 210"/>
                <a:gd name="T2" fmla="*/ 229 w 230"/>
                <a:gd name="T3" fmla="*/ 1 h 210"/>
                <a:gd name="T4" fmla="*/ 228 w 230"/>
                <a:gd name="T5" fmla="*/ 1 h 210"/>
                <a:gd name="T6" fmla="*/ 2 w 230"/>
                <a:gd name="T7" fmla="*/ 206 h 210"/>
                <a:gd name="T8" fmla="*/ 3 w 230"/>
                <a:gd name="T9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10">
                  <a:moveTo>
                    <a:pt x="3" y="210"/>
                  </a:moveTo>
                  <a:cubicBezTo>
                    <a:pt x="107" y="186"/>
                    <a:pt x="219" y="117"/>
                    <a:pt x="229" y="1"/>
                  </a:cubicBezTo>
                  <a:cubicBezTo>
                    <a:pt x="230" y="0"/>
                    <a:pt x="228" y="0"/>
                    <a:pt x="228" y="1"/>
                  </a:cubicBezTo>
                  <a:cubicBezTo>
                    <a:pt x="196" y="114"/>
                    <a:pt x="108" y="169"/>
                    <a:pt x="2" y="206"/>
                  </a:cubicBezTo>
                  <a:cubicBezTo>
                    <a:pt x="0" y="207"/>
                    <a:pt x="1" y="210"/>
                    <a:pt x="3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1" name="Freeform 175">
              <a:extLst>
                <a:ext uri="{FF2B5EF4-FFF2-40B4-BE49-F238E27FC236}">
                  <a16:creationId xmlns:a16="http://schemas.microsoft.com/office/drawing/2014/main" id="{683B9686-4398-491E-ADC6-FB4ADD6F75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" y="1576"/>
              <a:ext cx="179" cy="781"/>
            </a:xfrm>
            <a:custGeom>
              <a:avLst/>
              <a:gdLst>
                <a:gd name="T0" fmla="*/ 11 w 120"/>
                <a:gd name="T1" fmla="*/ 523 h 525"/>
                <a:gd name="T2" fmla="*/ 119 w 120"/>
                <a:gd name="T3" fmla="*/ 256 h 525"/>
                <a:gd name="T4" fmla="*/ 16 w 120"/>
                <a:gd name="T5" fmla="*/ 0 h 525"/>
                <a:gd name="T6" fmla="*/ 15 w 120"/>
                <a:gd name="T7" fmla="*/ 2 h 525"/>
                <a:gd name="T8" fmla="*/ 93 w 120"/>
                <a:gd name="T9" fmla="*/ 271 h 525"/>
                <a:gd name="T10" fmla="*/ 54 w 120"/>
                <a:gd name="T11" fmla="*/ 417 h 525"/>
                <a:gd name="T12" fmla="*/ 1 w 120"/>
                <a:gd name="T13" fmla="*/ 516 h 525"/>
                <a:gd name="T14" fmla="*/ 11 w 120"/>
                <a:gd name="T15" fmla="*/ 523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525">
                  <a:moveTo>
                    <a:pt x="11" y="523"/>
                  </a:moveTo>
                  <a:cubicBezTo>
                    <a:pt x="89" y="472"/>
                    <a:pt x="117" y="343"/>
                    <a:pt x="119" y="256"/>
                  </a:cubicBezTo>
                  <a:cubicBezTo>
                    <a:pt x="120" y="167"/>
                    <a:pt x="95" y="52"/>
                    <a:pt x="16" y="0"/>
                  </a:cubicBezTo>
                  <a:cubicBezTo>
                    <a:pt x="15" y="0"/>
                    <a:pt x="14" y="1"/>
                    <a:pt x="15" y="2"/>
                  </a:cubicBezTo>
                  <a:cubicBezTo>
                    <a:pt x="89" y="64"/>
                    <a:pt x="102" y="180"/>
                    <a:pt x="93" y="271"/>
                  </a:cubicBezTo>
                  <a:cubicBezTo>
                    <a:pt x="88" y="321"/>
                    <a:pt x="75" y="371"/>
                    <a:pt x="54" y="417"/>
                  </a:cubicBezTo>
                  <a:cubicBezTo>
                    <a:pt x="38" y="451"/>
                    <a:pt x="15" y="480"/>
                    <a:pt x="1" y="516"/>
                  </a:cubicBezTo>
                  <a:cubicBezTo>
                    <a:pt x="0" y="521"/>
                    <a:pt x="6" y="525"/>
                    <a:pt x="11" y="5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2" name="Freeform 176">
              <a:extLst>
                <a:ext uri="{FF2B5EF4-FFF2-40B4-BE49-F238E27FC236}">
                  <a16:creationId xmlns:a16="http://schemas.microsoft.com/office/drawing/2014/main" id="{A2E141EB-8074-4AD5-8D4E-048FB21FCB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1267"/>
              <a:ext cx="818" cy="1151"/>
            </a:xfrm>
            <a:custGeom>
              <a:avLst/>
              <a:gdLst>
                <a:gd name="T0" fmla="*/ 253 w 549"/>
                <a:gd name="T1" fmla="*/ 42 h 773"/>
                <a:gd name="T2" fmla="*/ 0 w 549"/>
                <a:gd name="T3" fmla="*/ 1 h 773"/>
                <a:gd name="T4" fmla="*/ 0 w 549"/>
                <a:gd name="T5" fmla="*/ 12 h 773"/>
                <a:gd name="T6" fmla="*/ 190 w 549"/>
                <a:gd name="T7" fmla="*/ 38 h 773"/>
                <a:gd name="T8" fmla="*/ 417 w 549"/>
                <a:gd name="T9" fmla="*/ 223 h 773"/>
                <a:gd name="T10" fmla="*/ 311 w 549"/>
                <a:gd name="T11" fmla="*/ 762 h 773"/>
                <a:gd name="T12" fmla="*/ 316 w 549"/>
                <a:gd name="T13" fmla="*/ 770 h 773"/>
                <a:gd name="T14" fmla="*/ 456 w 549"/>
                <a:gd name="T15" fmla="*/ 235 h 773"/>
                <a:gd name="T16" fmla="*/ 253 w 549"/>
                <a:gd name="T17" fmla="*/ 4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9" h="773">
                  <a:moveTo>
                    <a:pt x="253" y="42"/>
                  </a:moveTo>
                  <a:cubicBezTo>
                    <a:pt x="175" y="11"/>
                    <a:pt x="87" y="0"/>
                    <a:pt x="0" y="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65" y="14"/>
                    <a:pt x="129" y="21"/>
                    <a:pt x="190" y="38"/>
                  </a:cubicBezTo>
                  <a:cubicBezTo>
                    <a:pt x="290" y="65"/>
                    <a:pt x="369" y="131"/>
                    <a:pt x="417" y="223"/>
                  </a:cubicBezTo>
                  <a:cubicBezTo>
                    <a:pt x="509" y="395"/>
                    <a:pt x="490" y="653"/>
                    <a:pt x="311" y="762"/>
                  </a:cubicBezTo>
                  <a:cubicBezTo>
                    <a:pt x="306" y="765"/>
                    <a:pt x="310" y="773"/>
                    <a:pt x="316" y="770"/>
                  </a:cubicBezTo>
                  <a:cubicBezTo>
                    <a:pt x="521" y="675"/>
                    <a:pt x="549" y="422"/>
                    <a:pt x="456" y="235"/>
                  </a:cubicBezTo>
                  <a:cubicBezTo>
                    <a:pt x="413" y="149"/>
                    <a:pt x="344" y="77"/>
                    <a:pt x="253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3" name="Freeform 177">
              <a:extLst>
                <a:ext uri="{FF2B5EF4-FFF2-40B4-BE49-F238E27FC236}">
                  <a16:creationId xmlns:a16="http://schemas.microsoft.com/office/drawing/2014/main" id="{506122A8-60D9-43A2-9C94-A703E57BF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" y="1363"/>
              <a:ext cx="115" cy="131"/>
            </a:xfrm>
            <a:custGeom>
              <a:avLst/>
              <a:gdLst>
                <a:gd name="T0" fmla="*/ 7 w 77"/>
                <a:gd name="T1" fmla="*/ 2 h 88"/>
                <a:gd name="T2" fmla="*/ 3 w 77"/>
                <a:gd name="T3" fmla="*/ 7 h 88"/>
                <a:gd name="T4" fmla="*/ 41 w 77"/>
                <a:gd name="T5" fmla="*/ 46 h 88"/>
                <a:gd name="T6" fmla="*/ 76 w 77"/>
                <a:gd name="T7" fmla="*/ 87 h 88"/>
                <a:gd name="T8" fmla="*/ 77 w 77"/>
                <a:gd name="T9" fmla="*/ 86 h 88"/>
                <a:gd name="T10" fmla="*/ 7 w 77"/>
                <a:gd name="T11" fmla="*/ 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88">
                  <a:moveTo>
                    <a:pt x="7" y="2"/>
                  </a:moveTo>
                  <a:cubicBezTo>
                    <a:pt x="3" y="0"/>
                    <a:pt x="0" y="5"/>
                    <a:pt x="3" y="7"/>
                  </a:cubicBezTo>
                  <a:cubicBezTo>
                    <a:pt x="14" y="21"/>
                    <a:pt x="29" y="33"/>
                    <a:pt x="41" y="46"/>
                  </a:cubicBezTo>
                  <a:cubicBezTo>
                    <a:pt x="53" y="59"/>
                    <a:pt x="64" y="73"/>
                    <a:pt x="76" y="87"/>
                  </a:cubicBezTo>
                  <a:cubicBezTo>
                    <a:pt x="76" y="88"/>
                    <a:pt x="77" y="87"/>
                    <a:pt x="77" y="86"/>
                  </a:cubicBezTo>
                  <a:cubicBezTo>
                    <a:pt x="62" y="55"/>
                    <a:pt x="37" y="20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4" name="Freeform 178">
              <a:extLst>
                <a:ext uri="{FF2B5EF4-FFF2-40B4-BE49-F238E27FC236}">
                  <a16:creationId xmlns:a16="http://schemas.microsoft.com/office/drawing/2014/main" id="{92F4A227-009F-485A-8432-1E39FC492C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2602"/>
              <a:ext cx="277" cy="145"/>
            </a:xfrm>
            <a:custGeom>
              <a:avLst/>
              <a:gdLst>
                <a:gd name="T0" fmla="*/ 41 w 186"/>
                <a:gd name="T1" fmla="*/ 13 h 98"/>
                <a:gd name="T2" fmla="*/ 0 w 186"/>
                <a:gd name="T3" fmla="*/ 0 h 98"/>
                <a:gd name="T4" fmla="*/ 0 w 186"/>
                <a:gd name="T5" fmla="*/ 24 h 98"/>
                <a:gd name="T6" fmla="*/ 18 w 186"/>
                <a:gd name="T7" fmla="*/ 28 h 98"/>
                <a:gd name="T8" fmla="*/ 184 w 186"/>
                <a:gd name="T9" fmla="*/ 97 h 98"/>
                <a:gd name="T10" fmla="*/ 186 w 186"/>
                <a:gd name="T11" fmla="*/ 96 h 98"/>
                <a:gd name="T12" fmla="*/ 41 w 186"/>
                <a:gd name="T13" fmla="*/ 13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98">
                  <a:moveTo>
                    <a:pt x="41" y="13"/>
                  </a:moveTo>
                  <a:cubicBezTo>
                    <a:pt x="28" y="9"/>
                    <a:pt x="14" y="4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6" y="25"/>
                    <a:pt x="12" y="26"/>
                    <a:pt x="18" y="28"/>
                  </a:cubicBezTo>
                  <a:cubicBezTo>
                    <a:pt x="73" y="44"/>
                    <a:pt x="139" y="62"/>
                    <a:pt x="184" y="97"/>
                  </a:cubicBezTo>
                  <a:cubicBezTo>
                    <a:pt x="185" y="98"/>
                    <a:pt x="186" y="97"/>
                    <a:pt x="186" y="96"/>
                  </a:cubicBezTo>
                  <a:cubicBezTo>
                    <a:pt x="148" y="52"/>
                    <a:pt x="95" y="30"/>
                    <a:pt x="4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5" name="Freeform 179">
              <a:extLst>
                <a:ext uri="{FF2B5EF4-FFF2-40B4-BE49-F238E27FC236}">
                  <a16:creationId xmlns:a16="http://schemas.microsoft.com/office/drawing/2014/main" id="{8E035CB9-D082-46B1-AC10-60C520CD83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3294"/>
              <a:ext cx="194" cy="121"/>
            </a:xfrm>
            <a:custGeom>
              <a:avLst/>
              <a:gdLst>
                <a:gd name="T0" fmla="*/ 129 w 130"/>
                <a:gd name="T1" fmla="*/ 1 h 81"/>
                <a:gd name="T2" fmla="*/ 128 w 130"/>
                <a:gd name="T3" fmla="*/ 0 h 81"/>
                <a:gd name="T4" fmla="*/ 0 w 130"/>
                <a:gd name="T5" fmla="*/ 60 h 81"/>
                <a:gd name="T6" fmla="*/ 0 w 130"/>
                <a:gd name="T7" fmla="*/ 81 h 81"/>
                <a:gd name="T8" fmla="*/ 129 w 130"/>
                <a:gd name="T9" fmla="*/ 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81">
                  <a:moveTo>
                    <a:pt x="129" y="1"/>
                  </a:moveTo>
                  <a:cubicBezTo>
                    <a:pt x="130" y="1"/>
                    <a:pt x="129" y="0"/>
                    <a:pt x="128" y="0"/>
                  </a:cubicBezTo>
                  <a:cubicBezTo>
                    <a:pt x="90" y="38"/>
                    <a:pt x="47" y="54"/>
                    <a:pt x="0" y="6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51" y="72"/>
                    <a:pt x="99" y="40"/>
                    <a:pt x="12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6" name="Freeform 180">
              <a:extLst>
                <a:ext uri="{FF2B5EF4-FFF2-40B4-BE49-F238E27FC236}">
                  <a16:creationId xmlns:a16="http://schemas.microsoft.com/office/drawing/2014/main" id="{D406029C-FE59-40A6-996D-A9781E6764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2867"/>
              <a:ext cx="231" cy="436"/>
            </a:xfrm>
            <a:custGeom>
              <a:avLst/>
              <a:gdLst>
                <a:gd name="T0" fmla="*/ 121 w 155"/>
                <a:gd name="T1" fmla="*/ 109 h 293"/>
                <a:gd name="T2" fmla="*/ 0 w 155"/>
                <a:gd name="T3" fmla="*/ 0 h 293"/>
                <a:gd name="T4" fmla="*/ 0 w 155"/>
                <a:gd name="T5" fmla="*/ 7 h 293"/>
                <a:gd name="T6" fmla="*/ 90 w 155"/>
                <a:gd name="T7" fmla="*/ 277 h 293"/>
                <a:gd name="T8" fmla="*/ 102 w 155"/>
                <a:gd name="T9" fmla="*/ 287 h 293"/>
                <a:gd name="T10" fmla="*/ 121 w 155"/>
                <a:gd name="T11" fmla="*/ 109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5" h="293">
                  <a:moveTo>
                    <a:pt x="121" y="109"/>
                  </a:moveTo>
                  <a:cubicBezTo>
                    <a:pt x="95" y="58"/>
                    <a:pt x="50" y="25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92" y="66"/>
                    <a:pt x="141" y="165"/>
                    <a:pt x="90" y="277"/>
                  </a:cubicBezTo>
                  <a:cubicBezTo>
                    <a:pt x="86" y="285"/>
                    <a:pt x="95" y="293"/>
                    <a:pt x="102" y="287"/>
                  </a:cubicBezTo>
                  <a:cubicBezTo>
                    <a:pt x="155" y="242"/>
                    <a:pt x="150" y="167"/>
                    <a:pt x="121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7" name="Freeform 181">
              <a:extLst>
                <a:ext uri="{FF2B5EF4-FFF2-40B4-BE49-F238E27FC236}">
                  <a16:creationId xmlns:a16="http://schemas.microsoft.com/office/drawing/2014/main" id="{FD37DD12-BBC5-43D3-B7C1-6FFEB3D6D2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" y="2386"/>
              <a:ext cx="382" cy="95"/>
            </a:xfrm>
            <a:custGeom>
              <a:avLst/>
              <a:gdLst>
                <a:gd name="T0" fmla="*/ 254 w 256"/>
                <a:gd name="T1" fmla="*/ 2 h 64"/>
                <a:gd name="T2" fmla="*/ 253 w 256"/>
                <a:gd name="T3" fmla="*/ 0 h 64"/>
                <a:gd name="T4" fmla="*/ 0 w 256"/>
                <a:gd name="T5" fmla="*/ 16 h 64"/>
                <a:gd name="T6" fmla="*/ 0 w 256"/>
                <a:gd name="T7" fmla="*/ 51 h 64"/>
                <a:gd name="T8" fmla="*/ 254 w 256"/>
                <a:gd name="T9" fmla="*/ 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" h="64">
                  <a:moveTo>
                    <a:pt x="254" y="2"/>
                  </a:moveTo>
                  <a:cubicBezTo>
                    <a:pt x="256" y="1"/>
                    <a:pt x="255" y="0"/>
                    <a:pt x="253" y="0"/>
                  </a:cubicBezTo>
                  <a:cubicBezTo>
                    <a:pt x="168" y="38"/>
                    <a:pt x="85" y="28"/>
                    <a:pt x="0" y="1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87" y="64"/>
                    <a:pt x="179" y="48"/>
                    <a:pt x="25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8" name="Freeform 182">
              <a:extLst>
                <a:ext uri="{FF2B5EF4-FFF2-40B4-BE49-F238E27FC236}">
                  <a16:creationId xmlns:a16="http://schemas.microsoft.com/office/drawing/2014/main" id="{D6A3EC73-BAFD-41CC-B54B-143940BF11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63" y="2"/>
              <a:ext cx="51" cy="458"/>
            </a:xfrm>
            <a:custGeom>
              <a:avLst/>
              <a:gdLst>
                <a:gd name="T0" fmla="*/ 16 w 34"/>
                <a:gd name="T1" fmla="*/ 98 h 308"/>
                <a:gd name="T2" fmla="*/ 11 w 34"/>
                <a:gd name="T3" fmla="*/ 307 h 308"/>
                <a:gd name="T4" fmla="*/ 13 w 34"/>
                <a:gd name="T5" fmla="*/ 307 h 308"/>
                <a:gd name="T6" fmla="*/ 33 w 34"/>
                <a:gd name="T7" fmla="*/ 88 h 308"/>
                <a:gd name="T8" fmla="*/ 29 w 34"/>
                <a:gd name="T9" fmla="*/ 0 h 308"/>
                <a:gd name="T10" fmla="*/ 0 w 34"/>
                <a:gd name="T11" fmla="*/ 0 h 308"/>
                <a:gd name="T12" fmla="*/ 16 w 34"/>
                <a:gd name="T13" fmla="*/ 98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08">
                  <a:moveTo>
                    <a:pt x="16" y="98"/>
                  </a:moveTo>
                  <a:cubicBezTo>
                    <a:pt x="21" y="167"/>
                    <a:pt x="19" y="237"/>
                    <a:pt x="11" y="307"/>
                  </a:cubicBezTo>
                  <a:cubicBezTo>
                    <a:pt x="11" y="308"/>
                    <a:pt x="13" y="308"/>
                    <a:pt x="13" y="307"/>
                  </a:cubicBezTo>
                  <a:cubicBezTo>
                    <a:pt x="28" y="234"/>
                    <a:pt x="34" y="162"/>
                    <a:pt x="33" y="88"/>
                  </a:cubicBezTo>
                  <a:cubicBezTo>
                    <a:pt x="32" y="60"/>
                    <a:pt x="32" y="30"/>
                    <a:pt x="2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33"/>
                    <a:pt x="13" y="65"/>
                    <a:pt x="16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09" name="Freeform 183">
              <a:extLst>
                <a:ext uri="{FF2B5EF4-FFF2-40B4-BE49-F238E27FC236}">
                  <a16:creationId xmlns:a16="http://schemas.microsoft.com/office/drawing/2014/main" id="{67F47FA6-1C8C-4FD5-A0BC-EBF35D9345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83" y="2"/>
              <a:ext cx="148" cy="752"/>
            </a:xfrm>
            <a:custGeom>
              <a:avLst/>
              <a:gdLst>
                <a:gd name="T0" fmla="*/ 71 w 99"/>
                <a:gd name="T1" fmla="*/ 150 h 505"/>
                <a:gd name="T2" fmla="*/ 0 w 99"/>
                <a:gd name="T3" fmla="*/ 503 h 505"/>
                <a:gd name="T4" fmla="*/ 1 w 99"/>
                <a:gd name="T5" fmla="*/ 504 h 505"/>
                <a:gd name="T6" fmla="*/ 95 w 99"/>
                <a:gd name="T7" fmla="*/ 132 h 505"/>
                <a:gd name="T8" fmla="*/ 97 w 99"/>
                <a:gd name="T9" fmla="*/ 0 h 505"/>
                <a:gd name="T10" fmla="*/ 60 w 99"/>
                <a:gd name="T11" fmla="*/ 0 h 505"/>
                <a:gd name="T12" fmla="*/ 71 w 99"/>
                <a:gd name="T13" fmla="*/ 15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505">
                  <a:moveTo>
                    <a:pt x="71" y="150"/>
                  </a:moveTo>
                  <a:cubicBezTo>
                    <a:pt x="68" y="271"/>
                    <a:pt x="42" y="390"/>
                    <a:pt x="0" y="503"/>
                  </a:cubicBezTo>
                  <a:cubicBezTo>
                    <a:pt x="0" y="504"/>
                    <a:pt x="1" y="505"/>
                    <a:pt x="1" y="504"/>
                  </a:cubicBezTo>
                  <a:cubicBezTo>
                    <a:pt x="58" y="387"/>
                    <a:pt x="87" y="262"/>
                    <a:pt x="95" y="132"/>
                  </a:cubicBezTo>
                  <a:cubicBezTo>
                    <a:pt x="97" y="88"/>
                    <a:pt x="99" y="44"/>
                    <a:pt x="97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7" y="50"/>
                    <a:pt x="73" y="100"/>
                    <a:pt x="71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0" name="Freeform 184">
              <a:extLst>
                <a:ext uri="{FF2B5EF4-FFF2-40B4-BE49-F238E27FC236}">
                  <a16:creationId xmlns:a16="http://schemas.microsoft.com/office/drawing/2014/main" id="{8CFB531B-7342-4065-A2C5-3DC96023E5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3" y="752"/>
              <a:ext cx="500" cy="277"/>
            </a:xfrm>
            <a:custGeom>
              <a:avLst/>
              <a:gdLst>
                <a:gd name="T0" fmla="*/ 0 w 335"/>
                <a:gd name="T1" fmla="*/ 2 h 186"/>
                <a:gd name="T2" fmla="*/ 331 w 335"/>
                <a:gd name="T3" fmla="*/ 61 h 186"/>
                <a:gd name="T4" fmla="*/ 324 w 335"/>
                <a:gd name="T5" fmla="*/ 55 h 186"/>
                <a:gd name="T6" fmla="*/ 2 w 335"/>
                <a:gd name="T7" fmla="*/ 1 h 186"/>
                <a:gd name="T8" fmla="*/ 0 w 335"/>
                <a:gd name="T9" fmla="*/ 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186">
                  <a:moveTo>
                    <a:pt x="0" y="2"/>
                  </a:moveTo>
                  <a:cubicBezTo>
                    <a:pt x="48" y="151"/>
                    <a:pt x="234" y="186"/>
                    <a:pt x="331" y="61"/>
                  </a:cubicBezTo>
                  <a:cubicBezTo>
                    <a:pt x="335" y="57"/>
                    <a:pt x="329" y="51"/>
                    <a:pt x="324" y="55"/>
                  </a:cubicBezTo>
                  <a:cubicBezTo>
                    <a:pt x="224" y="141"/>
                    <a:pt x="69" y="116"/>
                    <a:pt x="2" y="1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1" name="Freeform 185">
              <a:extLst>
                <a:ext uri="{FF2B5EF4-FFF2-40B4-BE49-F238E27FC236}">
                  <a16:creationId xmlns:a16="http://schemas.microsoft.com/office/drawing/2014/main" id="{68A6B911-5121-4F4A-8E6F-84EAF608D2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29" y="219"/>
              <a:ext cx="283" cy="605"/>
            </a:xfrm>
            <a:custGeom>
              <a:avLst/>
              <a:gdLst>
                <a:gd name="T0" fmla="*/ 64 w 190"/>
                <a:gd name="T1" fmla="*/ 1 h 406"/>
                <a:gd name="T2" fmla="*/ 178 w 190"/>
                <a:gd name="T3" fmla="*/ 405 h 406"/>
                <a:gd name="T4" fmla="*/ 183 w 190"/>
                <a:gd name="T5" fmla="*/ 393 h 406"/>
                <a:gd name="T6" fmla="*/ 65 w 190"/>
                <a:gd name="T7" fmla="*/ 1 h 406"/>
                <a:gd name="T8" fmla="*/ 64 w 190"/>
                <a:gd name="T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406">
                  <a:moveTo>
                    <a:pt x="64" y="1"/>
                  </a:moveTo>
                  <a:cubicBezTo>
                    <a:pt x="41" y="135"/>
                    <a:pt x="0" y="364"/>
                    <a:pt x="178" y="405"/>
                  </a:cubicBezTo>
                  <a:cubicBezTo>
                    <a:pt x="185" y="406"/>
                    <a:pt x="190" y="396"/>
                    <a:pt x="183" y="393"/>
                  </a:cubicBezTo>
                  <a:cubicBezTo>
                    <a:pt x="46" y="329"/>
                    <a:pt x="57" y="126"/>
                    <a:pt x="65" y="1"/>
                  </a:cubicBezTo>
                  <a:cubicBezTo>
                    <a:pt x="65" y="0"/>
                    <a:pt x="64" y="0"/>
                    <a:pt x="6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2" name="Freeform 186">
              <a:extLst>
                <a:ext uri="{FF2B5EF4-FFF2-40B4-BE49-F238E27FC236}">
                  <a16:creationId xmlns:a16="http://schemas.microsoft.com/office/drawing/2014/main" id="{3CE96C99-C7E3-4958-B3DF-859CD008DC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92" y="722"/>
              <a:ext cx="760" cy="560"/>
            </a:xfrm>
            <a:custGeom>
              <a:avLst/>
              <a:gdLst>
                <a:gd name="T0" fmla="*/ 128 w 510"/>
                <a:gd name="T1" fmla="*/ 292 h 376"/>
                <a:gd name="T2" fmla="*/ 506 w 510"/>
                <a:gd name="T3" fmla="*/ 338 h 376"/>
                <a:gd name="T4" fmla="*/ 504 w 510"/>
                <a:gd name="T5" fmla="*/ 332 h 376"/>
                <a:gd name="T6" fmla="*/ 146 w 510"/>
                <a:gd name="T7" fmla="*/ 276 h 376"/>
                <a:gd name="T8" fmla="*/ 2 w 510"/>
                <a:gd name="T9" fmla="*/ 1 h 376"/>
                <a:gd name="T10" fmla="*/ 0 w 510"/>
                <a:gd name="T11" fmla="*/ 1 h 376"/>
                <a:gd name="T12" fmla="*/ 128 w 510"/>
                <a:gd name="T13" fmla="*/ 292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376">
                  <a:moveTo>
                    <a:pt x="128" y="292"/>
                  </a:moveTo>
                  <a:cubicBezTo>
                    <a:pt x="236" y="362"/>
                    <a:pt x="384" y="376"/>
                    <a:pt x="506" y="338"/>
                  </a:cubicBezTo>
                  <a:cubicBezTo>
                    <a:pt x="510" y="337"/>
                    <a:pt x="508" y="331"/>
                    <a:pt x="504" y="332"/>
                  </a:cubicBezTo>
                  <a:cubicBezTo>
                    <a:pt x="387" y="349"/>
                    <a:pt x="247" y="346"/>
                    <a:pt x="146" y="276"/>
                  </a:cubicBezTo>
                  <a:cubicBezTo>
                    <a:pt x="51" y="210"/>
                    <a:pt x="30" y="106"/>
                    <a:pt x="2" y="1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8" y="106"/>
                    <a:pt x="33" y="230"/>
                    <a:pt x="128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3" name="Freeform 187">
              <a:extLst>
                <a:ext uri="{FF2B5EF4-FFF2-40B4-BE49-F238E27FC236}">
                  <a16:creationId xmlns:a16="http://schemas.microsoft.com/office/drawing/2014/main" id="{5858A6A4-4922-48C0-A803-3EED4D7B5A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98" y="713"/>
              <a:ext cx="1185" cy="450"/>
            </a:xfrm>
            <a:custGeom>
              <a:avLst/>
              <a:gdLst>
                <a:gd name="T0" fmla="*/ 794 w 795"/>
                <a:gd name="T1" fmla="*/ 127 h 302"/>
                <a:gd name="T2" fmla="*/ 793 w 795"/>
                <a:gd name="T3" fmla="*/ 126 h 302"/>
                <a:gd name="T4" fmla="*/ 335 w 795"/>
                <a:gd name="T5" fmla="*/ 251 h 302"/>
                <a:gd name="T6" fmla="*/ 2 w 795"/>
                <a:gd name="T7" fmla="*/ 1 h 302"/>
                <a:gd name="T8" fmla="*/ 0 w 795"/>
                <a:gd name="T9" fmla="*/ 2 h 302"/>
                <a:gd name="T10" fmla="*/ 336 w 795"/>
                <a:gd name="T11" fmla="*/ 277 h 302"/>
                <a:gd name="T12" fmla="*/ 794 w 795"/>
                <a:gd name="T13" fmla="*/ 127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5" h="302">
                  <a:moveTo>
                    <a:pt x="794" y="127"/>
                  </a:moveTo>
                  <a:cubicBezTo>
                    <a:pt x="795" y="126"/>
                    <a:pt x="794" y="125"/>
                    <a:pt x="793" y="126"/>
                  </a:cubicBezTo>
                  <a:cubicBezTo>
                    <a:pt x="665" y="235"/>
                    <a:pt x="501" y="288"/>
                    <a:pt x="335" y="251"/>
                  </a:cubicBezTo>
                  <a:cubicBezTo>
                    <a:pt x="198" y="221"/>
                    <a:pt x="63" y="130"/>
                    <a:pt x="2" y="1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57" y="147"/>
                    <a:pt x="178" y="253"/>
                    <a:pt x="336" y="277"/>
                  </a:cubicBezTo>
                  <a:cubicBezTo>
                    <a:pt x="499" y="302"/>
                    <a:pt x="673" y="234"/>
                    <a:pt x="79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4" name="Freeform 188">
              <a:extLst>
                <a:ext uri="{FF2B5EF4-FFF2-40B4-BE49-F238E27FC236}">
                  <a16:creationId xmlns:a16="http://schemas.microsoft.com/office/drawing/2014/main" id="{12157E46-98D1-4041-B250-921C736B34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7" y="366"/>
              <a:ext cx="1002" cy="1175"/>
            </a:xfrm>
            <a:custGeom>
              <a:avLst/>
              <a:gdLst>
                <a:gd name="T0" fmla="*/ 548 w 672"/>
                <a:gd name="T1" fmla="*/ 6 h 789"/>
                <a:gd name="T2" fmla="*/ 539 w 672"/>
                <a:gd name="T3" fmla="*/ 8 h 789"/>
                <a:gd name="T4" fmla="*/ 1 w 672"/>
                <a:gd name="T5" fmla="*/ 629 h 789"/>
                <a:gd name="T6" fmla="*/ 0 w 672"/>
                <a:gd name="T7" fmla="*/ 631 h 789"/>
                <a:gd name="T8" fmla="*/ 548 w 672"/>
                <a:gd name="T9" fmla="*/ 6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789">
                  <a:moveTo>
                    <a:pt x="548" y="6"/>
                  </a:moveTo>
                  <a:cubicBezTo>
                    <a:pt x="546" y="0"/>
                    <a:pt x="537" y="2"/>
                    <a:pt x="539" y="8"/>
                  </a:cubicBezTo>
                  <a:cubicBezTo>
                    <a:pt x="630" y="306"/>
                    <a:pt x="341" y="755"/>
                    <a:pt x="1" y="629"/>
                  </a:cubicBezTo>
                  <a:cubicBezTo>
                    <a:pt x="0" y="629"/>
                    <a:pt x="0" y="630"/>
                    <a:pt x="0" y="631"/>
                  </a:cubicBezTo>
                  <a:cubicBezTo>
                    <a:pt x="349" y="789"/>
                    <a:pt x="672" y="312"/>
                    <a:pt x="54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5" name="Freeform 189">
              <a:extLst>
                <a:ext uri="{FF2B5EF4-FFF2-40B4-BE49-F238E27FC236}">
                  <a16:creationId xmlns:a16="http://schemas.microsoft.com/office/drawing/2014/main" id="{CD5A58C9-DD4F-4842-AEEE-7DE39173CA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5" y="113"/>
              <a:ext cx="82" cy="393"/>
            </a:xfrm>
            <a:custGeom>
              <a:avLst/>
              <a:gdLst>
                <a:gd name="T0" fmla="*/ 53 w 55"/>
                <a:gd name="T1" fmla="*/ 1 h 264"/>
                <a:gd name="T2" fmla="*/ 3 w 55"/>
                <a:gd name="T3" fmla="*/ 240 h 264"/>
                <a:gd name="T4" fmla="*/ 32 w 55"/>
                <a:gd name="T5" fmla="*/ 244 h 264"/>
                <a:gd name="T6" fmla="*/ 55 w 55"/>
                <a:gd name="T7" fmla="*/ 1 h 264"/>
                <a:gd name="T8" fmla="*/ 53 w 55"/>
                <a:gd name="T9" fmla="*/ 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64">
                  <a:moveTo>
                    <a:pt x="53" y="1"/>
                  </a:moveTo>
                  <a:cubicBezTo>
                    <a:pt x="27" y="78"/>
                    <a:pt x="15" y="159"/>
                    <a:pt x="3" y="240"/>
                  </a:cubicBezTo>
                  <a:cubicBezTo>
                    <a:pt x="0" y="262"/>
                    <a:pt x="33" y="264"/>
                    <a:pt x="32" y="244"/>
                  </a:cubicBezTo>
                  <a:cubicBezTo>
                    <a:pt x="27" y="162"/>
                    <a:pt x="40" y="81"/>
                    <a:pt x="55" y="1"/>
                  </a:cubicBezTo>
                  <a:cubicBezTo>
                    <a:pt x="55" y="0"/>
                    <a:pt x="54" y="0"/>
                    <a:pt x="5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6" name="Freeform 190">
              <a:extLst>
                <a:ext uri="{FF2B5EF4-FFF2-40B4-BE49-F238E27FC236}">
                  <a16:creationId xmlns:a16="http://schemas.microsoft.com/office/drawing/2014/main" id="{5DB792ED-A239-4B5D-B8F2-5E79132754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2" y="2"/>
              <a:ext cx="1112" cy="1292"/>
            </a:xfrm>
            <a:custGeom>
              <a:avLst/>
              <a:gdLst>
                <a:gd name="T0" fmla="*/ 40 w 746"/>
                <a:gd name="T1" fmla="*/ 538 h 868"/>
                <a:gd name="T2" fmla="*/ 577 w 746"/>
                <a:gd name="T3" fmla="*/ 729 h 868"/>
                <a:gd name="T4" fmla="*/ 746 w 746"/>
                <a:gd name="T5" fmla="*/ 383 h 868"/>
                <a:gd name="T6" fmla="*/ 744 w 746"/>
                <a:gd name="T7" fmla="*/ 382 h 868"/>
                <a:gd name="T8" fmla="*/ 512 w 746"/>
                <a:gd name="T9" fmla="*/ 722 h 868"/>
                <a:gd name="T10" fmla="*/ 143 w 746"/>
                <a:gd name="T11" fmla="*/ 660 h 868"/>
                <a:gd name="T12" fmla="*/ 91 w 746"/>
                <a:gd name="T13" fmla="*/ 206 h 868"/>
                <a:gd name="T14" fmla="*/ 173 w 746"/>
                <a:gd name="T15" fmla="*/ 0 h 868"/>
                <a:gd name="T16" fmla="*/ 132 w 746"/>
                <a:gd name="T17" fmla="*/ 0 h 868"/>
                <a:gd name="T18" fmla="*/ 40 w 746"/>
                <a:gd name="T19" fmla="*/ 5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6" h="868">
                  <a:moveTo>
                    <a:pt x="40" y="538"/>
                  </a:moveTo>
                  <a:cubicBezTo>
                    <a:pt x="95" y="777"/>
                    <a:pt x="382" y="868"/>
                    <a:pt x="577" y="729"/>
                  </a:cubicBezTo>
                  <a:cubicBezTo>
                    <a:pt x="689" y="649"/>
                    <a:pt x="742" y="517"/>
                    <a:pt x="746" y="383"/>
                  </a:cubicBezTo>
                  <a:cubicBezTo>
                    <a:pt x="746" y="382"/>
                    <a:pt x="744" y="381"/>
                    <a:pt x="744" y="382"/>
                  </a:cubicBezTo>
                  <a:cubicBezTo>
                    <a:pt x="723" y="520"/>
                    <a:pt x="639" y="658"/>
                    <a:pt x="512" y="722"/>
                  </a:cubicBezTo>
                  <a:cubicBezTo>
                    <a:pt x="394" y="781"/>
                    <a:pt x="233" y="760"/>
                    <a:pt x="143" y="660"/>
                  </a:cubicBezTo>
                  <a:cubicBezTo>
                    <a:pt x="39" y="543"/>
                    <a:pt x="57" y="347"/>
                    <a:pt x="91" y="206"/>
                  </a:cubicBezTo>
                  <a:cubicBezTo>
                    <a:pt x="109" y="133"/>
                    <a:pt x="137" y="65"/>
                    <a:pt x="173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41" y="164"/>
                    <a:pt x="0" y="363"/>
                    <a:pt x="40" y="5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7" name="Freeform 191">
              <a:extLst>
                <a:ext uri="{FF2B5EF4-FFF2-40B4-BE49-F238E27FC236}">
                  <a16:creationId xmlns:a16="http://schemas.microsoft.com/office/drawing/2014/main" id="{7AAB8FB9-BD2E-424C-9E10-0A2FFFCA09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50" y="669"/>
              <a:ext cx="56" cy="134"/>
            </a:xfrm>
            <a:custGeom>
              <a:avLst/>
              <a:gdLst>
                <a:gd name="T0" fmla="*/ 31 w 38"/>
                <a:gd name="T1" fmla="*/ 87 h 90"/>
                <a:gd name="T2" fmla="*/ 36 w 38"/>
                <a:gd name="T3" fmla="*/ 85 h 90"/>
                <a:gd name="T4" fmla="*/ 4 w 38"/>
                <a:gd name="T5" fmla="*/ 2 h 90"/>
                <a:gd name="T6" fmla="*/ 1 w 38"/>
                <a:gd name="T7" fmla="*/ 3 h 90"/>
                <a:gd name="T8" fmla="*/ 31 w 38"/>
                <a:gd name="T9" fmla="*/ 8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90">
                  <a:moveTo>
                    <a:pt x="31" y="87"/>
                  </a:moveTo>
                  <a:cubicBezTo>
                    <a:pt x="33" y="90"/>
                    <a:pt x="38" y="88"/>
                    <a:pt x="36" y="85"/>
                  </a:cubicBezTo>
                  <a:cubicBezTo>
                    <a:pt x="25" y="58"/>
                    <a:pt x="13" y="31"/>
                    <a:pt x="4" y="2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8" y="32"/>
                    <a:pt x="17" y="61"/>
                    <a:pt x="31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8" name="Freeform 192">
              <a:extLst>
                <a:ext uri="{FF2B5EF4-FFF2-40B4-BE49-F238E27FC236}">
                  <a16:creationId xmlns:a16="http://schemas.microsoft.com/office/drawing/2014/main" id="{14B2E593-32C5-4E86-BD68-D1348F911B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3" y="2"/>
              <a:ext cx="179" cy="638"/>
            </a:xfrm>
            <a:custGeom>
              <a:avLst/>
              <a:gdLst>
                <a:gd name="T0" fmla="*/ 35 w 120"/>
                <a:gd name="T1" fmla="*/ 426 h 429"/>
                <a:gd name="T2" fmla="*/ 40 w 120"/>
                <a:gd name="T3" fmla="*/ 425 h 429"/>
                <a:gd name="T4" fmla="*/ 120 w 120"/>
                <a:gd name="T5" fmla="*/ 0 h 429"/>
                <a:gd name="T6" fmla="*/ 96 w 120"/>
                <a:gd name="T7" fmla="*/ 0 h 429"/>
                <a:gd name="T8" fmla="*/ 35 w 120"/>
                <a:gd name="T9" fmla="*/ 426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429">
                  <a:moveTo>
                    <a:pt x="35" y="426"/>
                  </a:moveTo>
                  <a:cubicBezTo>
                    <a:pt x="36" y="429"/>
                    <a:pt x="40" y="428"/>
                    <a:pt x="40" y="425"/>
                  </a:cubicBezTo>
                  <a:cubicBezTo>
                    <a:pt x="41" y="278"/>
                    <a:pt x="64" y="133"/>
                    <a:pt x="12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28" y="130"/>
                    <a:pt x="0" y="281"/>
                    <a:pt x="35" y="4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19" name="Freeform 193">
              <a:extLst>
                <a:ext uri="{FF2B5EF4-FFF2-40B4-BE49-F238E27FC236}">
                  <a16:creationId xmlns:a16="http://schemas.microsoft.com/office/drawing/2014/main" id="{14DF6E9D-C5AE-45E1-A9C1-9A692360D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42" y="2"/>
              <a:ext cx="178" cy="631"/>
            </a:xfrm>
            <a:custGeom>
              <a:avLst/>
              <a:gdLst>
                <a:gd name="T0" fmla="*/ 18 w 119"/>
                <a:gd name="T1" fmla="*/ 418 h 424"/>
                <a:gd name="T2" fmla="*/ 28 w 119"/>
                <a:gd name="T3" fmla="*/ 418 h 424"/>
                <a:gd name="T4" fmla="*/ 119 w 119"/>
                <a:gd name="T5" fmla="*/ 0 h 424"/>
                <a:gd name="T6" fmla="*/ 109 w 119"/>
                <a:gd name="T7" fmla="*/ 0 h 424"/>
                <a:gd name="T8" fmla="*/ 18 w 119"/>
                <a:gd name="T9" fmla="*/ 418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424">
                  <a:moveTo>
                    <a:pt x="18" y="418"/>
                  </a:moveTo>
                  <a:cubicBezTo>
                    <a:pt x="19" y="424"/>
                    <a:pt x="28" y="424"/>
                    <a:pt x="28" y="418"/>
                  </a:cubicBezTo>
                  <a:cubicBezTo>
                    <a:pt x="38" y="269"/>
                    <a:pt x="62" y="135"/>
                    <a:pt x="11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39" y="124"/>
                    <a:pt x="0" y="278"/>
                    <a:pt x="18" y="4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0" name="Freeform 194">
              <a:extLst>
                <a:ext uri="{FF2B5EF4-FFF2-40B4-BE49-F238E27FC236}">
                  <a16:creationId xmlns:a16="http://schemas.microsoft.com/office/drawing/2014/main" id="{6D7D7F1E-4765-4784-8F74-3F2A83572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569"/>
              <a:ext cx="173" cy="211"/>
            </a:xfrm>
            <a:custGeom>
              <a:avLst/>
              <a:gdLst>
                <a:gd name="T0" fmla="*/ 13 w 116"/>
                <a:gd name="T1" fmla="*/ 138 h 142"/>
                <a:gd name="T2" fmla="*/ 116 w 116"/>
                <a:gd name="T3" fmla="*/ 2 h 142"/>
                <a:gd name="T4" fmla="*/ 114 w 116"/>
                <a:gd name="T5" fmla="*/ 1 h 142"/>
                <a:gd name="T6" fmla="*/ 64 w 116"/>
                <a:gd name="T7" fmla="*/ 73 h 142"/>
                <a:gd name="T8" fmla="*/ 5 w 116"/>
                <a:gd name="T9" fmla="*/ 128 h 142"/>
                <a:gd name="T10" fmla="*/ 13 w 116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142">
                  <a:moveTo>
                    <a:pt x="13" y="138"/>
                  </a:moveTo>
                  <a:cubicBezTo>
                    <a:pt x="61" y="113"/>
                    <a:pt x="94" y="50"/>
                    <a:pt x="116" y="2"/>
                  </a:cubicBezTo>
                  <a:cubicBezTo>
                    <a:pt x="116" y="1"/>
                    <a:pt x="114" y="0"/>
                    <a:pt x="114" y="1"/>
                  </a:cubicBezTo>
                  <a:cubicBezTo>
                    <a:pt x="100" y="27"/>
                    <a:pt x="83" y="51"/>
                    <a:pt x="64" y="73"/>
                  </a:cubicBezTo>
                  <a:cubicBezTo>
                    <a:pt x="46" y="93"/>
                    <a:pt x="22" y="108"/>
                    <a:pt x="5" y="128"/>
                  </a:cubicBezTo>
                  <a:cubicBezTo>
                    <a:pt x="0" y="134"/>
                    <a:pt x="6" y="142"/>
                    <a:pt x="13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1" name="Freeform 195">
              <a:extLst>
                <a:ext uri="{FF2B5EF4-FFF2-40B4-BE49-F238E27FC236}">
                  <a16:creationId xmlns:a16="http://schemas.microsoft.com/office/drawing/2014/main" id="{33AC971F-C203-4F48-990B-8795A9EEBB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68" y="174"/>
              <a:ext cx="265" cy="821"/>
            </a:xfrm>
            <a:custGeom>
              <a:avLst/>
              <a:gdLst>
                <a:gd name="T0" fmla="*/ 122 w 178"/>
                <a:gd name="T1" fmla="*/ 1 h 551"/>
                <a:gd name="T2" fmla="*/ 168 w 178"/>
                <a:gd name="T3" fmla="*/ 548 h 551"/>
                <a:gd name="T4" fmla="*/ 174 w 178"/>
                <a:gd name="T5" fmla="*/ 541 h 551"/>
                <a:gd name="T6" fmla="*/ 123 w 178"/>
                <a:gd name="T7" fmla="*/ 1 h 551"/>
                <a:gd name="T8" fmla="*/ 122 w 178"/>
                <a:gd name="T9" fmla="*/ 1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551">
                  <a:moveTo>
                    <a:pt x="122" y="1"/>
                  </a:moveTo>
                  <a:cubicBezTo>
                    <a:pt x="59" y="173"/>
                    <a:pt x="0" y="414"/>
                    <a:pt x="168" y="548"/>
                  </a:cubicBezTo>
                  <a:cubicBezTo>
                    <a:pt x="172" y="551"/>
                    <a:pt x="178" y="546"/>
                    <a:pt x="174" y="541"/>
                  </a:cubicBezTo>
                  <a:cubicBezTo>
                    <a:pt x="45" y="383"/>
                    <a:pt x="74" y="184"/>
                    <a:pt x="123" y="1"/>
                  </a:cubicBezTo>
                  <a:cubicBezTo>
                    <a:pt x="123" y="0"/>
                    <a:pt x="122" y="0"/>
                    <a:pt x="12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2" name="Freeform 196">
              <a:extLst>
                <a:ext uri="{FF2B5EF4-FFF2-40B4-BE49-F238E27FC236}">
                  <a16:creationId xmlns:a16="http://schemas.microsoft.com/office/drawing/2014/main" id="{FDACC180-43DF-41B9-A806-ECF0108CAD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74" y="2"/>
              <a:ext cx="227" cy="722"/>
            </a:xfrm>
            <a:custGeom>
              <a:avLst/>
              <a:gdLst>
                <a:gd name="T0" fmla="*/ 108 w 152"/>
                <a:gd name="T1" fmla="*/ 241 h 485"/>
                <a:gd name="T2" fmla="*/ 68 w 152"/>
                <a:gd name="T3" fmla="*/ 365 h 485"/>
                <a:gd name="T4" fmla="*/ 3 w 152"/>
                <a:gd name="T5" fmla="*/ 471 h 485"/>
                <a:gd name="T6" fmla="*/ 14 w 152"/>
                <a:gd name="T7" fmla="*/ 482 h 485"/>
                <a:gd name="T8" fmla="*/ 137 w 152"/>
                <a:gd name="T9" fmla="*/ 258 h 485"/>
                <a:gd name="T10" fmla="*/ 130 w 152"/>
                <a:gd name="T11" fmla="*/ 0 h 485"/>
                <a:gd name="T12" fmla="*/ 119 w 152"/>
                <a:gd name="T13" fmla="*/ 0 h 485"/>
                <a:gd name="T14" fmla="*/ 108 w 152"/>
                <a:gd name="T15" fmla="*/ 241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2" h="485">
                  <a:moveTo>
                    <a:pt x="108" y="241"/>
                  </a:moveTo>
                  <a:cubicBezTo>
                    <a:pt x="100" y="284"/>
                    <a:pt x="88" y="326"/>
                    <a:pt x="68" y="365"/>
                  </a:cubicBezTo>
                  <a:cubicBezTo>
                    <a:pt x="50" y="402"/>
                    <a:pt x="22" y="434"/>
                    <a:pt x="3" y="471"/>
                  </a:cubicBezTo>
                  <a:cubicBezTo>
                    <a:pt x="0" y="478"/>
                    <a:pt x="7" y="485"/>
                    <a:pt x="14" y="482"/>
                  </a:cubicBezTo>
                  <a:cubicBezTo>
                    <a:pt x="89" y="444"/>
                    <a:pt x="124" y="334"/>
                    <a:pt x="137" y="258"/>
                  </a:cubicBezTo>
                  <a:cubicBezTo>
                    <a:pt x="152" y="173"/>
                    <a:pt x="145" y="85"/>
                    <a:pt x="130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2" y="81"/>
                    <a:pt x="123" y="161"/>
                    <a:pt x="108" y="2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3" name="Freeform 197">
              <a:extLst>
                <a:ext uri="{FF2B5EF4-FFF2-40B4-BE49-F238E27FC236}">
                  <a16:creationId xmlns:a16="http://schemas.microsoft.com/office/drawing/2014/main" id="{793DD24C-D90B-4C84-B74B-9A2D60006B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58" y="2"/>
              <a:ext cx="188" cy="722"/>
            </a:xfrm>
            <a:custGeom>
              <a:avLst/>
              <a:gdLst>
                <a:gd name="T0" fmla="*/ 119 w 126"/>
                <a:gd name="T1" fmla="*/ 473 h 485"/>
                <a:gd name="T2" fmla="*/ 59 w 126"/>
                <a:gd name="T3" fmla="*/ 175 h 485"/>
                <a:gd name="T4" fmla="*/ 126 w 126"/>
                <a:gd name="T5" fmla="*/ 0 h 485"/>
                <a:gd name="T6" fmla="*/ 97 w 126"/>
                <a:gd name="T7" fmla="*/ 0 h 485"/>
                <a:gd name="T8" fmla="*/ 15 w 126"/>
                <a:gd name="T9" fmla="*/ 189 h 485"/>
                <a:gd name="T10" fmla="*/ 111 w 126"/>
                <a:gd name="T11" fmla="*/ 481 h 485"/>
                <a:gd name="T12" fmla="*/ 119 w 126"/>
                <a:gd name="T13" fmla="*/ 473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485">
                  <a:moveTo>
                    <a:pt x="119" y="473"/>
                  </a:moveTo>
                  <a:cubicBezTo>
                    <a:pt x="71" y="378"/>
                    <a:pt x="36" y="284"/>
                    <a:pt x="59" y="175"/>
                  </a:cubicBezTo>
                  <a:cubicBezTo>
                    <a:pt x="71" y="117"/>
                    <a:pt x="95" y="55"/>
                    <a:pt x="12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55" y="55"/>
                    <a:pt x="26" y="120"/>
                    <a:pt x="15" y="189"/>
                  </a:cubicBezTo>
                  <a:cubicBezTo>
                    <a:pt x="0" y="291"/>
                    <a:pt x="21" y="418"/>
                    <a:pt x="111" y="481"/>
                  </a:cubicBezTo>
                  <a:cubicBezTo>
                    <a:pt x="116" y="485"/>
                    <a:pt x="121" y="478"/>
                    <a:pt x="119" y="47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4" name="Freeform 198">
              <a:extLst>
                <a:ext uri="{FF2B5EF4-FFF2-40B4-BE49-F238E27FC236}">
                  <a16:creationId xmlns:a16="http://schemas.microsoft.com/office/drawing/2014/main" id="{BB2A00D8-5848-4AD4-83E4-086F1F60F3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6" y="2"/>
              <a:ext cx="266" cy="644"/>
            </a:xfrm>
            <a:custGeom>
              <a:avLst/>
              <a:gdLst>
                <a:gd name="T0" fmla="*/ 63 w 178"/>
                <a:gd name="T1" fmla="*/ 425 h 433"/>
                <a:gd name="T2" fmla="*/ 80 w 178"/>
                <a:gd name="T3" fmla="*/ 420 h 433"/>
                <a:gd name="T4" fmla="*/ 106 w 178"/>
                <a:gd name="T5" fmla="*/ 149 h 433"/>
                <a:gd name="T6" fmla="*/ 178 w 178"/>
                <a:gd name="T7" fmla="*/ 0 h 433"/>
                <a:gd name="T8" fmla="*/ 162 w 178"/>
                <a:gd name="T9" fmla="*/ 0 h 433"/>
                <a:gd name="T10" fmla="*/ 63 w 178"/>
                <a:gd name="T11" fmla="*/ 425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433">
                  <a:moveTo>
                    <a:pt x="63" y="425"/>
                  </a:moveTo>
                  <a:cubicBezTo>
                    <a:pt x="67" y="433"/>
                    <a:pt x="81" y="429"/>
                    <a:pt x="80" y="420"/>
                  </a:cubicBezTo>
                  <a:cubicBezTo>
                    <a:pt x="72" y="326"/>
                    <a:pt x="73" y="239"/>
                    <a:pt x="106" y="149"/>
                  </a:cubicBezTo>
                  <a:cubicBezTo>
                    <a:pt x="125" y="96"/>
                    <a:pt x="150" y="47"/>
                    <a:pt x="178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70" y="122"/>
                    <a:pt x="0" y="277"/>
                    <a:pt x="63" y="4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5" name="Freeform 199">
              <a:extLst>
                <a:ext uri="{FF2B5EF4-FFF2-40B4-BE49-F238E27FC236}">
                  <a16:creationId xmlns:a16="http://schemas.microsoft.com/office/drawing/2014/main" id="{01EA1F6A-970F-4CEF-AFA8-F8F0A5C37A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60" y="2"/>
              <a:ext cx="1212" cy="889"/>
            </a:xfrm>
            <a:custGeom>
              <a:avLst/>
              <a:gdLst>
                <a:gd name="T0" fmla="*/ 31 w 813"/>
                <a:gd name="T1" fmla="*/ 0 h 597"/>
                <a:gd name="T2" fmla="*/ 219 w 813"/>
                <a:gd name="T3" fmla="*/ 454 h 597"/>
                <a:gd name="T4" fmla="*/ 812 w 813"/>
                <a:gd name="T5" fmla="*/ 383 h 597"/>
                <a:gd name="T6" fmla="*/ 809 w 813"/>
                <a:gd name="T7" fmla="*/ 382 h 597"/>
                <a:gd name="T8" fmla="*/ 239 w 813"/>
                <a:gd name="T9" fmla="*/ 420 h 597"/>
                <a:gd name="T10" fmla="*/ 50 w 813"/>
                <a:gd name="T11" fmla="*/ 0 h 597"/>
                <a:gd name="T12" fmla="*/ 31 w 813"/>
                <a:gd name="T13" fmla="*/ 0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3" h="597">
                  <a:moveTo>
                    <a:pt x="31" y="0"/>
                  </a:moveTo>
                  <a:cubicBezTo>
                    <a:pt x="0" y="169"/>
                    <a:pt x="71" y="351"/>
                    <a:pt x="219" y="454"/>
                  </a:cubicBezTo>
                  <a:cubicBezTo>
                    <a:pt x="395" y="576"/>
                    <a:pt x="698" y="597"/>
                    <a:pt x="812" y="383"/>
                  </a:cubicBezTo>
                  <a:cubicBezTo>
                    <a:pt x="813" y="381"/>
                    <a:pt x="810" y="380"/>
                    <a:pt x="809" y="382"/>
                  </a:cubicBezTo>
                  <a:cubicBezTo>
                    <a:pt x="690" y="569"/>
                    <a:pt x="395" y="529"/>
                    <a:pt x="239" y="420"/>
                  </a:cubicBezTo>
                  <a:cubicBezTo>
                    <a:pt x="102" y="324"/>
                    <a:pt x="31" y="159"/>
                    <a:pt x="50" y="0"/>
                  </a:cubicBez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6" name="Freeform 200">
              <a:extLst>
                <a:ext uri="{FF2B5EF4-FFF2-40B4-BE49-F238E27FC236}">
                  <a16:creationId xmlns:a16="http://schemas.microsoft.com/office/drawing/2014/main" id="{D28D5EB6-0F63-4BDF-A7BE-51602E2064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0" y="2"/>
              <a:ext cx="270" cy="482"/>
            </a:xfrm>
            <a:custGeom>
              <a:avLst/>
              <a:gdLst>
                <a:gd name="T0" fmla="*/ 25 w 181"/>
                <a:gd name="T1" fmla="*/ 0 h 324"/>
                <a:gd name="T2" fmla="*/ 171 w 181"/>
                <a:gd name="T3" fmla="*/ 321 h 324"/>
                <a:gd name="T4" fmla="*/ 177 w 181"/>
                <a:gd name="T5" fmla="*/ 314 h 324"/>
                <a:gd name="T6" fmla="*/ 45 w 181"/>
                <a:gd name="T7" fmla="*/ 0 h 324"/>
                <a:gd name="T8" fmla="*/ 25 w 181"/>
                <a:gd name="T9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324">
                  <a:moveTo>
                    <a:pt x="25" y="0"/>
                  </a:moveTo>
                  <a:cubicBezTo>
                    <a:pt x="0" y="124"/>
                    <a:pt x="46" y="256"/>
                    <a:pt x="171" y="321"/>
                  </a:cubicBezTo>
                  <a:cubicBezTo>
                    <a:pt x="176" y="324"/>
                    <a:pt x="181" y="318"/>
                    <a:pt x="177" y="314"/>
                  </a:cubicBezTo>
                  <a:cubicBezTo>
                    <a:pt x="86" y="232"/>
                    <a:pt x="35" y="115"/>
                    <a:pt x="45" y="0"/>
                  </a:cubicBez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7" name="Freeform 201">
              <a:extLst>
                <a:ext uri="{FF2B5EF4-FFF2-40B4-BE49-F238E27FC236}">
                  <a16:creationId xmlns:a16="http://schemas.microsoft.com/office/drawing/2014/main" id="{EC017CBA-0EE9-4697-95A3-C60E2B0F60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8" y="2"/>
              <a:ext cx="57" cy="52"/>
            </a:xfrm>
            <a:custGeom>
              <a:avLst/>
              <a:gdLst>
                <a:gd name="T0" fmla="*/ 36 w 38"/>
                <a:gd name="T1" fmla="*/ 34 h 35"/>
                <a:gd name="T2" fmla="*/ 37 w 38"/>
                <a:gd name="T3" fmla="*/ 33 h 35"/>
                <a:gd name="T4" fmla="*/ 11 w 38"/>
                <a:gd name="T5" fmla="*/ 4 h 35"/>
                <a:gd name="T6" fmla="*/ 9 w 38"/>
                <a:gd name="T7" fmla="*/ 0 h 35"/>
                <a:gd name="T8" fmla="*/ 0 w 38"/>
                <a:gd name="T9" fmla="*/ 0 h 35"/>
                <a:gd name="T10" fmla="*/ 36 w 38"/>
                <a:gd name="T11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35">
                  <a:moveTo>
                    <a:pt x="36" y="34"/>
                  </a:moveTo>
                  <a:cubicBezTo>
                    <a:pt x="37" y="35"/>
                    <a:pt x="38" y="33"/>
                    <a:pt x="37" y="33"/>
                  </a:cubicBezTo>
                  <a:cubicBezTo>
                    <a:pt x="28" y="23"/>
                    <a:pt x="20" y="14"/>
                    <a:pt x="11" y="4"/>
                  </a:cubicBezTo>
                  <a:cubicBezTo>
                    <a:pt x="11" y="2"/>
                    <a:pt x="10" y="1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13"/>
                    <a:pt x="23" y="25"/>
                    <a:pt x="36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8" name="Freeform 202">
              <a:extLst>
                <a:ext uri="{FF2B5EF4-FFF2-40B4-BE49-F238E27FC236}">
                  <a16:creationId xmlns:a16="http://schemas.microsoft.com/office/drawing/2014/main" id="{1CB0585B-62F3-450F-B1CD-1796CBB757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61" y="2"/>
              <a:ext cx="121" cy="59"/>
            </a:xfrm>
            <a:custGeom>
              <a:avLst/>
              <a:gdLst>
                <a:gd name="T0" fmla="*/ 3 w 81"/>
                <a:gd name="T1" fmla="*/ 31 h 40"/>
                <a:gd name="T2" fmla="*/ 4 w 81"/>
                <a:gd name="T3" fmla="*/ 36 h 40"/>
                <a:gd name="T4" fmla="*/ 81 w 81"/>
                <a:gd name="T5" fmla="*/ 0 h 40"/>
                <a:gd name="T6" fmla="*/ 75 w 81"/>
                <a:gd name="T7" fmla="*/ 0 h 40"/>
                <a:gd name="T8" fmla="*/ 3 w 81"/>
                <a:gd name="T9" fmla="*/ 3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40">
                  <a:moveTo>
                    <a:pt x="3" y="31"/>
                  </a:moveTo>
                  <a:cubicBezTo>
                    <a:pt x="0" y="32"/>
                    <a:pt x="1" y="36"/>
                    <a:pt x="4" y="36"/>
                  </a:cubicBezTo>
                  <a:cubicBezTo>
                    <a:pt x="33" y="40"/>
                    <a:pt x="62" y="23"/>
                    <a:pt x="81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56" y="17"/>
                    <a:pt x="31" y="25"/>
                    <a:pt x="3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29" name="Freeform 203">
              <a:extLst>
                <a:ext uri="{FF2B5EF4-FFF2-40B4-BE49-F238E27FC236}">
                  <a16:creationId xmlns:a16="http://schemas.microsoft.com/office/drawing/2014/main" id="{3B2F9F22-22F8-4CF0-8C55-C071ACAB92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9" y="2"/>
              <a:ext cx="565" cy="274"/>
            </a:xfrm>
            <a:custGeom>
              <a:avLst/>
              <a:gdLst>
                <a:gd name="T0" fmla="*/ 113 w 379"/>
                <a:gd name="T1" fmla="*/ 137 h 184"/>
                <a:gd name="T2" fmla="*/ 377 w 379"/>
                <a:gd name="T3" fmla="*/ 77 h 184"/>
                <a:gd name="T4" fmla="*/ 374 w 379"/>
                <a:gd name="T5" fmla="*/ 74 h 184"/>
                <a:gd name="T6" fmla="*/ 126 w 379"/>
                <a:gd name="T7" fmla="*/ 101 h 184"/>
                <a:gd name="T8" fmla="*/ 34 w 379"/>
                <a:gd name="T9" fmla="*/ 0 h 184"/>
                <a:gd name="T10" fmla="*/ 0 w 379"/>
                <a:gd name="T11" fmla="*/ 0 h 184"/>
                <a:gd name="T12" fmla="*/ 113 w 379"/>
                <a:gd name="T13" fmla="*/ 13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9" h="184">
                  <a:moveTo>
                    <a:pt x="113" y="137"/>
                  </a:moveTo>
                  <a:cubicBezTo>
                    <a:pt x="206" y="184"/>
                    <a:pt x="311" y="153"/>
                    <a:pt x="377" y="77"/>
                  </a:cubicBezTo>
                  <a:cubicBezTo>
                    <a:pt x="379" y="75"/>
                    <a:pt x="376" y="73"/>
                    <a:pt x="374" y="74"/>
                  </a:cubicBezTo>
                  <a:cubicBezTo>
                    <a:pt x="308" y="130"/>
                    <a:pt x="203" y="143"/>
                    <a:pt x="126" y="101"/>
                  </a:cubicBezTo>
                  <a:cubicBezTo>
                    <a:pt x="84" y="78"/>
                    <a:pt x="53" y="42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58"/>
                    <a:pt x="57" y="110"/>
                    <a:pt x="113" y="1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30" name="Freeform 204">
              <a:extLst>
                <a:ext uri="{FF2B5EF4-FFF2-40B4-BE49-F238E27FC236}">
                  <a16:creationId xmlns:a16="http://schemas.microsoft.com/office/drawing/2014/main" id="{EE12CE54-654D-4027-8504-E7779D001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3" y="2"/>
              <a:ext cx="64" cy="208"/>
            </a:xfrm>
            <a:custGeom>
              <a:avLst/>
              <a:gdLst>
                <a:gd name="T0" fmla="*/ 0 w 43"/>
                <a:gd name="T1" fmla="*/ 0 h 140"/>
                <a:gd name="T2" fmla="*/ 41 w 43"/>
                <a:gd name="T3" fmla="*/ 139 h 140"/>
                <a:gd name="T4" fmla="*/ 42 w 43"/>
                <a:gd name="T5" fmla="*/ 138 h 140"/>
                <a:gd name="T6" fmla="*/ 22 w 43"/>
                <a:gd name="T7" fmla="*/ 18 h 140"/>
                <a:gd name="T8" fmla="*/ 23 w 43"/>
                <a:gd name="T9" fmla="*/ 0 h 140"/>
                <a:gd name="T10" fmla="*/ 0 w 43"/>
                <a:gd name="T11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140">
                  <a:moveTo>
                    <a:pt x="0" y="0"/>
                  </a:moveTo>
                  <a:cubicBezTo>
                    <a:pt x="0" y="50"/>
                    <a:pt x="15" y="102"/>
                    <a:pt x="41" y="139"/>
                  </a:cubicBezTo>
                  <a:cubicBezTo>
                    <a:pt x="41" y="140"/>
                    <a:pt x="43" y="139"/>
                    <a:pt x="42" y="138"/>
                  </a:cubicBezTo>
                  <a:cubicBezTo>
                    <a:pt x="30" y="99"/>
                    <a:pt x="21" y="59"/>
                    <a:pt x="22" y="18"/>
                  </a:cubicBezTo>
                  <a:cubicBezTo>
                    <a:pt x="22" y="12"/>
                    <a:pt x="22" y="6"/>
                    <a:pt x="23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6" name="Freeform 206">
            <a:extLst>
              <a:ext uri="{FF2B5EF4-FFF2-40B4-BE49-F238E27FC236}">
                <a16:creationId xmlns:a16="http://schemas.microsoft.com/office/drawing/2014/main" id="{D5C216BB-679E-40B0-B06D-38B819D6BA4F}"/>
              </a:ext>
            </a:extLst>
          </p:cNvPr>
          <p:cNvSpPr>
            <a:spLocks/>
          </p:cNvSpPr>
          <p:nvPr userDrawn="1"/>
        </p:nvSpPr>
        <p:spPr bwMode="auto">
          <a:xfrm>
            <a:off x="5556736" y="61872"/>
            <a:ext cx="209988" cy="247478"/>
          </a:xfrm>
          <a:custGeom>
            <a:avLst/>
            <a:gdLst>
              <a:gd name="T0" fmla="*/ 89 w 89"/>
              <a:gd name="T1" fmla="*/ 0 h 105"/>
              <a:gd name="T2" fmla="*/ 53 w 89"/>
              <a:gd name="T3" fmla="*/ 59 h 105"/>
              <a:gd name="T4" fmla="*/ 2 w 89"/>
              <a:gd name="T5" fmla="*/ 97 h 105"/>
              <a:gd name="T6" fmla="*/ 6 w 89"/>
              <a:gd name="T7" fmla="*/ 104 h 105"/>
              <a:gd name="T8" fmla="*/ 89 w 89"/>
              <a:gd name="T9" fmla="*/ 0 h 105"/>
              <a:gd name="T10" fmla="*/ 89 w 89"/>
              <a:gd name="T11" fmla="*/ 0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9" h="105">
                <a:moveTo>
                  <a:pt x="89" y="0"/>
                </a:moveTo>
                <a:cubicBezTo>
                  <a:pt x="84" y="24"/>
                  <a:pt x="71" y="44"/>
                  <a:pt x="53" y="59"/>
                </a:cubicBezTo>
                <a:cubicBezTo>
                  <a:pt x="37" y="73"/>
                  <a:pt x="17" y="83"/>
                  <a:pt x="2" y="97"/>
                </a:cubicBezTo>
                <a:cubicBezTo>
                  <a:pt x="0" y="100"/>
                  <a:pt x="2" y="105"/>
                  <a:pt x="6" y="104"/>
                </a:cubicBezTo>
                <a:cubicBezTo>
                  <a:pt x="46" y="89"/>
                  <a:pt x="85" y="43"/>
                  <a:pt x="89" y="0"/>
                </a:cubicBezTo>
                <a:cubicBezTo>
                  <a:pt x="89" y="0"/>
                  <a:pt x="89" y="0"/>
                  <a:pt x="89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207">
            <a:extLst>
              <a:ext uri="{FF2B5EF4-FFF2-40B4-BE49-F238E27FC236}">
                <a16:creationId xmlns:a16="http://schemas.microsoft.com/office/drawing/2014/main" id="{35A5B6CB-FB59-4C28-AF4C-5DD81CB2B30D}"/>
              </a:ext>
            </a:extLst>
          </p:cNvPr>
          <p:cNvSpPr>
            <a:spLocks/>
          </p:cNvSpPr>
          <p:nvPr userDrawn="1"/>
        </p:nvSpPr>
        <p:spPr bwMode="auto">
          <a:xfrm>
            <a:off x="7919103" y="1037506"/>
            <a:ext cx="1191525" cy="482265"/>
          </a:xfrm>
          <a:custGeom>
            <a:avLst/>
            <a:gdLst>
              <a:gd name="T0" fmla="*/ 500 w 503"/>
              <a:gd name="T1" fmla="*/ 174 h 204"/>
              <a:gd name="T2" fmla="*/ 498 w 503"/>
              <a:gd name="T3" fmla="*/ 169 h 204"/>
              <a:gd name="T4" fmla="*/ 1 w 503"/>
              <a:gd name="T5" fmla="*/ 1 h 204"/>
              <a:gd name="T6" fmla="*/ 0 w 503"/>
              <a:gd name="T7" fmla="*/ 1 h 204"/>
              <a:gd name="T8" fmla="*/ 214 w 503"/>
              <a:gd name="T9" fmla="*/ 169 h 204"/>
              <a:gd name="T10" fmla="*/ 500 w 503"/>
              <a:gd name="T11" fmla="*/ 174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03" h="204">
                <a:moveTo>
                  <a:pt x="500" y="174"/>
                </a:moveTo>
                <a:cubicBezTo>
                  <a:pt x="503" y="173"/>
                  <a:pt x="502" y="168"/>
                  <a:pt x="498" y="169"/>
                </a:cubicBezTo>
                <a:cubicBezTo>
                  <a:pt x="327" y="199"/>
                  <a:pt x="117" y="134"/>
                  <a:pt x="1" y="1"/>
                </a:cubicBezTo>
                <a:cubicBezTo>
                  <a:pt x="0" y="0"/>
                  <a:pt x="0" y="1"/>
                  <a:pt x="0" y="1"/>
                </a:cubicBezTo>
                <a:cubicBezTo>
                  <a:pt x="58" y="78"/>
                  <a:pt x="123" y="136"/>
                  <a:pt x="214" y="169"/>
                </a:cubicBezTo>
                <a:cubicBezTo>
                  <a:pt x="310" y="204"/>
                  <a:pt x="403" y="203"/>
                  <a:pt x="500" y="17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208">
            <a:extLst>
              <a:ext uri="{FF2B5EF4-FFF2-40B4-BE49-F238E27FC236}">
                <a16:creationId xmlns:a16="http://schemas.microsoft.com/office/drawing/2014/main" id="{BA0E3803-36E1-4EEE-8100-73C027AF67E6}"/>
              </a:ext>
            </a:extLst>
          </p:cNvPr>
          <p:cNvSpPr>
            <a:spLocks/>
          </p:cNvSpPr>
          <p:nvPr userDrawn="1"/>
        </p:nvSpPr>
        <p:spPr bwMode="auto">
          <a:xfrm>
            <a:off x="4401800" y="701190"/>
            <a:ext cx="1034033" cy="314107"/>
          </a:xfrm>
          <a:custGeom>
            <a:avLst/>
            <a:gdLst>
              <a:gd name="T0" fmla="*/ 435 w 436"/>
              <a:gd name="T1" fmla="*/ 65 h 133"/>
              <a:gd name="T2" fmla="*/ 433 w 436"/>
              <a:gd name="T3" fmla="*/ 62 h 133"/>
              <a:gd name="T4" fmla="*/ 194 w 436"/>
              <a:gd name="T5" fmla="*/ 81 h 133"/>
              <a:gd name="T6" fmla="*/ 90 w 436"/>
              <a:gd name="T7" fmla="*/ 45 h 133"/>
              <a:gd name="T8" fmla="*/ 7 w 436"/>
              <a:gd name="T9" fmla="*/ 1 h 133"/>
              <a:gd name="T10" fmla="*/ 1 w 436"/>
              <a:gd name="T11" fmla="*/ 7 h 133"/>
              <a:gd name="T12" fmla="*/ 198 w 436"/>
              <a:gd name="T13" fmla="*/ 120 h 133"/>
              <a:gd name="T14" fmla="*/ 435 w 436"/>
              <a:gd name="T15" fmla="*/ 65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6" h="133">
                <a:moveTo>
                  <a:pt x="435" y="65"/>
                </a:moveTo>
                <a:cubicBezTo>
                  <a:pt x="436" y="64"/>
                  <a:pt x="435" y="62"/>
                  <a:pt x="433" y="62"/>
                </a:cubicBezTo>
                <a:cubicBezTo>
                  <a:pt x="362" y="96"/>
                  <a:pt x="270" y="96"/>
                  <a:pt x="194" y="81"/>
                </a:cubicBezTo>
                <a:cubicBezTo>
                  <a:pt x="158" y="74"/>
                  <a:pt x="123" y="62"/>
                  <a:pt x="90" y="45"/>
                </a:cubicBezTo>
                <a:cubicBezTo>
                  <a:pt x="63" y="31"/>
                  <a:pt x="36" y="7"/>
                  <a:pt x="7" y="1"/>
                </a:cubicBezTo>
                <a:cubicBezTo>
                  <a:pt x="3" y="0"/>
                  <a:pt x="0" y="3"/>
                  <a:pt x="1" y="7"/>
                </a:cubicBezTo>
                <a:cubicBezTo>
                  <a:pt x="19" y="77"/>
                  <a:pt x="137" y="111"/>
                  <a:pt x="198" y="120"/>
                </a:cubicBezTo>
                <a:cubicBezTo>
                  <a:pt x="286" y="133"/>
                  <a:pt x="360" y="108"/>
                  <a:pt x="435" y="65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209">
            <a:extLst>
              <a:ext uri="{FF2B5EF4-FFF2-40B4-BE49-F238E27FC236}">
                <a16:creationId xmlns:a16="http://schemas.microsoft.com/office/drawing/2014/main" id="{0C73FB42-F5AA-4453-AD6A-BDC5E107FE91}"/>
              </a:ext>
            </a:extLst>
          </p:cNvPr>
          <p:cNvSpPr>
            <a:spLocks/>
          </p:cNvSpPr>
          <p:nvPr userDrawn="1"/>
        </p:nvSpPr>
        <p:spPr bwMode="auto">
          <a:xfrm>
            <a:off x="9031087" y="3175"/>
            <a:ext cx="426340" cy="252238"/>
          </a:xfrm>
          <a:custGeom>
            <a:avLst/>
            <a:gdLst>
              <a:gd name="T0" fmla="*/ 7 w 180"/>
              <a:gd name="T1" fmla="*/ 53 h 107"/>
              <a:gd name="T2" fmla="*/ 4 w 180"/>
              <a:gd name="T3" fmla="*/ 60 h 107"/>
              <a:gd name="T4" fmla="*/ 180 w 180"/>
              <a:gd name="T5" fmla="*/ 0 h 107"/>
              <a:gd name="T6" fmla="*/ 174 w 180"/>
              <a:gd name="T7" fmla="*/ 0 h 107"/>
              <a:gd name="T8" fmla="*/ 7 w 180"/>
              <a:gd name="T9" fmla="*/ 53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0" h="107">
                <a:moveTo>
                  <a:pt x="7" y="53"/>
                </a:moveTo>
                <a:cubicBezTo>
                  <a:pt x="2" y="51"/>
                  <a:pt x="0" y="58"/>
                  <a:pt x="4" y="60"/>
                </a:cubicBezTo>
                <a:cubicBezTo>
                  <a:pt x="72" y="107"/>
                  <a:pt x="152" y="69"/>
                  <a:pt x="180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144" y="59"/>
                  <a:pt x="71" y="78"/>
                  <a:pt x="7" y="5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" name="Freeform 210">
            <a:extLst>
              <a:ext uri="{FF2B5EF4-FFF2-40B4-BE49-F238E27FC236}">
                <a16:creationId xmlns:a16="http://schemas.microsoft.com/office/drawing/2014/main" id="{F8BB8927-5040-4679-B133-1E960C5EB630}"/>
              </a:ext>
            </a:extLst>
          </p:cNvPr>
          <p:cNvSpPr>
            <a:spLocks/>
          </p:cNvSpPr>
          <p:nvPr userDrawn="1"/>
        </p:nvSpPr>
        <p:spPr bwMode="auto">
          <a:xfrm>
            <a:off x="4217265" y="3175"/>
            <a:ext cx="852680" cy="821754"/>
          </a:xfrm>
          <a:custGeom>
            <a:avLst/>
            <a:gdLst>
              <a:gd name="T0" fmla="*/ 83 w 360"/>
              <a:gd name="T1" fmla="*/ 232 h 348"/>
              <a:gd name="T2" fmla="*/ 356 w 360"/>
              <a:gd name="T3" fmla="*/ 348 h 348"/>
              <a:gd name="T4" fmla="*/ 356 w 360"/>
              <a:gd name="T5" fmla="*/ 343 h 348"/>
              <a:gd name="T6" fmla="*/ 13 w 360"/>
              <a:gd name="T7" fmla="*/ 0 h 348"/>
              <a:gd name="T8" fmla="*/ 2 w 360"/>
              <a:gd name="T9" fmla="*/ 0 h 348"/>
              <a:gd name="T10" fmla="*/ 83 w 360"/>
              <a:gd name="T11" fmla="*/ 232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60" h="348">
                <a:moveTo>
                  <a:pt x="83" y="232"/>
                </a:moveTo>
                <a:cubicBezTo>
                  <a:pt x="152" y="312"/>
                  <a:pt x="253" y="348"/>
                  <a:pt x="356" y="348"/>
                </a:cubicBezTo>
                <a:cubicBezTo>
                  <a:pt x="360" y="348"/>
                  <a:pt x="359" y="343"/>
                  <a:pt x="356" y="343"/>
                </a:cubicBezTo>
                <a:cubicBezTo>
                  <a:pt x="171" y="326"/>
                  <a:pt x="35" y="177"/>
                  <a:pt x="13" y="0"/>
                </a:cubicBezTo>
                <a:cubicBezTo>
                  <a:pt x="2" y="0"/>
                  <a:pt x="2" y="0"/>
                  <a:pt x="2" y="0"/>
                </a:cubicBezTo>
                <a:cubicBezTo>
                  <a:pt x="0" y="84"/>
                  <a:pt x="29" y="169"/>
                  <a:pt x="83" y="23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Freeform 211">
            <a:extLst>
              <a:ext uri="{FF2B5EF4-FFF2-40B4-BE49-F238E27FC236}">
                <a16:creationId xmlns:a16="http://schemas.microsoft.com/office/drawing/2014/main" id="{25278DEA-76F1-4387-B10A-8763E63F83E8}"/>
              </a:ext>
            </a:extLst>
          </p:cNvPr>
          <p:cNvSpPr>
            <a:spLocks/>
          </p:cNvSpPr>
          <p:nvPr userDrawn="1"/>
        </p:nvSpPr>
        <p:spPr bwMode="auto">
          <a:xfrm>
            <a:off x="4352484" y="3175"/>
            <a:ext cx="450203" cy="582208"/>
          </a:xfrm>
          <a:custGeom>
            <a:avLst/>
            <a:gdLst>
              <a:gd name="T0" fmla="*/ 189 w 190"/>
              <a:gd name="T1" fmla="*/ 247 h 247"/>
              <a:gd name="T2" fmla="*/ 189 w 190"/>
              <a:gd name="T3" fmla="*/ 246 h 247"/>
              <a:gd name="T4" fmla="*/ 33 w 190"/>
              <a:gd name="T5" fmla="*/ 0 h 247"/>
              <a:gd name="T6" fmla="*/ 0 w 190"/>
              <a:gd name="T7" fmla="*/ 0 h 247"/>
              <a:gd name="T8" fmla="*/ 189 w 190"/>
              <a:gd name="T9" fmla="*/ 247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0" h="247">
                <a:moveTo>
                  <a:pt x="189" y="247"/>
                </a:moveTo>
                <a:cubicBezTo>
                  <a:pt x="190" y="247"/>
                  <a:pt x="190" y="246"/>
                  <a:pt x="189" y="246"/>
                </a:cubicBezTo>
                <a:cubicBezTo>
                  <a:pt x="77" y="208"/>
                  <a:pt x="46" y="105"/>
                  <a:pt x="33" y="0"/>
                </a:cubicBezTo>
                <a:cubicBezTo>
                  <a:pt x="0" y="0"/>
                  <a:pt x="0" y="0"/>
                  <a:pt x="0" y="0"/>
                </a:cubicBezTo>
                <a:cubicBezTo>
                  <a:pt x="8" y="114"/>
                  <a:pt x="67" y="220"/>
                  <a:pt x="189" y="24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" name="Freeform 212">
            <a:extLst>
              <a:ext uri="{FF2B5EF4-FFF2-40B4-BE49-F238E27FC236}">
                <a16:creationId xmlns:a16="http://schemas.microsoft.com/office/drawing/2014/main" id="{B0D62D0E-1DF8-47FD-843E-EA0BD060FCF0}"/>
              </a:ext>
            </a:extLst>
          </p:cNvPr>
          <p:cNvSpPr>
            <a:spLocks/>
          </p:cNvSpPr>
          <p:nvPr userDrawn="1"/>
        </p:nvSpPr>
        <p:spPr bwMode="auto">
          <a:xfrm>
            <a:off x="4500431" y="3175"/>
            <a:ext cx="984718" cy="493370"/>
          </a:xfrm>
          <a:custGeom>
            <a:avLst/>
            <a:gdLst>
              <a:gd name="T0" fmla="*/ 134 w 415"/>
              <a:gd name="T1" fmla="*/ 172 h 209"/>
              <a:gd name="T2" fmla="*/ 411 w 415"/>
              <a:gd name="T3" fmla="*/ 163 h 209"/>
              <a:gd name="T4" fmla="*/ 409 w 415"/>
              <a:gd name="T5" fmla="*/ 154 h 209"/>
              <a:gd name="T6" fmla="*/ 163 w 415"/>
              <a:gd name="T7" fmla="*/ 163 h 209"/>
              <a:gd name="T8" fmla="*/ 8 w 415"/>
              <a:gd name="T9" fmla="*/ 0 h 209"/>
              <a:gd name="T10" fmla="*/ 0 w 415"/>
              <a:gd name="T11" fmla="*/ 0 h 209"/>
              <a:gd name="T12" fmla="*/ 134 w 415"/>
              <a:gd name="T13" fmla="*/ 172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5" h="209">
                <a:moveTo>
                  <a:pt x="134" y="172"/>
                </a:moveTo>
                <a:cubicBezTo>
                  <a:pt x="215" y="209"/>
                  <a:pt x="333" y="208"/>
                  <a:pt x="411" y="163"/>
                </a:cubicBezTo>
                <a:cubicBezTo>
                  <a:pt x="415" y="161"/>
                  <a:pt x="414" y="154"/>
                  <a:pt x="409" y="154"/>
                </a:cubicBezTo>
                <a:cubicBezTo>
                  <a:pt x="324" y="164"/>
                  <a:pt x="249" y="191"/>
                  <a:pt x="163" y="163"/>
                </a:cubicBezTo>
                <a:cubicBezTo>
                  <a:pt x="83" y="136"/>
                  <a:pt x="36" y="74"/>
                  <a:pt x="8" y="0"/>
                </a:cubicBezTo>
                <a:cubicBezTo>
                  <a:pt x="0" y="0"/>
                  <a:pt x="0" y="0"/>
                  <a:pt x="0" y="0"/>
                </a:cubicBezTo>
                <a:cubicBezTo>
                  <a:pt x="18" y="75"/>
                  <a:pt x="59" y="138"/>
                  <a:pt x="134" y="17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" name="Freeform 213">
            <a:extLst>
              <a:ext uri="{FF2B5EF4-FFF2-40B4-BE49-F238E27FC236}">
                <a16:creationId xmlns:a16="http://schemas.microsoft.com/office/drawing/2014/main" id="{98B3F907-7707-45DD-899C-694E4DC1EAFD}"/>
              </a:ext>
            </a:extLst>
          </p:cNvPr>
          <p:cNvSpPr>
            <a:spLocks/>
          </p:cNvSpPr>
          <p:nvPr userDrawn="1"/>
        </p:nvSpPr>
        <p:spPr bwMode="auto">
          <a:xfrm>
            <a:off x="3825923" y="3175"/>
            <a:ext cx="1638545" cy="1338920"/>
          </a:xfrm>
          <a:custGeom>
            <a:avLst/>
            <a:gdLst>
              <a:gd name="T0" fmla="*/ 111 w 691"/>
              <a:gd name="T1" fmla="*/ 372 h 567"/>
              <a:gd name="T2" fmla="*/ 361 w 691"/>
              <a:gd name="T3" fmla="*/ 547 h 567"/>
              <a:gd name="T4" fmla="*/ 690 w 691"/>
              <a:gd name="T5" fmla="*/ 464 h 567"/>
              <a:gd name="T6" fmla="*/ 689 w 691"/>
              <a:gd name="T7" fmla="*/ 462 h 567"/>
              <a:gd name="T8" fmla="*/ 385 w 691"/>
              <a:gd name="T9" fmla="*/ 510 h 567"/>
              <a:gd name="T10" fmla="*/ 142 w 691"/>
              <a:gd name="T11" fmla="*/ 346 h 567"/>
              <a:gd name="T12" fmla="*/ 56 w 691"/>
              <a:gd name="T13" fmla="*/ 94 h 567"/>
              <a:gd name="T14" fmla="*/ 47 w 691"/>
              <a:gd name="T15" fmla="*/ 0 h 567"/>
              <a:gd name="T16" fmla="*/ 8 w 691"/>
              <a:gd name="T17" fmla="*/ 0 h 567"/>
              <a:gd name="T18" fmla="*/ 111 w 691"/>
              <a:gd name="T19" fmla="*/ 372 h 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91" h="567">
                <a:moveTo>
                  <a:pt x="111" y="372"/>
                </a:moveTo>
                <a:cubicBezTo>
                  <a:pt x="168" y="463"/>
                  <a:pt x="254" y="528"/>
                  <a:pt x="361" y="547"/>
                </a:cubicBezTo>
                <a:cubicBezTo>
                  <a:pt x="481" y="567"/>
                  <a:pt x="590" y="527"/>
                  <a:pt x="690" y="464"/>
                </a:cubicBezTo>
                <a:cubicBezTo>
                  <a:pt x="691" y="464"/>
                  <a:pt x="690" y="461"/>
                  <a:pt x="689" y="462"/>
                </a:cubicBezTo>
                <a:cubicBezTo>
                  <a:pt x="596" y="501"/>
                  <a:pt x="487" y="522"/>
                  <a:pt x="385" y="510"/>
                </a:cubicBezTo>
                <a:cubicBezTo>
                  <a:pt x="281" y="496"/>
                  <a:pt x="196" y="434"/>
                  <a:pt x="142" y="346"/>
                </a:cubicBezTo>
                <a:cubicBezTo>
                  <a:pt x="96" y="270"/>
                  <a:pt x="70" y="182"/>
                  <a:pt x="56" y="94"/>
                </a:cubicBezTo>
                <a:cubicBezTo>
                  <a:pt x="52" y="64"/>
                  <a:pt x="48" y="32"/>
                  <a:pt x="47" y="0"/>
                </a:cubicBezTo>
                <a:cubicBezTo>
                  <a:pt x="8" y="0"/>
                  <a:pt x="8" y="0"/>
                  <a:pt x="8" y="0"/>
                </a:cubicBezTo>
                <a:cubicBezTo>
                  <a:pt x="0" y="130"/>
                  <a:pt x="49" y="275"/>
                  <a:pt x="111" y="37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" name="Freeform 214">
            <a:extLst>
              <a:ext uri="{FF2B5EF4-FFF2-40B4-BE49-F238E27FC236}">
                <a16:creationId xmlns:a16="http://schemas.microsoft.com/office/drawing/2014/main" id="{93680D80-C596-48BF-92E9-DBDAB7E35C2D}"/>
              </a:ext>
            </a:extLst>
          </p:cNvPr>
          <p:cNvSpPr>
            <a:spLocks/>
          </p:cNvSpPr>
          <p:nvPr userDrawn="1"/>
        </p:nvSpPr>
        <p:spPr bwMode="auto">
          <a:xfrm>
            <a:off x="4754962" y="907422"/>
            <a:ext cx="797001" cy="325212"/>
          </a:xfrm>
          <a:custGeom>
            <a:avLst/>
            <a:gdLst>
              <a:gd name="T0" fmla="*/ 3 w 336"/>
              <a:gd name="T1" fmla="*/ 96 h 138"/>
              <a:gd name="T2" fmla="*/ 336 w 336"/>
              <a:gd name="T3" fmla="*/ 1 h 138"/>
              <a:gd name="T4" fmla="*/ 335 w 336"/>
              <a:gd name="T5" fmla="*/ 1 h 138"/>
              <a:gd name="T6" fmla="*/ 4 w 336"/>
              <a:gd name="T7" fmla="*/ 89 h 138"/>
              <a:gd name="T8" fmla="*/ 3 w 336"/>
              <a:gd name="T9" fmla="*/ 96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6" h="138">
                <a:moveTo>
                  <a:pt x="3" y="96"/>
                </a:moveTo>
                <a:cubicBezTo>
                  <a:pt x="120" y="138"/>
                  <a:pt x="252" y="86"/>
                  <a:pt x="336" y="1"/>
                </a:cubicBezTo>
                <a:cubicBezTo>
                  <a:pt x="336" y="1"/>
                  <a:pt x="336" y="0"/>
                  <a:pt x="335" y="1"/>
                </a:cubicBezTo>
                <a:cubicBezTo>
                  <a:pt x="235" y="73"/>
                  <a:pt x="126" y="88"/>
                  <a:pt x="4" y="89"/>
                </a:cubicBezTo>
                <a:cubicBezTo>
                  <a:pt x="1" y="89"/>
                  <a:pt x="0" y="94"/>
                  <a:pt x="3" y="9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7" name="Freeform 215">
            <a:extLst>
              <a:ext uri="{FF2B5EF4-FFF2-40B4-BE49-F238E27FC236}">
                <a16:creationId xmlns:a16="http://schemas.microsoft.com/office/drawing/2014/main" id="{0383961C-070A-40F5-A550-383526071D64}"/>
              </a:ext>
            </a:extLst>
          </p:cNvPr>
          <p:cNvSpPr>
            <a:spLocks/>
          </p:cNvSpPr>
          <p:nvPr userDrawn="1"/>
        </p:nvSpPr>
        <p:spPr bwMode="auto">
          <a:xfrm>
            <a:off x="4147269" y="739264"/>
            <a:ext cx="424750" cy="333144"/>
          </a:xfrm>
          <a:custGeom>
            <a:avLst/>
            <a:gdLst>
              <a:gd name="T0" fmla="*/ 8 w 179"/>
              <a:gd name="T1" fmla="*/ 3 h 141"/>
              <a:gd name="T2" fmla="*/ 3 w 179"/>
              <a:gd name="T3" fmla="*/ 7 h 141"/>
              <a:gd name="T4" fmla="*/ 178 w 179"/>
              <a:gd name="T5" fmla="*/ 141 h 141"/>
              <a:gd name="T6" fmla="*/ 179 w 179"/>
              <a:gd name="T7" fmla="*/ 140 h 141"/>
              <a:gd name="T8" fmla="*/ 85 w 179"/>
              <a:gd name="T9" fmla="*/ 74 h 141"/>
              <a:gd name="T10" fmla="*/ 8 w 179"/>
              <a:gd name="T11" fmla="*/ 3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9" h="141">
                <a:moveTo>
                  <a:pt x="8" y="3"/>
                </a:moveTo>
                <a:cubicBezTo>
                  <a:pt x="5" y="0"/>
                  <a:pt x="0" y="3"/>
                  <a:pt x="3" y="7"/>
                </a:cubicBezTo>
                <a:cubicBezTo>
                  <a:pt x="39" y="69"/>
                  <a:pt x="115" y="112"/>
                  <a:pt x="178" y="141"/>
                </a:cubicBezTo>
                <a:cubicBezTo>
                  <a:pt x="179" y="141"/>
                  <a:pt x="179" y="141"/>
                  <a:pt x="179" y="140"/>
                </a:cubicBezTo>
                <a:cubicBezTo>
                  <a:pt x="146" y="121"/>
                  <a:pt x="115" y="98"/>
                  <a:pt x="85" y="74"/>
                </a:cubicBezTo>
                <a:cubicBezTo>
                  <a:pt x="58" y="52"/>
                  <a:pt x="36" y="24"/>
                  <a:pt x="8" y="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" name="Freeform 216">
            <a:extLst>
              <a:ext uri="{FF2B5EF4-FFF2-40B4-BE49-F238E27FC236}">
                <a16:creationId xmlns:a16="http://schemas.microsoft.com/office/drawing/2014/main" id="{4E709717-2372-45FD-90B2-58CBD7CD8B80}"/>
              </a:ext>
            </a:extLst>
          </p:cNvPr>
          <p:cNvSpPr>
            <a:spLocks/>
          </p:cNvSpPr>
          <p:nvPr userDrawn="1"/>
        </p:nvSpPr>
        <p:spPr bwMode="auto">
          <a:xfrm>
            <a:off x="5007902" y="564760"/>
            <a:ext cx="415205" cy="163399"/>
          </a:xfrm>
          <a:custGeom>
            <a:avLst/>
            <a:gdLst>
              <a:gd name="T0" fmla="*/ 81 w 175"/>
              <a:gd name="T1" fmla="*/ 18 h 69"/>
              <a:gd name="T2" fmla="*/ 11 w 175"/>
              <a:gd name="T3" fmla="*/ 7 h 69"/>
              <a:gd name="T4" fmla="*/ 5 w 175"/>
              <a:gd name="T5" fmla="*/ 22 h 69"/>
              <a:gd name="T6" fmla="*/ 175 w 175"/>
              <a:gd name="T7" fmla="*/ 1 h 69"/>
              <a:gd name="T8" fmla="*/ 174 w 175"/>
              <a:gd name="T9" fmla="*/ 0 h 69"/>
              <a:gd name="T10" fmla="*/ 81 w 175"/>
              <a:gd name="T11" fmla="*/ 18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5" h="69">
                <a:moveTo>
                  <a:pt x="81" y="18"/>
                </a:moveTo>
                <a:cubicBezTo>
                  <a:pt x="58" y="16"/>
                  <a:pt x="35" y="7"/>
                  <a:pt x="11" y="7"/>
                </a:cubicBezTo>
                <a:cubicBezTo>
                  <a:pt x="3" y="7"/>
                  <a:pt x="0" y="17"/>
                  <a:pt x="5" y="22"/>
                </a:cubicBezTo>
                <a:cubicBezTo>
                  <a:pt x="51" y="69"/>
                  <a:pt x="132" y="36"/>
                  <a:pt x="175" y="1"/>
                </a:cubicBezTo>
                <a:cubicBezTo>
                  <a:pt x="175" y="1"/>
                  <a:pt x="174" y="0"/>
                  <a:pt x="174" y="0"/>
                </a:cubicBezTo>
                <a:cubicBezTo>
                  <a:pt x="145" y="16"/>
                  <a:pt x="114" y="21"/>
                  <a:pt x="81" y="18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9" name="Freeform 217">
            <a:extLst>
              <a:ext uri="{FF2B5EF4-FFF2-40B4-BE49-F238E27FC236}">
                <a16:creationId xmlns:a16="http://schemas.microsoft.com/office/drawing/2014/main" id="{01D823CA-F1E8-497F-857C-A429747BD91F}"/>
              </a:ext>
            </a:extLst>
          </p:cNvPr>
          <p:cNvSpPr>
            <a:spLocks/>
          </p:cNvSpPr>
          <p:nvPr userDrawn="1"/>
        </p:nvSpPr>
        <p:spPr bwMode="auto">
          <a:xfrm>
            <a:off x="4064546" y="3175"/>
            <a:ext cx="259304" cy="672633"/>
          </a:xfrm>
          <a:custGeom>
            <a:avLst/>
            <a:gdLst>
              <a:gd name="T0" fmla="*/ 14 w 109"/>
              <a:gd name="T1" fmla="*/ 0 h 285"/>
              <a:gd name="T2" fmla="*/ 93 w 109"/>
              <a:gd name="T3" fmla="*/ 278 h 285"/>
              <a:gd name="T4" fmla="*/ 106 w 109"/>
              <a:gd name="T5" fmla="*/ 269 h 285"/>
              <a:gd name="T6" fmla="*/ 38 w 109"/>
              <a:gd name="T7" fmla="*/ 0 h 285"/>
              <a:gd name="T8" fmla="*/ 14 w 109"/>
              <a:gd name="T9" fmla="*/ 0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9" h="285">
                <a:moveTo>
                  <a:pt x="14" y="0"/>
                </a:moveTo>
                <a:cubicBezTo>
                  <a:pt x="0" y="99"/>
                  <a:pt x="36" y="213"/>
                  <a:pt x="93" y="278"/>
                </a:cubicBezTo>
                <a:cubicBezTo>
                  <a:pt x="100" y="285"/>
                  <a:pt x="109" y="276"/>
                  <a:pt x="106" y="269"/>
                </a:cubicBezTo>
                <a:cubicBezTo>
                  <a:pt x="70" y="192"/>
                  <a:pt x="34" y="92"/>
                  <a:pt x="38" y="0"/>
                </a:cubicBezTo>
                <a:lnTo>
                  <a:pt x="14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Freeform 218">
            <a:extLst>
              <a:ext uri="{FF2B5EF4-FFF2-40B4-BE49-F238E27FC236}">
                <a16:creationId xmlns:a16="http://schemas.microsoft.com/office/drawing/2014/main" id="{0B86E3A6-4A91-4622-8C72-73BC468BFB28}"/>
              </a:ext>
            </a:extLst>
          </p:cNvPr>
          <p:cNvSpPr>
            <a:spLocks/>
          </p:cNvSpPr>
          <p:nvPr userDrawn="1"/>
        </p:nvSpPr>
        <p:spPr bwMode="auto">
          <a:xfrm>
            <a:off x="4427253" y="1457902"/>
            <a:ext cx="275212" cy="61870"/>
          </a:xfrm>
          <a:custGeom>
            <a:avLst/>
            <a:gdLst>
              <a:gd name="T0" fmla="*/ 70 w 116"/>
              <a:gd name="T1" fmla="*/ 14 h 26"/>
              <a:gd name="T2" fmla="*/ 1 w 116"/>
              <a:gd name="T3" fmla="*/ 0 h 26"/>
              <a:gd name="T4" fmla="*/ 0 w 116"/>
              <a:gd name="T5" fmla="*/ 1 h 26"/>
              <a:gd name="T6" fmla="*/ 46 w 116"/>
              <a:gd name="T7" fmla="*/ 21 h 26"/>
              <a:gd name="T8" fmla="*/ 112 w 116"/>
              <a:gd name="T9" fmla="*/ 25 h 26"/>
              <a:gd name="T10" fmla="*/ 114 w 116"/>
              <a:gd name="T11" fmla="*/ 21 h 26"/>
              <a:gd name="T12" fmla="*/ 70 w 116"/>
              <a:gd name="T13" fmla="*/ 14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" h="26">
                <a:moveTo>
                  <a:pt x="70" y="14"/>
                </a:moveTo>
                <a:cubicBezTo>
                  <a:pt x="46" y="16"/>
                  <a:pt x="22" y="13"/>
                  <a:pt x="1" y="0"/>
                </a:cubicBezTo>
                <a:cubicBezTo>
                  <a:pt x="0" y="0"/>
                  <a:pt x="0" y="1"/>
                  <a:pt x="0" y="1"/>
                </a:cubicBezTo>
                <a:cubicBezTo>
                  <a:pt x="15" y="11"/>
                  <a:pt x="29" y="18"/>
                  <a:pt x="46" y="21"/>
                </a:cubicBezTo>
                <a:cubicBezTo>
                  <a:pt x="68" y="25"/>
                  <a:pt x="90" y="20"/>
                  <a:pt x="112" y="25"/>
                </a:cubicBezTo>
                <a:cubicBezTo>
                  <a:pt x="115" y="26"/>
                  <a:pt x="116" y="22"/>
                  <a:pt x="114" y="21"/>
                </a:cubicBezTo>
                <a:cubicBezTo>
                  <a:pt x="101" y="11"/>
                  <a:pt x="86" y="13"/>
                  <a:pt x="70" y="1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1" name="Freeform 219">
            <a:extLst>
              <a:ext uri="{FF2B5EF4-FFF2-40B4-BE49-F238E27FC236}">
                <a16:creationId xmlns:a16="http://schemas.microsoft.com/office/drawing/2014/main" id="{A9127D4F-2298-44C4-9CC1-AF59A19305F4}"/>
              </a:ext>
            </a:extLst>
          </p:cNvPr>
          <p:cNvSpPr>
            <a:spLocks/>
          </p:cNvSpPr>
          <p:nvPr userDrawn="1"/>
        </p:nvSpPr>
        <p:spPr bwMode="auto">
          <a:xfrm>
            <a:off x="3700248" y="3175"/>
            <a:ext cx="222715" cy="770989"/>
          </a:xfrm>
          <a:custGeom>
            <a:avLst/>
            <a:gdLst>
              <a:gd name="T0" fmla="*/ 80 w 94"/>
              <a:gd name="T1" fmla="*/ 321 h 327"/>
              <a:gd name="T2" fmla="*/ 92 w 94"/>
              <a:gd name="T3" fmla="*/ 316 h 327"/>
              <a:gd name="T4" fmla="*/ 41 w 94"/>
              <a:gd name="T5" fmla="*/ 129 h 327"/>
              <a:gd name="T6" fmla="*/ 23 w 94"/>
              <a:gd name="T7" fmla="*/ 0 h 327"/>
              <a:gd name="T8" fmla="*/ 8 w 94"/>
              <a:gd name="T9" fmla="*/ 0 h 327"/>
              <a:gd name="T10" fmla="*/ 80 w 94"/>
              <a:gd name="T11" fmla="*/ 321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4" h="327">
                <a:moveTo>
                  <a:pt x="80" y="321"/>
                </a:moveTo>
                <a:cubicBezTo>
                  <a:pt x="84" y="327"/>
                  <a:pt x="94" y="323"/>
                  <a:pt x="92" y="316"/>
                </a:cubicBezTo>
                <a:cubicBezTo>
                  <a:pt x="77" y="253"/>
                  <a:pt x="54" y="192"/>
                  <a:pt x="41" y="129"/>
                </a:cubicBezTo>
                <a:cubicBezTo>
                  <a:pt x="32" y="86"/>
                  <a:pt x="26" y="43"/>
                  <a:pt x="23" y="0"/>
                </a:cubicBezTo>
                <a:cubicBezTo>
                  <a:pt x="8" y="0"/>
                  <a:pt x="8" y="0"/>
                  <a:pt x="8" y="0"/>
                </a:cubicBezTo>
                <a:cubicBezTo>
                  <a:pt x="0" y="111"/>
                  <a:pt x="17" y="230"/>
                  <a:pt x="80" y="32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2" name="Freeform 220">
            <a:extLst>
              <a:ext uri="{FF2B5EF4-FFF2-40B4-BE49-F238E27FC236}">
                <a16:creationId xmlns:a16="http://schemas.microsoft.com/office/drawing/2014/main" id="{15F62A47-4846-4EEB-BA51-FCE63B6AA400}"/>
              </a:ext>
            </a:extLst>
          </p:cNvPr>
          <p:cNvSpPr>
            <a:spLocks/>
          </p:cNvSpPr>
          <p:nvPr userDrawn="1"/>
        </p:nvSpPr>
        <p:spPr bwMode="auto">
          <a:xfrm>
            <a:off x="3545939" y="3175"/>
            <a:ext cx="2048976" cy="1724415"/>
          </a:xfrm>
          <a:custGeom>
            <a:avLst/>
            <a:gdLst>
              <a:gd name="T0" fmla="*/ 19 w 864"/>
              <a:gd name="T1" fmla="*/ 0 h 730"/>
              <a:gd name="T2" fmla="*/ 34 w 864"/>
              <a:gd name="T3" fmla="*/ 341 h 730"/>
              <a:gd name="T4" fmla="*/ 263 w 864"/>
              <a:gd name="T5" fmla="*/ 651 h 730"/>
              <a:gd name="T6" fmla="*/ 598 w 864"/>
              <a:gd name="T7" fmla="*/ 699 h 730"/>
              <a:gd name="T8" fmla="*/ 759 w 864"/>
              <a:gd name="T9" fmla="*/ 624 h 730"/>
              <a:gd name="T10" fmla="*/ 862 w 864"/>
              <a:gd name="T11" fmla="*/ 493 h 730"/>
              <a:gd name="T12" fmla="*/ 856 w 864"/>
              <a:gd name="T13" fmla="*/ 490 h 730"/>
              <a:gd name="T14" fmla="*/ 270 w 864"/>
              <a:gd name="T15" fmla="*/ 608 h 730"/>
              <a:gd name="T16" fmla="*/ 40 w 864"/>
              <a:gd name="T17" fmla="*/ 0 h 730"/>
              <a:gd name="T18" fmla="*/ 19 w 864"/>
              <a:gd name="T19" fmla="*/ 0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64" h="730">
                <a:moveTo>
                  <a:pt x="19" y="0"/>
                </a:moveTo>
                <a:cubicBezTo>
                  <a:pt x="1" y="114"/>
                  <a:pt x="0" y="231"/>
                  <a:pt x="34" y="341"/>
                </a:cubicBezTo>
                <a:cubicBezTo>
                  <a:pt x="73" y="465"/>
                  <a:pt x="150" y="582"/>
                  <a:pt x="263" y="651"/>
                </a:cubicBezTo>
                <a:cubicBezTo>
                  <a:pt x="362" y="712"/>
                  <a:pt x="485" y="726"/>
                  <a:pt x="598" y="699"/>
                </a:cubicBezTo>
                <a:cubicBezTo>
                  <a:pt x="655" y="685"/>
                  <a:pt x="712" y="660"/>
                  <a:pt x="759" y="624"/>
                </a:cubicBezTo>
                <a:cubicBezTo>
                  <a:pt x="808" y="586"/>
                  <a:pt x="834" y="547"/>
                  <a:pt x="862" y="493"/>
                </a:cubicBezTo>
                <a:cubicBezTo>
                  <a:pt x="864" y="489"/>
                  <a:pt x="859" y="487"/>
                  <a:pt x="856" y="490"/>
                </a:cubicBezTo>
                <a:cubicBezTo>
                  <a:pt x="726" y="664"/>
                  <a:pt x="455" y="730"/>
                  <a:pt x="270" y="608"/>
                </a:cubicBezTo>
                <a:cubicBezTo>
                  <a:pt x="71" y="475"/>
                  <a:pt x="28" y="228"/>
                  <a:pt x="40" y="0"/>
                </a:cubicBezTo>
                <a:lnTo>
                  <a:pt x="19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3" name="Freeform 221">
            <a:extLst>
              <a:ext uri="{FF2B5EF4-FFF2-40B4-BE49-F238E27FC236}">
                <a16:creationId xmlns:a16="http://schemas.microsoft.com/office/drawing/2014/main" id="{460AB276-5589-4E68-9539-3DD77E480602}"/>
              </a:ext>
            </a:extLst>
          </p:cNvPr>
          <p:cNvSpPr>
            <a:spLocks/>
          </p:cNvSpPr>
          <p:nvPr userDrawn="1"/>
        </p:nvSpPr>
        <p:spPr bwMode="auto">
          <a:xfrm>
            <a:off x="2736211" y="1223115"/>
            <a:ext cx="844726" cy="428327"/>
          </a:xfrm>
          <a:custGeom>
            <a:avLst/>
            <a:gdLst>
              <a:gd name="T0" fmla="*/ 355 w 356"/>
              <a:gd name="T1" fmla="*/ 2 h 181"/>
              <a:gd name="T2" fmla="*/ 354 w 356"/>
              <a:gd name="T3" fmla="*/ 1 h 181"/>
              <a:gd name="T4" fmla="*/ 193 w 356"/>
              <a:gd name="T5" fmla="*/ 97 h 181"/>
              <a:gd name="T6" fmla="*/ 10 w 356"/>
              <a:gd name="T7" fmla="*/ 73 h 181"/>
              <a:gd name="T8" fmla="*/ 4 w 356"/>
              <a:gd name="T9" fmla="*/ 83 h 181"/>
              <a:gd name="T10" fmla="*/ 355 w 356"/>
              <a:gd name="T11" fmla="*/ 2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56" h="181">
                <a:moveTo>
                  <a:pt x="355" y="2"/>
                </a:moveTo>
                <a:cubicBezTo>
                  <a:pt x="356" y="1"/>
                  <a:pt x="355" y="0"/>
                  <a:pt x="354" y="1"/>
                </a:cubicBezTo>
                <a:cubicBezTo>
                  <a:pt x="310" y="46"/>
                  <a:pt x="256" y="83"/>
                  <a:pt x="193" y="97"/>
                </a:cubicBezTo>
                <a:cubicBezTo>
                  <a:pt x="127" y="113"/>
                  <a:pt x="71" y="94"/>
                  <a:pt x="10" y="73"/>
                </a:cubicBezTo>
                <a:cubicBezTo>
                  <a:pt x="4" y="71"/>
                  <a:pt x="0" y="79"/>
                  <a:pt x="4" y="83"/>
                </a:cubicBezTo>
                <a:cubicBezTo>
                  <a:pt x="113" y="181"/>
                  <a:pt x="280" y="98"/>
                  <a:pt x="355" y="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4" name="Freeform 222">
            <a:extLst>
              <a:ext uri="{FF2B5EF4-FFF2-40B4-BE49-F238E27FC236}">
                <a16:creationId xmlns:a16="http://schemas.microsoft.com/office/drawing/2014/main" id="{71302AD1-34A2-4EFD-9CAF-3F604D20C4FE}"/>
              </a:ext>
            </a:extLst>
          </p:cNvPr>
          <p:cNvSpPr>
            <a:spLocks/>
          </p:cNvSpPr>
          <p:nvPr userDrawn="1"/>
        </p:nvSpPr>
        <p:spPr bwMode="auto">
          <a:xfrm>
            <a:off x="10574183" y="3175"/>
            <a:ext cx="671326" cy="763058"/>
          </a:xfrm>
          <a:custGeom>
            <a:avLst/>
            <a:gdLst>
              <a:gd name="T0" fmla="*/ 282 w 283"/>
              <a:gd name="T1" fmla="*/ 323 h 323"/>
              <a:gd name="T2" fmla="*/ 283 w 283"/>
              <a:gd name="T3" fmla="*/ 322 h 323"/>
              <a:gd name="T4" fmla="*/ 44 w 283"/>
              <a:gd name="T5" fmla="*/ 0 h 323"/>
              <a:gd name="T6" fmla="*/ 0 w 283"/>
              <a:gd name="T7" fmla="*/ 0 h 323"/>
              <a:gd name="T8" fmla="*/ 282 w 283"/>
              <a:gd name="T9" fmla="*/ 323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323">
                <a:moveTo>
                  <a:pt x="282" y="323"/>
                </a:moveTo>
                <a:cubicBezTo>
                  <a:pt x="283" y="323"/>
                  <a:pt x="283" y="322"/>
                  <a:pt x="283" y="322"/>
                </a:cubicBezTo>
                <a:cubicBezTo>
                  <a:pt x="167" y="239"/>
                  <a:pt x="88" y="127"/>
                  <a:pt x="44" y="0"/>
                </a:cubicBezTo>
                <a:cubicBezTo>
                  <a:pt x="0" y="0"/>
                  <a:pt x="0" y="0"/>
                  <a:pt x="0" y="0"/>
                </a:cubicBezTo>
                <a:cubicBezTo>
                  <a:pt x="43" y="141"/>
                  <a:pt x="148" y="264"/>
                  <a:pt x="282" y="32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5" name="Freeform 223">
            <a:extLst>
              <a:ext uri="{FF2B5EF4-FFF2-40B4-BE49-F238E27FC236}">
                <a16:creationId xmlns:a16="http://schemas.microsoft.com/office/drawing/2014/main" id="{50757C6F-1ABC-4BA0-B285-E954255031E3}"/>
              </a:ext>
            </a:extLst>
          </p:cNvPr>
          <p:cNvSpPr>
            <a:spLocks/>
          </p:cNvSpPr>
          <p:nvPr userDrawn="1"/>
        </p:nvSpPr>
        <p:spPr bwMode="auto">
          <a:xfrm>
            <a:off x="11589126" y="3175"/>
            <a:ext cx="553605" cy="117393"/>
          </a:xfrm>
          <a:custGeom>
            <a:avLst/>
            <a:gdLst>
              <a:gd name="T0" fmla="*/ 79 w 233"/>
              <a:gd name="T1" fmla="*/ 32 h 50"/>
              <a:gd name="T2" fmla="*/ 233 w 233"/>
              <a:gd name="T3" fmla="*/ 47 h 50"/>
              <a:gd name="T4" fmla="*/ 233 w 233"/>
              <a:gd name="T5" fmla="*/ 20 h 50"/>
              <a:gd name="T6" fmla="*/ 129 w 233"/>
              <a:gd name="T7" fmla="*/ 7 h 50"/>
              <a:gd name="T8" fmla="*/ 100 w 233"/>
              <a:gd name="T9" fmla="*/ 0 h 50"/>
              <a:gd name="T10" fmla="*/ 0 w 233"/>
              <a:gd name="T11" fmla="*/ 0 h 50"/>
              <a:gd name="T12" fmla="*/ 79 w 233"/>
              <a:gd name="T13" fmla="*/ 3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3" h="50">
                <a:moveTo>
                  <a:pt x="79" y="32"/>
                </a:moveTo>
                <a:cubicBezTo>
                  <a:pt x="132" y="47"/>
                  <a:pt x="183" y="50"/>
                  <a:pt x="233" y="47"/>
                </a:cubicBezTo>
                <a:cubicBezTo>
                  <a:pt x="233" y="20"/>
                  <a:pt x="233" y="20"/>
                  <a:pt x="233" y="20"/>
                </a:cubicBezTo>
                <a:cubicBezTo>
                  <a:pt x="198" y="19"/>
                  <a:pt x="163" y="14"/>
                  <a:pt x="129" y="7"/>
                </a:cubicBezTo>
                <a:cubicBezTo>
                  <a:pt x="120" y="5"/>
                  <a:pt x="110" y="3"/>
                  <a:pt x="100" y="0"/>
                </a:cubicBezTo>
                <a:cubicBezTo>
                  <a:pt x="0" y="0"/>
                  <a:pt x="0" y="0"/>
                  <a:pt x="0" y="0"/>
                </a:cubicBezTo>
                <a:cubicBezTo>
                  <a:pt x="25" y="13"/>
                  <a:pt x="52" y="24"/>
                  <a:pt x="79" y="3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6" name="Freeform 224">
            <a:extLst>
              <a:ext uri="{FF2B5EF4-FFF2-40B4-BE49-F238E27FC236}">
                <a16:creationId xmlns:a16="http://schemas.microsoft.com/office/drawing/2014/main" id="{2BF7B563-1B80-46CA-9BD6-DDDB52832E97}"/>
              </a:ext>
            </a:extLst>
          </p:cNvPr>
          <p:cNvSpPr>
            <a:spLocks/>
          </p:cNvSpPr>
          <p:nvPr userDrawn="1"/>
        </p:nvSpPr>
        <p:spPr bwMode="auto">
          <a:xfrm>
            <a:off x="8404304" y="3175"/>
            <a:ext cx="574287" cy="561585"/>
          </a:xfrm>
          <a:custGeom>
            <a:avLst/>
            <a:gdLst>
              <a:gd name="T0" fmla="*/ 40 w 242"/>
              <a:gd name="T1" fmla="*/ 112 h 238"/>
              <a:gd name="T2" fmla="*/ 235 w 242"/>
              <a:gd name="T3" fmla="*/ 237 h 238"/>
              <a:gd name="T4" fmla="*/ 238 w 242"/>
              <a:gd name="T5" fmla="*/ 229 h 238"/>
              <a:gd name="T6" fmla="*/ 19 w 242"/>
              <a:gd name="T7" fmla="*/ 0 h 238"/>
              <a:gd name="T8" fmla="*/ 0 w 242"/>
              <a:gd name="T9" fmla="*/ 0 h 238"/>
              <a:gd name="T10" fmla="*/ 40 w 242"/>
              <a:gd name="T11" fmla="*/ 112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2" h="238">
                <a:moveTo>
                  <a:pt x="40" y="112"/>
                </a:moveTo>
                <a:cubicBezTo>
                  <a:pt x="90" y="179"/>
                  <a:pt x="159" y="210"/>
                  <a:pt x="235" y="237"/>
                </a:cubicBezTo>
                <a:cubicBezTo>
                  <a:pt x="239" y="238"/>
                  <a:pt x="242" y="231"/>
                  <a:pt x="238" y="229"/>
                </a:cubicBezTo>
                <a:cubicBezTo>
                  <a:pt x="144" y="177"/>
                  <a:pt x="36" y="106"/>
                  <a:pt x="19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40"/>
                  <a:pt x="16" y="79"/>
                  <a:pt x="40" y="11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7" name="Freeform 225">
            <a:extLst>
              <a:ext uri="{FF2B5EF4-FFF2-40B4-BE49-F238E27FC236}">
                <a16:creationId xmlns:a16="http://schemas.microsoft.com/office/drawing/2014/main" id="{5F2EAA38-A1ED-4ACD-985D-CC2EF51578A5}"/>
              </a:ext>
            </a:extLst>
          </p:cNvPr>
          <p:cNvSpPr>
            <a:spLocks/>
          </p:cNvSpPr>
          <p:nvPr userDrawn="1"/>
        </p:nvSpPr>
        <p:spPr bwMode="auto">
          <a:xfrm>
            <a:off x="9888539" y="3175"/>
            <a:ext cx="346799" cy="915352"/>
          </a:xfrm>
          <a:custGeom>
            <a:avLst/>
            <a:gdLst>
              <a:gd name="T0" fmla="*/ 140 w 146"/>
              <a:gd name="T1" fmla="*/ 386 h 388"/>
              <a:gd name="T2" fmla="*/ 144 w 146"/>
              <a:gd name="T3" fmla="*/ 382 h 388"/>
              <a:gd name="T4" fmla="*/ 12 w 146"/>
              <a:gd name="T5" fmla="*/ 0 h 388"/>
              <a:gd name="T6" fmla="*/ 0 w 146"/>
              <a:gd name="T7" fmla="*/ 0 h 388"/>
              <a:gd name="T8" fmla="*/ 140 w 146"/>
              <a:gd name="T9" fmla="*/ 386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6" h="388">
                <a:moveTo>
                  <a:pt x="140" y="386"/>
                </a:moveTo>
                <a:cubicBezTo>
                  <a:pt x="142" y="388"/>
                  <a:pt x="146" y="385"/>
                  <a:pt x="144" y="382"/>
                </a:cubicBezTo>
                <a:cubicBezTo>
                  <a:pt x="56" y="275"/>
                  <a:pt x="22" y="137"/>
                  <a:pt x="1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42"/>
                  <a:pt x="33" y="278"/>
                  <a:pt x="140" y="38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8" name="Freeform 226">
            <a:extLst>
              <a:ext uri="{FF2B5EF4-FFF2-40B4-BE49-F238E27FC236}">
                <a16:creationId xmlns:a16="http://schemas.microsoft.com/office/drawing/2014/main" id="{554CDAE6-85A6-4633-A1B9-75E00CAD1AD4}"/>
              </a:ext>
            </a:extLst>
          </p:cNvPr>
          <p:cNvSpPr>
            <a:spLocks/>
          </p:cNvSpPr>
          <p:nvPr userDrawn="1"/>
        </p:nvSpPr>
        <p:spPr bwMode="auto">
          <a:xfrm>
            <a:off x="10316470" y="3175"/>
            <a:ext cx="1826262" cy="1281809"/>
          </a:xfrm>
          <a:custGeom>
            <a:avLst/>
            <a:gdLst>
              <a:gd name="T0" fmla="*/ 29 w 770"/>
              <a:gd name="T1" fmla="*/ 98 h 543"/>
              <a:gd name="T2" fmla="*/ 231 w 770"/>
              <a:gd name="T3" fmla="*/ 385 h 543"/>
              <a:gd name="T4" fmla="*/ 550 w 770"/>
              <a:gd name="T5" fmla="*/ 530 h 543"/>
              <a:gd name="T6" fmla="*/ 770 w 770"/>
              <a:gd name="T7" fmla="*/ 523 h 543"/>
              <a:gd name="T8" fmla="*/ 770 w 770"/>
              <a:gd name="T9" fmla="*/ 504 h 543"/>
              <a:gd name="T10" fmla="*/ 254 w 770"/>
              <a:gd name="T11" fmla="*/ 352 h 543"/>
              <a:gd name="T12" fmla="*/ 42 w 770"/>
              <a:gd name="T13" fmla="*/ 0 h 543"/>
              <a:gd name="T14" fmla="*/ 0 w 770"/>
              <a:gd name="T15" fmla="*/ 0 h 543"/>
              <a:gd name="T16" fmla="*/ 29 w 770"/>
              <a:gd name="T17" fmla="*/ 98 h 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70" h="543">
                <a:moveTo>
                  <a:pt x="29" y="98"/>
                </a:moveTo>
                <a:cubicBezTo>
                  <a:pt x="71" y="209"/>
                  <a:pt x="139" y="310"/>
                  <a:pt x="231" y="385"/>
                </a:cubicBezTo>
                <a:cubicBezTo>
                  <a:pt x="322" y="460"/>
                  <a:pt x="434" y="511"/>
                  <a:pt x="550" y="530"/>
                </a:cubicBezTo>
                <a:cubicBezTo>
                  <a:pt x="627" y="543"/>
                  <a:pt x="699" y="539"/>
                  <a:pt x="770" y="523"/>
                </a:cubicBezTo>
                <a:cubicBezTo>
                  <a:pt x="770" y="504"/>
                  <a:pt x="770" y="504"/>
                  <a:pt x="770" y="504"/>
                </a:cubicBezTo>
                <a:cubicBezTo>
                  <a:pt x="588" y="521"/>
                  <a:pt x="389" y="465"/>
                  <a:pt x="254" y="352"/>
                </a:cubicBezTo>
                <a:cubicBezTo>
                  <a:pt x="145" y="260"/>
                  <a:pt x="76" y="135"/>
                  <a:pt x="42" y="0"/>
                </a:cubicBezTo>
                <a:cubicBezTo>
                  <a:pt x="0" y="0"/>
                  <a:pt x="0" y="0"/>
                  <a:pt x="0" y="0"/>
                </a:cubicBezTo>
                <a:cubicBezTo>
                  <a:pt x="7" y="33"/>
                  <a:pt x="16" y="65"/>
                  <a:pt x="29" y="98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Freeform 227">
            <a:extLst>
              <a:ext uri="{FF2B5EF4-FFF2-40B4-BE49-F238E27FC236}">
                <a16:creationId xmlns:a16="http://schemas.microsoft.com/office/drawing/2014/main" id="{30AC67B8-1233-4AC6-B9B8-8028A30CE49D}"/>
              </a:ext>
            </a:extLst>
          </p:cNvPr>
          <p:cNvSpPr>
            <a:spLocks/>
          </p:cNvSpPr>
          <p:nvPr userDrawn="1"/>
        </p:nvSpPr>
        <p:spPr bwMode="auto">
          <a:xfrm>
            <a:off x="10041257" y="3175"/>
            <a:ext cx="610875" cy="1118411"/>
          </a:xfrm>
          <a:custGeom>
            <a:avLst/>
            <a:gdLst>
              <a:gd name="T0" fmla="*/ 44 w 258"/>
              <a:gd name="T1" fmla="*/ 233 h 474"/>
              <a:gd name="T2" fmla="*/ 245 w 258"/>
              <a:gd name="T3" fmla="*/ 472 h 474"/>
              <a:gd name="T4" fmla="*/ 254 w 258"/>
              <a:gd name="T5" fmla="*/ 460 h 474"/>
              <a:gd name="T6" fmla="*/ 162 w 258"/>
              <a:gd name="T7" fmla="*/ 356 h 474"/>
              <a:gd name="T8" fmla="*/ 76 w 258"/>
              <a:gd name="T9" fmla="*/ 220 h 474"/>
              <a:gd name="T10" fmla="*/ 17 w 258"/>
              <a:gd name="T11" fmla="*/ 0 h 474"/>
              <a:gd name="T12" fmla="*/ 3 w 258"/>
              <a:gd name="T13" fmla="*/ 0 h 474"/>
              <a:gd name="T14" fmla="*/ 44 w 258"/>
              <a:gd name="T15" fmla="*/ 233 h 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8" h="474">
                <a:moveTo>
                  <a:pt x="44" y="233"/>
                </a:moveTo>
                <a:cubicBezTo>
                  <a:pt x="80" y="324"/>
                  <a:pt x="148" y="437"/>
                  <a:pt x="245" y="472"/>
                </a:cubicBezTo>
                <a:cubicBezTo>
                  <a:pt x="251" y="474"/>
                  <a:pt x="258" y="465"/>
                  <a:pt x="254" y="460"/>
                </a:cubicBezTo>
                <a:cubicBezTo>
                  <a:pt x="227" y="422"/>
                  <a:pt x="192" y="392"/>
                  <a:pt x="162" y="356"/>
                </a:cubicBezTo>
                <a:cubicBezTo>
                  <a:pt x="128" y="315"/>
                  <a:pt x="99" y="268"/>
                  <a:pt x="76" y="220"/>
                </a:cubicBezTo>
                <a:cubicBezTo>
                  <a:pt x="43" y="151"/>
                  <a:pt x="23" y="76"/>
                  <a:pt x="17" y="0"/>
                </a:cubicBezTo>
                <a:cubicBezTo>
                  <a:pt x="3" y="0"/>
                  <a:pt x="3" y="0"/>
                  <a:pt x="3" y="0"/>
                </a:cubicBezTo>
                <a:cubicBezTo>
                  <a:pt x="0" y="79"/>
                  <a:pt x="13" y="158"/>
                  <a:pt x="44" y="23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0" name="Freeform 228">
            <a:extLst>
              <a:ext uri="{FF2B5EF4-FFF2-40B4-BE49-F238E27FC236}">
                <a16:creationId xmlns:a16="http://schemas.microsoft.com/office/drawing/2014/main" id="{4777024C-7BA5-45FC-AA4D-E0995F5CC8D1}"/>
              </a:ext>
            </a:extLst>
          </p:cNvPr>
          <p:cNvSpPr>
            <a:spLocks/>
          </p:cNvSpPr>
          <p:nvPr userDrawn="1"/>
        </p:nvSpPr>
        <p:spPr bwMode="auto">
          <a:xfrm>
            <a:off x="4980859" y="3175"/>
            <a:ext cx="440658" cy="145949"/>
          </a:xfrm>
          <a:custGeom>
            <a:avLst/>
            <a:gdLst>
              <a:gd name="T0" fmla="*/ 8 w 186"/>
              <a:gd name="T1" fmla="*/ 22 h 62"/>
              <a:gd name="T2" fmla="*/ 3 w 186"/>
              <a:gd name="T3" fmla="*/ 32 h 62"/>
              <a:gd name="T4" fmla="*/ 116 w 186"/>
              <a:gd name="T5" fmla="*/ 48 h 62"/>
              <a:gd name="T6" fmla="*/ 186 w 186"/>
              <a:gd name="T7" fmla="*/ 0 h 62"/>
              <a:gd name="T8" fmla="*/ 175 w 186"/>
              <a:gd name="T9" fmla="*/ 0 h 62"/>
              <a:gd name="T10" fmla="*/ 107 w 186"/>
              <a:gd name="T11" fmla="*/ 32 h 62"/>
              <a:gd name="T12" fmla="*/ 8 w 186"/>
              <a:gd name="T13" fmla="*/ 22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6" h="62">
                <a:moveTo>
                  <a:pt x="8" y="22"/>
                </a:moveTo>
                <a:cubicBezTo>
                  <a:pt x="2" y="21"/>
                  <a:pt x="0" y="29"/>
                  <a:pt x="3" y="32"/>
                </a:cubicBezTo>
                <a:cubicBezTo>
                  <a:pt x="29" y="62"/>
                  <a:pt x="82" y="59"/>
                  <a:pt x="116" y="48"/>
                </a:cubicBezTo>
                <a:cubicBezTo>
                  <a:pt x="144" y="40"/>
                  <a:pt x="168" y="22"/>
                  <a:pt x="186" y="0"/>
                </a:cubicBezTo>
                <a:cubicBezTo>
                  <a:pt x="175" y="0"/>
                  <a:pt x="175" y="0"/>
                  <a:pt x="175" y="0"/>
                </a:cubicBezTo>
                <a:cubicBezTo>
                  <a:pt x="156" y="16"/>
                  <a:pt x="133" y="27"/>
                  <a:pt x="107" y="32"/>
                </a:cubicBezTo>
                <a:cubicBezTo>
                  <a:pt x="71" y="40"/>
                  <a:pt x="42" y="26"/>
                  <a:pt x="8" y="2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1" name="Freeform 229">
            <a:extLst>
              <a:ext uri="{FF2B5EF4-FFF2-40B4-BE49-F238E27FC236}">
                <a16:creationId xmlns:a16="http://schemas.microsoft.com/office/drawing/2014/main" id="{6015BBBB-9709-4562-BC91-317A27B1CDCB}"/>
              </a:ext>
            </a:extLst>
          </p:cNvPr>
          <p:cNvSpPr>
            <a:spLocks/>
          </p:cNvSpPr>
          <p:nvPr userDrawn="1"/>
        </p:nvSpPr>
        <p:spPr bwMode="auto">
          <a:xfrm>
            <a:off x="4614970" y="3175"/>
            <a:ext cx="1029261" cy="329971"/>
          </a:xfrm>
          <a:custGeom>
            <a:avLst/>
            <a:gdLst>
              <a:gd name="T0" fmla="*/ 171 w 434"/>
              <a:gd name="T1" fmla="*/ 124 h 140"/>
              <a:gd name="T2" fmla="*/ 434 w 434"/>
              <a:gd name="T3" fmla="*/ 0 h 140"/>
              <a:gd name="T4" fmla="*/ 412 w 434"/>
              <a:gd name="T5" fmla="*/ 0 h 140"/>
              <a:gd name="T6" fmla="*/ 212 w 434"/>
              <a:gd name="T7" fmla="*/ 88 h 140"/>
              <a:gd name="T8" fmla="*/ 39 w 434"/>
              <a:gd name="T9" fmla="*/ 0 h 140"/>
              <a:gd name="T10" fmla="*/ 0 w 434"/>
              <a:gd name="T11" fmla="*/ 0 h 140"/>
              <a:gd name="T12" fmla="*/ 171 w 434"/>
              <a:gd name="T13" fmla="*/ 124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34" h="140">
                <a:moveTo>
                  <a:pt x="171" y="124"/>
                </a:moveTo>
                <a:cubicBezTo>
                  <a:pt x="283" y="140"/>
                  <a:pt x="381" y="90"/>
                  <a:pt x="434" y="0"/>
                </a:cubicBezTo>
                <a:cubicBezTo>
                  <a:pt x="412" y="0"/>
                  <a:pt x="412" y="0"/>
                  <a:pt x="412" y="0"/>
                </a:cubicBezTo>
                <a:cubicBezTo>
                  <a:pt x="361" y="55"/>
                  <a:pt x="288" y="90"/>
                  <a:pt x="212" y="88"/>
                </a:cubicBezTo>
                <a:cubicBezTo>
                  <a:pt x="143" y="86"/>
                  <a:pt x="76" y="53"/>
                  <a:pt x="39" y="0"/>
                </a:cubicBezTo>
                <a:cubicBezTo>
                  <a:pt x="0" y="0"/>
                  <a:pt x="0" y="0"/>
                  <a:pt x="0" y="0"/>
                </a:cubicBezTo>
                <a:cubicBezTo>
                  <a:pt x="26" y="65"/>
                  <a:pt x="91" y="112"/>
                  <a:pt x="171" y="12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792" name="Freeform 230">
            <a:extLst>
              <a:ext uri="{FF2B5EF4-FFF2-40B4-BE49-F238E27FC236}">
                <a16:creationId xmlns:a16="http://schemas.microsoft.com/office/drawing/2014/main" id="{94A0B88D-B1F7-4A28-86F7-1230F271C19E}"/>
              </a:ext>
            </a:extLst>
          </p:cNvPr>
          <p:cNvSpPr>
            <a:spLocks/>
          </p:cNvSpPr>
          <p:nvPr userDrawn="1"/>
        </p:nvSpPr>
        <p:spPr bwMode="auto">
          <a:xfrm>
            <a:off x="0" y="3175"/>
            <a:ext cx="542470" cy="325212"/>
          </a:xfrm>
          <a:custGeom>
            <a:avLst/>
            <a:gdLst>
              <a:gd name="T0" fmla="*/ 0 w 229"/>
              <a:gd name="T1" fmla="*/ 107 h 138"/>
              <a:gd name="T2" fmla="*/ 0 w 229"/>
              <a:gd name="T3" fmla="*/ 117 h 138"/>
              <a:gd name="T4" fmla="*/ 166 w 229"/>
              <a:gd name="T5" fmla="*/ 97 h 138"/>
              <a:gd name="T6" fmla="*/ 229 w 229"/>
              <a:gd name="T7" fmla="*/ 0 h 138"/>
              <a:gd name="T8" fmla="*/ 195 w 229"/>
              <a:gd name="T9" fmla="*/ 0 h 138"/>
              <a:gd name="T10" fmla="*/ 156 w 229"/>
              <a:gd name="T11" fmla="*/ 68 h 138"/>
              <a:gd name="T12" fmla="*/ 0 w 229"/>
              <a:gd name="T13" fmla="*/ 107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9" h="138">
                <a:moveTo>
                  <a:pt x="0" y="107"/>
                </a:moveTo>
                <a:cubicBezTo>
                  <a:pt x="0" y="117"/>
                  <a:pt x="0" y="117"/>
                  <a:pt x="0" y="117"/>
                </a:cubicBezTo>
                <a:cubicBezTo>
                  <a:pt x="57" y="136"/>
                  <a:pt x="123" y="138"/>
                  <a:pt x="166" y="97"/>
                </a:cubicBezTo>
                <a:cubicBezTo>
                  <a:pt x="193" y="72"/>
                  <a:pt x="216" y="38"/>
                  <a:pt x="229" y="0"/>
                </a:cubicBezTo>
                <a:cubicBezTo>
                  <a:pt x="195" y="0"/>
                  <a:pt x="195" y="0"/>
                  <a:pt x="195" y="0"/>
                </a:cubicBezTo>
                <a:cubicBezTo>
                  <a:pt x="188" y="23"/>
                  <a:pt x="175" y="46"/>
                  <a:pt x="156" y="68"/>
                </a:cubicBezTo>
                <a:cubicBezTo>
                  <a:pt x="116" y="114"/>
                  <a:pt x="56" y="120"/>
                  <a:pt x="0" y="10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793" name="Freeform 231">
            <a:extLst>
              <a:ext uri="{FF2B5EF4-FFF2-40B4-BE49-F238E27FC236}">
                <a16:creationId xmlns:a16="http://schemas.microsoft.com/office/drawing/2014/main" id="{59FF3088-42B2-470F-A4C9-79C54C3E44B5}"/>
              </a:ext>
            </a:extLst>
          </p:cNvPr>
          <p:cNvSpPr>
            <a:spLocks/>
          </p:cNvSpPr>
          <p:nvPr userDrawn="1"/>
        </p:nvSpPr>
        <p:spPr bwMode="auto">
          <a:xfrm>
            <a:off x="2456226" y="3175"/>
            <a:ext cx="946539" cy="812236"/>
          </a:xfrm>
          <a:custGeom>
            <a:avLst/>
            <a:gdLst>
              <a:gd name="T0" fmla="*/ 76 w 399"/>
              <a:gd name="T1" fmla="*/ 206 h 344"/>
              <a:gd name="T2" fmla="*/ 396 w 399"/>
              <a:gd name="T3" fmla="*/ 336 h 344"/>
              <a:gd name="T4" fmla="*/ 396 w 399"/>
              <a:gd name="T5" fmla="*/ 332 h 344"/>
              <a:gd name="T6" fmla="*/ 13 w 399"/>
              <a:gd name="T7" fmla="*/ 0 h 344"/>
              <a:gd name="T8" fmla="*/ 0 w 399"/>
              <a:gd name="T9" fmla="*/ 0 h 344"/>
              <a:gd name="T10" fmla="*/ 76 w 399"/>
              <a:gd name="T11" fmla="*/ 206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9" h="344">
                <a:moveTo>
                  <a:pt x="76" y="206"/>
                </a:moveTo>
                <a:cubicBezTo>
                  <a:pt x="155" y="305"/>
                  <a:pt x="273" y="344"/>
                  <a:pt x="396" y="336"/>
                </a:cubicBezTo>
                <a:cubicBezTo>
                  <a:pt x="399" y="336"/>
                  <a:pt x="399" y="332"/>
                  <a:pt x="396" y="332"/>
                </a:cubicBezTo>
                <a:cubicBezTo>
                  <a:pt x="209" y="329"/>
                  <a:pt x="44" y="179"/>
                  <a:pt x="13" y="0"/>
                </a:cubicBezTo>
                <a:cubicBezTo>
                  <a:pt x="0" y="0"/>
                  <a:pt x="0" y="0"/>
                  <a:pt x="0" y="0"/>
                </a:cubicBezTo>
                <a:cubicBezTo>
                  <a:pt x="4" y="74"/>
                  <a:pt x="28" y="145"/>
                  <a:pt x="76" y="20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794" name="Freeform 232">
            <a:extLst>
              <a:ext uri="{FF2B5EF4-FFF2-40B4-BE49-F238E27FC236}">
                <a16:creationId xmlns:a16="http://schemas.microsoft.com/office/drawing/2014/main" id="{89310FDA-B108-4D3B-B0CF-3238C1B25345}"/>
              </a:ext>
            </a:extLst>
          </p:cNvPr>
          <p:cNvSpPr>
            <a:spLocks/>
          </p:cNvSpPr>
          <p:nvPr userDrawn="1"/>
        </p:nvSpPr>
        <p:spPr bwMode="auto">
          <a:xfrm>
            <a:off x="0" y="3175"/>
            <a:ext cx="173400" cy="136430"/>
          </a:xfrm>
          <a:custGeom>
            <a:avLst/>
            <a:gdLst>
              <a:gd name="T0" fmla="*/ 0 w 73"/>
              <a:gd name="T1" fmla="*/ 58 h 58"/>
              <a:gd name="T2" fmla="*/ 73 w 73"/>
              <a:gd name="T3" fmla="*/ 0 h 58"/>
              <a:gd name="T4" fmla="*/ 65 w 73"/>
              <a:gd name="T5" fmla="*/ 0 h 58"/>
              <a:gd name="T6" fmla="*/ 12 w 73"/>
              <a:gd name="T7" fmla="*/ 36 h 58"/>
              <a:gd name="T8" fmla="*/ 0 w 73"/>
              <a:gd name="T9" fmla="*/ 41 h 58"/>
              <a:gd name="T10" fmla="*/ 0 w 73"/>
              <a:gd name="T11" fmla="*/ 58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3" h="58">
                <a:moveTo>
                  <a:pt x="0" y="58"/>
                </a:moveTo>
                <a:cubicBezTo>
                  <a:pt x="27" y="44"/>
                  <a:pt x="53" y="23"/>
                  <a:pt x="73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49" y="14"/>
                  <a:pt x="32" y="27"/>
                  <a:pt x="12" y="36"/>
                </a:cubicBezTo>
                <a:cubicBezTo>
                  <a:pt x="8" y="38"/>
                  <a:pt x="4" y="40"/>
                  <a:pt x="0" y="41"/>
                </a:cubicBezTo>
                <a:lnTo>
                  <a:pt x="0" y="5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795" name="Freeform 233">
            <a:extLst>
              <a:ext uri="{FF2B5EF4-FFF2-40B4-BE49-F238E27FC236}">
                <a16:creationId xmlns:a16="http://schemas.microsoft.com/office/drawing/2014/main" id="{4B6E37F3-03E3-4D7D-8606-8402615C8529}"/>
              </a:ext>
            </a:extLst>
          </p:cNvPr>
          <p:cNvSpPr>
            <a:spLocks/>
          </p:cNvSpPr>
          <p:nvPr userDrawn="1"/>
        </p:nvSpPr>
        <p:spPr bwMode="auto">
          <a:xfrm>
            <a:off x="2290781" y="3175"/>
            <a:ext cx="286348" cy="653596"/>
          </a:xfrm>
          <a:custGeom>
            <a:avLst/>
            <a:gdLst>
              <a:gd name="T0" fmla="*/ 107 w 121"/>
              <a:gd name="T1" fmla="*/ 272 h 277"/>
              <a:gd name="T2" fmla="*/ 117 w 121"/>
              <a:gd name="T3" fmla="*/ 265 h 277"/>
              <a:gd name="T4" fmla="*/ 23 w 121"/>
              <a:gd name="T5" fmla="*/ 0 h 277"/>
              <a:gd name="T6" fmla="*/ 9 w 121"/>
              <a:gd name="T7" fmla="*/ 0 h 277"/>
              <a:gd name="T8" fmla="*/ 107 w 121"/>
              <a:gd name="T9" fmla="*/ 272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" h="277">
                <a:moveTo>
                  <a:pt x="107" y="272"/>
                </a:moveTo>
                <a:cubicBezTo>
                  <a:pt x="112" y="277"/>
                  <a:pt x="121" y="271"/>
                  <a:pt x="117" y="265"/>
                </a:cubicBezTo>
                <a:cubicBezTo>
                  <a:pt x="63" y="185"/>
                  <a:pt x="29" y="94"/>
                  <a:pt x="23" y="0"/>
                </a:cubicBezTo>
                <a:cubicBezTo>
                  <a:pt x="9" y="0"/>
                  <a:pt x="9" y="0"/>
                  <a:pt x="9" y="0"/>
                </a:cubicBezTo>
                <a:cubicBezTo>
                  <a:pt x="0" y="101"/>
                  <a:pt x="32" y="200"/>
                  <a:pt x="107" y="27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796" name="Freeform 234">
            <a:extLst>
              <a:ext uri="{FF2B5EF4-FFF2-40B4-BE49-F238E27FC236}">
                <a16:creationId xmlns:a16="http://schemas.microsoft.com/office/drawing/2014/main" id="{D293DDB9-E8E7-46E8-A91D-4905D690560D}"/>
              </a:ext>
            </a:extLst>
          </p:cNvPr>
          <p:cNvSpPr>
            <a:spLocks/>
          </p:cNvSpPr>
          <p:nvPr userDrawn="1"/>
        </p:nvSpPr>
        <p:spPr bwMode="auto">
          <a:xfrm>
            <a:off x="434294" y="3175"/>
            <a:ext cx="338845" cy="494956"/>
          </a:xfrm>
          <a:custGeom>
            <a:avLst/>
            <a:gdLst>
              <a:gd name="T0" fmla="*/ 3 w 143"/>
              <a:gd name="T1" fmla="*/ 199 h 210"/>
              <a:gd name="T2" fmla="*/ 8 w 143"/>
              <a:gd name="T3" fmla="*/ 209 h 210"/>
              <a:gd name="T4" fmla="*/ 125 w 143"/>
              <a:gd name="T5" fmla="*/ 105 h 210"/>
              <a:gd name="T6" fmla="*/ 138 w 143"/>
              <a:gd name="T7" fmla="*/ 0 h 210"/>
              <a:gd name="T8" fmla="*/ 125 w 143"/>
              <a:gd name="T9" fmla="*/ 0 h 210"/>
              <a:gd name="T10" fmla="*/ 98 w 143"/>
              <a:gd name="T11" fmla="*/ 100 h 210"/>
              <a:gd name="T12" fmla="*/ 3 w 143"/>
              <a:gd name="T13" fmla="*/ 199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3" h="210">
                <a:moveTo>
                  <a:pt x="3" y="199"/>
                </a:moveTo>
                <a:cubicBezTo>
                  <a:pt x="0" y="202"/>
                  <a:pt x="2" y="210"/>
                  <a:pt x="8" y="209"/>
                </a:cubicBezTo>
                <a:cubicBezTo>
                  <a:pt x="62" y="206"/>
                  <a:pt x="105" y="152"/>
                  <a:pt x="125" y="105"/>
                </a:cubicBezTo>
                <a:cubicBezTo>
                  <a:pt x="139" y="71"/>
                  <a:pt x="143" y="35"/>
                  <a:pt x="138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25" y="34"/>
                  <a:pt x="116" y="68"/>
                  <a:pt x="98" y="100"/>
                </a:cubicBezTo>
                <a:cubicBezTo>
                  <a:pt x="74" y="143"/>
                  <a:pt x="34" y="163"/>
                  <a:pt x="3" y="19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797" name="Freeform 235">
            <a:extLst>
              <a:ext uri="{FF2B5EF4-FFF2-40B4-BE49-F238E27FC236}">
                <a16:creationId xmlns:a16="http://schemas.microsoft.com/office/drawing/2014/main" id="{88F8C0F9-CBCE-4BAE-9F48-0A866E178DFE}"/>
              </a:ext>
            </a:extLst>
          </p:cNvPr>
          <p:cNvSpPr>
            <a:spLocks/>
          </p:cNvSpPr>
          <p:nvPr userDrawn="1"/>
        </p:nvSpPr>
        <p:spPr bwMode="auto">
          <a:xfrm>
            <a:off x="11140515" y="3175"/>
            <a:ext cx="1002217" cy="483852"/>
          </a:xfrm>
          <a:custGeom>
            <a:avLst/>
            <a:gdLst>
              <a:gd name="T0" fmla="*/ 212 w 422"/>
              <a:gd name="T1" fmla="*/ 154 h 205"/>
              <a:gd name="T2" fmla="*/ 422 w 422"/>
              <a:gd name="T3" fmla="*/ 205 h 205"/>
              <a:gd name="T4" fmla="*/ 422 w 422"/>
              <a:gd name="T5" fmla="*/ 167 h 205"/>
              <a:gd name="T6" fmla="*/ 243 w 422"/>
              <a:gd name="T7" fmla="*/ 129 h 205"/>
              <a:gd name="T8" fmla="*/ 25 w 422"/>
              <a:gd name="T9" fmla="*/ 0 h 205"/>
              <a:gd name="T10" fmla="*/ 0 w 422"/>
              <a:gd name="T11" fmla="*/ 0 h 205"/>
              <a:gd name="T12" fmla="*/ 212 w 422"/>
              <a:gd name="T13" fmla="*/ 154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22" h="205">
                <a:moveTo>
                  <a:pt x="212" y="154"/>
                </a:moveTo>
                <a:cubicBezTo>
                  <a:pt x="275" y="180"/>
                  <a:pt x="348" y="198"/>
                  <a:pt x="422" y="205"/>
                </a:cubicBezTo>
                <a:cubicBezTo>
                  <a:pt x="422" y="167"/>
                  <a:pt x="422" y="167"/>
                  <a:pt x="422" y="167"/>
                </a:cubicBezTo>
                <a:cubicBezTo>
                  <a:pt x="361" y="162"/>
                  <a:pt x="301" y="149"/>
                  <a:pt x="243" y="129"/>
                </a:cubicBezTo>
                <a:cubicBezTo>
                  <a:pt x="166" y="101"/>
                  <a:pt x="89" y="56"/>
                  <a:pt x="25" y="0"/>
                </a:cubicBezTo>
                <a:cubicBezTo>
                  <a:pt x="0" y="0"/>
                  <a:pt x="0" y="0"/>
                  <a:pt x="0" y="0"/>
                </a:cubicBezTo>
                <a:cubicBezTo>
                  <a:pt x="56" y="67"/>
                  <a:pt x="126" y="118"/>
                  <a:pt x="212" y="15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798" name="Freeform 236">
            <a:extLst>
              <a:ext uri="{FF2B5EF4-FFF2-40B4-BE49-F238E27FC236}">
                <a16:creationId xmlns:a16="http://schemas.microsoft.com/office/drawing/2014/main" id="{FB8C43A2-47D0-44AE-8177-EA6F61FFCB06}"/>
              </a:ext>
            </a:extLst>
          </p:cNvPr>
          <p:cNvSpPr>
            <a:spLocks/>
          </p:cNvSpPr>
          <p:nvPr userDrawn="1"/>
        </p:nvSpPr>
        <p:spPr bwMode="auto">
          <a:xfrm>
            <a:off x="9490834" y="748782"/>
            <a:ext cx="135220" cy="96771"/>
          </a:xfrm>
          <a:custGeom>
            <a:avLst/>
            <a:gdLst>
              <a:gd name="T0" fmla="*/ 2 w 57"/>
              <a:gd name="T1" fmla="*/ 41 h 41"/>
              <a:gd name="T2" fmla="*/ 55 w 57"/>
              <a:gd name="T3" fmla="*/ 5 h 41"/>
              <a:gd name="T4" fmla="*/ 53 w 57"/>
              <a:gd name="T5" fmla="*/ 2 h 41"/>
              <a:gd name="T6" fmla="*/ 28 w 57"/>
              <a:gd name="T7" fmla="*/ 22 h 41"/>
              <a:gd name="T8" fmla="*/ 1 w 57"/>
              <a:gd name="T9" fmla="*/ 39 h 41"/>
              <a:gd name="T10" fmla="*/ 2 w 57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" h="41">
                <a:moveTo>
                  <a:pt x="2" y="41"/>
                </a:moveTo>
                <a:cubicBezTo>
                  <a:pt x="21" y="34"/>
                  <a:pt x="43" y="21"/>
                  <a:pt x="55" y="5"/>
                </a:cubicBezTo>
                <a:cubicBezTo>
                  <a:pt x="57" y="3"/>
                  <a:pt x="55" y="0"/>
                  <a:pt x="53" y="2"/>
                </a:cubicBezTo>
                <a:cubicBezTo>
                  <a:pt x="44" y="8"/>
                  <a:pt x="37" y="16"/>
                  <a:pt x="28" y="22"/>
                </a:cubicBezTo>
                <a:cubicBezTo>
                  <a:pt x="20" y="28"/>
                  <a:pt x="10" y="33"/>
                  <a:pt x="1" y="39"/>
                </a:cubicBezTo>
                <a:cubicBezTo>
                  <a:pt x="0" y="39"/>
                  <a:pt x="1" y="41"/>
                  <a:pt x="2" y="4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799" name="Freeform 237">
            <a:extLst>
              <a:ext uri="{FF2B5EF4-FFF2-40B4-BE49-F238E27FC236}">
                <a16:creationId xmlns:a16="http://schemas.microsoft.com/office/drawing/2014/main" id="{D97357F0-1FC3-460D-8231-55CA67386F4A}"/>
              </a:ext>
            </a:extLst>
          </p:cNvPr>
          <p:cNvSpPr>
            <a:spLocks/>
          </p:cNvSpPr>
          <p:nvPr userDrawn="1"/>
        </p:nvSpPr>
        <p:spPr bwMode="auto">
          <a:xfrm>
            <a:off x="9702413" y="3175"/>
            <a:ext cx="1485826" cy="1857672"/>
          </a:xfrm>
          <a:custGeom>
            <a:avLst/>
            <a:gdLst>
              <a:gd name="T0" fmla="*/ 25 w 627"/>
              <a:gd name="T1" fmla="*/ 188 h 787"/>
              <a:gd name="T2" fmla="*/ 154 w 627"/>
              <a:gd name="T3" fmla="*/ 479 h 787"/>
              <a:gd name="T4" fmla="*/ 621 w 627"/>
              <a:gd name="T5" fmla="*/ 787 h 787"/>
              <a:gd name="T6" fmla="*/ 623 w 627"/>
              <a:gd name="T7" fmla="*/ 781 h 787"/>
              <a:gd name="T8" fmla="*/ 181 w 627"/>
              <a:gd name="T9" fmla="*/ 454 h 787"/>
              <a:gd name="T10" fmla="*/ 54 w 627"/>
              <a:gd name="T11" fmla="*/ 198 h 787"/>
              <a:gd name="T12" fmla="*/ 23 w 627"/>
              <a:gd name="T13" fmla="*/ 0 h 787"/>
              <a:gd name="T14" fmla="*/ 0 w 627"/>
              <a:gd name="T15" fmla="*/ 0 h 787"/>
              <a:gd name="T16" fmla="*/ 25 w 627"/>
              <a:gd name="T17" fmla="*/ 188 h 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7" h="787">
                <a:moveTo>
                  <a:pt x="25" y="188"/>
                </a:moveTo>
                <a:cubicBezTo>
                  <a:pt x="49" y="292"/>
                  <a:pt x="92" y="392"/>
                  <a:pt x="154" y="479"/>
                </a:cubicBezTo>
                <a:cubicBezTo>
                  <a:pt x="269" y="638"/>
                  <a:pt x="430" y="744"/>
                  <a:pt x="621" y="787"/>
                </a:cubicBezTo>
                <a:cubicBezTo>
                  <a:pt x="625" y="787"/>
                  <a:pt x="627" y="782"/>
                  <a:pt x="623" y="781"/>
                </a:cubicBezTo>
                <a:cubicBezTo>
                  <a:pt x="451" y="719"/>
                  <a:pt x="289" y="602"/>
                  <a:pt x="181" y="454"/>
                </a:cubicBezTo>
                <a:cubicBezTo>
                  <a:pt x="125" y="376"/>
                  <a:pt x="82" y="290"/>
                  <a:pt x="54" y="198"/>
                </a:cubicBezTo>
                <a:cubicBezTo>
                  <a:pt x="34" y="132"/>
                  <a:pt x="28" y="66"/>
                  <a:pt x="2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4"/>
                  <a:pt x="11" y="130"/>
                  <a:pt x="25" y="188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0" name="Freeform 238">
            <a:extLst>
              <a:ext uri="{FF2B5EF4-FFF2-40B4-BE49-F238E27FC236}">
                <a16:creationId xmlns:a16="http://schemas.microsoft.com/office/drawing/2014/main" id="{8B9E8BF8-B176-4C6E-BDF3-DFAFDD70B9C8}"/>
              </a:ext>
            </a:extLst>
          </p:cNvPr>
          <p:cNvSpPr>
            <a:spLocks/>
          </p:cNvSpPr>
          <p:nvPr userDrawn="1"/>
        </p:nvSpPr>
        <p:spPr bwMode="auto">
          <a:xfrm>
            <a:off x="0" y="515582"/>
            <a:ext cx="1565367" cy="791613"/>
          </a:xfrm>
          <a:custGeom>
            <a:avLst/>
            <a:gdLst>
              <a:gd name="T0" fmla="*/ 0 w 660"/>
              <a:gd name="T1" fmla="*/ 258 h 335"/>
              <a:gd name="T2" fmla="*/ 0 w 660"/>
              <a:gd name="T3" fmla="*/ 266 h 335"/>
              <a:gd name="T4" fmla="*/ 659 w 660"/>
              <a:gd name="T5" fmla="*/ 5 h 335"/>
              <a:gd name="T6" fmla="*/ 653 w 660"/>
              <a:gd name="T7" fmla="*/ 3 h 335"/>
              <a:gd name="T8" fmla="*/ 389 w 660"/>
              <a:gd name="T9" fmla="*/ 250 h 335"/>
              <a:gd name="T10" fmla="*/ 0 w 660"/>
              <a:gd name="T11" fmla="*/ 258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60" h="335">
                <a:moveTo>
                  <a:pt x="0" y="258"/>
                </a:moveTo>
                <a:cubicBezTo>
                  <a:pt x="0" y="266"/>
                  <a:pt x="0" y="266"/>
                  <a:pt x="0" y="266"/>
                </a:cubicBezTo>
                <a:cubicBezTo>
                  <a:pt x="247" y="335"/>
                  <a:pt x="578" y="283"/>
                  <a:pt x="659" y="5"/>
                </a:cubicBezTo>
                <a:cubicBezTo>
                  <a:pt x="660" y="1"/>
                  <a:pt x="655" y="0"/>
                  <a:pt x="653" y="3"/>
                </a:cubicBezTo>
                <a:cubicBezTo>
                  <a:pt x="610" y="122"/>
                  <a:pt x="506" y="209"/>
                  <a:pt x="389" y="250"/>
                </a:cubicBezTo>
                <a:cubicBezTo>
                  <a:pt x="260" y="296"/>
                  <a:pt x="130" y="281"/>
                  <a:pt x="0" y="258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3" name="Freeform 239">
            <a:extLst>
              <a:ext uri="{FF2B5EF4-FFF2-40B4-BE49-F238E27FC236}">
                <a16:creationId xmlns:a16="http://schemas.microsoft.com/office/drawing/2014/main" id="{65AFDF75-F494-43B8-ABD8-F3BB8DED5CB9}"/>
              </a:ext>
            </a:extLst>
          </p:cNvPr>
          <p:cNvSpPr>
            <a:spLocks/>
          </p:cNvSpPr>
          <p:nvPr userDrawn="1"/>
        </p:nvSpPr>
        <p:spPr bwMode="auto">
          <a:xfrm>
            <a:off x="10806443" y="3175"/>
            <a:ext cx="1336289" cy="731330"/>
          </a:xfrm>
          <a:custGeom>
            <a:avLst/>
            <a:gdLst>
              <a:gd name="T0" fmla="*/ 273 w 563"/>
              <a:gd name="T1" fmla="*/ 242 h 310"/>
              <a:gd name="T2" fmla="*/ 563 w 563"/>
              <a:gd name="T3" fmla="*/ 310 h 310"/>
              <a:gd name="T4" fmla="*/ 563 w 563"/>
              <a:gd name="T5" fmla="*/ 279 h 310"/>
              <a:gd name="T6" fmla="*/ 299 w 563"/>
              <a:gd name="T7" fmla="*/ 213 h 310"/>
              <a:gd name="T8" fmla="*/ 32 w 563"/>
              <a:gd name="T9" fmla="*/ 0 h 310"/>
              <a:gd name="T10" fmla="*/ 0 w 563"/>
              <a:gd name="T11" fmla="*/ 0 h 310"/>
              <a:gd name="T12" fmla="*/ 273 w 563"/>
              <a:gd name="T13" fmla="*/ 242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3" h="310">
                <a:moveTo>
                  <a:pt x="273" y="242"/>
                </a:moveTo>
                <a:cubicBezTo>
                  <a:pt x="367" y="285"/>
                  <a:pt x="464" y="308"/>
                  <a:pt x="563" y="310"/>
                </a:cubicBezTo>
                <a:cubicBezTo>
                  <a:pt x="563" y="279"/>
                  <a:pt x="563" y="279"/>
                  <a:pt x="563" y="279"/>
                </a:cubicBezTo>
                <a:cubicBezTo>
                  <a:pt x="471" y="272"/>
                  <a:pt x="381" y="250"/>
                  <a:pt x="299" y="213"/>
                </a:cubicBezTo>
                <a:cubicBezTo>
                  <a:pt x="197" y="165"/>
                  <a:pt x="96" y="94"/>
                  <a:pt x="32" y="0"/>
                </a:cubicBezTo>
                <a:cubicBezTo>
                  <a:pt x="0" y="0"/>
                  <a:pt x="0" y="0"/>
                  <a:pt x="0" y="0"/>
                </a:cubicBezTo>
                <a:cubicBezTo>
                  <a:pt x="52" y="110"/>
                  <a:pt x="160" y="192"/>
                  <a:pt x="273" y="24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4" name="Freeform 240">
            <a:extLst>
              <a:ext uri="{FF2B5EF4-FFF2-40B4-BE49-F238E27FC236}">
                <a16:creationId xmlns:a16="http://schemas.microsoft.com/office/drawing/2014/main" id="{C88F058B-052F-4B29-8578-829159D5FFC5}"/>
              </a:ext>
            </a:extLst>
          </p:cNvPr>
          <p:cNvSpPr>
            <a:spLocks/>
          </p:cNvSpPr>
          <p:nvPr userDrawn="1"/>
        </p:nvSpPr>
        <p:spPr bwMode="auto">
          <a:xfrm>
            <a:off x="9661052" y="428330"/>
            <a:ext cx="590195" cy="1135861"/>
          </a:xfrm>
          <a:custGeom>
            <a:avLst/>
            <a:gdLst>
              <a:gd name="T0" fmla="*/ 246 w 249"/>
              <a:gd name="T1" fmla="*/ 475 h 481"/>
              <a:gd name="T2" fmla="*/ 1 w 249"/>
              <a:gd name="T3" fmla="*/ 1 h 481"/>
              <a:gd name="T4" fmla="*/ 0 w 249"/>
              <a:gd name="T5" fmla="*/ 1 h 481"/>
              <a:gd name="T6" fmla="*/ 242 w 249"/>
              <a:gd name="T7" fmla="*/ 479 h 481"/>
              <a:gd name="T8" fmla="*/ 246 w 249"/>
              <a:gd name="T9" fmla="*/ 475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9" h="481">
                <a:moveTo>
                  <a:pt x="246" y="475"/>
                </a:moveTo>
                <a:cubicBezTo>
                  <a:pt x="122" y="348"/>
                  <a:pt x="30" y="176"/>
                  <a:pt x="1" y="1"/>
                </a:cubicBezTo>
                <a:cubicBezTo>
                  <a:pt x="1" y="0"/>
                  <a:pt x="0" y="0"/>
                  <a:pt x="0" y="1"/>
                </a:cubicBezTo>
                <a:cubicBezTo>
                  <a:pt x="11" y="193"/>
                  <a:pt x="91" y="359"/>
                  <a:pt x="242" y="479"/>
                </a:cubicBezTo>
                <a:cubicBezTo>
                  <a:pt x="245" y="481"/>
                  <a:pt x="249" y="478"/>
                  <a:pt x="246" y="475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5" name="Freeform 241">
            <a:extLst>
              <a:ext uri="{FF2B5EF4-FFF2-40B4-BE49-F238E27FC236}">
                <a16:creationId xmlns:a16="http://schemas.microsoft.com/office/drawing/2014/main" id="{755F22D3-F403-446A-BEA8-46F930C1B06C}"/>
              </a:ext>
            </a:extLst>
          </p:cNvPr>
          <p:cNvSpPr>
            <a:spLocks/>
          </p:cNvSpPr>
          <p:nvPr userDrawn="1"/>
        </p:nvSpPr>
        <p:spPr bwMode="auto">
          <a:xfrm>
            <a:off x="8838597" y="767819"/>
            <a:ext cx="574287" cy="155467"/>
          </a:xfrm>
          <a:custGeom>
            <a:avLst/>
            <a:gdLst>
              <a:gd name="T0" fmla="*/ 242 w 242"/>
              <a:gd name="T1" fmla="*/ 1 h 66"/>
              <a:gd name="T2" fmla="*/ 241 w 242"/>
              <a:gd name="T3" fmla="*/ 1 h 66"/>
              <a:gd name="T4" fmla="*/ 5 w 242"/>
              <a:gd name="T5" fmla="*/ 42 h 66"/>
              <a:gd name="T6" fmla="*/ 4 w 242"/>
              <a:gd name="T7" fmla="*/ 49 h 66"/>
              <a:gd name="T8" fmla="*/ 242 w 242"/>
              <a:gd name="T9" fmla="*/ 1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2" h="66">
                <a:moveTo>
                  <a:pt x="242" y="1"/>
                </a:moveTo>
                <a:cubicBezTo>
                  <a:pt x="242" y="1"/>
                  <a:pt x="242" y="0"/>
                  <a:pt x="241" y="1"/>
                </a:cubicBezTo>
                <a:cubicBezTo>
                  <a:pt x="164" y="37"/>
                  <a:pt x="90" y="46"/>
                  <a:pt x="5" y="42"/>
                </a:cubicBezTo>
                <a:cubicBezTo>
                  <a:pt x="1" y="41"/>
                  <a:pt x="0" y="48"/>
                  <a:pt x="4" y="49"/>
                </a:cubicBezTo>
                <a:cubicBezTo>
                  <a:pt x="85" y="66"/>
                  <a:pt x="172" y="44"/>
                  <a:pt x="242" y="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6" name="Freeform 242">
            <a:extLst>
              <a:ext uri="{FF2B5EF4-FFF2-40B4-BE49-F238E27FC236}">
                <a16:creationId xmlns:a16="http://schemas.microsoft.com/office/drawing/2014/main" id="{F615027D-CF8C-499C-8611-FE77A0A04D1D}"/>
              </a:ext>
            </a:extLst>
          </p:cNvPr>
          <p:cNvSpPr>
            <a:spLocks/>
          </p:cNvSpPr>
          <p:nvPr userDrawn="1"/>
        </p:nvSpPr>
        <p:spPr bwMode="auto">
          <a:xfrm>
            <a:off x="8450437" y="883626"/>
            <a:ext cx="803365" cy="164985"/>
          </a:xfrm>
          <a:custGeom>
            <a:avLst/>
            <a:gdLst>
              <a:gd name="T0" fmla="*/ 337 w 339"/>
              <a:gd name="T1" fmla="*/ 21 h 70"/>
              <a:gd name="T2" fmla="*/ 336 w 339"/>
              <a:gd name="T3" fmla="*/ 18 h 70"/>
              <a:gd name="T4" fmla="*/ 1 w 339"/>
              <a:gd name="T5" fmla="*/ 0 h 70"/>
              <a:gd name="T6" fmla="*/ 1 w 339"/>
              <a:gd name="T7" fmla="*/ 2 h 70"/>
              <a:gd name="T8" fmla="*/ 337 w 339"/>
              <a:gd name="T9" fmla="*/ 21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9" h="70">
                <a:moveTo>
                  <a:pt x="337" y="21"/>
                </a:moveTo>
                <a:cubicBezTo>
                  <a:pt x="339" y="20"/>
                  <a:pt x="338" y="17"/>
                  <a:pt x="336" y="18"/>
                </a:cubicBezTo>
                <a:cubicBezTo>
                  <a:pt x="220" y="47"/>
                  <a:pt x="114" y="44"/>
                  <a:pt x="1" y="0"/>
                </a:cubicBezTo>
                <a:cubicBezTo>
                  <a:pt x="1" y="0"/>
                  <a:pt x="0" y="1"/>
                  <a:pt x="1" y="2"/>
                </a:cubicBezTo>
                <a:cubicBezTo>
                  <a:pt x="100" y="61"/>
                  <a:pt x="232" y="70"/>
                  <a:pt x="337" y="2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7" name="Freeform 243">
            <a:extLst>
              <a:ext uri="{FF2B5EF4-FFF2-40B4-BE49-F238E27FC236}">
                <a16:creationId xmlns:a16="http://schemas.microsoft.com/office/drawing/2014/main" id="{C9A9DB52-167C-447D-BD73-71116E812D8B}"/>
              </a:ext>
            </a:extLst>
          </p:cNvPr>
          <p:cNvSpPr>
            <a:spLocks/>
          </p:cNvSpPr>
          <p:nvPr userDrawn="1"/>
        </p:nvSpPr>
        <p:spPr bwMode="auto">
          <a:xfrm>
            <a:off x="9101083" y="983569"/>
            <a:ext cx="365889" cy="136430"/>
          </a:xfrm>
          <a:custGeom>
            <a:avLst/>
            <a:gdLst>
              <a:gd name="T0" fmla="*/ 5 w 154"/>
              <a:gd name="T1" fmla="*/ 55 h 58"/>
              <a:gd name="T2" fmla="*/ 154 w 154"/>
              <a:gd name="T3" fmla="*/ 1 h 58"/>
              <a:gd name="T4" fmla="*/ 153 w 154"/>
              <a:gd name="T5" fmla="*/ 0 h 58"/>
              <a:gd name="T6" fmla="*/ 5 w 154"/>
              <a:gd name="T7" fmla="*/ 47 h 58"/>
              <a:gd name="T8" fmla="*/ 5 w 154"/>
              <a:gd name="T9" fmla="*/ 55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4" h="58">
                <a:moveTo>
                  <a:pt x="5" y="55"/>
                </a:moveTo>
                <a:cubicBezTo>
                  <a:pt x="58" y="58"/>
                  <a:pt x="115" y="35"/>
                  <a:pt x="154" y="1"/>
                </a:cubicBezTo>
                <a:cubicBezTo>
                  <a:pt x="154" y="0"/>
                  <a:pt x="154" y="0"/>
                  <a:pt x="153" y="0"/>
                </a:cubicBezTo>
                <a:cubicBezTo>
                  <a:pt x="105" y="29"/>
                  <a:pt x="61" y="41"/>
                  <a:pt x="5" y="47"/>
                </a:cubicBezTo>
                <a:cubicBezTo>
                  <a:pt x="0" y="47"/>
                  <a:pt x="0" y="55"/>
                  <a:pt x="5" y="55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8" name="Freeform 244">
            <a:extLst>
              <a:ext uri="{FF2B5EF4-FFF2-40B4-BE49-F238E27FC236}">
                <a16:creationId xmlns:a16="http://schemas.microsoft.com/office/drawing/2014/main" id="{3A156209-6585-42CC-9A85-AB63F728C88B}"/>
              </a:ext>
            </a:extLst>
          </p:cNvPr>
          <p:cNvSpPr>
            <a:spLocks/>
          </p:cNvSpPr>
          <p:nvPr userDrawn="1"/>
        </p:nvSpPr>
        <p:spPr bwMode="auto">
          <a:xfrm>
            <a:off x="8340671" y="395016"/>
            <a:ext cx="1247203" cy="412463"/>
          </a:xfrm>
          <a:custGeom>
            <a:avLst/>
            <a:gdLst>
              <a:gd name="T0" fmla="*/ 524 w 526"/>
              <a:gd name="T1" fmla="*/ 87 h 175"/>
              <a:gd name="T2" fmla="*/ 234 w 526"/>
              <a:gd name="T3" fmla="*/ 114 h 175"/>
              <a:gd name="T4" fmla="*/ 115 w 526"/>
              <a:gd name="T5" fmla="*/ 67 h 175"/>
              <a:gd name="T6" fmla="*/ 11 w 526"/>
              <a:gd name="T7" fmla="*/ 2 h 175"/>
              <a:gd name="T8" fmla="*/ 2 w 526"/>
              <a:gd name="T9" fmla="*/ 8 h 175"/>
              <a:gd name="T10" fmla="*/ 223 w 526"/>
              <a:gd name="T11" fmla="*/ 152 h 175"/>
              <a:gd name="T12" fmla="*/ 525 w 526"/>
              <a:gd name="T13" fmla="*/ 89 h 175"/>
              <a:gd name="T14" fmla="*/ 524 w 526"/>
              <a:gd name="T15" fmla="*/ 87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26" h="175">
                <a:moveTo>
                  <a:pt x="524" y="87"/>
                </a:moveTo>
                <a:cubicBezTo>
                  <a:pt x="434" y="124"/>
                  <a:pt x="330" y="136"/>
                  <a:pt x="234" y="114"/>
                </a:cubicBezTo>
                <a:cubicBezTo>
                  <a:pt x="192" y="105"/>
                  <a:pt x="153" y="89"/>
                  <a:pt x="115" y="67"/>
                </a:cubicBezTo>
                <a:cubicBezTo>
                  <a:pt x="80" y="47"/>
                  <a:pt x="48" y="18"/>
                  <a:pt x="11" y="2"/>
                </a:cubicBezTo>
                <a:cubicBezTo>
                  <a:pt x="7" y="0"/>
                  <a:pt x="0" y="3"/>
                  <a:pt x="2" y="8"/>
                </a:cubicBezTo>
                <a:cubicBezTo>
                  <a:pt x="33" y="90"/>
                  <a:pt x="145" y="136"/>
                  <a:pt x="223" y="152"/>
                </a:cubicBezTo>
                <a:cubicBezTo>
                  <a:pt x="331" y="175"/>
                  <a:pt x="435" y="150"/>
                  <a:pt x="525" y="89"/>
                </a:cubicBezTo>
                <a:cubicBezTo>
                  <a:pt x="526" y="88"/>
                  <a:pt x="525" y="86"/>
                  <a:pt x="524" y="8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9" name="Freeform 245">
            <a:extLst>
              <a:ext uri="{FF2B5EF4-FFF2-40B4-BE49-F238E27FC236}">
                <a16:creationId xmlns:a16="http://schemas.microsoft.com/office/drawing/2014/main" id="{14D6774C-4F41-4E0A-94E1-3F88B443072F}"/>
              </a:ext>
            </a:extLst>
          </p:cNvPr>
          <p:cNvSpPr>
            <a:spLocks/>
          </p:cNvSpPr>
          <p:nvPr userDrawn="1"/>
        </p:nvSpPr>
        <p:spPr bwMode="auto">
          <a:xfrm>
            <a:off x="9196532" y="418811"/>
            <a:ext cx="404068" cy="111048"/>
          </a:xfrm>
          <a:custGeom>
            <a:avLst/>
            <a:gdLst>
              <a:gd name="T0" fmla="*/ 165 w 170"/>
              <a:gd name="T1" fmla="*/ 12 h 47"/>
              <a:gd name="T2" fmla="*/ 160 w 170"/>
              <a:gd name="T3" fmla="*/ 2 h 47"/>
              <a:gd name="T4" fmla="*/ 88 w 170"/>
              <a:gd name="T5" fmla="*/ 27 h 47"/>
              <a:gd name="T6" fmla="*/ 1 w 170"/>
              <a:gd name="T7" fmla="*/ 32 h 47"/>
              <a:gd name="T8" fmla="*/ 1 w 170"/>
              <a:gd name="T9" fmla="*/ 33 h 47"/>
              <a:gd name="T10" fmla="*/ 165 w 170"/>
              <a:gd name="T11" fmla="*/ 12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0" h="47">
                <a:moveTo>
                  <a:pt x="165" y="12"/>
                </a:moveTo>
                <a:cubicBezTo>
                  <a:pt x="170" y="9"/>
                  <a:pt x="167" y="0"/>
                  <a:pt x="160" y="2"/>
                </a:cubicBezTo>
                <a:cubicBezTo>
                  <a:pt x="136" y="11"/>
                  <a:pt x="113" y="22"/>
                  <a:pt x="88" y="27"/>
                </a:cubicBezTo>
                <a:cubicBezTo>
                  <a:pt x="59" y="34"/>
                  <a:pt x="30" y="33"/>
                  <a:pt x="1" y="32"/>
                </a:cubicBezTo>
                <a:cubicBezTo>
                  <a:pt x="0" y="32"/>
                  <a:pt x="0" y="33"/>
                  <a:pt x="1" y="33"/>
                </a:cubicBezTo>
                <a:cubicBezTo>
                  <a:pt x="52" y="47"/>
                  <a:pt x="119" y="41"/>
                  <a:pt x="165" y="1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10" name="Freeform 246">
            <a:extLst>
              <a:ext uri="{FF2B5EF4-FFF2-40B4-BE49-F238E27FC236}">
                <a16:creationId xmlns:a16="http://schemas.microsoft.com/office/drawing/2014/main" id="{22011124-7CC7-493F-AADE-8F5E32326FA0}"/>
              </a:ext>
            </a:extLst>
          </p:cNvPr>
          <p:cNvSpPr>
            <a:spLocks/>
          </p:cNvSpPr>
          <p:nvPr userDrawn="1"/>
        </p:nvSpPr>
        <p:spPr bwMode="auto">
          <a:xfrm>
            <a:off x="9320616" y="1004192"/>
            <a:ext cx="388160" cy="371217"/>
          </a:xfrm>
          <a:custGeom>
            <a:avLst/>
            <a:gdLst>
              <a:gd name="T0" fmla="*/ 3 w 164"/>
              <a:gd name="T1" fmla="*/ 156 h 157"/>
              <a:gd name="T2" fmla="*/ 161 w 164"/>
              <a:gd name="T3" fmla="*/ 8 h 157"/>
              <a:gd name="T4" fmla="*/ 155 w 164"/>
              <a:gd name="T5" fmla="*/ 3 h 157"/>
              <a:gd name="T6" fmla="*/ 81 w 164"/>
              <a:gd name="T7" fmla="*/ 82 h 157"/>
              <a:gd name="T8" fmla="*/ 1 w 164"/>
              <a:gd name="T9" fmla="*/ 154 h 157"/>
              <a:gd name="T10" fmla="*/ 3 w 164"/>
              <a:gd name="T11" fmla="*/ 156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4" h="157">
                <a:moveTo>
                  <a:pt x="3" y="156"/>
                </a:moveTo>
                <a:cubicBezTo>
                  <a:pt x="61" y="119"/>
                  <a:pt x="124" y="67"/>
                  <a:pt x="161" y="8"/>
                </a:cubicBezTo>
                <a:cubicBezTo>
                  <a:pt x="164" y="4"/>
                  <a:pt x="158" y="0"/>
                  <a:pt x="155" y="3"/>
                </a:cubicBezTo>
                <a:cubicBezTo>
                  <a:pt x="129" y="28"/>
                  <a:pt x="107" y="57"/>
                  <a:pt x="81" y="82"/>
                </a:cubicBezTo>
                <a:cubicBezTo>
                  <a:pt x="56" y="108"/>
                  <a:pt x="28" y="131"/>
                  <a:pt x="1" y="154"/>
                </a:cubicBezTo>
                <a:cubicBezTo>
                  <a:pt x="0" y="155"/>
                  <a:pt x="2" y="157"/>
                  <a:pt x="3" y="15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11" name="Freeform 247">
            <a:extLst>
              <a:ext uri="{FF2B5EF4-FFF2-40B4-BE49-F238E27FC236}">
                <a16:creationId xmlns:a16="http://schemas.microsoft.com/office/drawing/2014/main" id="{0F1871F0-AD6C-43C5-97C8-1EA34BC09232}"/>
              </a:ext>
            </a:extLst>
          </p:cNvPr>
          <p:cNvSpPr>
            <a:spLocks/>
          </p:cNvSpPr>
          <p:nvPr userDrawn="1"/>
        </p:nvSpPr>
        <p:spPr bwMode="auto">
          <a:xfrm>
            <a:off x="10219429" y="1013711"/>
            <a:ext cx="1242431" cy="810650"/>
          </a:xfrm>
          <a:custGeom>
            <a:avLst/>
            <a:gdLst>
              <a:gd name="T0" fmla="*/ 1 w 524"/>
              <a:gd name="T1" fmla="*/ 2 h 343"/>
              <a:gd name="T2" fmla="*/ 234 w 524"/>
              <a:gd name="T3" fmla="*/ 215 h 343"/>
              <a:gd name="T4" fmla="*/ 522 w 524"/>
              <a:gd name="T5" fmla="*/ 343 h 343"/>
              <a:gd name="T6" fmla="*/ 523 w 524"/>
              <a:gd name="T7" fmla="*/ 341 h 343"/>
              <a:gd name="T8" fmla="*/ 249 w 524"/>
              <a:gd name="T9" fmla="*/ 190 h 343"/>
              <a:gd name="T10" fmla="*/ 1 w 524"/>
              <a:gd name="T11" fmla="*/ 1 h 343"/>
              <a:gd name="T12" fmla="*/ 1 w 524"/>
              <a:gd name="T13" fmla="*/ 2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4" h="343">
                <a:moveTo>
                  <a:pt x="1" y="2"/>
                </a:moveTo>
                <a:cubicBezTo>
                  <a:pt x="70" y="81"/>
                  <a:pt x="146" y="156"/>
                  <a:pt x="234" y="215"/>
                </a:cubicBezTo>
                <a:cubicBezTo>
                  <a:pt x="320" y="274"/>
                  <a:pt x="423" y="311"/>
                  <a:pt x="522" y="343"/>
                </a:cubicBezTo>
                <a:cubicBezTo>
                  <a:pt x="524" y="343"/>
                  <a:pt x="524" y="341"/>
                  <a:pt x="523" y="341"/>
                </a:cubicBezTo>
                <a:cubicBezTo>
                  <a:pt x="424" y="301"/>
                  <a:pt x="338" y="247"/>
                  <a:pt x="249" y="190"/>
                </a:cubicBezTo>
                <a:cubicBezTo>
                  <a:pt x="161" y="135"/>
                  <a:pt x="76" y="73"/>
                  <a:pt x="1" y="1"/>
                </a:cubicBezTo>
                <a:cubicBezTo>
                  <a:pt x="1" y="0"/>
                  <a:pt x="0" y="1"/>
                  <a:pt x="1" y="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12" name="Freeform 248">
            <a:extLst>
              <a:ext uri="{FF2B5EF4-FFF2-40B4-BE49-F238E27FC236}">
                <a16:creationId xmlns:a16="http://schemas.microsoft.com/office/drawing/2014/main" id="{4F4AEA25-BD58-4269-9168-2DBF29B4FD93}"/>
              </a:ext>
            </a:extLst>
          </p:cNvPr>
          <p:cNvSpPr>
            <a:spLocks/>
          </p:cNvSpPr>
          <p:nvPr userDrawn="1"/>
        </p:nvSpPr>
        <p:spPr bwMode="auto">
          <a:xfrm>
            <a:off x="8210224" y="826516"/>
            <a:ext cx="241805" cy="125326"/>
          </a:xfrm>
          <a:custGeom>
            <a:avLst/>
            <a:gdLst>
              <a:gd name="T0" fmla="*/ 0 w 102"/>
              <a:gd name="T1" fmla="*/ 0 h 53"/>
              <a:gd name="T2" fmla="*/ 0 w 102"/>
              <a:gd name="T3" fmla="*/ 1 h 53"/>
              <a:gd name="T4" fmla="*/ 97 w 102"/>
              <a:gd name="T5" fmla="*/ 52 h 53"/>
              <a:gd name="T6" fmla="*/ 98 w 102"/>
              <a:gd name="T7" fmla="*/ 44 h 53"/>
              <a:gd name="T8" fmla="*/ 0 w 102"/>
              <a:gd name="T9" fmla="*/ 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53">
                <a:moveTo>
                  <a:pt x="0" y="0"/>
                </a:moveTo>
                <a:cubicBezTo>
                  <a:pt x="0" y="0"/>
                  <a:pt x="0" y="1"/>
                  <a:pt x="0" y="1"/>
                </a:cubicBezTo>
                <a:cubicBezTo>
                  <a:pt x="27" y="25"/>
                  <a:pt x="59" y="49"/>
                  <a:pt x="97" y="52"/>
                </a:cubicBezTo>
                <a:cubicBezTo>
                  <a:pt x="102" y="53"/>
                  <a:pt x="102" y="45"/>
                  <a:pt x="98" y="44"/>
                </a:cubicBezTo>
                <a:cubicBezTo>
                  <a:pt x="63" y="32"/>
                  <a:pt x="30" y="23"/>
                  <a:pt x="0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13" name="Freeform 249">
            <a:extLst>
              <a:ext uri="{FF2B5EF4-FFF2-40B4-BE49-F238E27FC236}">
                <a16:creationId xmlns:a16="http://schemas.microsoft.com/office/drawing/2014/main" id="{B796353D-B5EC-4272-BC4D-3A6F965BCA53}"/>
              </a:ext>
            </a:extLst>
          </p:cNvPr>
          <p:cNvSpPr>
            <a:spLocks/>
          </p:cNvSpPr>
          <p:nvPr userDrawn="1"/>
        </p:nvSpPr>
        <p:spPr bwMode="auto">
          <a:xfrm>
            <a:off x="8124320" y="228443"/>
            <a:ext cx="536107" cy="598072"/>
          </a:xfrm>
          <a:custGeom>
            <a:avLst/>
            <a:gdLst>
              <a:gd name="T0" fmla="*/ 225 w 226"/>
              <a:gd name="T1" fmla="*/ 251 h 253"/>
              <a:gd name="T2" fmla="*/ 5 w 226"/>
              <a:gd name="T3" fmla="*/ 2 h 253"/>
              <a:gd name="T4" fmla="*/ 0 w 226"/>
              <a:gd name="T5" fmla="*/ 3 h 253"/>
              <a:gd name="T6" fmla="*/ 224 w 226"/>
              <a:gd name="T7" fmla="*/ 253 h 253"/>
              <a:gd name="T8" fmla="*/ 225 w 226"/>
              <a:gd name="T9" fmla="*/ 251 h 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6" h="253">
                <a:moveTo>
                  <a:pt x="225" y="251"/>
                </a:moveTo>
                <a:cubicBezTo>
                  <a:pt x="108" y="203"/>
                  <a:pt x="45" y="118"/>
                  <a:pt x="5" y="2"/>
                </a:cubicBezTo>
                <a:cubicBezTo>
                  <a:pt x="4" y="0"/>
                  <a:pt x="0" y="0"/>
                  <a:pt x="0" y="3"/>
                </a:cubicBezTo>
                <a:cubicBezTo>
                  <a:pt x="8" y="120"/>
                  <a:pt x="113" y="226"/>
                  <a:pt x="224" y="253"/>
                </a:cubicBezTo>
                <a:cubicBezTo>
                  <a:pt x="226" y="253"/>
                  <a:pt x="226" y="251"/>
                  <a:pt x="225" y="25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14" name="Freeform 250">
            <a:extLst>
              <a:ext uri="{FF2B5EF4-FFF2-40B4-BE49-F238E27FC236}">
                <a16:creationId xmlns:a16="http://schemas.microsoft.com/office/drawing/2014/main" id="{821B3DB0-3EC4-440A-9C73-0368BD27EEBF}"/>
              </a:ext>
            </a:extLst>
          </p:cNvPr>
          <p:cNvSpPr>
            <a:spLocks/>
          </p:cNvSpPr>
          <p:nvPr userDrawn="1"/>
        </p:nvSpPr>
        <p:spPr bwMode="auto">
          <a:xfrm>
            <a:off x="11601853" y="1559432"/>
            <a:ext cx="233851" cy="84080"/>
          </a:xfrm>
          <a:custGeom>
            <a:avLst/>
            <a:gdLst>
              <a:gd name="T0" fmla="*/ 4 w 99"/>
              <a:gd name="T1" fmla="*/ 1 h 36"/>
              <a:gd name="T2" fmla="*/ 1 w 99"/>
              <a:gd name="T3" fmla="*/ 5 h 36"/>
              <a:gd name="T4" fmla="*/ 99 w 99"/>
              <a:gd name="T5" fmla="*/ 30 h 36"/>
              <a:gd name="T6" fmla="*/ 99 w 99"/>
              <a:gd name="T7" fmla="*/ 30 h 36"/>
              <a:gd name="T8" fmla="*/ 47 w 99"/>
              <a:gd name="T9" fmla="*/ 21 h 36"/>
              <a:gd name="T10" fmla="*/ 4 w 99"/>
              <a:gd name="T11" fmla="*/ 1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9" h="36">
                <a:moveTo>
                  <a:pt x="4" y="1"/>
                </a:moveTo>
                <a:cubicBezTo>
                  <a:pt x="2" y="0"/>
                  <a:pt x="0" y="3"/>
                  <a:pt x="1" y="5"/>
                </a:cubicBezTo>
                <a:cubicBezTo>
                  <a:pt x="19" y="34"/>
                  <a:pt x="70" y="36"/>
                  <a:pt x="99" y="30"/>
                </a:cubicBezTo>
                <a:cubicBezTo>
                  <a:pt x="99" y="30"/>
                  <a:pt x="99" y="30"/>
                  <a:pt x="99" y="30"/>
                </a:cubicBezTo>
                <a:cubicBezTo>
                  <a:pt x="81" y="29"/>
                  <a:pt x="64" y="27"/>
                  <a:pt x="47" y="21"/>
                </a:cubicBezTo>
                <a:cubicBezTo>
                  <a:pt x="32" y="15"/>
                  <a:pt x="19" y="4"/>
                  <a:pt x="4" y="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15" name="Freeform 251">
            <a:extLst>
              <a:ext uri="{FF2B5EF4-FFF2-40B4-BE49-F238E27FC236}">
                <a16:creationId xmlns:a16="http://schemas.microsoft.com/office/drawing/2014/main" id="{33870A2E-2723-4923-BDAE-3657B3C1AE3E}"/>
              </a:ext>
            </a:extLst>
          </p:cNvPr>
          <p:cNvSpPr>
            <a:spLocks/>
          </p:cNvSpPr>
          <p:nvPr userDrawn="1"/>
        </p:nvSpPr>
        <p:spPr bwMode="auto">
          <a:xfrm>
            <a:off x="11482541" y="820170"/>
            <a:ext cx="660191" cy="145949"/>
          </a:xfrm>
          <a:custGeom>
            <a:avLst/>
            <a:gdLst>
              <a:gd name="T0" fmla="*/ 192 w 278"/>
              <a:gd name="T1" fmla="*/ 27 h 62"/>
              <a:gd name="T2" fmla="*/ 9 w 278"/>
              <a:gd name="T3" fmla="*/ 11 h 62"/>
              <a:gd name="T4" fmla="*/ 6 w 278"/>
              <a:gd name="T5" fmla="*/ 27 h 62"/>
              <a:gd name="T6" fmla="*/ 218 w 278"/>
              <a:gd name="T7" fmla="*/ 60 h 62"/>
              <a:gd name="T8" fmla="*/ 278 w 278"/>
              <a:gd name="T9" fmla="*/ 53 h 62"/>
              <a:gd name="T10" fmla="*/ 278 w 278"/>
              <a:gd name="T11" fmla="*/ 29 h 62"/>
              <a:gd name="T12" fmla="*/ 192 w 278"/>
              <a:gd name="T13" fmla="*/ 27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8" h="62">
                <a:moveTo>
                  <a:pt x="192" y="27"/>
                </a:moveTo>
                <a:cubicBezTo>
                  <a:pt x="133" y="23"/>
                  <a:pt x="67" y="0"/>
                  <a:pt x="9" y="11"/>
                </a:cubicBezTo>
                <a:cubicBezTo>
                  <a:pt x="1" y="13"/>
                  <a:pt x="0" y="24"/>
                  <a:pt x="6" y="27"/>
                </a:cubicBezTo>
                <a:cubicBezTo>
                  <a:pt x="62" y="61"/>
                  <a:pt x="154" y="62"/>
                  <a:pt x="218" y="60"/>
                </a:cubicBezTo>
                <a:cubicBezTo>
                  <a:pt x="238" y="59"/>
                  <a:pt x="258" y="57"/>
                  <a:pt x="278" y="53"/>
                </a:cubicBezTo>
                <a:cubicBezTo>
                  <a:pt x="278" y="29"/>
                  <a:pt x="278" y="29"/>
                  <a:pt x="278" y="29"/>
                </a:cubicBezTo>
                <a:cubicBezTo>
                  <a:pt x="249" y="30"/>
                  <a:pt x="221" y="29"/>
                  <a:pt x="192" y="2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16" name="Freeform 252">
            <a:extLst>
              <a:ext uri="{FF2B5EF4-FFF2-40B4-BE49-F238E27FC236}">
                <a16:creationId xmlns:a16="http://schemas.microsoft.com/office/drawing/2014/main" id="{27F333C9-5D6E-4C4D-BD47-5C1F2233B7A6}"/>
              </a:ext>
            </a:extLst>
          </p:cNvPr>
          <p:cNvSpPr>
            <a:spLocks/>
          </p:cNvSpPr>
          <p:nvPr userDrawn="1"/>
        </p:nvSpPr>
        <p:spPr bwMode="auto">
          <a:xfrm>
            <a:off x="11347321" y="1324645"/>
            <a:ext cx="795410" cy="201473"/>
          </a:xfrm>
          <a:custGeom>
            <a:avLst/>
            <a:gdLst>
              <a:gd name="T0" fmla="*/ 1 w 335"/>
              <a:gd name="T1" fmla="*/ 1 h 85"/>
              <a:gd name="T2" fmla="*/ 1 w 335"/>
              <a:gd name="T3" fmla="*/ 2 h 85"/>
              <a:gd name="T4" fmla="*/ 335 w 335"/>
              <a:gd name="T5" fmla="*/ 63 h 85"/>
              <a:gd name="T6" fmla="*/ 335 w 335"/>
              <a:gd name="T7" fmla="*/ 49 h 85"/>
              <a:gd name="T8" fmla="*/ 1 w 335"/>
              <a:gd name="T9" fmla="*/ 1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5" h="85">
                <a:moveTo>
                  <a:pt x="1" y="1"/>
                </a:moveTo>
                <a:cubicBezTo>
                  <a:pt x="1" y="0"/>
                  <a:pt x="0" y="1"/>
                  <a:pt x="1" y="2"/>
                </a:cubicBezTo>
                <a:cubicBezTo>
                  <a:pt x="108" y="64"/>
                  <a:pt x="221" y="85"/>
                  <a:pt x="335" y="63"/>
                </a:cubicBezTo>
                <a:cubicBezTo>
                  <a:pt x="335" y="49"/>
                  <a:pt x="335" y="49"/>
                  <a:pt x="335" y="49"/>
                </a:cubicBezTo>
                <a:cubicBezTo>
                  <a:pt x="222" y="64"/>
                  <a:pt x="102" y="48"/>
                  <a:pt x="1" y="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17" name="Freeform 253">
            <a:extLst>
              <a:ext uri="{FF2B5EF4-FFF2-40B4-BE49-F238E27FC236}">
                <a16:creationId xmlns:a16="http://schemas.microsoft.com/office/drawing/2014/main" id="{81BE9D40-D4A3-457A-BA7E-6E0530B7982C}"/>
              </a:ext>
            </a:extLst>
          </p:cNvPr>
          <p:cNvSpPr>
            <a:spLocks/>
          </p:cNvSpPr>
          <p:nvPr userDrawn="1"/>
        </p:nvSpPr>
        <p:spPr bwMode="auto">
          <a:xfrm>
            <a:off x="11024384" y="772578"/>
            <a:ext cx="1118347" cy="337903"/>
          </a:xfrm>
          <a:custGeom>
            <a:avLst/>
            <a:gdLst>
              <a:gd name="T0" fmla="*/ 1 w 471"/>
              <a:gd name="T1" fmla="*/ 0 h 143"/>
              <a:gd name="T2" fmla="*/ 1 w 471"/>
              <a:gd name="T3" fmla="*/ 1 h 143"/>
              <a:gd name="T4" fmla="*/ 148 w 471"/>
              <a:gd name="T5" fmla="*/ 91 h 143"/>
              <a:gd name="T6" fmla="*/ 301 w 471"/>
              <a:gd name="T7" fmla="*/ 135 h 143"/>
              <a:gd name="T8" fmla="*/ 471 w 471"/>
              <a:gd name="T9" fmla="*/ 136 h 143"/>
              <a:gd name="T10" fmla="*/ 471 w 471"/>
              <a:gd name="T11" fmla="*/ 122 h 143"/>
              <a:gd name="T12" fmla="*/ 282 w 471"/>
              <a:gd name="T13" fmla="*/ 111 h 143"/>
              <a:gd name="T14" fmla="*/ 140 w 471"/>
              <a:gd name="T15" fmla="*/ 68 h 143"/>
              <a:gd name="T16" fmla="*/ 1 w 471"/>
              <a:gd name="T17" fmla="*/ 0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1" h="143">
                <a:moveTo>
                  <a:pt x="1" y="0"/>
                </a:moveTo>
                <a:cubicBezTo>
                  <a:pt x="0" y="0"/>
                  <a:pt x="0" y="1"/>
                  <a:pt x="1" y="1"/>
                </a:cubicBezTo>
                <a:cubicBezTo>
                  <a:pt x="52" y="28"/>
                  <a:pt x="96" y="65"/>
                  <a:pt x="148" y="91"/>
                </a:cubicBezTo>
                <a:cubicBezTo>
                  <a:pt x="196" y="115"/>
                  <a:pt x="248" y="129"/>
                  <a:pt x="301" y="135"/>
                </a:cubicBezTo>
                <a:cubicBezTo>
                  <a:pt x="356" y="142"/>
                  <a:pt x="414" y="143"/>
                  <a:pt x="471" y="136"/>
                </a:cubicBezTo>
                <a:cubicBezTo>
                  <a:pt x="471" y="122"/>
                  <a:pt x="471" y="122"/>
                  <a:pt x="471" y="122"/>
                </a:cubicBezTo>
                <a:cubicBezTo>
                  <a:pt x="409" y="128"/>
                  <a:pt x="347" y="125"/>
                  <a:pt x="282" y="111"/>
                </a:cubicBezTo>
                <a:cubicBezTo>
                  <a:pt x="234" y="100"/>
                  <a:pt x="186" y="86"/>
                  <a:pt x="140" y="68"/>
                </a:cubicBezTo>
                <a:cubicBezTo>
                  <a:pt x="92" y="49"/>
                  <a:pt x="50" y="16"/>
                  <a:pt x="1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18" name="Freeform 254">
            <a:extLst>
              <a:ext uri="{FF2B5EF4-FFF2-40B4-BE49-F238E27FC236}">
                <a16:creationId xmlns:a16="http://schemas.microsoft.com/office/drawing/2014/main" id="{09E3AADD-B28C-4C96-8BA8-1C4BBD38641E}"/>
              </a:ext>
            </a:extLst>
          </p:cNvPr>
          <p:cNvSpPr>
            <a:spLocks/>
          </p:cNvSpPr>
          <p:nvPr userDrawn="1"/>
        </p:nvSpPr>
        <p:spPr bwMode="auto">
          <a:xfrm>
            <a:off x="10755536" y="1153314"/>
            <a:ext cx="725414" cy="417223"/>
          </a:xfrm>
          <a:custGeom>
            <a:avLst/>
            <a:gdLst>
              <a:gd name="T0" fmla="*/ 140 w 306"/>
              <a:gd name="T1" fmla="*/ 105 h 177"/>
              <a:gd name="T2" fmla="*/ 297 w 306"/>
              <a:gd name="T3" fmla="*/ 176 h 177"/>
              <a:gd name="T4" fmla="*/ 302 w 306"/>
              <a:gd name="T5" fmla="*/ 168 h 177"/>
              <a:gd name="T6" fmla="*/ 158 w 306"/>
              <a:gd name="T7" fmla="*/ 91 h 177"/>
              <a:gd name="T8" fmla="*/ 3 w 306"/>
              <a:gd name="T9" fmla="*/ 1 h 177"/>
              <a:gd name="T10" fmla="*/ 1 w 306"/>
              <a:gd name="T11" fmla="*/ 3 h 177"/>
              <a:gd name="T12" fmla="*/ 140 w 306"/>
              <a:gd name="T13" fmla="*/ 105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6" h="177">
                <a:moveTo>
                  <a:pt x="140" y="105"/>
                </a:moveTo>
                <a:cubicBezTo>
                  <a:pt x="187" y="133"/>
                  <a:pt x="242" y="169"/>
                  <a:pt x="297" y="176"/>
                </a:cubicBezTo>
                <a:cubicBezTo>
                  <a:pt x="301" y="177"/>
                  <a:pt x="306" y="172"/>
                  <a:pt x="302" y="168"/>
                </a:cubicBezTo>
                <a:cubicBezTo>
                  <a:pt x="260" y="135"/>
                  <a:pt x="205" y="117"/>
                  <a:pt x="158" y="91"/>
                </a:cubicBezTo>
                <a:cubicBezTo>
                  <a:pt x="106" y="63"/>
                  <a:pt x="53" y="32"/>
                  <a:pt x="3" y="1"/>
                </a:cubicBezTo>
                <a:cubicBezTo>
                  <a:pt x="2" y="0"/>
                  <a:pt x="0" y="2"/>
                  <a:pt x="1" y="3"/>
                </a:cubicBezTo>
                <a:cubicBezTo>
                  <a:pt x="45" y="41"/>
                  <a:pt x="90" y="75"/>
                  <a:pt x="140" y="105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19" name="Freeform 255">
            <a:extLst>
              <a:ext uri="{FF2B5EF4-FFF2-40B4-BE49-F238E27FC236}">
                <a16:creationId xmlns:a16="http://schemas.microsoft.com/office/drawing/2014/main" id="{93439D3E-0CFD-445B-AFAB-39298804B96E}"/>
              </a:ext>
            </a:extLst>
          </p:cNvPr>
          <p:cNvSpPr>
            <a:spLocks/>
          </p:cNvSpPr>
          <p:nvPr userDrawn="1"/>
        </p:nvSpPr>
        <p:spPr bwMode="auto">
          <a:xfrm>
            <a:off x="10341923" y="1621301"/>
            <a:ext cx="878133" cy="379150"/>
          </a:xfrm>
          <a:custGeom>
            <a:avLst/>
            <a:gdLst>
              <a:gd name="T0" fmla="*/ 366 w 370"/>
              <a:gd name="T1" fmla="*/ 154 h 161"/>
              <a:gd name="T2" fmla="*/ 1 w 370"/>
              <a:gd name="T3" fmla="*/ 0 h 161"/>
              <a:gd name="T4" fmla="*/ 1 w 370"/>
              <a:gd name="T5" fmla="*/ 1 h 161"/>
              <a:gd name="T6" fmla="*/ 366 w 370"/>
              <a:gd name="T7" fmla="*/ 161 h 161"/>
              <a:gd name="T8" fmla="*/ 366 w 370"/>
              <a:gd name="T9" fmla="*/ 154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161">
                <a:moveTo>
                  <a:pt x="366" y="154"/>
                </a:moveTo>
                <a:cubicBezTo>
                  <a:pt x="235" y="122"/>
                  <a:pt x="112" y="81"/>
                  <a:pt x="1" y="0"/>
                </a:cubicBezTo>
                <a:cubicBezTo>
                  <a:pt x="1" y="0"/>
                  <a:pt x="0" y="1"/>
                  <a:pt x="1" y="1"/>
                </a:cubicBezTo>
                <a:cubicBezTo>
                  <a:pt x="100" y="92"/>
                  <a:pt x="229" y="159"/>
                  <a:pt x="366" y="161"/>
                </a:cubicBezTo>
                <a:cubicBezTo>
                  <a:pt x="369" y="161"/>
                  <a:pt x="370" y="155"/>
                  <a:pt x="366" y="15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20" name="Freeform 256">
            <a:extLst>
              <a:ext uri="{FF2B5EF4-FFF2-40B4-BE49-F238E27FC236}">
                <a16:creationId xmlns:a16="http://schemas.microsoft.com/office/drawing/2014/main" id="{D875CEA7-B5C3-499F-AF1B-0318E5B3C33F}"/>
              </a:ext>
            </a:extLst>
          </p:cNvPr>
          <p:cNvSpPr>
            <a:spLocks/>
          </p:cNvSpPr>
          <p:nvPr userDrawn="1"/>
        </p:nvSpPr>
        <p:spPr bwMode="auto">
          <a:xfrm>
            <a:off x="10251246" y="264931"/>
            <a:ext cx="997445" cy="1032745"/>
          </a:xfrm>
          <a:custGeom>
            <a:avLst/>
            <a:gdLst>
              <a:gd name="T0" fmla="*/ 418 w 420"/>
              <a:gd name="T1" fmla="*/ 432 h 437"/>
              <a:gd name="T2" fmla="*/ 1 w 420"/>
              <a:gd name="T3" fmla="*/ 1 h 437"/>
              <a:gd name="T4" fmla="*/ 0 w 420"/>
              <a:gd name="T5" fmla="*/ 2 h 437"/>
              <a:gd name="T6" fmla="*/ 417 w 420"/>
              <a:gd name="T7" fmla="*/ 436 h 437"/>
              <a:gd name="T8" fmla="*/ 418 w 420"/>
              <a:gd name="T9" fmla="*/ 432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0" h="437">
                <a:moveTo>
                  <a:pt x="418" y="432"/>
                </a:moveTo>
                <a:cubicBezTo>
                  <a:pt x="227" y="360"/>
                  <a:pt x="70" y="193"/>
                  <a:pt x="1" y="1"/>
                </a:cubicBezTo>
                <a:cubicBezTo>
                  <a:pt x="1" y="0"/>
                  <a:pt x="0" y="1"/>
                  <a:pt x="0" y="2"/>
                </a:cubicBezTo>
                <a:cubicBezTo>
                  <a:pt x="50" y="215"/>
                  <a:pt x="207" y="374"/>
                  <a:pt x="417" y="436"/>
                </a:cubicBezTo>
                <a:cubicBezTo>
                  <a:pt x="419" y="437"/>
                  <a:pt x="420" y="433"/>
                  <a:pt x="418" y="43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21" name="Freeform 257">
            <a:extLst>
              <a:ext uri="{FF2B5EF4-FFF2-40B4-BE49-F238E27FC236}">
                <a16:creationId xmlns:a16="http://schemas.microsoft.com/office/drawing/2014/main" id="{86B47F01-4263-4DEB-AF2B-A65AFE43B169}"/>
              </a:ext>
            </a:extLst>
          </p:cNvPr>
          <p:cNvSpPr>
            <a:spLocks/>
          </p:cNvSpPr>
          <p:nvPr userDrawn="1"/>
        </p:nvSpPr>
        <p:spPr bwMode="auto">
          <a:xfrm>
            <a:off x="571105" y="3175"/>
            <a:ext cx="396115" cy="572690"/>
          </a:xfrm>
          <a:custGeom>
            <a:avLst/>
            <a:gdLst>
              <a:gd name="T0" fmla="*/ 108 w 167"/>
              <a:gd name="T1" fmla="*/ 127 h 243"/>
              <a:gd name="T2" fmla="*/ 2 w 167"/>
              <a:gd name="T3" fmla="*/ 236 h 243"/>
              <a:gd name="T4" fmla="*/ 6 w 167"/>
              <a:gd name="T5" fmla="*/ 242 h 243"/>
              <a:gd name="T6" fmla="*/ 137 w 167"/>
              <a:gd name="T7" fmla="*/ 0 h 243"/>
              <a:gd name="T8" fmla="*/ 126 w 167"/>
              <a:gd name="T9" fmla="*/ 0 h 243"/>
              <a:gd name="T10" fmla="*/ 108 w 167"/>
              <a:gd name="T11" fmla="*/ 127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7" h="243">
                <a:moveTo>
                  <a:pt x="108" y="127"/>
                </a:moveTo>
                <a:cubicBezTo>
                  <a:pt x="83" y="174"/>
                  <a:pt x="42" y="202"/>
                  <a:pt x="2" y="236"/>
                </a:cubicBezTo>
                <a:cubicBezTo>
                  <a:pt x="0" y="238"/>
                  <a:pt x="3" y="243"/>
                  <a:pt x="6" y="242"/>
                </a:cubicBezTo>
                <a:cubicBezTo>
                  <a:pt x="96" y="210"/>
                  <a:pt x="167" y="94"/>
                  <a:pt x="137" y="0"/>
                </a:cubicBezTo>
                <a:cubicBezTo>
                  <a:pt x="126" y="0"/>
                  <a:pt x="126" y="0"/>
                  <a:pt x="126" y="0"/>
                </a:cubicBezTo>
                <a:cubicBezTo>
                  <a:pt x="135" y="43"/>
                  <a:pt x="132" y="85"/>
                  <a:pt x="108" y="12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22" name="Freeform 258">
            <a:extLst>
              <a:ext uri="{FF2B5EF4-FFF2-40B4-BE49-F238E27FC236}">
                <a16:creationId xmlns:a16="http://schemas.microsoft.com/office/drawing/2014/main" id="{EADD8A6D-9FE0-4FFF-A6A4-486585856AC4}"/>
              </a:ext>
            </a:extLst>
          </p:cNvPr>
          <p:cNvSpPr>
            <a:spLocks/>
          </p:cNvSpPr>
          <p:nvPr userDrawn="1"/>
        </p:nvSpPr>
        <p:spPr bwMode="auto">
          <a:xfrm>
            <a:off x="0" y="599661"/>
            <a:ext cx="486791" cy="120566"/>
          </a:xfrm>
          <a:custGeom>
            <a:avLst/>
            <a:gdLst>
              <a:gd name="T0" fmla="*/ 204 w 205"/>
              <a:gd name="T1" fmla="*/ 1 h 51"/>
              <a:gd name="T2" fmla="*/ 204 w 205"/>
              <a:gd name="T3" fmla="*/ 0 h 51"/>
              <a:gd name="T4" fmla="*/ 68 w 205"/>
              <a:gd name="T5" fmla="*/ 31 h 51"/>
              <a:gd name="T6" fmla="*/ 0 w 205"/>
              <a:gd name="T7" fmla="*/ 22 h 51"/>
              <a:gd name="T8" fmla="*/ 0 w 205"/>
              <a:gd name="T9" fmla="*/ 37 h 51"/>
              <a:gd name="T10" fmla="*/ 204 w 205"/>
              <a:gd name="T11" fmla="*/ 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5" h="51">
                <a:moveTo>
                  <a:pt x="204" y="1"/>
                </a:moveTo>
                <a:cubicBezTo>
                  <a:pt x="205" y="1"/>
                  <a:pt x="204" y="0"/>
                  <a:pt x="204" y="0"/>
                </a:cubicBezTo>
                <a:cubicBezTo>
                  <a:pt x="159" y="13"/>
                  <a:pt x="114" y="29"/>
                  <a:pt x="68" y="31"/>
                </a:cubicBezTo>
                <a:cubicBezTo>
                  <a:pt x="43" y="32"/>
                  <a:pt x="21" y="28"/>
                  <a:pt x="0" y="22"/>
                </a:cubicBezTo>
                <a:cubicBezTo>
                  <a:pt x="0" y="37"/>
                  <a:pt x="0" y="37"/>
                  <a:pt x="0" y="37"/>
                </a:cubicBezTo>
                <a:cubicBezTo>
                  <a:pt x="67" y="51"/>
                  <a:pt x="143" y="28"/>
                  <a:pt x="204" y="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23" name="Freeform 259">
            <a:extLst>
              <a:ext uri="{FF2B5EF4-FFF2-40B4-BE49-F238E27FC236}">
                <a16:creationId xmlns:a16="http://schemas.microsoft.com/office/drawing/2014/main" id="{EF985A41-4B49-4727-BF73-06A7DF95868D}"/>
              </a:ext>
            </a:extLst>
          </p:cNvPr>
          <p:cNvSpPr>
            <a:spLocks/>
          </p:cNvSpPr>
          <p:nvPr userDrawn="1"/>
        </p:nvSpPr>
        <p:spPr bwMode="auto">
          <a:xfrm>
            <a:off x="714279" y="3175"/>
            <a:ext cx="466111" cy="901074"/>
          </a:xfrm>
          <a:custGeom>
            <a:avLst/>
            <a:gdLst>
              <a:gd name="T0" fmla="*/ 144 w 197"/>
              <a:gd name="T1" fmla="*/ 226 h 382"/>
              <a:gd name="T2" fmla="*/ 4 w 197"/>
              <a:gd name="T3" fmla="*/ 374 h 382"/>
              <a:gd name="T4" fmla="*/ 8 w 197"/>
              <a:gd name="T5" fmla="*/ 381 h 382"/>
              <a:gd name="T6" fmla="*/ 170 w 197"/>
              <a:gd name="T7" fmla="*/ 221 h 382"/>
              <a:gd name="T8" fmla="*/ 174 w 197"/>
              <a:gd name="T9" fmla="*/ 0 h 382"/>
              <a:gd name="T10" fmla="*/ 166 w 197"/>
              <a:gd name="T11" fmla="*/ 0 h 382"/>
              <a:gd name="T12" fmla="*/ 144 w 197"/>
              <a:gd name="T13" fmla="*/ 226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7" h="382">
                <a:moveTo>
                  <a:pt x="144" y="226"/>
                </a:moveTo>
                <a:cubicBezTo>
                  <a:pt x="113" y="293"/>
                  <a:pt x="59" y="328"/>
                  <a:pt x="4" y="374"/>
                </a:cubicBezTo>
                <a:cubicBezTo>
                  <a:pt x="0" y="377"/>
                  <a:pt x="4" y="382"/>
                  <a:pt x="8" y="381"/>
                </a:cubicBezTo>
                <a:cubicBezTo>
                  <a:pt x="85" y="369"/>
                  <a:pt x="143" y="290"/>
                  <a:pt x="170" y="221"/>
                </a:cubicBezTo>
                <a:cubicBezTo>
                  <a:pt x="197" y="154"/>
                  <a:pt x="197" y="71"/>
                  <a:pt x="174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80" y="77"/>
                  <a:pt x="180" y="151"/>
                  <a:pt x="144" y="22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24" name="Freeform 260">
            <a:extLst>
              <a:ext uri="{FF2B5EF4-FFF2-40B4-BE49-F238E27FC236}">
                <a16:creationId xmlns:a16="http://schemas.microsoft.com/office/drawing/2014/main" id="{1F18C9CC-71D5-40BE-8964-E12552746CB0}"/>
              </a:ext>
            </a:extLst>
          </p:cNvPr>
          <p:cNvSpPr>
            <a:spLocks/>
          </p:cNvSpPr>
          <p:nvPr userDrawn="1"/>
        </p:nvSpPr>
        <p:spPr bwMode="auto">
          <a:xfrm>
            <a:off x="0" y="363288"/>
            <a:ext cx="383388" cy="82493"/>
          </a:xfrm>
          <a:custGeom>
            <a:avLst/>
            <a:gdLst>
              <a:gd name="T0" fmla="*/ 161 w 162"/>
              <a:gd name="T1" fmla="*/ 1 h 35"/>
              <a:gd name="T2" fmla="*/ 161 w 162"/>
              <a:gd name="T3" fmla="*/ 0 h 35"/>
              <a:gd name="T4" fmla="*/ 0 w 162"/>
              <a:gd name="T5" fmla="*/ 10 h 35"/>
              <a:gd name="T6" fmla="*/ 0 w 162"/>
              <a:gd name="T7" fmla="*/ 25 h 35"/>
              <a:gd name="T8" fmla="*/ 161 w 162"/>
              <a:gd name="T9" fmla="*/ 1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2" h="35">
                <a:moveTo>
                  <a:pt x="161" y="1"/>
                </a:moveTo>
                <a:cubicBezTo>
                  <a:pt x="162" y="1"/>
                  <a:pt x="162" y="0"/>
                  <a:pt x="161" y="0"/>
                </a:cubicBezTo>
                <a:cubicBezTo>
                  <a:pt x="106" y="13"/>
                  <a:pt x="53" y="20"/>
                  <a:pt x="0" y="10"/>
                </a:cubicBezTo>
                <a:cubicBezTo>
                  <a:pt x="0" y="25"/>
                  <a:pt x="0" y="25"/>
                  <a:pt x="0" y="25"/>
                </a:cubicBezTo>
                <a:cubicBezTo>
                  <a:pt x="53" y="35"/>
                  <a:pt x="114" y="19"/>
                  <a:pt x="161" y="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25" name="Freeform 261">
            <a:extLst>
              <a:ext uri="{FF2B5EF4-FFF2-40B4-BE49-F238E27FC236}">
                <a16:creationId xmlns:a16="http://schemas.microsoft.com/office/drawing/2014/main" id="{688C5616-96EF-4B48-97EA-930851A302A1}"/>
              </a:ext>
            </a:extLst>
          </p:cNvPr>
          <p:cNvSpPr>
            <a:spLocks/>
          </p:cNvSpPr>
          <p:nvPr userDrawn="1"/>
        </p:nvSpPr>
        <p:spPr bwMode="auto">
          <a:xfrm>
            <a:off x="1193115" y="3175"/>
            <a:ext cx="132039" cy="537789"/>
          </a:xfrm>
          <a:custGeom>
            <a:avLst/>
            <a:gdLst>
              <a:gd name="T0" fmla="*/ 7 w 56"/>
              <a:gd name="T1" fmla="*/ 225 h 228"/>
              <a:gd name="T2" fmla="*/ 10 w 56"/>
              <a:gd name="T3" fmla="*/ 227 h 228"/>
              <a:gd name="T4" fmla="*/ 27 w 56"/>
              <a:gd name="T5" fmla="*/ 0 h 228"/>
              <a:gd name="T6" fmla="*/ 0 w 56"/>
              <a:gd name="T7" fmla="*/ 0 h 228"/>
              <a:gd name="T8" fmla="*/ 7 w 56"/>
              <a:gd name="T9" fmla="*/ 225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" h="228">
                <a:moveTo>
                  <a:pt x="7" y="225"/>
                </a:moveTo>
                <a:cubicBezTo>
                  <a:pt x="7" y="227"/>
                  <a:pt x="9" y="228"/>
                  <a:pt x="10" y="227"/>
                </a:cubicBezTo>
                <a:cubicBezTo>
                  <a:pt x="56" y="154"/>
                  <a:pt x="49" y="77"/>
                  <a:pt x="27" y="0"/>
                </a:cubicBezTo>
                <a:cubicBezTo>
                  <a:pt x="0" y="0"/>
                  <a:pt x="0" y="0"/>
                  <a:pt x="0" y="0"/>
                </a:cubicBezTo>
                <a:cubicBezTo>
                  <a:pt x="24" y="73"/>
                  <a:pt x="43" y="153"/>
                  <a:pt x="7" y="225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26" name="Freeform 262">
            <a:extLst>
              <a:ext uri="{FF2B5EF4-FFF2-40B4-BE49-F238E27FC236}">
                <a16:creationId xmlns:a16="http://schemas.microsoft.com/office/drawing/2014/main" id="{4B74288D-9651-4B84-BBA8-D4561338D01B}"/>
              </a:ext>
            </a:extLst>
          </p:cNvPr>
          <p:cNvSpPr>
            <a:spLocks/>
          </p:cNvSpPr>
          <p:nvPr userDrawn="1"/>
        </p:nvSpPr>
        <p:spPr bwMode="auto">
          <a:xfrm>
            <a:off x="1436511" y="3175"/>
            <a:ext cx="149537" cy="483852"/>
          </a:xfrm>
          <a:custGeom>
            <a:avLst/>
            <a:gdLst>
              <a:gd name="T0" fmla="*/ 0 w 63"/>
              <a:gd name="T1" fmla="*/ 204 h 205"/>
              <a:gd name="T2" fmla="*/ 2 w 63"/>
              <a:gd name="T3" fmla="*/ 205 h 205"/>
              <a:gd name="T4" fmla="*/ 63 w 63"/>
              <a:gd name="T5" fmla="*/ 0 h 205"/>
              <a:gd name="T6" fmla="*/ 36 w 63"/>
              <a:gd name="T7" fmla="*/ 0 h 205"/>
              <a:gd name="T8" fmla="*/ 0 w 63"/>
              <a:gd name="T9" fmla="*/ 204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3" h="205">
                <a:moveTo>
                  <a:pt x="0" y="204"/>
                </a:moveTo>
                <a:cubicBezTo>
                  <a:pt x="0" y="205"/>
                  <a:pt x="1" y="205"/>
                  <a:pt x="2" y="205"/>
                </a:cubicBezTo>
                <a:cubicBezTo>
                  <a:pt x="40" y="142"/>
                  <a:pt x="60" y="72"/>
                  <a:pt x="63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7" y="70"/>
                  <a:pt x="23" y="138"/>
                  <a:pt x="0" y="20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27" name="Freeform 263">
            <a:extLst>
              <a:ext uri="{FF2B5EF4-FFF2-40B4-BE49-F238E27FC236}">
                <a16:creationId xmlns:a16="http://schemas.microsoft.com/office/drawing/2014/main" id="{4055B50F-CE29-4708-AA89-B6ABB9AAE20D}"/>
              </a:ext>
            </a:extLst>
          </p:cNvPr>
          <p:cNvSpPr>
            <a:spLocks/>
          </p:cNvSpPr>
          <p:nvPr userDrawn="1"/>
        </p:nvSpPr>
        <p:spPr bwMode="auto">
          <a:xfrm>
            <a:off x="1600365" y="3175"/>
            <a:ext cx="85904" cy="349007"/>
          </a:xfrm>
          <a:custGeom>
            <a:avLst/>
            <a:gdLst>
              <a:gd name="T0" fmla="*/ 1 w 36"/>
              <a:gd name="T1" fmla="*/ 142 h 148"/>
              <a:gd name="T2" fmla="*/ 7 w 36"/>
              <a:gd name="T3" fmla="*/ 144 h 148"/>
              <a:gd name="T4" fmla="*/ 36 w 36"/>
              <a:gd name="T5" fmla="*/ 0 h 148"/>
              <a:gd name="T6" fmla="*/ 27 w 36"/>
              <a:gd name="T7" fmla="*/ 0 h 148"/>
              <a:gd name="T8" fmla="*/ 1 w 36"/>
              <a:gd name="T9" fmla="*/ 142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" h="148">
                <a:moveTo>
                  <a:pt x="1" y="142"/>
                </a:moveTo>
                <a:cubicBezTo>
                  <a:pt x="0" y="145"/>
                  <a:pt x="5" y="148"/>
                  <a:pt x="7" y="144"/>
                </a:cubicBezTo>
                <a:cubicBezTo>
                  <a:pt x="26" y="101"/>
                  <a:pt x="34" y="50"/>
                  <a:pt x="36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20" y="47"/>
                  <a:pt x="10" y="94"/>
                  <a:pt x="1" y="14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28" name="Freeform 264">
            <a:extLst>
              <a:ext uri="{FF2B5EF4-FFF2-40B4-BE49-F238E27FC236}">
                <a16:creationId xmlns:a16="http://schemas.microsoft.com/office/drawing/2014/main" id="{3D36518A-8B08-4974-B804-1B00DAF75DA8}"/>
              </a:ext>
            </a:extLst>
          </p:cNvPr>
          <p:cNvSpPr>
            <a:spLocks/>
          </p:cNvSpPr>
          <p:nvPr userDrawn="1"/>
        </p:nvSpPr>
        <p:spPr bwMode="auto">
          <a:xfrm>
            <a:off x="1250385" y="3175"/>
            <a:ext cx="208398" cy="623455"/>
          </a:xfrm>
          <a:custGeom>
            <a:avLst/>
            <a:gdLst>
              <a:gd name="T0" fmla="*/ 2 w 88"/>
              <a:gd name="T1" fmla="*/ 255 h 264"/>
              <a:gd name="T2" fmla="*/ 11 w 88"/>
              <a:gd name="T3" fmla="*/ 260 h 264"/>
              <a:gd name="T4" fmla="*/ 80 w 88"/>
              <a:gd name="T5" fmla="*/ 0 h 264"/>
              <a:gd name="T6" fmla="*/ 71 w 88"/>
              <a:gd name="T7" fmla="*/ 0 h 264"/>
              <a:gd name="T8" fmla="*/ 56 w 88"/>
              <a:gd name="T9" fmla="*/ 115 h 264"/>
              <a:gd name="T10" fmla="*/ 2 w 88"/>
              <a:gd name="T11" fmla="*/ 255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8" h="264">
                <a:moveTo>
                  <a:pt x="2" y="255"/>
                </a:moveTo>
                <a:cubicBezTo>
                  <a:pt x="0" y="260"/>
                  <a:pt x="8" y="264"/>
                  <a:pt x="11" y="260"/>
                </a:cubicBezTo>
                <a:cubicBezTo>
                  <a:pt x="66" y="191"/>
                  <a:pt x="88" y="90"/>
                  <a:pt x="80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70" y="39"/>
                  <a:pt x="66" y="77"/>
                  <a:pt x="56" y="115"/>
                </a:cubicBezTo>
                <a:cubicBezTo>
                  <a:pt x="44" y="164"/>
                  <a:pt x="21" y="208"/>
                  <a:pt x="2" y="255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29" name="Freeform 265">
            <a:extLst>
              <a:ext uri="{FF2B5EF4-FFF2-40B4-BE49-F238E27FC236}">
                <a16:creationId xmlns:a16="http://schemas.microsoft.com/office/drawing/2014/main" id="{021E3ECA-A637-49E1-A477-60725C441E52}"/>
              </a:ext>
            </a:extLst>
          </p:cNvPr>
          <p:cNvSpPr>
            <a:spLocks/>
          </p:cNvSpPr>
          <p:nvPr userDrawn="1"/>
        </p:nvSpPr>
        <p:spPr bwMode="auto">
          <a:xfrm>
            <a:off x="488382" y="3175"/>
            <a:ext cx="182945" cy="295070"/>
          </a:xfrm>
          <a:custGeom>
            <a:avLst/>
            <a:gdLst>
              <a:gd name="T0" fmla="*/ 1 w 77"/>
              <a:gd name="T1" fmla="*/ 123 h 125"/>
              <a:gd name="T2" fmla="*/ 2 w 77"/>
              <a:gd name="T3" fmla="*/ 124 h 125"/>
              <a:gd name="T4" fmla="*/ 77 w 77"/>
              <a:gd name="T5" fmla="*/ 0 h 125"/>
              <a:gd name="T6" fmla="*/ 59 w 77"/>
              <a:gd name="T7" fmla="*/ 0 h 125"/>
              <a:gd name="T8" fmla="*/ 1 w 77"/>
              <a:gd name="T9" fmla="*/ 123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7" h="125">
                <a:moveTo>
                  <a:pt x="1" y="123"/>
                </a:moveTo>
                <a:cubicBezTo>
                  <a:pt x="0" y="124"/>
                  <a:pt x="1" y="125"/>
                  <a:pt x="2" y="124"/>
                </a:cubicBezTo>
                <a:cubicBezTo>
                  <a:pt x="40" y="93"/>
                  <a:pt x="67" y="48"/>
                  <a:pt x="77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0" y="44"/>
                  <a:pt x="32" y="85"/>
                  <a:pt x="1" y="12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30" name="Freeform 266">
            <a:extLst>
              <a:ext uri="{FF2B5EF4-FFF2-40B4-BE49-F238E27FC236}">
                <a16:creationId xmlns:a16="http://schemas.microsoft.com/office/drawing/2014/main" id="{489ACA1B-0FDE-450C-A7B2-77810ECD05F7}"/>
              </a:ext>
            </a:extLst>
          </p:cNvPr>
          <p:cNvSpPr>
            <a:spLocks/>
          </p:cNvSpPr>
          <p:nvPr userDrawn="1"/>
        </p:nvSpPr>
        <p:spPr bwMode="auto">
          <a:xfrm>
            <a:off x="870179" y="293486"/>
            <a:ext cx="192490" cy="379150"/>
          </a:xfrm>
          <a:custGeom>
            <a:avLst/>
            <a:gdLst>
              <a:gd name="T0" fmla="*/ 2 w 81"/>
              <a:gd name="T1" fmla="*/ 153 h 161"/>
              <a:gd name="T2" fmla="*/ 9 w 81"/>
              <a:gd name="T3" fmla="*/ 158 h 161"/>
              <a:gd name="T4" fmla="*/ 80 w 81"/>
              <a:gd name="T5" fmla="*/ 1 h 161"/>
              <a:gd name="T6" fmla="*/ 79 w 81"/>
              <a:gd name="T7" fmla="*/ 1 h 161"/>
              <a:gd name="T8" fmla="*/ 47 w 81"/>
              <a:gd name="T9" fmla="*/ 85 h 161"/>
              <a:gd name="T10" fmla="*/ 2 w 81"/>
              <a:gd name="T11" fmla="*/ 153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1" h="161">
                <a:moveTo>
                  <a:pt x="2" y="153"/>
                </a:moveTo>
                <a:cubicBezTo>
                  <a:pt x="0" y="157"/>
                  <a:pt x="5" y="161"/>
                  <a:pt x="9" y="158"/>
                </a:cubicBezTo>
                <a:cubicBezTo>
                  <a:pt x="50" y="121"/>
                  <a:pt x="75" y="55"/>
                  <a:pt x="80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70" y="30"/>
                  <a:pt x="61" y="58"/>
                  <a:pt x="47" y="85"/>
                </a:cubicBezTo>
                <a:cubicBezTo>
                  <a:pt x="34" y="109"/>
                  <a:pt x="16" y="130"/>
                  <a:pt x="2" y="15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31" name="Freeform 267">
            <a:extLst>
              <a:ext uri="{FF2B5EF4-FFF2-40B4-BE49-F238E27FC236}">
                <a16:creationId xmlns:a16="http://schemas.microsoft.com/office/drawing/2014/main" id="{B3321563-229D-4486-B19A-10E5EC740082}"/>
              </a:ext>
            </a:extLst>
          </p:cNvPr>
          <p:cNvSpPr>
            <a:spLocks/>
          </p:cNvSpPr>
          <p:nvPr userDrawn="1"/>
        </p:nvSpPr>
        <p:spPr bwMode="auto">
          <a:xfrm>
            <a:off x="0" y="3175"/>
            <a:ext cx="1083349" cy="861414"/>
          </a:xfrm>
          <a:custGeom>
            <a:avLst/>
            <a:gdLst>
              <a:gd name="T0" fmla="*/ 243 w 457"/>
              <a:gd name="T1" fmla="*/ 327 h 365"/>
              <a:gd name="T2" fmla="*/ 410 w 457"/>
              <a:gd name="T3" fmla="*/ 0 h 365"/>
              <a:gd name="T4" fmla="*/ 405 w 457"/>
              <a:gd name="T5" fmla="*/ 0 h 365"/>
              <a:gd name="T6" fmla="*/ 201 w 457"/>
              <a:gd name="T7" fmla="*/ 301 h 365"/>
              <a:gd name="T8" fmla="*/ 0 w 457"/>
              <a:gd name="T9" fmla="*/ 299 h 365"/>
              <a:gd name="T10" fmla="*/ 0 w 457"/>
              <a:gd name="T11" fmla="*/ 341 h 365"/>
              <a:gd name="T12" fmla="*/ 243 w 457"/>
              <a:gd name="T13" fmla="*/ 327 h 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7" h="365">
                <a:moveTo>
                  <a:pt x="243" y="327"/>
                </a:moveTo>
                <a:cubicBezTo>
                  <a:pt x="363" y="272"/>
                  <a:pt x="457" y="127"/>
                  <a:pt x="410" y="0"/>
                </a:cubicBezTo>
                <a:cubicBezTo>
                  <a:pt x="405" y="0"/>
                  <a:pt x="405" y="0"/>
                  <a:pt x="405" y="0"/>
                </a:cubicBezTo>
                <a:cubicBezTo>
                  <a:pt x="441" y="126"/>
                  <a:pt x="316" y="264"/>
                  <a:pt x="201" y="301"/>
                </a:cubicBezTo>
                <a:cubicBezTo>
                  <a:pt x="134" y="323"/>
                  <a:pt x="65" y="319"/>
                  <a:pt x="0" y="299"/>
                </a:cubicBezTo>
                <a:cubicBezTo>
                  <a:pt x="0" y="341"/>
                  <a:pt x="0" y="341"/>
                  <a:pt x="0" y="341"/>
                </a:cubicBezTo>
                <a:cubicBezTo>
                  <a:pt x="79" y="365"/>
                  <a:pt x="165" y="363"/>
                  <a:pt x="243" y="32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32" name="Freeform 268">
            <a:extLst>
              <a:ext uri="{FF2B5EF4-FFF2-40B4-BE49-F238E27FC236}">
                <a16:creationId xmlns:a16="http://schemas.microsoft.com/office/drawing/2014/main" id="{D22CDF07-16FE-4D4E-AF56-291A5B091675}"/>
              </a:ext>
            </a:extLst>
          </p:cNvPr>
          <p:cNvSpPr>
            <a:spLocks/>
          </p:cNvSpPr>
          <p:nvPr userDrawn="1"/>
        </p:nvSpPr>
        <p:spPr bwMode="auto">
          <a:xfrm>
            <a:off x="0" y="445780"/>
            <a:ext cx="367480" cy="95184"/>
          </a:xfrm>
          <a:custGeom>
            <a:avLst/>
            <a:gdLst>
              <a:gd name="T0" fmla="*/ 154 w 155"/>
              <a:gd name="T1" fmla="*/ 26 h 40"/>
              <a:gd name="T2" fmla="*/ 153 w 155"/>
              <a:gd name="T3" fmla="*/ 24 h 40"/>
              <a:gd name="T4" fmla="*/ 0 w 155"/>
              <a:gd name="T5" fmla="*/ 0 h 40"/>
              <a:gd name="T6" fmla="*/ 0 w 155"/>
              <a:gd name="T7" fmla="*/ 27 h 40"/>
              <a:gd name="T8" fmla="*/ 154 w 155"/>
              <a:gd name="T9" fmla="*/ 26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5" h="40">
                <a:moveTo>
                  <a:pt x="154" y="26"/>
                </a:moveTo>
                <a:cubicBezTo>
                  <a:pt x="155" y="26"/>
                  <a:pt x="154" y="24"/>
                  <a:pt x="153" y="24"/>
                </a:cubicBezTo>
                <a:cubicBezTo>
                  <a:pt x="96" y="34"/>
                  <a:pt x="46" y="22"/>
                  <a:pt x="0" y="0"/>
                </a:cubicBezTo>
                <a:cubicBezTo>
                  <a:pt x="0" y="27"/>
                  <a:pt x="0" y="27"/>
                  <a:pt x="0" y="27"/>
                </a:cubicBezTo>
                <a:cubicBezTo>
                  <a:pt x="50" y="40"/>
                  <a:pt x="106" y="38"/>
                  <a:pt x="154" y="2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33" name="Freeform 269">
            <a:extLst>
              <a:ext uri="{FF2B5EF4-FFF2-40B4-BE49-F238E27FC236}">
                <a16:creationId xmlns:a16="http://schemas.microsoft.com/office/drawing/2014/main" id="{F091C3C9-02EE-4345-B2D5-7B84BC11F8DB}"/>
              </a:ext>
            </a:extLst>
          </p:cNvPr>
          <p:cNvSpPr>
            <a:spLocks/>
          </p:cNvSpPr>
          <p:nvPr userDrawn="1"/>
        </p:nvSpPr>
        <p:spPr bwMode="auto">
          <a:xfrm>
            <a:off x="0" y="853484"/>
            <a:ext cx="571105" cy="122153"/>
          </a:xfrm>
          <a:custGeom>
            <a:avLst/>
            <a:gdLst>
              <a:gd name="T0" fmla="*/ 238 w 241"/>
              <a:gd name="T1" fmla="*/ 13 h 52"/>
              <a:gd name="T2" fmla="*/ 237 w 241"/>
              <a:gd name="T3" fmla="*/ 7 h 52"/>
              <a:gd name="T4" fmla="*/ 0 w 241"/>
              <a:gd name="T5" fmla="*/ 0 h 52"/>
              <a:gd name="T6" fmla="*/ 0 w 241"/>
              <a:gd name="T7" fmla="*/ 12 h 52"/>
              <a:gd name="T8" fmla="*/ 238 w 241"/>
              <a:gd name="T9" fmla="*/ 1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1" h="52">
                <a:moveTo>
                  <a:pt x="238" y="13"/>
                </a:moveTo>
                <a:cubicBezTo>
                  <a:pt x="241" y="12"/>
                  <a:pt x="240" y="6"/>
                  <a:pt x="237" y="7"/>
                </a:cubicBezTo>
                <a:cubicBezTo>
                  <a:pt x="152" y="14"/>
                  <a:pt x="78" y="19"/>
                  <a:pt x="0" y="0"/>
                </a:cubicBezTo>
                <a:cubicBezTo>
                  <a:pt x="0" y="12"/>
                  <a:pt x="0" y="12"/>
                  <a:pt x="0" y="12"/>
                </a:cubicBezTo>
                <a:cubicBezTo>
                  <a:pt x="76" y="44"/>
                  <a:pt x="167" y="52"/>
                  <a:pt x="238" y="1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34" name="Freeform 270">
            <a:extLst>
              <a:ext uri="{FF2B5EF4-FFF2-40B4-BE49-F238E27FC236}">
                <a16:creationId xmlns:a16="http://schemas.microsoft.com/office/drawing/2014/main" id="{4CDE7192-8D75-409F-908A-F4F852FA385D}"/>
              </a:ext>
            </a:extLst>
          </p:cNvPr>
          <p:cNvSpPr>
            <a:spLocks/>
          </p:cNvSpPr>
          <p:nvPr userDrawn="1"/>
        </p:nvSpPr>
        <p:spPr bwMode="auto">
          <a:xfrm>
            <a:off x="0" y="742436"/>
            <a:ext cx="1240840" cy="379150"/>
          </a:xfrm>
          <a:custGeom>
            <a:avLst/>
            <a:gdLst>
              <a:gd name="T0" fmla="*/ 154 w 523"/>
              <a:gd name="T1" fmla="*/ 158 h 161"/>
              <a:gd name="T2" fmla="*/ 522 w 523"/>
              <a:gd name="T3" fmla="*/ 3 h 161"/>
              <a:gd name="T4" fmla="*/ 521 w 523"/>
              <a:gd name="T5" fmla="*/ 1 h 161"/>
              <a:gd name="T6" fmla="*/ 146 w 523"/>
              <a:gd name="T7" fmla="*/ 121 h 161"/>
              <a:gd name="T8" fmla="*/ 0 w 523"/>
              <a:gd name="T9" fmla="*/ 93 h 161"/>
              <a:gd name="T10" fmla="*/ 0 w 523"/>
              <a:gd name="T11" fmla="*/ 137 h 161"/>
              <a:gd name="T12" fmla="*/ 154 w 523"/>
              <a:gd name="T13" fmla="*/ 158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3" h="161">
                <a:moveTo>
                  <a:pt x="154" y="158"/>
                </a:moveTo>
                <a:cubicBezTo>
                  <a:pt x="295" y="161"/>
                  <a:pt x="426" y="104"/>
                  <a:pt x="522" y="3"/>
                </a:cubicBezTo>
                <a:cubicBezTo>
                  <a:pt x="523" y="2"/>
                  <a:pt x="522" y="0"/>
                  <a:pt x="521" y="1"/>
                </a:cubicBezTo>
                <a:cubicBezTo>
                  <a:pt x="420" y="93"/>
                  <a:pt x="280" y="128"/>
                  <a:pt x="146" y="121"/>
                </a:cubicBezTo>
                <a:cubicBezTo>
                  <a:pt x="94" y="119"/>
                  <a:pt x="46" y="108"/>
                  <a:pt x="0" y="93"/>
                </a:cubicBezTo>
                <a:cubicBezTo>
                  <a:pt x="0" y="137"/>
                  <a:pt x="0" y="137"/>
                  <a:pt x="0" y="137"/>
                </a:cubicBezTo>
                <a:cubicBezTo>
                  <a:pt x="52" y="150"/>
                  <a:pt x="104" y="157"/>
                  <a:pt x="154" y="158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35" name="Freeform 271">
            <a:extLst>
              <a:ext uri="{FF2B5EF4-FFF2-40B4-BE49-F238E27FC236}">
                <a16:creationId xmlns:a16="http://schemas.microsoft.com/office/drawing/2014/main" id="{2A03A91B-DBC2-4357-AAD1-CDEA1A89F45A}"/>
              </a:ext>
            </a:extLst>
          </p:cNvPr>
          <p:cNvSpPr>
            <a:spLocks/>
          </p:cNvSpPr>
          <p:nvPr userDrawn="1"/>
        </p:nvSpPr>
        <p:spPr bwMode="auto">
          <a:xfrm>
            <a:off x="1054714" y="3175"/>
            <a:ext cx="727005" cy="1218353"/>
          </a:xfrm>
          <a:custGeom>
            <a:avLst/>
            <a:gdLst>
              <a:gd name="T0" fmla="*/ 5 w 306"/>
              <a:gd name="T1" fmla="*/ 505 h 516"/>
              <a:gd name="T2" fmla="*/ 9 w 306"/>
              <a:gd name="T3" fmla="*/ 514 h 516"/>
              <a:gd name="T4" fmla="*/ 306 w 306"/>
              <a:gd name="T5" fmla="*/ 0 h 516"/>
              <a:gd name="T6" fmla="*/ 301 w 306"/>
              <a:gd name="T7" fmla="*/ 0 h 516"/>
              <a:gd name="T8" fmla="*/ 5 w 306"/>
              <a:gd name="T9" fmla="*/ 505 h 5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6" h="516">
                <a:moveTo>
                  <a:pt x="5" y="505"/>
                </a:moveTo>
                <a:cubicBezTo>
                  <a:pt x="0" y="508"/>
                  <a:pt x="3" y="516"/>
                  <a:pt x="9" y="514"/>
                </a:cubicBezTo>
                <a:cubicBezTo>
                  <a:pt x="218" y="429"/>
                  <a:pt x="287" y="209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71" y="202"/>
                  <a:pt x="193" y="402"/>
                  <a:pt x="5" y="505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36" name="Freeform 272">
            <a:extLst>
              <a:ext uri="{FF2B5EF4-FFF2-40B4-BE49-F238E27FC236}">
                <a16:creationId xmlns:a16="http://schemas.microsoft.com/office/drawing/2014/main" id="{C35FCF7E-76F7-41E7-85B8-8FC0C3587017}"/>
              </a:ext>
            </a:extLst>
          </p:cNvPr>
          <p:cNvSpPr>
            <a:spLocks/>
          </p:cNvSpPr>
          <p:nvPr userDrawn="1"/>
        </p:nvSpPr>
        <p:spPr bwMode="auto">
          <a:xfrm>
            <a:off x="0" y="1246911"/>
            <a:ext cx="758822" cy="134844"/>
          </a:xfrm>
          <a:custGeom>
            <a:avLst/>
            <a:gdLst>
              <a:gd name="T0" fmla="*/ 319 w 320"/>
              <a:gd name="T1" fmla="*/ 17 h 57"/>
              <a:gd name="T2" fmla="*/ 318 w 320"/>
              <a:gd name="T3" fmla="*/ 16 h 57"/>
              <a:gd name="T4" fmla="*/ 62 w 320"/>
              <a:gd name="T5" fmla="*/ 18 h 57"/>
              <a:gd name="T6" fmla="*/ 0 w 320"/>
              <a:gd name="T7" fmla="*/ 0 h 57"/>
              <a:gd name="T8" fmla="*/ 0 w 320"/>
              <a:gd name="T9" fmla="*/ 29 h 57"/>
              <a:gd name="T10" fmla="*/ 319 w 320"/>
              <a:gd name="T11" fmla="*/ 17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20" h="57">
                <a:moveTo>
                  <a:pt x="319" y="17"/>
                </a:moveTo>
                <a:cubicBezTo>
                  <a:pt x="320" y="17"/>
                  <a:pt x="319" y="15"/>
                  <a:pt x="318" y="16"/>
                </a:cubicBezTo>
                <a:cubicBezTo>
                  <a:pt x="235" y="35"/>
                  <a:pt x="146" y="36"/>
                  <a:pt x="62" y="18"/>
                </a:cubicBezTo>
                <a:cubicBezTo>
                  <a:pt x="40" y="13"/>
                  <a:pt x="20" y="7"/>
                  <a:pt x="0" y="0"/>
                </a:cubicBezTo>
                <a:cubicBezTo>
                  <a:pt x="0" y="29"/>
                  <a:pt x="0" y="29"/>
                  <a:pt x="0" y="29"/>
                </a:cubicBezTo>
                <a:cubicBezTo>
                  <a:pt x="105" y="57"/>
                  <a:pt x="224" y="49"/>
                  <a:pt x="319" y="1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37" name="Freeform 273">
            <a:extLst>
              <a:ext uri="{FF2B5EF4-FFF2-40B4-BE49-F238E27FC236}">
                <a16:creationId xmlns:a16="http://schemas.microsoft.com/office/drawing/2014/main" id="{66C56EA1-1E4D-423F-B5D4-A894E37B9933}"/>
              </a:ext>
            </a:extLst>
          </p:cNvPr>
          <p:cNvSpPr>
            <a:spLocks/>
          </p:cNvSpPr>
          <p:nvPr userDrawn="1"/>
        </p:nvSpPr>
        <p:spPr bwMode="auto">
          <a:xfrm>
            <a:off x="1304473" y="1197733"/>
            <a:ext cx="267258" cy="196713"/>
          </a:xfrm>
          <a:custGeom>
            <a:avLst/>
            <a:gdLst>
              <a:gd name="T0" fmla="*/ 2 w 113"/>
              <a:gd name="T1" fmla="*/ 82 h 83"/>
              <a:gd name="T2" fmla="*/ 58 w 113"/>
              <a:gd name="T3" fmla="*/ 41 h 83"/>
              <a:gd name="T4" fmla="*/ 110 w 113"/>
              <a:gd name="T5" fmla="*/ 6 h 83"/>
              <a:gd name="T6" fmla="*/ 108 w 113"/>
              <a:gd name="T7" fmla="*/ 1 h 83"/>
              <a:gd name="T8" fmla="*/ 1 w 113"/>
              <a:gd name="T9" fmla="*/ 80 h 83"/>
              <a:gd name="T10" fmla="*/ 2 w 113"/>
              <a:gd name="T11" fmla="*/ 82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3" h="83">
                <a:moveTo>
                  <a:pt x="2" y="82"/>
                </a:moveTo>
                <a:cubicBezTo>
                  <a:pt x="21" y="68"/>
                  <a:pt x="39" y="54"/>
                  <a:pt x="58" y="41"/>
                </a:cubicBezTo>
                <a:cubicBezTo>
                  <a:pt x="76" y="29"/>
                  <a:pt x="95" y="19"/>
                  <a:pt x="110" y="6"/>
                </a:cubicBezTo>
                <a:cubicBezTo>
                  <a:pt x="113" y="4"/>
                  <a:pt x="110" y="0"/>
                  <a:pt x="108" y="1"/>
                </a:cubicBezTo>
                <a:cubicBezTo>
                  <a:pt x="69" y="15"/>
                  <a:pt x="30" y="51"/>
                  <a:pt x="1" y="80"/>
                </a:cubicBezTo>
                <a:cubicBezTo>
                  <a:pt x="0" y="81"/>
                  <a:pt x="1" y="83"/>
                  <a:pt x="2" y="8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38" name="Freeform 274">
            <a:extLst>
              <a:ext uri="{FF2B5EF4-FFF2-40B4-BE49-F238E27FC236}">
                <a16:creationId xmlns:a16="http://schemas.microsoft.com/office/drawing/2014/main" id="{02D64B00-8BD7-4BA0-A9ED-D79C2A1BB0AD}"/>
              </a:ext>
            </a:extLst>
          </p:cNvPr>
          <p:cNvSpPr>
            <a:spLocks/>
          </p:cNvSpPr>
          <p:nvPr userDrawn="1"/>
        </p:nvSpPr>
        <p:spPr bwMode="auto">
          <a:xfrm>
            <a:off x="1054714" y="710708"/>
            <a:ext cx="906768" cy="947080"/>
          </a:xfrm>
          <a:custGeom>
            <a:avLst/>
            <a:gdLst>
              <a:gd name="T0" fmla="*/ 6 w 382"/>
              <a:gd name="T1" fmla="*/ 400 h 401"/>
              <a:gd name="T2" fmla="*/ 381 w 382"/>
              <a:gd name="T3" fmla="*/ 1 h 401"/>
              <a:gd name="T4" fmla="*/ 381 w 382"/>
              <a:gd name="T5" fmla="*/ 1 h 401"/>
              <a:gd name="T6" fmla="*/ 4 w 382"/>
              <a:gd name="T7" fmla="*/ 394 h 401"/>
              <a:gd name="T8" fmla="*/ 6 w 382"/>
              <a:gd name="T9" fmla="*/ 400 h 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2" h="401">
                <a:moveTo>
                  <a:pt x="6" y="400"/>
                </a:moveTo>
                <a:cubicBezTo>
                  <a:pt x="203" y="369"/>
                  <a:pt x="332" y="181"/>
                  <a:pt x="381" y="1"/>
                </a:cubicBezTo>
                <a:cubicBezTo>
                  <a:pt x="382" y="0"/>
                  <a:pt x="381" y="0"/>
                  <a:pt x="381" y="1"/>
                </a:cubicBezTo>
                <a:cubicBezTo>
                  <a:pt x="319" y="183"/>
                  <a:pt x="194" y="340"/>
                  <a:pt x="4" y="394"/>
                </a:cubicBezTo>
                <a:cubicBezTo>
                  <a:pt x="0" y="395"/>
                  <a:pt x="2" y="401"/>
                  <a:pt x="6" y="40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39" name="Freeform 275">
            <a:extLst>
              <a:ext uri="{FF2B5EF4-FFF2-40B4-BE49-F238E27FC236}">
                <a16:creationId xmlns:a16="http://schemas.microsoft.com/office/drawing/2014/main" id="{9F024246-32FE-4895-AAF1-2F6FBDD02047}"/>
              </a:ext>
            </a:extLst>
          </p:cNvPr>
          <p:cNvSpPr>
            <a:spLocks/>
          </p:cNvSpPr>
          <p:nvPr userDrawn="1"/>
        </p:nvSpPr>
        <p:spPr bwMode="auto">
          <a:xfrm>
            <a:off x="120902" y="623457"/>
            <a:ext cx="2107837" cy="1297673"/>
          </a:xfrm>
          <a:custGeom>
            <a:avLst/>
            <a:gdLst>
              <a:gd name="T0" fmla="*/ 572 w 889"/>
              <a:gd name="T1" fmla="*/ 433 h 549"/>
              <a:gd name="T2" fmla="*/ 2 w 889"/>
              <a:gd name="T3" fmla="*/ 514 h 549"/>
              <a:gd name="T4" fmla="*/ 1 w 889"/>
              <a:gd name="T5" fmla="*/ 517 h 549"/>
              <a:gd name="T6" fmla="*/ 616 w 889"/>
              <a:gd name="T7" fmla="*/ 444 h 549"/>
              <a:gd name="T8" fmla="*/ 850 w 889"/>
              <a:gd name="T9" fmla="*/ 3 h 549"/>
              <a:gd name="T10" fmla="*/ 845 w 889"/>
              <a:gd name="T11" fmla="*/ 4 h 549"/>
              <a:gd name="T12" fmla="*/ 572 w 889"/>
              <a:gd name="T13" fmla="*/ 433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9" h="549">
                <a:moveTo>
                  <a:pt x="572" y="433"/>
                </a:moveTo>
                <a:cubicBezTo>
                  <a:pt x="393" y="524"/>
                  <a:pt x="196" y="510"/>
                  <a:pt x="2" y="514"/>
                </a:cubicBezTo>
                <a:cubicBezTo>
                  <a:pt x="0" y="514"/>
                  <a:pt x="0" y="517"/>
                  <a:pt x="1" y="517"/>
                </a:cubicBezTo>
                <a:cubicBezTo>
                  <a:pt x="203" y="549"/>
                  <a:pt x="433" y="544"/>
                  <a:pt x="616" y="444"/>
                </a:cubicBezTo>
                <a:cubicBezTo>
                  <a:pt x="777" y="356"/>
                  <a:pt x="889" y="190"/>
                  <a:pt x="850" y="3"/>
                </a:cubicBezTo>
                <a:cubicBezTo>
                  <a:pt x="849" y="0"/>
                  <a:pt x="845" y="1"/>
                  <a:pt x="845" y="4"/>
                </a:cubicBezTo>
                <a:cubicBezTo>
                  <a:pt x="857" y="190"/>
                  <a:pt x="732" y="353"/>
                  <a:pt x="572" y="43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40" name="Freeform 276">
            <a:extLst>
              <a:ext uri="{FF2B5EF4-FFF2-40B4-BE49-F238E27FC236}">
                <a16:creationId xmlns:a16="http://schemas.microsoft.com/office/drawing/2014/main" id="{B3A05986-B8A8-4F18-9D21-14AE73BB7BD8}"/>
              </a:ext>
            </a:extLst>
          </p:cNvPr>
          <p:cNvSpPr>
            <a:spLocks/>
          </p:cNvSpPr>
          <p:nvPr userDrawn="1"/>
        </p:nvSpPr>
        <p:spPr bwMode="auto">
          <a:xfrm>
            <a:off x="0" y="1665720"/>
            <a:ext cx="846316" cy="120566"/>
          </a:xfrm>
          <a:custGeom>
            <a:avLst/>
            <a:gdLst>
              <a:gd name="T0" fmla="*/ 356 w 357"/>
              <a:gd name="T1" fmla="*/ 14 h 51"/>
              <a:gd name="T2" fmla="*/ 356 w 357"/>
              <a:gd name="T3" fmla="*/ 12 h 51"/>
              <a:gd name="T4" fmla="*/ 97 w 357"/>
              <a:gd name="T5" fmla="*/ 23 h 51"/>
              <a:gd name="T6" fmla="*/ 0 w 357"/>
              <a:gd name="T7" fmla="*/ 0 h 51"/>
              <a:gd name="T8" fmla="*/ 0 w 357"/>
              <a:gd name="T9" fmla="*/ 33 h 51"/>
              <a:gd name="T10" fmla="*/ 94 w 357"/>
              <a:gd name="T11" fmla="*/ 45 h 51"/>
              <a:gd name="T12" fmla="*/ 356 w 357"/>
              <a:gd name="T13" fmla="*/ 14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7" h="51">
                <a:moveTo>
                  <a:pt x="356" y="14"/>
                </a:moveTo>
                <a:cubicBezTo>
                  <a:pt x="357" y="14"/>
                  <a:pt x="357" y="12"/>
                  <a:pt x="356" y="12"/>
                </a:cubicBezTo>
                <a:cubicBezTo>
                  <a:pt x="271" y="32"/>
                  <a:pt x="183" y="38"/>
                  <a:pt x="97" y="23"/>
                </a:cubicBezTo>
                <a:cubicBezTo>
                  <a:pt x="64" y="17"/>
                  <a:pt x="32" y="9"/>
                  <a:pt x="0" y="0"/>
                </a:cubicBezTo>
                <a:cubicBezTo>
                  <a:pt x="0" y="33"/>
                  <a:pt x="0" y="33"/>
                  <a:pt x="0" y="33"/>
                </a:cubicBezTo>
                <a:cubicBezTo>
                  <a:pt x="32" y="39"/>
                  <a:pt x="65" y="43"/>
                  <a:pt x="94" y="45"/>
                </a:cubicBezTo>
                <a:cubicBezTo>
                  <a:pt x="183" y="51"/>
                  <a:pt x="271" y="41"/>
                  <a:pt x="356" y="1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41" name="Freeform 277">
            <a:extLst>
              <a:ext uri="{FF2B5EF4-FFF2-40B4-BE49-F238E27FC236}">
                <a16:creationId xmlns:a16="http://schemas.microsoft.com/office/drawing/2014/main" id="{651995BC-14AB-4BB8-BDB1-4190172CAEFF}"/>
              </a:ext>
            </a:extLst>
          </p:cNvPr>
          <p:cNvSpPr>
            <a:spLocks/>
          </p:cNvSpPr>
          <p:nvPr userDrawn="1"/>
        </p:nvSpPr>
        <p:spPr bwMode="auto">
          <a:xfrm>
            <a:off x="3227775" y="3175"/>
            <a:ext cx="217943" cy="142776"/>
          </a:xfrm>
          <a:custGeom>
            <a:avLst/>
            <a:gdLst>
              <a:gd name="T0" fmla="*/ 87 w 92"/>
              <a:gd name="T1" fmla="*/ 60 h 61"/>
              <a:gd name="T2" fmla="*/ 89 w 92"/>
              <a:gd name="T3" fmla="*/ 56 h 61"/>
              <a:gd name="T4" fmla="*/ 8 w 92"/>
              <a:gd name="T5" fmla="*/ 0 h 61"/>
              <a:gd name="T6" fmla="*/ 0 w 92"/>
              <a:gd name="T7" fmla="*/ 0 h 61"/>
              <a:gd name="T8" fmla="*/ 87 w 92"/>
              <a:gd name="T9" fmla="*/ 6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2" h="61">
                <a:moveTo>
                  <a:pt x="87" y="60"/>
                </a:moveTo>
                <a:cubicBezTo>
                  <a:pt x="90" y="61"/>
                  <a:pt x="92" y="57"/>
                  <a:pt x="89" y="56"/>
                </a:cubicBezTo>
                <a:cubicBezTo>
                  <a:pt x="58" y="40"/>
                  <a:pt x="31" y="23"/>
                  <a:pt x="8" y="0"/>
                </a:cubicBezTo>
                <a:cubicBezTo>
                  <a:pt x="0" y="0"/>
                  <a:pt x="0" y="0"/>
                  <a:pt x="0" y="0"/>
                </a:cubicBezTo>
                <a:cubicBezTo>
                  <a:pt x="23" y="28"/>
                  <a:pt x="53" y="51"/>
                  <a:pt x="87" y="6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42" name="Freeform 278">
            <a:extLst>
              <a:ext uri="{FF2B5EF4-FFF2-40B4-BE49-F238E27FC236}">
                <a16:creationId xmlns:a16="http://schemas.microsoft.com/office/drawing/2014/main" id="{1CA9AF04-F4F9-4A1F-AC4E-F820BF50B550}"/>
              </a:ext>
            </a:extLst>
          </p:cNvPr>
          <p:cNvSpPr>
            <a:spLocks/>
          </p:cNvSpPr>
          <p:nvPr userDrawn="1"/>
        </p:nvSpPr>
        <p:spPr bwMode="auto">
          <a:xfrm>
            <a:off x="2777572" y="342664"/>
            <a:ext cx="614057" cy="344249"/>
          </a:xfrm>
          <a:custGeom>
            <a:avLst/>
            <a:gdLst>
              <a:gd name="T0" fmla="*/ 5 w 259"/>
              <a:gd name="T1" fmla="*/ 1 h 146"/>
              <a:gd name="T2" fmla="*/ 1 w 259"/>
              <a:gd name="T3" fmla="*/ 4 h 146"/>
              <a:gd name="T4" fmla="*/ 259 w 259"/>
              <a:gd name="T5" fmla="*/ 146 h 146"/>
              <a:gd name="T6" fmla="*/ 259 w 259"/>
              <a:gd name="T7" fmla="*/ 145 h 146"/>
              <a:gd name="T8" fmla="*/ 5 w 259"/>
              <a:gd name="T9" fmla="*/ 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9" h="146">
                <a:moveTo>
                  <a:pt x="5" y="1"/>
                </a:moveTo>
                <a:cubicBezTo>
                  <a:pt x="3" y="0"/>
                  <a:pt x="0" y="2"/>
                  <a:pt x="1" y="4"/>
                </a:cubicBezTo>
                <a:cubicBezTo>
                  <a:pt x="52" y="109"/>
                  <a:pt x="150" y="137"/>
                  <a:pt x="259" y="146"/>
                </a:cubicBezTo>
                <a:cubicBezTo>
                  <a:pt x="259" y="146"/>
                  <a:pt x="259" y="145"/>
                  <a:pt x="259" y="145"/>
                </a:cubicBezTo>
                <a:cubicBezTo>
                  <a:pt x="167" y="110"/>
                  <a:pt x="68" y="81"/>
                  <a:pt x="5" y="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43" name="Freeform 279">
            <a:extLst>
              <a:ext uri="{FF2B5EF4-FFF2-40B4-BE49-F238E27FC236}">
                <a16:creationId xmlns:a16="http://schemas.microsoft.com/office/drawing/2014/main" id="{27C24E49-9EF6-46C5-9CF2-D0F312BB5192}"/>
              </a:ext>
            </a:extLst>
          </p:cNvPr>
          <p:cNvSpPr>
            <a:spLocks/>
          </p:cNvSpPr>
          <p:nvPr userDrawn="1"/>
        </p:nvSpPr>
        <p:spPr bwMode="auto">
          <a:xfrm>
            <a:off x="2300326" y="874108"/>
            <a:ext cx="860634" cy="460055"/>
          </a:xfrm>
          <a:custGeom>
            <a:avLst/>
            <a:gdLst>
              <a:gd name="T0" fmla="*/ 359 w 363"/>
              <a:gd name="T1" fmla="*/ 181 h 195"/>
              <a:gd name="T2" fmla="*/ 359 w 363"/>
              <a:gd name="T3" fmla="*/ 175 h 195"/>
              <a:gd name="T4" fmla="*/ 152 w 363"/>
              <a:gd name="T5" fmla="*/ 138 h 195"/>
              <a:gd name="T6" fmla="*/ 2 w 363"/>
              <a:gd name="T7" fmla="*/ 0 h 195"/>
              <a:gd name="T8" fmla="*/ 1 w 363"/>
              <a:gd name="T9" fmla="*/ 1 h 195"/>
              <a:gd name="T10" fmla="*/ 144 w 363"/>
              <a:gd name="T11" fmla="*/ 153 h 195"/>
              <a:gd name="T12" fmla="*/ 359 w 363"/>
              <a:gd name="T13" fmla="*/ 181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63" h="195">
                <a:moveTo>
                  <a:pt x="359" y="181"/>
                </a:moveTo>
                <a:cubicBezTo>
                  <a:pt x="363" y="181"/>
                  <a:pt x="363" y="175"/>
                  <a:pt x="359" y="175"/>
                </a:cubicBezTo>
                <a:cubicBezTo>
                  <a:pt x="290" y="176"/>
                  <a:pt x="213" y="175"/>
                  <a:pt x="152" y="138"/>
                </a:cubicBezTo>
                <a:cubicBezTo>
                  <a:pt x="96" y="103"/>
                  <a:pt x="39" y="56"/>
                  <a:pt x="2" y="0"/>
                </a:cubicBezTo>
                <a:cubicBezTo>
                  <a:pt x="1" y="0"/>
                  <a:pt x="0" y="0"/>
                  <a:pt x="1" y="1"/>
                </a:cubicBezTo>
                <a:cubicBezTo>
                  <a:pt x="29" y="63"/>
                  <a:pt x="87" y="117"/>
                  <a:pt x="144" y="153"/>
                </a:cubicBezTo>
                <a:cubicBezTo>
                  <a:pt x="210" y="195"/>
                  <a:pt x="285" y="187"/>
                  <a:pt x="359" y="18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44" name="Freeform 280">
            <a:extLst>
              <a:ext uri="{FF2B5EF4-FFF2-40B4-BE49-F238E27FC236}">
                <a16:creationId xmlns:a16="http://schemas.microsoft.com/office/drawing/2014/main" id="{F136CE15-2CC5-4D57-8D03-1FC7D6146390}"/>
              </a:ext>
            </a:extLst>
          </p:cNvPr>
          <p:cNvSpPr>
            <a:spLocks/>
          </p:cNvSpPr>
          <p:nvPr userDrawn="1"/>
        </p:nvSpPr>
        <p:spPr bwMode="auto">
          <a:xfrm>
            <a:off x="2701213" y="149124"/>
            <a:ext cx="765185" cy="410878"/>
          </a:xfrm>
          <a:custGeom>
            <a:avLst/>
            <a:gdLst>
              <a:gd name="T0" fmla="*/ 311 w 323"/>
              <a:gd name="T1" fmla="*/ 156 h 174"/>
              <a:gd name="T2" fmla="*/ 3 w 323"/>
              <a:gd name="T3" fmla="*/ 2 h 174"/>
              <a:gd name="T4" fmla="*/ 1 w 323"/>
              <a:gd name="T5" fmla="*/ 3 h 174"/>
              <a:gd name="T6" fmla="*/ 311 w 323"/>
              <a:gd name="T7" fmla="*/ 174 h 174"/>
              <a:gd name="T8" fmla="*/ 311 w 323"/>
              <a:gd name="T9" fmla="*/ 156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3" h="174">
                <a:moveTo>
                  <a:pt x="311" y="156"/>
                </a:moveTo>
                <a:cubicBezTo>
                  <a:pt x="188" y="155"/>
                  <a:pt x="80" y="96"/>
                  <a:pt x="3" y="2"/>
                </a:cubicBezTo>
                <a:cubicBezTo>
                  <a:pt x="2" y="0"/>
                  <a:pt x="0" y="2"/>
                  <a:pt x="1" y="3"/>
                </a:cubicBezTo>
                <a:cubicBezTo>
                  <a:pt x="66" y="112"/>
                  <a:pt x="186" y="173"/>
                  <a:pt x="311" y="174"/>
                </a:cubicBezTo>
                <a:cubicBezTo>
                  <a:pt x="323" y="174"/>
                  <a:pt x="323" y="156"/>
                  <a:pt x="311" y="15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45" name="Freeform 281">
            <a:extLst>
              <a:ext uri="{FF2B5EF4-FFF2-40B4-BE49-F238E27FC236}">
                <a16:creationId xmlns:a16="http://schemas.microsoft.com/office/drawing/2014/main" id="{52565EE5-95B3-4DA3-830B-19473DFF8618}"/>
              </a:ext>
            </a:extLst>
          </p:cNvPr>
          <p:cNvSpPr>
            <a:spLocks/>
          </p:cNvSpPr>
          <p:nvPr userDrawn="1"/>
        </p:nvSpPr>
        <p:spPr bwMode="auto">
          <a:xfrm>
            <a:off x="3199140" y="241135"/>
            <a:ext cx="197262" cy="44419"/>
          </a:xfrm>
          <a:custGeom>
            <a:avLst/>
            <a:gdLst>
              <a:gd name="T0" fmla="*/ 39 w 83"/>
              <a:gd name="T1" fmla="*/ 9 h 19"/>
              <a:gd name="T2" fmla="*/ 6 w 83"/>
              <a:gd name="T3" fmla="*/ 0 h 19"/>
              <a:gd name="T4" fmla="*/ 4 w 83"/>
              <a:gd name="T5" fmla="*/ 8 h 19"/>
              <a:gd name="T6" fmla="*/ 82 w 83"/>
              <a:gd name="T7" fmla="*/ 12 h 19"/>
              <a:gd name="T8" fmla="*/ 82 w 83"/>
              <a:gd name="T9" fmla="*/ 11 h 19"/>
              <a:gd name="T10" fmla="*/ 39 w 83"/>
              <a:gd name="T11" fmla="*/ 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3" h="19">
                <a:moveTo>
                  <a:pt x="39" y="9"/>
                </a:moveTo>
                <a:cubicBezTo>
                  <a:pt x="28" y="6"/>
                  <a:pt x="17" y="2"/>
                  <a:pt x="6" y="0"/>
                </a:cubicBezTo>
                <a:cubicBezTo>
                  <a:pt x="2" y="0"/>
                  <a:pt x="0" y="6"/>
                  <a:pt x="4" y="8"/>
                </a:cubicBezTo>
                <a:cubicBezTo>
                  <a:pt x="26" y="19"/>
                  <a:pt x="58" y="16"/>
                  <a:pt x="82" y="12"/>
                </a:cubicBezTo>
                <a:cubicBezTo>
                  <a:pt x="83" y="12"/>
                  <a:pt x="83" y="10"/>
                  <a:pt x="82" y="11"/>
                </a:cubicBezTo>
                <a:cubicBezTo>
                  <a:pt x="67" y="12"/>
                  <a:pt x="53" y="11"/>
                  <a:pt x="39" y="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46" name="Freeform 282">
            <a:extLst>
              <a:ext uri="{FF2B5EF4-FFF2-40B4-BE49-F238E27FC236}">
                <a16:creationId xmlns:a16="http://schemas.microsoft.com/office/drawing/2014/main" id="{4501AD0C-E015-4C7F-82E5-610D429BB5F5}"/>
              </a:ext>
            </a:extLst>
          </p:cNvPr>
          <p:cNvSpPr>
            <a:spLocks/>
          </p:cNvSpPr>
          <p:nvPr userDrawn="1"/>
        </p:nvSpPr>
        <p:spPr bwMode="auto">
          <a:xfrm>
            <a:off x="2720303" y="3175"/>
            <a:ext cx="714279" cy="364871"/>
          </a:xfrm>
          <a:custGeom>
            <a:avLst/>
            <a:gdLst>
              <a:gd name="T0" fmla="*/ 70 w 301"/>
              <a:gd name="T1" fmla="*/ 78 h 155"/>
              <a:gd name="T2" fmla="*/ 299 w 301"/>
              <a:gd name="T3" fmla="*/ 147 h 155"/>
              <a:gd name="T4" fmla="*/ 299 w 301"/>
              <a:gd name="T5" fmla="*/ 145 h 155"/>
              <a:gd name="T6" fmla="*/ 39 w 301"/>
              <a:gd name="T7" fmla="*/ 0 h 155"/>
              <a:gd name="T8" fmla="*/ 0 w 301"/>
              <a:gd name="T9" fmla="*/ 0 h 155"/>
              <a:gd name="T10" fmla="*/ 70 w 301"/>
              <a:gd name="T11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01" h="155">
                <a:moveTo>
                  <a:pt x="70" y="78"/>
                </a:moveTo>
                <a:cubicBezTo>
                  <a:pt x="134" y="129"/>
                  <a:pt x="217" y="155"/>
                  <a:pt x="299" y="147"/>
                </a:cubicBezTo>
                <a:cubicBezTo>
                  <a:pt x="300" y="147"/>
                  <a:pt x="301" y="145"/>
                  <a:pt x="299" y="145"/>
                </a:cubicBezTo>
                <a:cubicBezTo>
                  <a:pt x="202" y="122"/>
                  <a:pt x="108" y="73"/>
                  <a:pt x="39" y="0"/>
                </a:cubicBezTo>
                <a:cubicBezTo>
                  <a:pt x="0" y="0"/>
                  <a:pt x="0" y="0"/>
                  <a:pt x="0" y="0"/>
                </a:cubicBezTo>
                <a:cubicBezTo>
                  <a:pt x="18" y="29"/>
                  <a:pt x="41" y="55"/>
                  <a:pt x="70" y="78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47" name="Freeform 283">
            <a:extLst>
              <a:ext uri="{FF2B5EF4-FFF2-40B4-BE49-F238E27FC236}">
                <a16:creationId xmlns:a16="http://schemas.microsoft.com/office/drawing/2014/main" id="{357DE804-D568-45CD-AE26-15CD39924504}"/>
              </a:ext>
            </a:extLst>
          </p:cNvPr>
          <p:cNvSpPr>
            <a:spLocks/>
          </p:cNvSpPr>
          <p:nvPr userDrawn="1"/>
        </p:nvSpPr>
        <p:spPr bwMode="auto">
          <a:xfrm>
            <a:off x="2535767" y="3175"/>
            <a:ext cx="146355" cy="277620"/>
          </a:xfrm>
          <a:custGeom>
            <a:avLst/>
            <a:gdLst>
              <a:gd name="T0" fmla="*/ 60 w 62"/>
              <a:gd name="T1" fmla="*/ 118 h 118"/>
              <a:gd name="T2" fmla="*/ 61 w 62"/>
              <a:gd name="T3" fmla="*/ 117 h 118"/>
              <a:gd name="T4" fmla="*/ 24 w 62"/>
              <a:gd name="T5" fmla="*/ 37 h 118"/>
              <a:gd name="T6" fmla="*/ 14 w 62"/>
              <a:gd name="T7" fmla="*/ 0 h 118"/>
              <a:gd name="T8" fmla="*/ 0 w 62"/>
              <a:gd name="T9" fmla="*/ 0 h 118"/>
              <a:gd name="T10" fmla="*/ 60 w 62"/>
              <a:gd name="T11" fmla="*/ 118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2" h="118">
                <a:moveTo>
                  <a:pt x="60" y="118"/>
                </a:moveTo>
                <a:cubicBezTo>
                  <a:pt x="61" y="118"/>
                  <a:pt x="62" y="118"/>
                  <a:pt x="61" y="117"/>
                </a:cubicBezTo>
                <a:cubicBezTo>
                  <a:pt x="46" y="92"/>
                  <a:pt x="34" y="65"/>
                  <a:pt x="24" y="37"/>
                </a:cubicBezTo>
                <a:cubicBezTo>
                  <a:pt x="20" y="25"/>
                  <a:pt x="17" y="12"/>
                  <a:pt x="14" y="0"/>
                </a:cubicBezTo>
                <a:cubicBezTo>
                  <a:pt x="0" y="0"/>
                  <a:pt x="0" y="0"/>
                  <a:pt x="0" y="0"/>
                </a:cubicBezTo>
                <a:cubicBezTo>
                  <a:pt x="9" y="43"/>
                  <a:pt x="34" y="86"/>
                  <a:pt x="60" y="118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48" name="Freeform 284">
            <a:extLst>
              <a:ext uri="{FF2B5EF4-FFF2-40B4-BE49-F238E27FC236}">
                <a16:creationId xmlns:a16="http://schemas.microsoft.com/office/drawing/2014/main" id="{D10C5465-98E4-48DF-B73E-A77E82C42AE0}"/>
              </a:ext>
            </a:extLst>
          </p:cNvPr>
          <p:cNvSpPr>
            <a:spLocks/>
          </p:cNvSpPr>
          <p:nvPr userDrawn="1"/>
        </p:nvSpPr>
        <p:spPr bwMode="auto">
          <a:xfrm>
            <a:off x="2947790" y="3175"/>
            <a:ext cx="203625" cy="207819"/>
          </a:xfrm>
          <a:custGeom>
            <a:avLst/>
            <a:gdLst>
              <a:gd name="T0" fmla="*/ 80 w 86"/>
              <a:gd name="T1" fmla="*/ 87 h 88"/>
              <a:gd name="T2" fmla="*/ 84 w 86"/>
              <a:gd name="T3" fmla="*/ 84 h 88"/>
              <a:gd name="T4" fmla="*/ 12 w 86"/>
              <a:gd name="T5" fmla="*/ 0 h 88"/>
              <a:gd name="T6" fmla="*/ 0 w 86"/>
              <a:gd name="T7" fmla="*/ 0 h 88"/>
              <a:gd name="T8" fmla="*/ 80 w 86"/>
              <a:gd name="T9" fmla="*/ 87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6" h="88">
                <a:moveTo>
                  <a:pt x="80" y="87"/>
                </a:moveTo>
                <a:cubicBezTo>
                  <a:pt x="82" y="88"/>
                  <a:pt x="86" y="86"/>
                  <a:pt x="84" y="84"/>
                </a:cubicBezTo>
                <a:cubicBezTo>
                  <a:pt x="61" y="55"/>
                  <a:pt x="36" y="28"/>
                  <a:pt x="12" y="0"/>
                </a:cubicBezTo>
                <a:cubicBezTo>
                  <a:pt x="0" y="0"/>
                  <a:pt x="0" y="0"/>
                  <a:pt x="0" y="0"/>
                </a:cubicBezTo>
                <a:cubicBezTo>
                  <a:pt x="23" y="32"/>
                  <a:pt x="49" y="62"/>
                  <a:pt x="80" y="8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49" name="Freeform 285">
            <a:extLst>
              <a:ext uri="{FF2B5EF4-FFF2-40B4-BE49-F238E27FC236}">
                <a16:creationId xmlns:a16="http://schemas.microsoft.com/office/drawing/2014/main" id="{EBEC47A4-8BDE-47EE-A183-29D790D92567}"/>
              </a:ext>
            </a:extLst>
          </p:cNvPr>
          <p:cNvSpPr>
            <a:spLocks/>
          </p:cNvSpPr>
          <p:nvPr userDrawn="1"/>
        </p:nvSpPr>
        <p:spPr bwMode="auto">
          <a:xfrm>
            <a:off x="2136472" y="3175"/>
            <a:ext cx="1380832" cy="1350025"/>
          </a:xfrm>
          <a:custGeom>
            <a:avLst/>
            <a:gdLst>
              <a:gd name="T0" fmla="*/ 21 w 582"/>
              <a:gd name="T1" fmla="*/ 0 h 572"/>
              <a:gd name="T2" fmla="*/ 138 w 582"/>
              <a:gd name="T3" fmla="*/ 392 h 572"/>
              <a:gd name="T4" fmla="*/ 579 w 582"/>
              <a:gd name="T5" fmla="*/ 468 h 572"/>
              <a:gd name="T6" fmla="*/ 576 w 582"/>
              <a:gd name="T7" fmla="*/ 462 h 572"/>
              <a:gd name="T8" fmla="*/ 153 w 582"/>
              <a:gd name="T9" fmla="*/ 355 h 572"/>
              <a:gd name="T10" fmla="*/ 31 w 582"/>
              <a:gd name="T11" fmla="*/ 0 h 572"/>
              <a:gd name="T12" fmla="*/ 21 w 582"/>
              <a:gd name="T13" fmla="*/ 0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2" h="572">
                <a:moveTo>
                  <a:pt x="21" y="0"/>
                </a:moveTo>
                <a:cubicBezTo>
                  <a:pt x="0" y="140"/>
                  <a:pt x="43" y="286"/>
                  <a:pt x="138" y="392"/>
                </a:cubicBezTo>
                <a:cubicBezTo>
                  <a:pt x="249" y="515"/>
                  <a:pt x="436" y="572"/>
                  <a:pt x="579" y="468"/>
                </a:cubicBezTo>
                <a:cubicBezTo>
                  <a:pt x="582" y="465"/>
                  <a:pt x="580" y="460"/>
                  <a:pt x="576" y="462"/>
                </a:cubicBezTo>
                <a:cubicBezTo>
                  <a:pt x="427" y="534"/>
                  <a:pt x="258" y="475"/>
                  <a:pt x="153" y="355"/>
                </a:cubicBezTo>
                <a:cubicBezTo>
                  <a:pt x="67" y="257"/>
                  <a:pt x="26" y="128"/>
                  <a:pt x="31" y="0"/>
                </a:cubicBezTo>
                <a:lnTo>
                  <a:pt x="21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50" name="Freeform 286">
            <a:extLst>
              <a:ext uri="{FF2B5EF4-FFF2-40B4-BE49-F238E27FC236}">
                <a16:creationId xmlns:a16="http://schemas.microsoft.com/office/drawing/2014/main" id="{91496694-18E0-4C4E-8CA5-D3CE2E5E8490}"/>
              </a:ext>
            </a:extLst>
          </p:cNvPr>
          <p:cNvSpPr>
            <a:spLocks/>
          </p:cNvSpPr>
          <p:nvPr userDrawn="1"/>
        </p:nvSpPr>
        <p:spPr bwMode="auto">
          <a:xfrm>
            <a:off x="3111644" y="855071"/>
            <a:ext cx="291121" cy="72974"/>
          </a:xfrm>
          <a:custGeom>
            <a:avLst/>
            <a:gdLst>
              <a:gd name="T0" fmla="*/ 56 w 123"/>
              <a:gd name="T1" fmla="*/ 10 h 31"/>
              <a:gd name="T2" fmla="*/ 6 w 123"/>
              <a:gd name="T3" fmla="*/ 0 h 31"/>
              <a:gd name="T4" fmla="*/ 3 w 123"/>
              <a:gd name="T5" fmla="*/ 7 h 31"/>
              <a:gd name="T6" fmla="*/ 122 w 123"/>
              <a:gd name="T7" fmla="*/ 12 h 31"/>
              <a:gd name="T8" fmla="*/ 122 w 123"/>
              <a:gd name="T9" fmla="*/ 11 h 31"/>
              <a:gd name="T10" fmla="*/ 56 w 123"/>
              <a:gd name="T11" fmla="*/ 1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3" h="31">
                <a:moveTo>
                  <a:pt x="56" y="10"/>
                </a:moveTo>
                <a:cubicBezTo>
                  <a:pt x="39" y="8"/>
                  <a:pt x="23" y="0"/>
                  <a:pt x="6" y="0"/>
                </a:cubicBezTo>
                <a:cubicBezTo>
                  <a:pt x="3" y="0"/>
                  <a:pt x="0" y="4"/>
                  <a:pt x="3" y="7"/>
                </a:cubicBezTo>
                <a:cubicBezTo>
                  <a:pt x="33" y="31"/>
                  <a:pt x="88" y="22"/>
                  <a:pt x="122" y="12"/>
                </a:cubicBezTo>
                <a:cubicBezTo>
                  <a:pt x="123" y="12"/>
                  <a:pt x="123" y="11"/>
                  <a:pt x="122" y="11"/>
                </a:cubicBezTo>
                <a:cubicBezTo>
                  <a:pt x="100" y="13"/>
                  <a:pt x="78" y="14"/>
                  <a:pt x="56" y="1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51" name="Freeform 287">
            <a:extLst>
              <a:ext uri="{FF2B5EF4-FFF2-40B4-BE49-F238E27FC236}">
                <a16:creationId xmlns:a16="http://schemas.microsoft.com/office/drawing/2014/main" id="{F2A8A1C6-29A5-4088-8D10-B011D4B1B3B6}"/>
              </a:ext>
            </a:extLst>
          </p:cNvPr>
          <p:cNvSpPr>
            <a:spLocks/>
          </p:cNvSpPr>
          <p:nvPr userDrawn="1"/>
        </p:nvSpPr>
        <p:spPr bwMode="auto">
          <a:xfrm>
            <a:off x="2023523" y="3175"/>
            <a:ext cx="68406" cy="499716"/>
          </a:xfrm>
          <a:custGeom>
            <a:avLst/>
            <a:gdLst>
              <a:gd name="T0" fmla="*/ 13 w 29"/>
              <a:gd name="T1" fmla="*/ 61 h 212"/>
              <a:gd name="T2" fmla="*/ 1 w 29"/>
              <a:gd name="T3" fmla="*/ 210 h 212"/>
              <a:gd name="T4" fmla="*/ 2 w 29"/>
              <a:gd name="T5" fmla="*/ 211 h 212"/>
              <a:gd name="T6" fmla="*/ 28 w 29"/>
              <a:gd name="T7" fmla="*/ 0 h 212"/>
              <a:gd name="T8" fmla="*/ 11 w 29"/>
              <a:gd name="T9" fmla="*/ 0 h 212"/>
              <a:gd name="T10" fmla="*/ 13 w 29"/>
              <a:gd name="T11" fmla="*/ 61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9" h="212">
                <a:moveTo>
                  <a:pt x="13" y="61"/>
                </a:moveTo>
                <a:cubicBezTo>
                  <a:pt x="12" y="111"/>
                  <a:pt x="6" y="161"/>
                  <a:pt x="1" y="210"/>
                </a:cubicBezTo>
                <a:cubicBezTo>
                  <a:pt x="0" y="211"/>
                  <a:pt x="2" y="212"/>
                  <a:pt x="2" y="211"/>
                </a:cubicBezTo>
                <a:cubicBezTo>
                  <a:pt x="18" y="146"/>
                  <a:pt x="29" y="71"/>
                  <a:pt x="28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12" y="20"/>
                  <a:pt x="13" y="41"/>
                  <a:pt x="13" y="6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52" name="Freeform 288">
            <a:extLst>
              <a:ext uri="{FF2B5EF4-FFF2-40B4-BE49-F238E27FC236}">
                <a16:creationId xmlns:a16="http://schemas.microsoft.com/office/drawing/2014/main" id="{FBA2CF3A-32BB-4E44-8A77-3B3A5712BC92}"/>
              </a:ext>
            </a:extLst>
          </p:cNvPr>
          <p:cNvSpPr>
            <a:spLocks/>
          </p:cNvSpPr>
          <p:nvPr userDrawn="1"/>
        </p:nvSpPr>
        <p:spPr bwMode="auto">
          <a:xfrm>
            <a:off x="3092555" y="3175"/>
            <a:ext cx="237033" cy="164985"/>
          </a:xfrm>
          <a:custGeom>
            <a:avLst/>
            <a:gdLst>
              <a:gd name="T0" fmla="*/ 97 w 100"/>
              <a:gd name="T1" fmla="*/ 70 h 70"/>
              <a:gd name="T2" fmla="*/ 98 w 100"/>
              <a:gd name="T3" fmla="*/ 67 h 70"/>
              <a:gd name="T4" fmla="*/ 19 w 100"/>
              <a:gd name="T5" fmla="*/ 0 h 70"/>
              <a:gd name="T6" fmla="*/ 0 w 100"/>
              <a:gd name="T7" fmla="*/ 0 h 70"/>
              <a:gd name="T8" fmla="*/ 97 w 100"/>
              <a:gd name="T9" fmla="*/ 7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70">
                <a:moveTo>
                  <a:pt x="97" y="70"/>
                </a:moveTo>
                <a:cubicBezTo>
                  <a:pt x="98" y="70"/>
                  <a:pt x="100" y="68"/>
                  <a:pt x="98" y="67"/>
                </a:cubicBezTo>
                <a:cubicBezTo>
                  <a:pt x="66" y="49"/>
                  <a:pt x="41" y="26"/>
                  <a:pt x="19" y="0"/>
                </a:cubicBezTo>
                <a:cubicBezTo>
                  <a:pt x="0" y="0"/>
                  <a:pt x="0" y="0"/>
                  <a:pt x="0" y="0"/>
                </a:cubicBezTo>
                <a:cubicBezTo>
                  <a:pt x="28" y="29"/>
                  <a:pt x="62" y="52"/>
                  <a:pt x="97" y="7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53" name="Freeform 289">
            <a:extLst>
              <a:ext uri="{FF2B5EF4-FFF2-40B4-BE49-F238E27FC236}">
                <a16:creationId xmlns:a16="http://schemas.microsoft.com/office/drawing/2014/main" id="{7C458248-3655-4F2F-9C85-6AF1AF8A3D57}"/>
              </a:ext>
            </a:extLst>
          </p:cNvPr>
          <p:cNvSpPr>
            <a:spLocks/>
          </p:cNvSpPr>
          <p:nvPr userDrawn="1"/>
        </p:nvSpPr>
        <p:spPr bwMode="auto">
          <a:xfrm>
            <a:off x="2670988" y="767819"/>
            <a:ext cx="828818" cy="409291"/>
          </a:xfrm>
          <a:custGeom>
            <a:avLst/>
            <a:gdLst>
              <a:gd name="T0" fmla="*/ 1 w 350"/>
              <a:gd name="T1" fmla="*/ 1 h 173"/>
              <a:gd name="T2" fmla="*/ 0 w 350"/>
              <a:gd name="T3" fmla="*/ 1 h 173"/>
              <a:gd name="T4" fmla="*/ 348 w 350"/>
              <a:gd name="T5" fmla="*/ 82 h 173"/>
              <a:gd name="T6" fmla="*/ 345 w 350"/>
              <a:gd name="T7" fmla="*/ 76 h 173"/>
              <a:gd name="T8" fmla="*/ 176 w 350"/>
              <a:gd name="T9" fmla="*/ 73 h 173"/>
              <a:gd name="T10" fmla="*/ 1 w 350"/>
              <a:gd name="T11" fmla="*/ 1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50" h="173">
                <a:moveTo>
                  <a:pt x="1" y="1"/>
                </a:moveTo>
                <a:cubicBezTo>
                  <a:pt x="0" y="0"/>
                  <a:pt x="0" y="1"/>
                  <a:pt x="0" y="1"/>
                </a:cubicBezTo>
                <a:cubicBezTo>
                  <a:pt x="80" y="61"/>
                  <a:pt x="254" y="173"/>
                  <a:pt x="348" y="82"/>
                </a:cubicBezTo>
                <a:cubicBezTo>
                  <a:pt x="350" y="80"/>
                  <a:pt x="348" y="76"/>
                  <a:pt x="345" y="76"/>
                </a:cubicBezTo>
                <a:cubicBezTo>
                  <a:pt x="288" y="73"/>
                  <a:pt x="234" y="84"/>
                  <a:pt x="176" y="73"/>
                </a:cubicBezTo>
                <a:cubicBezTo>
                  <a:pt x="113" y="59"/>
                  <a:pt x="58" y="29"/>
                  <a:pt x="1" y="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54" name="Freeform 290">
            <a:extLst>
              <a:ext uri="{FF2B5EF4-FFF2-40B4-BE49-F238E27FC236}">
                <a16:creationId xmlns:a16="http://schemas.microsoft.com/office/drawing/2014/main" id="{00EA34AE-40A9-4130-ADD6-CBB70DCEBBA9}"/>
              </a:ext>
            </a:extLst>
          </p:cNvPr>
          <p:cNvSpPr>
            <a:spLocks/>
          </p:cNvSpPr>
          <p:nvPr userDrawn="1"/>
        </p:nvSpPr>
        <p:spPr bwMode="auto">
          <a:xfrm>
            <a:off x="0" y="1486457"/>
            <a:ext cx="1134255" cy="212577"/>
          </a:xfrm>
          <a:custGeom>
            <a:avLst/>
            <a:gdLst>
              <a:gd name="T0" fmla="*/ 475 w 478"/>
              <a:gd name="T1" fmla="*/ 0 h 90"/>
              <a:gd name="T2" fmla="*/ 187 w 478"/>
              <a:gd name="T3" fmla="*/ 56 h 90"/>
              <a:gd name="T4" fmla="*/ 0 w 478"/>
              <a:gd name="T5" fmla="*/ 36 h 90"/>
              <a:gd name="T6" fmla="*/ 0 w 478"/>
              <a:gd name="T7" fmla="*/ 55 h 90"/>
              <a:gd name="T8" fmla="*/ 476 w 478"/>
              <a:gd name="T9" fmla="*/ 4 h 90"/>
              <a:gd name="T10" fmla="*/ 475 w 478"/>
              <a:gd name="T11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78" h="90">
                <a:moveTo>
                  <a:pt x="475" y="0"/>
                </a:moveTo>
                <a:cubicBezTo>
                  <a:pt x="380" y="32"/>
                  <a:pt x="288" y="54"/>
                  <a:pt x="187" y="56"/>
                </a:cubicBezTo>
                <a:cubicBezTo>
                  <a:pt x="123" y="57"/>
                  <a:pt x="61" y="49"/>
                  <a:pt x="0" y="36"/>
                </a:cubicBezTo>
                <a:cubicBezTo>
                  <a:pt x="0" y="55"/>
                  <a:pt x="0" y="55"/>
                  <a:pt x="0" y="55"/>
                </a:cubicBezTo>
                <a:cubicBezTo>
                  <a:pt x="157" y="90"/>
                  <a:pt x="336" y="72"/>
                  <a:pt x="476" y="4"/>
                </a:cubicBezTo>
                <a:cubicBezTo>
                  <a:pt x="478" y="3"/>
                  <a:pt x="477" y="0"/>
                  <a:pt x="475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55" name="Freeform 291">
            <a:extLst>
              <a:ext uri="{FF2B5EF4-FFF2-40B4-BE49-F238E27FC236}">
                <a16:creationId xmlns:a16="http://schemas.microsoft.com/office/drawing/2014/main" id="{043C4EC2-CAD5-401B-9DED-9905E876129F}"/>
              </a:ext>
            </a:extLst>
          </p:cNvPr>
          <p:cNvSpPr>
            <a:spLocks/>
          </p:cNvSpPr>
          <p:nvPr userDrawn="1"/>
        </p:nvSpPr>
        <p:spPr bwMode="auto">
          <a:xfrm>
            <a:off x="1320381" y="588556"/>
            <a:ext cx="120902" cy="141190"/>
          </a:xfrm>
          <a:custGeom>
            <a:avLst/>
            <a:gdLst>
              <a:gd name="T0" fmla="*/ 30 w 51"/>
              <a:gd name="T1" fmla="*/ 36 h 60"/>
              <a:gd name="T2" fmla="*/ 50 w 51"/>
              <a:gd name="T3" fmla="*/ 2 h 60"/>
              <a:gd name="T4" fmla="*/ 49 w 51"/>
              <a:gd name="T5" fmla="*/ 1 h 60"/>
              <a:gd name="T6" fmla="*/ 26 w 51"/>
              <a:gd name="T7" fmla="*/ 32 h 60"/>
              <a:gd name="T8" fmla="*/ 2 w 51"/>
              <a:gd name="T9" fmla="*/ 55 h 60"/>
              <a:gd name="T10" fmla="*/ 5 w 51"/>
              <a:gd name="T11" fmla="*/ 59 h 60"/>
              <a:gd name="T12" fmla="*/ 30 w 51"/>
              <a:gd name="T13" fmla="*/ 3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1" h="60">
                <a:moveTo>
                  <a:pt x="30" y="36"/>
                </a:moveTo>
                <a:cubicBezTo>
                  <a:pt x="38" y="25"/>
                  <a:pt x="45" y="14"/>
                  <a:pt x="50" y="2"/>
                </a:cubicBezTo>
                <a:cubicBezTo>
                  <a:pt x="51" y="1"/>
                  <a:pt x="50" y="0"/>
                  <a:pt x="49" y="1"/>
                </a:cubicBezTo>
                <a:cubicBezTo>
                  <a:pt x="43" y="12"/>
                  <a:pt x="35" y="23"/>
                  <a:pt x="26" y="32"/>
                </a:cubicBezTo>
                <a:cubicBezTo>
                  <a:pt x="18" y="39"/>
                  <a:pt x="7" y="45"/>
                  <a:pt x="2" y="55"/>
                </a:cubicBezTo>
                <a:cubicBezTo>
                  <a:pt x="0" y="57"/>
                  <a:pt x="2" y="60"/>
                  <a:pt x="5" y="59"/>
                </a:cubicBezTo>
                <a:cubicBezTo>
                  <a:pt x="16" y="56"/>
                  <a:pt x="24" y="45"/>
                  <a:pt x="30" y="3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56" name="Freeform 292">
            <a:extLst>
              <a:ext uri="{FF2B5EF4-FFF2-40B4-BE49-F238E27FC236}">
                <a16:creationId xmlns:a16="http://schemas.microsoft.com/office/drawing/2014/main" id="{AE155E0F-39B6-4897-98CF-70B8899EE439}"/>
              </a:ext>
            </a:extLst>
          </p:cNvPr>
          <p:cNvSpPr>
            <a:spLocks/>
          </p:cNvSpPr>
          <p:nvPr userDrawn="1"/>
        </p:nvSpPr>
        <p:spPr bwMode="auto">
          <a:xfrm>
            <a:off x="3456853" y="5417551"/>
            <a:ext cx="114539" cy="247478"/>
          </a:xfrm>
          <a:custGeom>
            <a:avLst/>
            <a:gdLst>
              <a:gd name="T0" fmla="*/ 3 w 48"/>
              <a:gd name="T1" fmla="*/ 104 h 105"/>
              <a:gd name="T2" fmla="*/ 46 w 48"/>
              <a:gd name="T3" fmla="*/ 11 h 105"/>
              <a:gd name="T4" fmla="*/ 37 w 48"/>
              <a:gd name="T5" fmla="*/ 7 h 105"/>
              <a:gd name="T6" fmla="*/ 1 w 48"/>
              <a:gd name="T7" fmla="*/ 103 h 105"/>
              <a:gd name="T8" fmla="*/ 3 w 48"/>
              <a:gd name="T9" fmla="*/ 104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" h="105">
                <a:moveTo>
                  <a:pt x="3" y="104"/>
                </a:moveTo>
                <a:cubicBezTo>
                  <a:pt x="18" y="74"/>
                  <a:pt x="32" y="42"/>
                  <a:pt x="46" y="11"/>
                </a:cubicBezTo>
                <a:cubicBezTo>
                  <a:pt x="48" y="4"/>
                  <a:pt x="39" y="0"/>
                  <a:pt x="37" y="7"/>
                </a:cubicBezTo>
                <a:cubicBezTo>
                  <a:pt x="24" y="39"/>
                  <a:pt x="12" y="71"/>
                  <a:pt x="1" y="103"/>
                </a:cubicBezTo>
                <a:cubicBezTo>
                  <a:pt x="0" y="104"/>
                  <a:pt x="2" y="105"/>
                  <a:pt x="3" y="10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57" name="Freeform 293">
            <a:extLst>
              <a:ext uri="{FF2B5EF4-FFF2-40B4-BE49-F238E27FC236}">
                <a16:creationId xmlns:a16="http://schemas.microsoft.com/office/drawing/2014/main" id="{DD4B4AAC-D8A8-436E-A1E6-F9CA08DBABB6}"/>
              </a:ext>
            </a:extLst>
          </p:cNvPr>
          <p:cNvSpPr>
            <a:spLocks/>
          </p:cNvSpPr>
          <p:nvPr userDrawn="1"/>
        </p:nvSpPr>
        <p:spPr bwMode="auto">
          <a:xfrm>
            <a:off x="3232547" y="271277"/>
            <a:ext cx="286348" cy="307761"/>
          </a:xfrm>
          <a:custGeom>
            <a:avLst/>
            <a:gdLst>
              <a:gd name="T0" fmla="*/ 56 w 121"/>
              <a:gd name="T1" fmla="*/ 83 h 130"/>
              <a:gd name="T2" fmla="*/ 106 w 121"/>
              <a:gd name="T3" fmla="*/ 126 h 130"/>
              <a:gd name="T4" fmla="*/ 113 w 121"/>
              <a:gd name="T5" fmla="*/ 119 h 130"/>
              <a:gd name="T6" fmla="*/ 70 w 121"/>
              <a:gd name="T7" fmla="*/ 61 h 130"/>
              <a:gd name="T8" fmla="*/ 2 w 121"/>
              <a:gd name="T9" fmla="*/ 0 h 130"/>
              <a:gd name="T10" fmla="*/ 1 w 121"/>
              <a:gd name="T11" fmla="*/ 2 h 130"/>
              <a:gd name="T12" fmla="*/ 56 w 121"/>
              <a:gd name="T13" fmla="*/ 83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1" h="130">
                <a:moveTo>
                  <a:pt x="56" y="83"/>
                </a:moveTo>
                <a:cubicBezTo>
                  <a:pt x="68" y="101"/>
                  <a:pt x="82" y="130"/>
                  <a:pt x="106" y="126"/>
                </a:cubicBezTo>
                <a:cubicBezTo>
                  <a:pt x="110" y="125"/>
                  <a:pt x="112" y="122"/>
                  <a:pt x="113" y="119"/>
                </a:cubicBezTo>
                <a:cubicBezTo>
                  <a:pt x="121" y="94"/>
                  <a:pt x="87" y="75"/>
                  <a:pt x="70" y="61"/>
                </a:cubicBezTo>
                <a:cubicBezTo>
                  <a:pt x="47" y="41"/>
                  <a:pt x="26" y="19"/>
                  <a:pt x="2" y="0"/>
                </a:cubicBezTo>
                <a:cubicBezTo>
                  <a:pt x="1" y="0"/>
                  <a:pt x="0" y="1"/>
                  <a:pt x="1" y="2"/>
                </a:cubicBezTo>
                <a:cubicBezTo>
                  <a:pt x="17" y="30"/>
                  <a:pt x="38" y="56"/>
                  <a:pt x="56" y="8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58" name="Freeform 294">
            <a:extLst>
              <a:ext uri="{FF2B5EF4-FFF2-40B4-BE49-F238E27FC236}">
                <a16:creationId xmlns:a16="http://schemas.microsoft.com/office/drawing/2014/main" id="{DF6D8E61-BE78-4E9A-A9CC-D7B59A462DB0}"/>
              </a:ext>
            </a:extLst>
          </p:cNvPr>
          <p:cNvSpPr>
            <a:spLocks/>
          </p:cNvSpPr>
          <p:nvPr userDrawn="1"/>
        </p:nvSpPr>
        <p:spPr bwMode="auto">
          <a:xfrm>
            <a:off x="3915009" y="285554"/>
            <a:ext cx="133629" cy="174504"/>
          </a:xfrm>
          <a:custGeom>
            <a:avLst/>
            <a:gdLst>
              <a:gd name="T0" fmla="*/ 1 w 56"/>
              <a:gd name="T1" fmla="*/ 4 h 74"/>
              <a:gd name="T2" fmla="*/ 37 w 56"/>
              <a:gd name="T3" fmla="*/ 65 h 74"/>
              <a:gd name="T4" fmla="*/ 48 w 56"/>
              <a:gd name="T5" fmla="*/ 57 h 74"/>
              <a:gd name="T6" fmla="*/ 4 w 56"/>
              <a:gd name="T7" fmla="*/ 2 h 74"/>
              <a:gd name="T8" fmla="*/ 1 w 56"/>
              <a:gd name="T9" fmla="*/ 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" h="74">
                <a:moveTo>
                  <a:pt x="1" y="4"/>
                </a:moveTo>
                <a:cubicBezTo>
                  <a:pt x="14" y="24"/>
                  <a:pt x="28" y="44"/>
                  <a:pt x="37" y="65"/>
                </a:cubicBezTo>
                <a:cubicBezTo>
                  <a:pt x="41" y="74"/>
                  <a:pt x="56" y="64"/>
                  <a:pt x="48" y="57"/>
                </a:cubicBezTo>
                <a:cubicBezTo>
                  <a:pt x="32" y="40"/>
                  <a:pt x="18" y="20"/>
                  <a:pt x="4" y="2"/>
                </a:cubicBezTo>
                <a:cubicBezTo>
                  <a:pt x="3" y="0"/>
                  <a:pt x="0" y="2"/>
                  <a:pt x="1" y="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59" name="Freeform 295">
            <a:extLst>
              <a:ext uri="{FF2B5EF4-FFF2-40B4-BE49-F238E27FC236}">
                <a16:creationId xmlns:a16="http://schemas.microsoft.com/office/drawing/2014/main" id="{2D6B7A57-5460-4491-961D-11B804663FD5}"/>
              </a:ext>
            </a:extLst>
          </p:cNvPr>
          <p:cNvSpPr>
            <a:spLocks/>
          </p:cNvSpPr>
          <p:nvPr userDrawn="1"/>
        </p:nvSpPr>
        <p:spPr bwMode="auto">
          <a:xfrm>
            <a:off x="4430435" y="241135"/>
            <a:ext cx="69996" cy="139603"/>
          </a:xfrm>
          <a:custGeom>
            <a:avLst/>
            <a:gdLst>
              <a:gd name="T0" fmla="*/ 0 w 30"/>
              <a:gd name="T1" fmla="*/ 3 h 59"/>
              <a:gd name="T2" fmla="*/ 19 w 30"/>
              <a:gd name="T3" fmla="*/ 55 h 59"/>
              <a:gd name="T4" fmla="*/ 25 w 30"/>
              <a:gd name="T5" fmla="*/ 49 h 59"/>
              <a:gd name="T6" fmla="*/ 4 w 30"/>
              <a:gd name="T7" fmla="*/ 3 h 59"/>
              <a:gd name="T8" fmla="*/ 0 w 30"/>
              <a:gd name="T9" fmla="*/ 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59">
                <a:moveTo>
                  <a:pt x="0" y="3"/>
                </a:moveTo>
                <a:cubicBezTo>
                  <a:pt x="0" y="22"/>
                  <a:pt x="7" y="40"/>
                  <a:pt x="19" y="55"/>
                </a:cubicBezTo>
                <a:cubicBezTo>
                  <a:pt x="23" y="59"/>
                  <a:pt x="30" y="53"/>
                  <a:pt x="25" y="49"/>
                </a:cubicBezTo>
                <a:cubicBezTo>
                  <a:pt x="13" y="37"/>
                  <a:pt x="5" y="20"/>
                  <a:pt x="4" y="3"/>
                </a:cubicBezTo>
                <a:cubicBezTo>
                  <a:pt x="4" y="0"/>
                  <a:pt x="0" y="0"/>
                  <a:pt x="0" y="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60" name="Freeform 296">
            <a:extLst>
              <a:ext uri="{FF2B5EF4-FFF2-40B4-BE49-F238E27FC236}">
                <a16:creationId xmlns:a16="http://schemas.microsoft.com/office/drawing/2014/main" id="{422CA0D8-7D38-4BC6-BF40-20C0F19016E4}"/>
              </a:ext>
            </a:extLst>
          </p:cNvPr>
          <p:cNvSpPr>
            <a:spLocks/>
          </p:cNvSpPr>
          <p:nvPr userDrawn="1"/>
        </p:nvSpPr>
        <p:spPr bwMode="auto">
          <a:xfrm>
            <a:off x="7901605" y="104704"/>
            <a:ext cx="170218" cy="193541"/>
          </a:xfrm>
          <a:custGeom>
            <a:avLst/>
            <a:gdLst>
              <a:gd name="T0" fmla="*/ 70 w 72"/>
              <a:gd name="T1" fmla="*/ 2 h 82"/>
              <a:gd name="T2" fmla="*/ 69 w 72"/>
              <a:gd name="T3" fmla="*/ 0 h 82"/>
              <a:gd name="T4" fmla="*/ 5 w 72"/>
              <a:gd name="T5" fmla="*/ 67 h 82"/>
              <a:gd name="T6" fmla="*/ 17 w 72"/>
              <a:gd name="T7" fmla="*/ 72 h 82"/>
              <a:gd name="T8" fmla="*/ 70 w 72"/>
              <a:gd name="T9" fmla="*/ 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" h="82">
                <a:moveTo>
                  <a:pt x="70" y="2"/>
                </a:moveTo>
                <a:cubicBezTo>
                  <a:pt x="72" y="2"/>
                  <a:pt x="71" y="0"/>
                  <a:pt x="69" y="0"/>
                </a:cubicBezTo>
                <a:cubicBezTo>
                  <a:pt x="43" y="17"/>
                  <a:pt x="20" y="39"/>
                  <a:pt x="5" y="67"/>
                </a:cubicBezTo>
                <a:cubicBezTo>
                  <a:pt x="0" y="76"/>
                  <a:pt x="14" y="82"/>
                  <a:pt x="17" y="72"/>
                </a:cubicBezTo>
                <a:cubicBezTo>
                  <a:pt x="28" y="44"/>
                  <a:pt x="46" y="19"/>
                  <a:pt x="70" y="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61" name="Freeform 297">
            <a:extLst>
              <a:ext uri="{FF2B5EF4-FFF2-40B4-BE49-F238E27FC236}">
                <a16:creationId xmlns:a16="http://schemas.microsoft.com/office/drawing/2014/main" id="{F8A9705F-5E79-4E0B-A71A-B285EBD855C5}"/>
              </a:ext>
            </a:extLst>
          </p:cNvPr>
          <p:cNvSpPr>
            <a:spLocks/>
          </p:cNvSpPr>
          <p:nvPr userDrawn="1"/>
        </p:nvSpPr>
        <p:spPr bwMode="auto">
          <a:xfrm>
            <a:off x="8514070" y="222098"/>
            <a:ext cx="284757" cy="264929"/>
          </a:xfrm>
          <a:custGeom>
            <a:avLst/>
            <a:gdLst>
              <a:gd name="T0" fmla="*/ 119 w 120"/>
              <a:gd name="T1" fmla="*/ 1 h 112"/>
              <a:gd name="T2" fmla="*/ 25 w 120"/>
              <a:gd name="T3" fmla="*/ 59 h 112"/>
              <a:gd name="T4" fmla="*/ 51 w 120"/>
              <a:gd name="T5" fmla="*/ 85 h 112"/>
              <a:gd name="T6" fmla="*/ 120 w 120"/>
              <a:gd name="T7" fmla="*/ 2 h 112"/>
              <a:gd name="T8" fmla="*/ 119 w 120"/>
              <a:gd name="T9" fmla="*/ 1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0" h="112">
                <a:moveTo>
                  <a:pt x="119" y="1"/>
                </a:moveTo>
                <a:cubicBezTo>
                  <a:pt x="89" y="22"/>
                  <a:pt x="58" y="43"/>
                  <a:pt x="25" y="59"/>
                </a:cubicBezTo>
                <a:cubicBezTo>
                  <a:pt x="0" y="71"/>
                  <a:pt x="32" y="112"/>
                  <a:pt x="51" y="85"/>
                </a:cubicBezTo>
                <a:cubicBezTo>
                  <a:pt x="70" y="55"/>
                  <a:pt x="95" y="28"/>
                  <a:pt x="120" y="2"/>
                </a:cubicBezTo>
                <a:cubicBezTo>
                  <a:pt x="120" y="2"/>
                  <a:pt x="120" y="0"/>
                  <a:pt x="119" y="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62" name="Freeform 298">
            <a:extLst>
              <a:ext uri="{FF2B5EF4-FFF2-40B4-BE49-F238E27FC236}">
                <a16:creationId xmlns:a16="http://schemas.microsoft.com/office/drawing/2014/main" id="{B53EFC20-182F-41D8-B4C8-8898019064E0}"/>
              </a:ext>
            </a:extLst>
          </p:cNvPr>
          <p:cNvSpPr>
            <a:spLocks/>
          </p:cNvSpPr>
          <p:nvPr userDrawn="1"/>
        </p:nvSpPr>
        <p:spPr bwMode="auto">
          <a:xfrm>
            <a:off x="9132900" y="331560"/>
            <a:ext cx="299074" cy="299830"/>
          </a:xfrm>
          <a:custGeom>
            <a:avLst/>
            <a:gdLst>
              <a:gd name="T0" fmla="*/ 1 w 126"/>
              <a:gd name="T1" fmla="*/ 118 h 127"/>
              <a:gd name="T2" fmla="*/ 9 w 126"/>
              <a:gd name="T3" fmla="*/ 125 h 127"/>
              <a:gd name="T4" fmla="*/ 64 w 126"/>
              <a:gd name="T5" fmla="*/ 66 h 127"/>
              <a:gd name="T6" fmla="*/ 125 w 126"/>
              <a:gd name="T7" fmla="*/ 3 h 127"/>
              <a:gd name="T8" fmla="*/ 123 w 126"/>
              <a:gd name="T9" fmla="*/ 1 h 127"/>
              <a:gd name="T10" fmla="*/ 54 w 126"/>
              <a:gd name="T11" fmla="*/ 56 h 127"/>
              <a:gd name="T12" fmla="*/ 1 w 126"/>
              <a:gd name="T13" fmla="*/ 118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6" h="127">
                <a:moveTo>
                  <a:pt x="1" y="118"/>
                </a:moveTo>
                <a:cubicBezTo>
                  <a:pt x="0" y="123"/>
                  <a:pt x="5" y="127"/>
                  <a:pt x="9" y="125"/>
                </a:cubicBezTo>
                <a:cubicBezTo>
                  <a:pt x="31" y="113"/>
                  <a:pt x="47" y="84"/>
                  <a:pt x="64" y="66"/>
                </a:cubicBezTo>
                <a:cubicBezTo>
                  <a:pt x="84" y="44"/>
                  <a:pt x="104" y="24"/>
                  <a:pt x="125" y="3"/>
                </a:cubicBezTo>
                <a:cubicBezTo>
                  <a:pt x="126" y="2"/>
                  <a:pt x="124" y="0"/>
                  <a:pt x="123" y="1"/>
                </a:cubicBezTo>
                <a:cubicBezTo>
                  <a:pt x="98" y="17"/>
                  <a:pt x="76" y="36"/>
                  <a:pt x="54" y="56"/>
                </a:cubicBezTo>
                <a:cubicBezTo>
                  <a:pt x="36" y="73"/>
                  <a:pt x="8" y="94"/>
                  <a:pt x="1" y="118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63" name="Freeform 299">
            <a:extLst>
              <a:ext uri="{FF2B5EF4-FFF2-40B4-BE49-F238E27FC236}">
                <a16:creationId xmlns:a16="http://schemas.microsoft.com/office/drawing/2014/main" id="{256933BC-02CD-46EA-8157-5139072317B0}"/>
              </a:ext>
            </a:extLst>
          </p:cNvPr>
          <p:cNvSpPr>
            <a:spLocks/>
          </p:cNvSpPr>
          <p:nvPr userDrawn="1"/>
        </p:nvSpPr>
        <p:spPr bwMode="auto">
          <a:xfrm>
            <a:off x="9974443" y="366461"/>
            <a:ext cx="163855" cy="163399"/>
          </a:xfrm>
          <a:custGeom>
            <a:avLst/>
            <a:gdLst>
              <a:gd name="T0" fmla="*/ 2 w 69"/>
              <a:gd name="T1" fmla="*/ 62 h 69"/>
              <a:gd name="T2" fmla="*/ 6 w 69"/>
              <a:gd name="T3" fmla="*/ 67 h 69"/>
              <a:gd name="T4" fmla="*/ 68 w 69"/>
              <a:gd name="T5" fmla="*/ 3 h 69"/>
              <a:gd name="T6" fmla="*/ 66 w 69"/>
              <a:gd name="T7" fmla="*/ 1 h 69"/>
              <a:gd name="T8" fmla="*/ 2 w 69"/>
              <a:gd name="T9" fmla="*/ 62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9" h="69">
                <a:moveTo>
                  <a:pt x="2" y="62"/>
                </a:moveTo>
                <a:cubicBezTo>
                  <a:pt x="0" y="64"/>
                  <a:pt x="3" y="69"/>
                  <a:pt x="6" y="67"/>
                </a:cubicBezTo>
                <a:cubicBezTo>
                  <a:pt x="30" y="49"/>
                  <a:pt x="47" y="25"/>
                  <a:pt x="68" y="3"/>
                </a:cubicBezTo>
                <a:cubicBezTo>
                  <a:pt x="69" y="2"/>
                  <a:pt x="67" y="0"/>
                  <a:pt x="66" y="1"/>
                </a:cubicBezTo>
                <a:cubicBezTo>
                  <a:pt x="45" y="22"/>
                  <a:pt x="21" y="38"/>
                  <a:pt x="2" y="6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64" name="Freeform 300">
            <a:extLst>
              <a:ext uri="{FF2B5EF4-FFF2-40B4-BE49-F238E27FC236}">
                <a16:creationId xmlns:a16="http://schemas.microsoft.com/office/drawing/2014/main" id="{997E5294-3E7F-4A3D-8DC4-932E0CAD7BC5}"/>
              </a:ext>
            </a:extLst>
          </p:cNvPr>
          <p:cNvSpPr>
            <a:spLocks/>
          </p:cNvSpPr>
          <p:nvPr userDrawn="1"/>
        </p:nvSpPr>
        <p:spPr bwMode="auto">
          <a:xfrm>
            <a:off x="9428792" y="821756"/>
            <a:ext cx="299074" cy="258583"/>
          </a:xfrm>
          <a:custGeom>
            <a:avLst/>
            <a:gdLst>
              <a:gd name="T0" fmla="*/ 23 w 126"/>
              <a:gd name="T1" fmla="*/ 101 h 109"/>
              <a:gd name="T2" fmla="*/ 68 w 126"/>
              <a:gd name="T3" fmla="*/ 49 h 109"/>
              <a:gd name="T4" fmla="*/ 125 w 126"/>
              <a:gd name="T5" fmla="*/ 3 h 109"/>
              <a:gd name="T6" fmla="*/ 124 w 126"/>
              <a:gd name="T7" fmla="*/ 1 h 109"/>
              <a:gd name="T8" fmla="*/ 54 w 126"/>
              <a:gd name="T9" fmla="*/ 33 h 109"/>
              <a:gd name="T10" fmla="*/ 4 w 126"/>
              <a:gd name="T11" fmla="*/ 90 h 109"/>
              <a:gd name="T12" fmla="*/ 23 w 126"/>
              <a:gd name="T13" fmla="*/ 101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6" h="109">
                <a:moveTo>
                  <a:pt x="23" y="101"/>
                </a:moveTo>
                <a:cubicBezTo>
                  <a:pt x="40" y="86"/>
                  <a:pt x="51" y="65"/>
                  <a:pt x="68" y="49"/>
                </a:cubicBezTo>
                <a:cubicBezTo>
                  <a:pt x="85" y="32"/>
                  <a:pt x="105" y="16"/>
                  <a:pt x="125" y="3"/>
                </a:cubicBezTo>
                <a:cubicBezTo>
                  <a:pt x="126" y="2"/>
                  <a:pt x="125" y="0"/>
                  <a:pt x="124" y="1"/>
                </a:cubicBezTo>
                <a:cubicBezTo>
                  <a:pt x="97" y="7"/>
                  <a:pt x="75" y="16"/>
                  <a:pt x="54" y="33"/>
                </a:cubicBezTo>
                <a:cubicBezTo>
                  <a:pt x="35" y="48"/>
                  <a:pt x="12" y="67"/>
                  <a:pt x="4" y="90"/>
                </a:cubicBezTo>
                <a:cubicBezTo>
                  <a:pt x="0" y="102"/>
                  <a:pt x="15" y="109"/>
                  <a:pt x="23" y="10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65" name="Freeform 301">
            <a:extLst>
              <a:ext uri="{FF2B5EF4-FFF2-40B4-BE49-F238E27FC236}">
                <a16:creationId xmlns:a16="http://schemas.microsoft.com/office/drawing/2014/main" id="{7A4A4976-D3C7-47D3-B6EA-C3A13DAAD6BB}"/>
              </a:ext>
            </a:extLst>
          </p:cNvPr>
          <p:cNvSpPr>
            <a:spLocks/>
          </p:cNvSpPr>
          <p:nvPr userDrawn="1"/>
        </p:nvSpPr>
        <p:spPr bwMode="auto">
          <a:xfrm>
            <a:off x="10349877" y="883626"/>
            <a:ext cx="373843" cy="207819"/>
          </a:xfrm>
          <a:custGeom>
            <a:avLst/>
            <a:gdLst>
              <a:gd name="T0" fmla="*/ 14 w 158"/>
              <a:gd name="T1" fmla="*/ 86 h 88"/>
              <a:gd name="T2" fmla="*/ 157 w 158"/>
              <a:gd name="T3" fmla="*/ 3 h 88"/>
              <a:gd name="T4" fmla="*/ 156 w 158"/>
              <a:gd name="T5" fmla="*/ 1 h 88"/>
              <a:gd name="T6" fmla="*/ 6 w 158"/>
              <a:gd name="T7" fmla="*/ 73 h 88"/>
              <a:gd name="T8" fmla="*/ 14 w 158"/>
              <a:gd name="T9" fmla="*/ 86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8" h="88">
                <a:moveTo>
                  <a:pt x="14" y="86"/>
                </a:moveTo>
                <a:cubicBezTo>
                  <a:pt x="67" y="79"/>
                  <a:pt x="119" y="38"/>
                  <a:pt x="157" y="3"/>
                </a:cubicBezTo>
                <a:cubicBezTo>
                  <a:pt x="158" y="2"/>
                  <a:pt x="157" y="0"/>
                  <a:pt x="156" y="1"/>
                </a:cubicBezTo>
                <a:cubicBezTo>
                  <a:pt x="106" y="13"/>
                  <a:pt x="42" y="34"/>
                  <a:pt x="6" y="73"/>
                </a:cubicBezTo>
                <a:cubicBezTo>
                  <a:pt x="0" y="79"/>
                  <a:pt x="6" y="88"/>
                  <a:pt x="14" y="8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66" name="Freeform 302">
            <a:extLst>
              <a:ext uri="{FF2B5EF4-FFF2-40B4-BE49-F238E27FC236}">
                <a16:creationId xmlns:a16="http://schemas.microsoft.com/office/drawing/2014/main" id="{91010CE6-8620-4742-876B-3ABABD6B6421}"/>
              </a:ext>
            </a:extLst>
          </p:cNvPr>
          <p:cNvSpPr>
            <a:spLocks/>
          </p:cNvSpPr>
          <p:nvPr userDrawn="1"/>
        </p:nvSpPr>
        <p:spPr bwMode="auto">
          <a:xfrm>
            <a:off x="9646734" y="1240565"/>
            <a:ext cx="429521" cy="247478"/>
          </a:xfrm>
          <a:custGeom>
            <a:avLst/>
            <a:gdLst>
              <a:gd name="T0" fmla="*/ 180 w 181"/>
              <a:gd name="T1" fmla="*/ 2 h 105"/>
              <a:gd name="T2" fmla="*/ 179 w 181"/>
              <a:gd name="T3" fmla="*/ 0 h 105"/>
              <a:gd name="T4" fmla="*/ 85 w 181"/>
              <a:gd name="T5" fmla="*/ 44 h 105"/>
              <a:gd name="T6" fmla="*/ 6 w 181"/>
              <a:gd name="T7" fmla="*/ 89 h 105"/>
              <a:gd name="T8" fmla="*/ 14 w 181"/>
              <a:gd name="T9" fmla="*/ 103 h 105"/>
              <a:gd name="T10" fmla="*/ 94 w 181"/>
              <a:gd name="T11" fmla="*/ 59 h 105"/>
              <a:gd name="T12" fmla="*/ 180 w 181"/>
              <a:gd name="T13" fmla="*/ 2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1" h="105">
                <a:moveTo>
                  <a:pt x="180" y="2"/>
                </a:moveTo>
                <a:cubicBezTo>
                  <a:pt x="181" y="1"/>
                  <a:pt x="180" y="0"/>
                  <a:pt x="179" y="0"/>
                </a:cubicBezTo>
                <a:cubicBezTo>
                  <a:pt x="148" y="15"/>
                  <a:pt x="116" y="29"/>
                  <a:pt x="85" y="44"/>
                </a:cubicBezTo>
                <a:cubicBezTo>
                  <a:pt x="59" y="57"/>
                  <a:pt x="27" y="68"/>
                  <a:pt x="6" y="89"/>
                </a:cubicBezTo>
                <a:cubicBezTo>
                  <a:pt x="0" y="95"/>
                  <a:pt x="6" y="105"/>
                  <a:pt x="14" y="103"/>
                </a:cubicBezTo>
                <a:cubicBezTo>
                  <a:pt x="43" y="96"/>
                  <a:pt x="69" y="75"/>
                  <a:pt x="94" y="59"/>
                </a:cubicBezTo>
                <a:cubicBezTo>
                  <a:pt x="123" y="40"/>
                  <a:pt x="151" y="20"/>
                  <a:pt x="180" y="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67" name="Freeform 303">
            <a:extLst>
              <a:ext uri="{FF2B5EF4-FFF2-40B4-BE49-F238E27FC236}">
                <a16:creationId xmlns:a16="http://schemas.microsoft.com/office/drawing/2014/main" id="{CB98653D-E34E-499A-9C47-92B1234F6DF4}"/>
              </a:ext>
            </a:extLst>
          </p:cNvPr>
          <p:cNvSpPr>
            <a:spLocks/>
          </p:cNvSpPr>
          <p:nvPr userDrawn="1"/>
        </p:nvSpPr>
        <p:spPr bwMode="auto">
          <a:xfrm>
            <a:off x="9805816" y="1821187"/>
            <a:ext cx="249759" cy="95184"/>
          </a:xfrm>
          <a:custGeom>
            <a:avLst/>
            <a:gdLst>
              <a:gd name="T0" fmla="*/ 104 w 105"/>
              <a:gd name="T1" fmla="*/ 1 h 40"/>
              <a:gd name="T2" fmla="*/ 56 w 105"/>
              <a:gd name="T3" fmla="*/ 6 h 40"/>
              <a:gd name="T4" fmla="*/ 33 w 105"/>
              <a:gd name="T5" fmla="*/ 11 h 40"/>
              <a:gd name="T6" fmla="*/ 21 w 105"/>
              <a:gd name="T7" fmla="*/ 17 h 40"/>
              <a:gd name="T8" fmla="*/ 20 w 105"/>
              <a:gd name="T9" fmla="*/ 17 h 40"/>
              <a:gd name="T10" fmla="*/ 11 w 105"/>
              <a:gd name="T11" fmla="*/ 18 h 40"/>
              <a:gd name="T12" fmla="*/ 0 w 105"/>
              <a:gd name="T13" fmla="*/ 29 h 40"/>
              <a:gd name="T14" fmla="*/ 0 w 105"/>
              <a:gd name="T15" fmla="*/ 29 h 40"/>
              <a:gd name="T16" fmla="*/ 11 w 105"/>
              <a:gd name="T17" fmla="*/ 40 h 40"/>
              <a:gd name="T18" fmla="*/ 50 w 105"/>
              <a:gd name="T19" fmla="*/ 22 h 40"/>
              <a:gd name="T20" fmla="*/ 104 w 105"/>
              <a:gd name="T21" fmla="*/ 2 h 40"/>
              <a:gd name="T22" fmla="*/ 104 w 105"/>
              <a:gd name="T23" fmla="*/ 1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5" h="40">
                <a:moveTo>
                  <a:pt x="104" y="1"/>
                </a:moveTo>
                <a:cubicBezTo>
                  <a:pt x="88" y="3"/>
                  <a:pt x="72" y="4"/>
                  <a:pt x="56" y="6"/>
                </a:cubicBezTo>
                <a:cubicBezTo>
                  <a:pt x="48" y="8"/>
                  <a:pt x="40" y="9"/>
                  <a:pt x="33" y="11"/>
                </a:cubicBezTo>
                <a:cubicBezTo>
                  <a:pt x="30" y="12"/>
                  <a:pt x="25" y="15"/>
                  <a:pt x="21" y="17"/>
                </a:cubicBezTo>
                <a:cubicBezTo>
                  <a:pt x="21" y="17"/>
                  <a:pt x="20" y="17"/>
                  <a:pt x="20" y="17"/>
                </a:cubicBezTo>
                <a:cubicBezTo>
                  <a:pt x="17" y="18"/>
                  <a:pt x="14" y="18"/>
                  <a:pt x="11" y="18"/>
                </a:cubicBezTo>
                <a:cubicBezTo>
                  <a:pt x="5" y="18"/>
                  <a:pt x="0" y="23"/>
                  <a:pt x="0" y="29"/>
                </a:cubicBezTo>
                <a:cubicBezTo>
                  <a:pt x="0" y="29"/>
                  <a:pt x="0" y="29"/>
                  <a:pt x="0" y="29"/>
                </a:cubicBezTo>
                <a:cubicBezTo>
                  <a:pt x="1" y="35"/>
                  <a:pt x="5" y="40"/>
                  <a:pt x="11" y="40"/>
                </a:cubicBezTo>
                <a:cubicBezTo>
                  <a:pt x="23" y="40"/>
                  <a:pt x="38" y="27"/>
                  <a:pt x="50" y="22"/>
                </a:cubicBezTo>
                <a:cubicBezTo>
                  <a:pt x="67" y="13"/>
                  <a:pt x="86" y="7"/>
                  <a:pt x="104" y="2"/>
                </a:cubicBezTo>
                <a:cubicBezTo>
                  <a:pt x="105" y="2"/>
                  <a:pt x="105" y="0"/>
                  <a:pt x="104" y="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68" name="Freeform 304">
            <a:extLst>
              <a:ext uri="{FF2B5EF4-FFF2-40B4-BE49-F238E27FC236}">
                <a16:creationId xmlns:a16="http://schemas.microsoft.com/office/drawing/2014/main" id="{C03D7039-4B9C-4808-8E3D-07DC32CC727F}"/>
              </a:ext>
            </a:extLst>
          </p:cNvPr>
          <p:cNvSpPr>
            <a:spLocks/>
          </p:cNvSpPr>
          <p:nvPr userDrawn="1"/>
        </p:nvSpPr>
        <p:spPr bwMode="auto">
          <a:xfrm>
            <a:off x="10384875" y="1546740"/>
            <a:ext cx="405660" cy="210991"/>
          </a:xfrm>
          <a:custGeom>
            <a:avLst/>
            <a:gdLst>
              <a:gd name="T0" fmla="*/ 170 w 171"/>
              <a:gd name="T1" fmla="*/ 2 h 89"/>
              <a:gd name="T2" fmla="*/ 169 w 171"/>
              <a:gd name="T3" fmla="*/ 0 h 89"/>
              <a:gd name="T4" fmla="*/ 63 w 171"/>
              <a:gd name="T5" fmla="*/ 22 h 89"/>
              <a:gd name="T6" fmla="*/ 2 w 171"/>
              <a:gd name="T7" fmla="*/ 68 h 89"/>
              <a:gd name="T8" fmla="*/ 10 w 171"/>
              <a:gd name="T9" fmla="*/ 83 h 89"/>
              <a:gd name="T10" fmla="*/ 83 w 171"/>
              <a:gd name="T11" fmla="*/ 55 h 89"/>
              <a:gd name="T12" fmla="*/ 170 w 171"/>
              <a:gd name="T13" fmla="*/ 2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" h="89">
                <a:moveTo>
                  <a:pt x="170" y="2"/>
                </a:moveTo>
                <a:cubicBezTo>
                  <a:pt x="171" y="1"/>
                  <a:pt x="170" y="0"/>
                  <a:pt x="169" y="0"/>
                </a:cubicBezTo>
                <a:cubicBezTo>
                  <a:pt x="133" y="5"/>
                  <a:pt x="97" y="9"/>
                  <a:pt x="63" y="22"/>
                </a:cubicBezTo>
                <a:cubicBezTo>
                  <a:pt x="39" y="31"/>
                  <a:pt x="9" y="41"/>
                  <a:pt x="2" y="68"/>
                </a:cubicBezTo>
                <a:cubicBezTo>
                  <a:pt x="0" y="74"/>
                  <a:pt x="4" y="81"/>
                  <a:pt x="10" y="83"/>
                </a:cubicBezTo>
                <a:cubicBezTo>
                  <a:pt x="37" y="89"/>
                  <a:pt x="61" y="68"/>
                  <a:pt x="83" y="55"/>
                </a:cubicBezTo>
                <a:cubicBezTo>
                  <a:pt x="112" y="37"/>
                  <a:pt x="139" y="17"/>
                  <a:pt x="170" y="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69" name="Freeform 305">
            <a:extLst>
              <a:ext uri="{FF2B5EF4-FFF2-40B4-BE49-F238E27FC236}">
                <a16:creationId xmlns:a16="http://schemas.microsoft.com/office/drawing/2014/main" id="{D27F989A-B80B-4780-97BA-6DA18ECD093B}"/>
              </a:ext>
            </a:extLst>
          </p:cNvPr>
          <p:cNvSpPr>
            <a:spLocks/>
          </p:cNvSpPr>
          <p:nvPr userDrawn="1"/>
        </p:nvSpPr>
        <p:spPr bwMode="auto">
          <a:xfrm>
            <a:off x="10540775" y="2048042"/>
            <a:ext cx="531334" cy="153881"/>
          </a:xfrm>
          <a:custGeom>
            <a:avLst/>
            <a:gdLst>
              <a:gd name="T0" fmla="*/ 6 w 224"/>
              <a:gd name="T1" fmla="*/ 30 h 65"/>
              <a:gd name="T2" fmla="*/ 9 w 224"/>
              <a:gd name="T3" fmla="*/ 50 h 65"/>
              <a:gd name="T4" fmla="*/ 102 w 224"/>
              <a:gd name="T5" fmla="*/ 45 h 65"/>
              <a:gd name="T6" fmla="*/ 222 w 224"/>
              <a:gd name="T7" fmla="*/ 2 h 65"/>
              <a:gd name="T8" fmla="*/ 222 w 224"/>
              <a:gd name="T9" fmla="*/ 1 h 65"/>
              <a:gd name="T10" fmla="*/ 90 w 224"/>
              <a:gd name="T11" fmla="*/ 9 h 65"/>
              <a:gd name="T12" fmla="*/ 6 w 224"/>
              <a:gd name="T13" fmla="*/ 3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4" h="65">
                <a:moveTo>
                  <a:pt x="6" y="30"/>
                </a:moveTo>
                <a:cubicBezTo>
                  <a:pt x="0" y="35"/>
                  <a:pt x="1" y="47"/>
                  <a:pt x="9" y="50"/>
                </a:cubicBezTo>
                <a:cubicBezTo>
                  <a:pt x="38" y="65"/>
                  <a:pt x="72" y="53"/>
                  <a:pt x="102" y="45"/>
                </a:cubicBezTo>
                <a:cubicBezTo>
                  <a:pt x="144" y="35"/>
                  <a:pt x="181" y="14"/>
                  <a:pt x="222" y="2"/>
                </a:cubicBezTo>
                <a:cubicBezTo>
                  <a:pt x="224" y="2"/>
                  <a:pt x="223" y="0"/>
                  <a:pt x="222" y="1"/>
                </a:cubicBezTo>
                <a:cubicBezTo>
                  <a:pt x="179" y="10"/>
                  <a:pt x="133" y="6"/>
                  <a:pt x="90" y="9"/>
                </a:cubicBezTo>
                <a:cubicBezTo>
                  <a:pt x="60" y="12"/>
                  <a:pt x="30" y="10"/>
                  <a:pt x="6" y="3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70" name="Freeform 306">
            <a:extLst>
              <a:ext uri="{FF2B5EF4-FFF2-40B4-BE49-F238E27FC236}">
                <a16:creationId xmlns:a16="http://schemas.microsoft.com/office/drawing/2014/main" id="{D85CDC9F-35F6-40C3-B415-A248C35C603A}"/>
              </a:ext>
            </a:extLst>
          </p:cNvPr>
          <p:cNvSpPr>
            <a:spLocks/>
          </p:cNvSpPr>
          <p:nvPr userDrawn="1"/>
        </p:nvSpPr>
        <p:spPr bwMode="auto">
          <a:xfrm>
            <a:off x="9995124" y="2265378"/>
            <a:ext cx="225896" cy="77734"/>
          </a:xfrm>
          <a:custGeom>
            <a:avLst/>
            <a:gdLst>
              <a:gd name="T0" fmla="*/ 2 w 95"/>
              <a:gd name="T1" fmla="*/ 27 h 33"/>
              <a:gd name="T2" fmla="*/ 4 w 95"/>
              <a:gd name="T3" fmla="*/ 33 h 33"/>
              <a:gd name="T4" fmla="*/ 47 w 95"/>
              <a:gd name="T5" fmla="*/ 21 h 33"/>
              <a:gd name="T6" fmla="*/ 94 w 95"/>
              <a:gd name="T7" fmla="*/ 2 h 33"/>
              <a:gd name="T8" fmla="*/ 93 w 95"/>
              <a:gd name="T9" fmla="*/ 1 h 33"/>
              <a:gd name="T10" fmla="*/ 45 w 95"/>
              <a:gd name="T11" fmla="*/ 13 h 33"/>
              <a:gd name="T12" fmla="*/ 2 w 95"/>
              <a:gd name="T13" fmla="*/ 27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5" h="33">
                <a:moveTo>
                  <a:pt x="2" y="27"/>
                </a:moveTo>
                <a:cubicBezTo>
                  <a:pt x="0" y="29"/>
                  <a:pt x="1" y="33"/>
                  <a:pt x="4" y="33"/>
                </a:cubicBezTo>
                <a:cubicBezTo>
                  <a:pt x="19" y="33"/>
                  <a:pt x="33" y="26"/>
                  <a:pt x="47" y="21"/>
                </a:cubicBezTo>
                <a:cubicBezTo>
                  <a:pt x="62" y="15"/>
                  <a:pt x="78" y="8"/>
                  <a:pt x="94" y="2"/>
                </a:cubicBezTo>
                <a:cubicBezTo>
                  <a:pt x="95" y="2"/>
                  <a:pt x="94" y="0"/>
                  <a:pt x="93" y="1"/>
                </a:cubicBezTo>
                <a:cubicBezTo>
                  <a:pt x="77" y="5"/>
                  <a:pt x="61" y="9"/>
                  <a:pt x="45" y="13"/>
                </a:cubicBezTo>
                <a:cubicBezTo>
                  <a:pt x="31" y="17"/>
                  <a:pt x="14" y="19"/>
                  <a:pt x="2" y="2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71" name="Freeform 307">
            <a:extLst>
              <a:ext uri="{FF2B5EF4-FFF2-40B4-BE49-F238E27FC236}">
                <a16:creationId xmlns:a16="http://schemas.microsoft.com/office/drawing/2014/main" id="{F65FD4CB-0376-432D-99A9-DFF6EF118F51}"/>
              </a:ext>
            </a:extLst>
          </p:cNvPr>
          <p:cNvSpPr>
            <a:spLocks/>
          </p:cNvSpPr>
          <p:nvPr userDrawn="1"/>
        </p:nvSpPr>
        <p:spPr bwMode="auto">
          <a:xfrm>
            <a:off x="10341923" y="2660392"/>
            <a:ext cx="372252" cy="117393"/>
          </a:xfrm>
          <a:custGeom>
            <a:avLst/>
            <a:gdLst>
              <a:gd name="T0" fmla="*/ 65 w 157"/>
              <a:gd name="T1" fmla="*/ 33 h 50"/>
              <a:gd name="T2" fmla="*/ 155 w 157"/>
              <a:gd name="T3" fmla="*/ 2 h 50"/>
              <a:gd name="T4" fmla="*/ 155 w 157"/>
              <a:gd name="T5" fmla="*/ 0 h 50"/>
              <a:gd name="T6" fmla="*/ 62 w 157"/>
              <a:gd name="T7" fmla="*/ 13 h 50"/>
              <a:gd name="T8" fmla="*/ 3 w 157"/>
              <a:gd name="T9" fmla="*/ 20 h 50"/>
              <a:gd name="T10" fmla="*/ 3 w 157"/>
              <a:gd name="T11" fmla="*/ 32 h 50"/>
              <a:gd name="T12" fmla="*/ 65 w 157"/>
              <a:gd name="T13" fmla="*/ 33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" h="50">
                <a:moveTo>
                  <a:pt x="65" y="33"/>
                </a:moveTo>
                <a:cubicBezTo>
                  <a:pt x="96" y="25"/>
                  <a:pt x="125" y="13"/>
                  <a:pt x="155" y="2"/>
                </a:cubicBezTo>
                <a:cubicBezTo>
                  <a:pt x="157" y="2"/>
                  <a:pt x="156" y="0"/>
                  <a:pt x="155" y="0"/>
                </a:cubicBezTo>
                <a:cubicBezTo>
                  <a:pt x="125" y="10"/>
                  <a:pt x="93" y="13"/>
                  <a:pt x="62" y="13"/>
                </a:cubicBezTo>
                <a:cubicBezTo>
                  <a:pt x="41" y="12"/>
                  <a:pt x="19" y="3"/>
                  <a:pt x="3" y="20"/>
                </a:cubicBezTo>
                <a:cubicBezTo>
                  <a:pt x="0" y="23"/>
                  <a:pt x="0" y="29"/>
                  <a:pt x="3" y="32"/>
                </a:cubicBezTo>
                <a:cubicBezTo>
                  <a:pt x="20" y="50"/>
                  <a:pt x="44" y="38"/>
                  <a:pt x="65" y="3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72" name="Freeform 308">
            <a:extLst>
              <a:ext uri="{FF2B5EF4-FFF2-40B4-BE49-F238E27FC236}">
                <a16:creationId xmlns:a16="http://schemas.microsoft.com/office/drawing/2014/main" id="{353C0D33-3D89-4B20-80B4-1307BA323C0E}"/>
              </a:ext>
            </a:extLst>
          </p:cNvPr>
          <p:cNvSpPr>
            <a:spLocks/>
          </p:cNvSpPr>
          <p:nvPr userDrawn="1"/>
        </p:nvSpPr>
        <p:spPr bwMode="auto">
          <a:xfrm>
            <a:off x="10294198" y="3156934"/>
            <a:ext cx="400887" cy="96771"/>
          </a:xfrm>
          <a:custGeom>
            <a:avLst/>
            <a:gdLst>
              <a:gd name="T0" fmla="*/ 27 w 169"/>
              <a:gd name="T1" fmla="*/ 33 h 41"/>
              <a:gd name="T2" fmla="*/ 167 w 169"/>
              <a:gd name="T3" fmla="*/ 11 h 41"/>
              <a:gd name="T4" fmla="*/ 167 w 169"/>
              <a:gd name="T5" fmla="*/ 8 h 41"/>
              <a:gd name="T6" fmla="*/ 22 w 169"/>
              <a:gd name="T7" fmla="*/ 2 h 41"/>
              <a:gd name="T8" fmla="*/ 27 w 169"/>
              <a:gd name="T9" fmla="*/ 33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" h="41">
                <a:moveTo>
                  <a:pt x="27" y="33"/>
                </a:moveTo>
                <a:cubicBezTo>
                  <a:pt x="71" y="17"/>
                  <a:pt x="121" y="16"/>
                  <a:pt x="167" y="11"/>
                </a:cubicBezTo>
                <a:cubicBezTo>
                  <a:pt x="169" y="11"/>
                  <a:pt x="169" y="8"/>
                  <a:pt x="167" y="8"/>
                </a:cubicBezTo>
                <a:cubicBezTo>
                  <a:pt x="119" y="3"/>
                  <a:pt x="71" y="8"/>
                  <a:pt x="22" y="2"/>
                </a:cubicBezTo>
                <a:cubicBezTo>
                  <a:pt x="0" y="0"/>
                  <a:pt x="4" y="41"/>
                  <a:pt x="27" y="3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73" name="Freeform 309">
            <a:extLst>
              <a:ext uri="{FF2B5EF4-FFF2-40B4-BE49-F238E27FC236}">
                <a16:creationId xmlns:a16="http://schemas.microsoft.com/office/drawing/2014/main" id="{1841B88E-8D68-41C5-988C-F26B620A3178}"/>
              </a:ext>
            </a:extLst>
          </p:cNvPr>
          <p:cNvSpPr>
            <a:spLocks/>
          </p:cNvSpPr>
          <p:nvPr userDrawn="1"/>
        </p:nvSpPr>
        <p:spPr bwMode="auto">
          <a:xfrm>
            <a:off x="10647361" y="3688377"/>
            <a:ext cx="423158" cy="120566"/>
          </a:xfrm>
          <a:custGeom>
            <a:avLst/>
            <a:gdLst>
              <a:gd name="T0" fmla="*/ 177 w 178"/>
              <a:gd name="T1" fmla="*/ 19 h 51"/>
              <a:gd name="T2" fmla="*/ 86 w 178"/>
              <a:gd name="T3" fmla="*/ 9 h 51"/>
              <a:gd name="T4" fmla="*/ 11 w 178"/>
              <a:gd name="T5" fmla="*/ 15 h 51"/>
              <a:gd name="T6" fmla="*/ 11 w 178"/>
              <a:gd name="T7" fmla="*/ 40 h 51"/>
              <a:gd name="T8" fmla="*/ 77 w 178"/>
              <a:gd name="T9" fmla="*/ 36 h 51"/>
              <a:gd name="T10" fmla="*/ 177 w 178"/>
              <a:gd name="T11" fmla="*/ 20 h 51"/>
              <a:gd name="T12" fmla="*/ 177 w 178"/>
              <a:gd name="T13" fmla="*/ 19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8" h="51">
                <a:moveTo>
                  <a:pt x="177" y="19"/>
                </a:moveTo>
                <a:cubicBezTo>
                  <a:pt x="146" y="17"/>
                  <a:pt x="116" y="12"/>
                  <a:pt x="86" y="9"/>
                </a:cubicBezTo>
                <a:cubicBezTo>
                  <a:pt x="60" y="7"/>
                  <a:pt x="32" y="0"/>
                  <a:pt x="11" y="15"/>
                </a:cubicBezTo>
                <a:cubicBezTo>
                  <a:pt x="4" y="21"/>
                  <a:pt x="0" y="36"/>
                  <a:pt x="11" y="40"/>
                </a:cubicBezTo>
                <a:cubicBezTo>
                  <a:pt x="35" y="51"/>
                  <a:pt x="52" y="42"/>
                  <a:pt x="77" y="36"/>
                </a:cubicBezTo>
                <a:cubicBezTo>
                  <a:pt x="110" y="29"/>
                  <a:pt x="143" y="21"/>
                  <a:pt x="177" y="20"/>
                </a:cubicBezTo>
                <a:cubicBezTo>
                  <a:pt x="178" y="20"/>
                  <a:pt x="178" y="19"/>
                  <a:pt x="177" y="1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74" name="Freeform 310">
            <a:extLst>
              <a:ext uri="{FF2B5EF4-FFF2-40B4-BE49-F238E27FC236}">
                <a16:creationId xmlns:a16="http://schemas.microsoft.com/office/drawing/2014/main" id="{0133795C-4072-4546-85F5-FB525B292373}"/>
              </a:ext>
            </a:extLst>
          </p:cNvPr>
          <p:cNvSpPr>
            <a:spLocks/>
          </p:cNvSpPr>
          <p:nvPr userDrawn="1"/>
        </p:nvSpPr>
        <p:spPr bwMode="auto">
          <a:xfrm>
            <a:off x="10321242" y="4224580"/>
            <a:ext cx="305437" cy="171331"/>
          </a:xfrm>
          <a:custGeom>
            <a:avLst/>
            <a:gdLst>
              <a:gd name="T0" fmla="*/ 7 w 129"/>
              <a:gd name="T1" fmla="*/ 26 h 73"/>
              <a:gd name="T2" fmla="*/ 5 w 129"/>
              <a:gd name="T3" fmla="*/ 40 h 73"/>
              <a:gd name="T4" fmla="*/ 53 w 129"/>
              <a:gd name="T5" fmla="*/ 53 h 73"/>
              <a:gd name="T6" fmla="*/ 127 w 129"/>
              <a:gd name="T7" fmla="*/ 72 h 73"/>
              <a:gd name="T8" fmla="*/ 128 w 129"/>
              <a:gd name="T9" fmla="*/ 70 h 73"/>
              <a:gd name="T10" fmla="*/ 7 w 129"/>
              <a:gd name="T11" fmla="*/ 26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" h="73">
                <a:moveTo>
                  <a:pt x="7" y="26"/>
                </a:moveTo>
                <a:cubicBezTo>
                  <a:pt x="2" y="29"/>
                  <a:pt x="0" y="36"/>
                  <a:pt x="5" y="40"/>
                </a:cubicBezTo>
                <a:cubicBezTo>
                  <a:pt x="19" y="53"/>
                  <a:pt x="36" y="51"/>
                  <a:pt x="53" y="53"/>
                </a:cubicBezTo>
                <a:cubicBezTo>
                  <a:pt x="79" y="55"/>
                  <a:pt x="103" y="61"/>
                  <a:pt x="127" y="72"/>
                </a:cubicBezTo>
                <a:cubicBezTo>
                  <a:pt x="128" y="73"/>
                  <a:pt x="129" y="71"/>
                  <a:pt x="128" y="70"/>
                </a:cubicBezTo>
                <a:cubicBezTo>
                  <a:pt x="103" y="48"/>
                  <a:pt x="41" y="0"/>
                  <a:pt x="7" y="2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75" name="Freeform 311">
            <a:extLst>
              <a:ext uri="{FF2B5EF4-FFF2-40B4-BE49-F238E27FC236}">
                <a16:creationId xmlns:a16="http://schemas.microsoft.com/office/drawing/2014/main" id="{4EA1B7AC-35C0-483B-9E54-F91D3C912F77}"/>
              </a:ext>
            </a:extLst>
          </p:cNvPr>
          <p:cNvSpPr>
            <a:spLocks/>
          </p:cNvSpPr>
          <p:nvPr userDrawn="1"/>
        </p:nvSpPr>
        <p:spPr bwMode="auto">
          <a:xfrm>
            <a:off x="10147843" y="4897212"/>
            <a:ext cx="334072" cy="179263"/>
          </a:xfrm>
          <a:custGeom>
            <a:avLst/>
            <a:gdLst>
              <a:gd name="T0" fmla="*/ 140 w 141"/>
              <a:gd name="T1" fmla="*/ 74 h 76"/>
              <a:gd name="T2" fmla="*/ 77 w 141"/>
              <a:gd name="T3" fmla="*/ 36 h 76"/>
              <a:gd name="T4" fmla="*/ 18 w 141"/>
              <a:gd name="T5" fmla="*/ 2 h 76"/>
              <a:gd name="T6" fmla="*/ 6 w 141"/>
              <a:gd name="T7" fmla="*/ 17 h 76"/>
              <a:gd name="T8" fmla="*/ 139 w 141"/>
              <a:gd name="T9" fmla="*/ 76 h 76"/>
              <a:gd name="T10" fmla="*/ 140 w 141"/>
              <a:gd name="T11" fmla="*/ 7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1" h="76">
                <a:moveTo>
                  <a:pt x="140" y="74"/>
                </a:moveTo>
                <a:cubicBezTo>
                  <a:pt x="118" y="63"/>
                  <a:pt x="98" y="49"/>
                  <a:pt x="77" y="36"/>
                </a:cubicBezTo>
                <a:cubicBezTo>
                  <a:pt x="59" y="24"/>
                  <a:pt x="39" y="7"/>
                  <a:pt x="18" y="2"/>
                </a:cubicBezTo>
                <a:cubicBezTo>
                  <a:pt x="10" y="0"/>
                  <a:pt x="0" y="9"/>
                  <a:pt x="6" y="17"/>
                </a:cubicBezTo>
                <a:cubicBezTo>
                  <a:pt x="34" y="55"/>
                  <a:pt x="97" y="65"/>
                  <a:pt x="139" y="76"/>
                </a:cubicBezTo>
                <a:cubicBezTo>
                  <a:pt x="140" y="76"/>
                  <a:pt x="141" y="75"/>
                  <a:pt x="140" y="7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76" name="Freeform 312">
            <a:extLst>
              <a:ext uri="{FF2B5EF4-FFF2-40B4-BE49-F238E27FC236}">
                <a16:creationId xmlns:a16="http://schemas.microsoft.com/office/drawing/2014/main" id="{F865FA85-1DC3-48A2-A80F-52B624886164}"/>
              </a:ext>
            </a:extLst>
          </p:cNvPr>
          <p:cNvSpPr>
            <a:spLocks/>
          </p:cNvSpPr>
          <p:nvPr userDrawn="1"/>
        </p:nvSpPr>
        <p:spPr bwMode="auto">
          <a:xfrm>
            <a:off x="10408737" y="5539703"/>
            <a:ext cx="187717" cy="111048"/>
          </a:xfrm>
          <a:custGeom>
            <a:avLst/>
            <a:gdLst>
              <a:gd name="T0" fmla="*/ 36 w 79"/>
              <a:gd name="T1" fmla="*/ 28 h 47"/>
              <a:gd name="T2" fmla="*/ 76 w 79"/>
              <a:gd name="T3" fmla="*/ 46 h 47"/>
              <a:gd name="T4" fmla="*/ 78 w 79"/>
              <a:gd name="T5" fmla="*/ 45 h 47"/>
              <a:gd name="T6" fmla="*/ 45 w 79"/>
              <a:gd name="T7" fmla="*/ 18 h 47"/>
              <a:gd name="T8" fmla="*/ 9 w 79"/>
              <a:gd name="T9" fmla="*/ 1 h 47"/>
              <a:gd name="T10" fmla="*/ 4 w 79"/>
              <a:gd name="T11" fmla="*/ 13 h 47"/>
              <a:gd name="T12" fmla="*/ 36 w 79"/>
              <a:gd name="T13" fmla="*/ 28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9" h="47">
                <a:moveTo>
                  <a:pt x="36" y="28"/>
                </a:moveTo>
                <a:cubicBezTo>
                  <a:pt x="49" y="33"/>
                  <a:pt x="64" y="39"/>
                  <a:pt x="76" y="46"/>
                </a:cubicBezTo>
                <a:cubicBezTo>
                  <a:pt x="77" y="47"/>
                  <a:pt x="79" y="45"/>
                  <a:pt x="78" y="45"/>
                </a:cubicBezTo>
                <a:cubicBezTo>
                  <a:pt x="67" y="36"/>
                  <a:pt x="57" y="26"/>
                  <a:pt x="45" y="18"/>
                </a:cubicBezTo>
                <a:cubicBezTo>
                  <a:pt x="36" y="11"/>
                  <a:pt x="22" y="0"/>
                  <a:pt x="9" y="1"/>
                </a:cubicBezTo>
                <a:cubicBezTo>
                  <a:pt x="3" y="2"/>
                  <a:pt x="0" y="8"/>
                  <a:pt x="4" y="13"/>
                </a:cubicBezTo>
                <a:cubicBezTo>
                  <a:pt x="11" y="22"/>
                  <a:pt x="26" y="24"/>
                  <a:pt x="36" y="28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77" name="Freeform 313">
            <a:extLst>
              <a:ext uri="{FF2B5EF4-FFF2-40B4-BE49-F238E27FC236}">
                <a16:creationId xmlns:a16="http://schemas.microsoft.com/office/drawing/2014/main" id="{7A581C75-F01C-4BE4-A5B5-A01D6CF36312}"/>
              </a:ext>
            </a:extLst>
          </p:cNvPr>
          <p:cNvSpPr>
            <a:spLocks/>
          </p:cNvSpPr>
          <p:nvPr userDrawn="1"/>
        </p:nvSpPr>
        <p:spPr bwMode="auto">
          <a:xfrm>
            <a:off x="9912402" y="5098684"/>
            <a:ext cx="213170" cy="157054"/>
          </a:xfrm>
          <a:custGeom>
            <a:avLst/>
            <a:gdLst>
              <a:gd name="T0" fmla="*/ 40 w 90"/>
              <a:gd name="T1" fmla="*/ 40 h 67"/>
              <a:gd name="T2" fmla="*/ 86 w 90"/>
              <a:gd name="T3" fmla="*/ 66 h 67"/>
              <a:gd name="T4" fmla="*/ 88 w 90"/>
              <a:gd name="T5" fmla="*/ 63 h 67"/>
              <a:gd name="T6" fmla="*/ 50 w 90"/>
              <a:gd name="T7" fmla="*/ 28 h 67"/>
              <a:gd name="T8" fmla="*/ 13 w 90"/>
              <a:gd name="T9" fmla="*/ 2 h 67"/>
              <a:gd name="T10" fmla="*/ 4 w 90"/>
              <a:gd name="T11" fmla="*/ 13 h 67"/>
              <a:gd name="T12" fmla="*/ 40 w 90"/>
              <a:gd name="T13" fmla="*/ 4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0" h="67">
                <a:moveTo>
                  <a:pt x="40" y="40"/>
                </a:moveTo>
                <a:cubicBezTo>
                  <a:pt x="55" y="49"/>
                  <a:pt x="71" y="58"/>
                  <a:pt x="86" y="66"/>
                </a:cubicBezTo>
                <a:cubicBezTo>
                  <a:pt x="88" y="67"/>
                  <a:pt x="90" y="65"/>
                  <a:pt x="88" y="63"/>
                </a:cubicBezTo>
                <a:cubicBezTo>
                  <a:pt x="75" y="52"/>
                  <a:pt x="63" y="39"/>
                  <a:pt x="50" y="28"/>
                </a:cubicBezTo>
                <a:cubicBezTo>
                  <a:pt x="39" y="19"/>
                  <a:pt x="27" y="6"/>
                  <a:pt x="13" y="2"/>
                </a:cubicBezTo>
                <a:cubicBezTo>
                  <a:pt x="7" y="0"/>
                  <a:pt x="0" y="8"/>
                  <a:pt x="4" y="13"/>
                </a:cubicBezTo>
                <a:cubicBezTo>
                  <a:pt x="13" y="25"/>
                  <a:pt x="28" y="32"/>
                  <a:pt x="40" y="4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78" name="Freeform 314">
            <a:extLst>
              <a:ext uri="{FF2B5EF4-FFF2-40B4-BE49-F238E27FC236}">
                <a16:creationId xmlns:a16="http://schemas.microsoft.com/office/drawing/2014/main" id="{6880A318-EF2F-4693-AC77-61B1D3DAD477}"/>
              </a:ext>
            </a:extLst>
          </p:cNvPr>
          <p:cNvSpPr>
            <a:spLocks/>
          </p:cNvSpPr>
          <p:nvPr userDrawn="1"/>
        </p:nvSpPr>
        <p:spPr bwMode="auto">
          <a:xfrm>
            <a:off x="10399193" y="6199644"/>
            <a:ext cx="392933" cy="314107"/>
          </a:xfrm>
          <a:custGeom>
            <a:avLst/>
            <a:gdLst>
              <a:gd name="T0" fmla="*/ 88 w 166"/>
              <a:gd name="T1" fmla="*/ 101 h 133"/>
              <a:gd name="T2" fmla="*/ 164 w 166"/>
              <a:gd name="T3" fmla="*/ 132 h 133"/>
              <a:gd name="T4" fmla="*/ 165 w 166"/>
              <a:gd name="T5" fmla="*/ 130 h 133"/>
              <a:gd name="T6" fmla="*/ 104 w 166"/>
              <a:gd name="T7" fmla="*/ 72 h 133"/>
              <a:gd name="T8" fmla="*/ 49 w 166"/>
              <a:gd name="T9" fmla="*/ 19 h 133"/>
              <a:gd name="T10" fmla="*/ 19 w 166"/>
              <a:gd name="T11" fmla="*/ 49 h 133"/>
              <a:gd name="T12" fmla="*/ 88 w 166"/>
              <a:gd name="T13" fmla="*/ 101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6" h="133">
                <a:moveTo>
                  <a:pt x="88" y="101"/>
                </a:moveTo>
                <a:cubicBezTo>
                  <a:pt x="113" y="116"/>
                  <a:pt x="138" y="122"/>
                  <a:pt x="164" y="132"/>
                </a:cubicBezTo>
                <a:cubicBezTo>
                  <a:pt x="166" y="133"/>
                  <a:pt x="166" y="131"/>
                  <a:pt x="165" y="130"/>
                </a:cubicBezTo>
                <a:cubicBezTo>
                  <a:pt x="144" y="114"/>
                  <a:pt x="124" y="91"/>
                  <a:pt x="104" y="72"/>
                </a:cubicBezTo>
                <a:cubicBezTo>
                  <a:pt x="85" y="55"/>
                  <a:pt x="68" y="37"/>
                  <a:pt x="49" y="19"/>
                </a:cubicBezTo>
                <a:cubicBezTo>
                  <a:pt x="29" y="0"/>
                  <a:pt x="0" y="30"/>
                  <a:pt x="19" y="49"/>
                </a:cubicBezTo>
                <a:cubicBezTo>
                  <a:pt x="40" y="69"/>
                  <a:pt x="63" y="86"/>
                  <a:pt x="88" y="10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79" name="Freeform 315">
            <a:extLst>
              <a:ext uri="{FF2B5EF4-FFF2-40B4-BE49-F238E27FC236}">
                <a16:creationId xmlns:a16="http://schemas.microsoft.com/office/drawing/2014/main" id="{BD148D53-A15E-4D95-B1B7-7B1821400041}"/>
              </a:ext>
            </a:extLst>
          </p:cNvPr>
          <p:cNvSpPr>
            <a:spLocks/>
          </p:cNvSpPr>
          <p:nvPr userDrawn="1"/>
        </p:nvSpPr>
        <p:spPr bwMode="auto">
          <a:xfrm>
            <a:off x="9972853" y="5915680"/>
            <a:ext cx="181354" cy="141190"/>
          </a:xfrm>
          <a:custGeom>
            <a:avLst/>
            <a:gdLst>
              <a:gd name="T0" fmla="*/ 18 w 77"/>
              <a:gd name="T1" fmla="*/ 36 h 60"/>
              <a:gd name="T2" fmla="*/ 44 w 77"/>
              <a:gd name="T3" fmla="*/ 47 h 60"/>
              <a:gd name="T4" fmla="*/ 75 w 77"/>
              <a:gd name="T5" fmla="*/ 59 h 60"/>
              <a:gd name="T6" fmla="*/ 76 w 77"/>
              <a:gd name="T7" fmla="*/ 57 h 60"/>
              <a:gd name="T8" fmla="*/ 55 w 77"/>
              <a:gd name="T9" fmla="*/ 33 h 60"/>
              <a:gd name="T10" fmla="*/ 35 w 77"/>
              <a:gd name="T11" fmla="*/ 13 h 60"/>
              <a:gd name="T12" fmla="*/ 18 w 77"/>
              <a:gd name="T13" fmla="*/ 3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7" h="60">
                <a:moveTo>
                  <a:pt x="18" y="36"/>
                </a:moveTo>
                <a:cubicBezTo>
                  <a:pt x="26" y="40"/>
                  <a:pt x="35" y="44"/>
                  <a:pt x="44" y="47"/>
                </a:cubicBezTo>
                <a:cubicBezTo>
                  <a:pt x="54" y="51"/>
                  <a:pt x="65" y="53"/>
                  <a:pt x="75" y="59"/>
                </a:cubicBezTo>
                <a:cubicBezTo>
                  <a:pt x="76" y="60"/>
                  <a:pt x="77" y="58"/>
                  <a:pt x="76" y="57"/>
                </a:cubicBezTo>
                <a:cubicBezTo>
                  <a:pt x="68" y="50"/>
                  <a:pt x="62" y="41"/>
                  <a:pt x="55" y="33"/>
                </a:cubicBezTo>
                <a:cubicBezTo>
                  <a:pt x="49" y="26"/>
                  <a:pt x="42" y="19"/>
                  <a:pt x="35" y="13"/>
                </a:cubicBezTo>
                <a:cubicBezTo>
                  <a:pt x="19" y="0"/>
                  <a:pt x="0" y="26"/>
                  <a:pt x="18" y="3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80" name="Freeform 316">
            <a:extLst>
              <a:ext uri="{FF2B5EF4-FFF2-40B4-BE49-F238E27FC236}">
                <a16:creationId xmlns:a16="http://schemas.microsoft.com/office/drawing/2014/main" id="{03F8F71E-DAB1-4C4D-BAA3-7E8B542671FB}"/>
              </a:ext>
            </a:extLst>
          </p:cNvPr>
          <p:cNvSpPr>
            <a:spLocks/>
          </p:cNvSpPr>
          <p:nvPr userDrawn="1"/>
        </p:nvSpPr>
        <p:spPr bwMode="auto">
          <a:xfrm>
            <a:off x="9704004" y="5636474"/>
            <a:ext cx="109767" cy="96771"/>
          </a:xfrm>
          <a:custGeom>
            <a:avLst/>
            <a:gdLst>
              <a:gd name="T0" fmla="*/ 6 w 46"/>
              <a:gd name="T1" fmla="*/ 14 h 41"/>
              <a:gd name="T2" fmla="*/ 42 w 46"/>
              <a:gd name="T3" fmla="*/ 39 h 41"/>
              <a:gd name="T4" fmla="*/ 45 w 46"/>
              <a:gd name="T5" fmla="*/ 37 h 41"/>
              <a:gd name="T6" fmla="*/ 11 w 46"/>
              <a:gd name="T7" fmla="*/ 3 h 41"/>
              <a:gd name="T8" fmla="*/ 6 w 46"/>
              <a:gd name="T9" fmla="*/ 14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" h="41">
                <a:moveTo>
                  <a:pt x="6" y="14"/>
                </a:moveTo>
                <a:cubicBezTo>
                  <a:pt x="19" y="22"/>
                  <a:pt x="31" y="28"/>
                  <a:pt x="42" y="39"/>
                </a:cubicBezTo>
                <a:cubicBezTo>
                  <a:pt x="43" y="41"/>
                  <a:pt x="46" y="39"/>
                  <a:pt x="45" y="37"/>
                </a:cubicBezTo>
                <a:cubicBezTo>
                  <a:pt x="37" y="23"/>
                  <a:pt x="26" y="9"/>
                  <a:pt x="11" y="3"/>
                </a:cubicBezTo>
                <a:cubicBezTo>
                  <a:pt x="4" y="0"/>
                  <a:pt x="0" y="11"/>
                  <a:pt x="6" y="1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81" name="Freeform 317">
            <a:extLst>
              <a:ext uri="{FF2B5EF4-FFF2-40B4-BE49-F238E27FC236}">
                <a16:creationId xmlns:a16="http://schemas.microsoft.com/office/drawing/2014/main" id="{4C618DF5-BB6B-40A3-99A7-7F80DB2A6033}"/>
              </a:ext>
            </a:extLst>
          </p:cNvPr>
          <p:cNvSpPr>
            <a:spLocks/>
          </p:cNvSpPr>
          <p:nvPr userDrawn="1"/>
        </p:nvSpPr>
        <p:spPr bwMode="auto">
          <a:xfrm>
            <a:off x="9495607" y="6424913"/>
            <a:ext cx="151128" cy="153881"/>
          </a:xfrm>
          <a:custGeom>
            <a:avLst/>
            <a:gdLst>
              <a:gd name="T0" fmla="*/ 8 w 64"/>
              <a:gd name="T1" fmla="*/ 20 h 65"/>
              <a:gd name="T2" fmla="*/ 33 w 64"/>
              <a:gd name="T3" fmla="*/ 44 h 65"/>
              <a:gd name="T4" fmla="*/ 61 w 64"/>
              <a:gd name="T5" fmla="*/ 64 h 65"/>
              <a:gd name="T6" fmla="*/ 63 w 64"/>
              <a:gd name="T7" fmla="*/ 62 h 65"/>
              <a:gd name="T8" fmla="*/ 44 w 64"/>
              <a:gd name="T9" fmla="*/ 35 h 65"/>
              <a:gd name="T10" fmla="*/ 20 w 64"/>
              <a:gd name="T11" fmla="*/ 8 h 65"/>
              <a:gd name="T12" fmla="*/ 8 w 64"/>
              <a:gd name="T13" fmla="*/ 2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" h="65">
                <a:moveTo>
                  <a:pt x="8" y="20"/>
                </a:moveTo>
                <a:cubicBezTo>
                  <a:pt x="15" y="29"/>
                  <a:pt x="24" y="36"/>
                  <a:pt x="33" y="44"/>
                </a:cubicBezTo>
                <a:cubicBezTo>
                  <a:pt x="42" y="51"/>
                  <a:pt x="52" y="57"/>
                  <a:pt x="61" y="64"/>
                </a:cubicBezTo>
                <a:cubicBezTo>
                  <a:pt x="62" y="65"/>
                  <a:pt x="64" y="64"/>
                  <a:pt x="63" y="62"/>
                </a:cubicBezTo>
                <a:cubicBezTo>
                  <a:pt x="56" y="54"/>
                  <a:pt x="52" y="44"/>
                  <a:pt x="44" y="35"/>
                </a:cubicBezTo>
                <a:cubicBezTo>
                  <a:pt x="37" y="26"/>
                  <a:pt x="29" y="16"/>
                  <a:pt x="20" y="8"/>
                </a:cubicBezTo>
                <a:cubicBezTo>
                  <a:pt x="12" y="0"/>
                  <a:pt x="0" y="12"/>
                  <a:pt x="8" y="2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82" name="Freeform 318">
            <a:extLst>
              <a:ext uri="{FF2B5EF4-FFF2-40B4-BE49-F238E27FC236}">
                <a16:creationId xmlns:a16="http://schemas.microsoft.com/office/drawing/2014/main" id="{57CB20EC-82AC-494A-A695-F2A7F6931E6A}"/>
              </a:ext>
            </a:extLst>
          </p:cNvPr>
          <p:cNvSpPr>
            <a:spLocks/>
          </p:cNvSpPr>
          <p:nvPr userDrawn="1"/>
        </p:nvSpPr>
        <p:spPr bwMode="auto">
          <a:xfrm>
            <a:off x="9035859" y="6635904"/>
            <a:ext cx="168627" cy="218923"/>
          </a:xfrm>
          <a:custGeom>
            <a:avLst/>
            <a:gdLst>
              <a:gd name="T0" fmla="*/ 11 w 71"/>
              <a:gd name="T1" fmla="*/ 3 h 93"/>
              <a:gd name="T2" fmla="*/ 2 w 71"/>
              <a:gd name="T3" fmla="*/ 11 h 93"/>
              <a:gd name="T4" fmla="*/ 33 w 71"/>
              <a:gd name="T5" fmla="*/ 48 h 93"/>
              <a:gd name="T6" fmla="*/ 68 w 71"/>
              <a:gd name="T7" fmla="*/ 92 h 93"/>
              <a:gd name="T8" fmla="*/ 70 w 71"/>
              <a:gd name="T9" fmla="*/ 91 h 93"/>
              <a:gd name="T10" fmla="*/ 43 w 71"/>
              <a:gd name="T11" fmla="*/ 40 h 93"/>
              <a:gd name="T12" fmla="*/ 11 w 71"/>
              <a:gd name="T13" fmla="*/ 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1" h="93">
                <a:moveTo>
                  <a:pt x="11" y="3"/>
                </a:moveTo>
                <a:cubicBezTo>
                  <a:pt x="5" y="0"/>
                  <a:pt x="0" y="6"/>
                  <a:pt x="2" y="11"/>
                </a:cubicBezTo>
                <a:cubicBezTo>
                  <a:pt x="9" y="25"/>
                  <a:pt x="23" y="36"/>
                  <a:pt x="33" y="48"/>
                </a:cubicBezTo>
                <a:cubicBezTo>
                  <a:pt x="45" y="62"/>
                  <a:pt x="58" y="76"/>
                  <a:pt x="68" y="92"/>
                </a:cubicBezTo>
                <a:cubicBezTo>
                  <a:pt x="69" y="93"/>
                  <a:pt x="71" y="92"/>
                  <a:pt x="70" y="91"/>
                </a:cubicBezTo>
                <a:cubicBezTo>
                  <a:pt x="61" y="74"/>
                  <a:pt x="54" y="56"/>
                  <a:pt x="43" y="40"/>
                </a:cubicBezTo>
                <a:cubicBezTo>
                  <a:pt x="34" y="27"/>
                  <a:pt x="24" y="11"/>
                  <a:pt x="11" y="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83" name="Freeform 319">
            <a:extLst>
              <a:ext uri="{FF2B5EF4-FFF2-40B4-BE49-F238E27FC236}">
                <a16:creationId xmlns:a16="http://schemas.microsoft.com/office/drawing/2014/main" id="{8A4749B1-3529-441E-9299-EEE13DD6E5DF}"/>
              </a:ext>
            </a:extLst>
          </p:cNvPr>
          <p:cNvSpPr>
            <a:spLocks/>
          </p:cNvSpPr>
          <p:nvPr userDrawn="1"/>
        </p:nvSpPr>
        <p:spPr bwMode="auto">
          <a:xfrm>
            <a:off x="2391003" y="125328"/>
            <a:ext cx="205216" cy="145949"/>
          </a:xfrm>
          <a:custGeom>
            <a:avLst/>
            <a:gdLst>
              <a:gd name="T0" fmla="*/ 79 w 87"/>
              <a:gd name="T1" fmla="*/ 60 h 62"/>
              <a:gd name="T2" fmla="*/ 83 w 87"/>
              <a:gd name="T3" fmla="*/ 55 h 62"/>
              <a:gd name="T4" fmla="*/ 2 w 87"/>
              <a:gd name="T5" fmla="*/ 1 h 62"/>
              <a:gd name="T6" fmla="*/ 1 w 87"/>
              <a:gd name="T7" fmla="*/ 3 h 62"/>
              <a:gd name="T8" fmla="*/ 79 w 87"/>
              <a:gd name="T9" fmla="*/ 6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7" h="62">
                <a:moveTo>
                  <a:pt x="79" y="60"/>
                </a:moveTo>
                <a:cubicBezTo>
                  <a:pt x="83" y="62"/>
                  <a:pt x="87" y="58"/>
                  <a:pt x="83" y="55"/>
                </a:cubicBezTo>
                <a:cubicBezTo>
                  <a:pt x="60" y="33"/>
                  <a:pt x="29" y="18"/>
                  <a:pt x="2" y="1"/>
                </a:cubicBezTo>
                <a:cubicBezTo>
                  <a:pt x="1" y="0"/>
                  <a:pt x="0" y="2"/>
                  <a:pt x="1" y="3"/>
                </a:cubicBezTo>
                <a:cubicBezTo>
                  <a:pt x="26" y="22"/>
                  <a:pt x="51" y="46"/>
                  <a:pt x="79" y="6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84" name="Freeform 320">
            <a:extLst>
              <a:ext uri="{FF2B5EF4-FFF2-40B4-BE49-F238E27FC236}">
                <a16:creationId xmlns:a16="http://schemas.microsoft.com/office/drawing/2014/main" id="{79C802E2-60E3-4E31-8AC1-49509D0466F3}"/>
              </a:ext>
            </a:extLst>
          </p:cNvPr>
          <p:cNvSpPr>
            <a:spLocks/>
          </p:cNvSpPr>
          <p:nvPr userDrawn="1"/>
        </p:nvSpPr>
        <p:spPr bwMode="auto">
          <a:xfrm>
            <a:off x="2822115" y="498131"/>
            <a:ext cx="222715" cy="163399"/>
          </a:xfrm>
          <a:custGeom>
            <a:avLst/>
            <a:gdLst>
              <a:gd name="T0" fmla="*/ 41 w 94"/>
              <a:gd name="T1" fmla="*/ 34 h 69"/>
              <a:gd name="T2" fmla="*/ 88 w 94"/>
              <a:gd name="T3" fmla="*/ 67 h 69"/>
              <a:gd name="T4" fmla="*/ 92 w 94"/>
              <a:gd name="T5" fmla="*/ 62 h 69"/>
              <a:gd name="T6" fmla="*/ 50 w 94"/>
              <a:gd name="T7" fmla="*/ 32 h 69"/>
              <a:gd name="T8" fmla="*/ 2 w 94"/>
              <a:gd name="T9" fmla="*/ 1 h 69"/>
              <a:gd name="T10" fmla="*/ 1 w 94"/>
              <a:gd name="T11" fmla="*/ 3 h 69"/>
              <a:gd name="T12" fmla="*/ 41 w 94"/>
              <a:gd name="T13" fmla="*/ 34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4" h="69">
                <a:moveTo>
                  <a:pt x="41" y="34"/>
                </a:moveTo>
                <a:cubicBezTo>
                  <a:pt x="56" y="46"/>
                  <a:pt x="71" y="60"/>
                  <a:pt x="88" y="67"/>
                </a:cubicBezTo>
                <a:cubicBezTo>
                  <a:pt x="91" y="69"/>
                  <a:pt x="94" y="65"/>
                  <a:pt x="92" y="62"/>
                </a:cubicBezTo>
                <a:cubicBezTo>
                  <a:pt x="80" y="50"/>
                  <a:pt x="64" y="41"/>
                  <a:pt x="50" y="32"/>
                </a:cubicBezTo>
                <a:cubicBezTo>
                  <a:pt x="34" y="22"/>
                  <a:pt x="19" y="11"/>
                  <a:pt x="2" y="1"/>
                </a:cubicBezTo>
                <a:cubicBezTo>
                  <a:pt x="1" y="0"/>
                  <a:pt x="0" y="2"/>
                  <a:pt x="1" y="3"/>
                </a:cubicBezTo>
                <a:cubicBezTo>
                  <a:pt x="14" y="14"/>
                  <a:pt x="28" y="24"/>
                  <a:pt x="41" y="3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85" name="Freeform 321">
            <a:extLst>
              <a:ext uri="{FF2B5EF4-FFF2-40B4-BE49-F238E27FC236}">
                <a16:creationId xmlns:a16="http://schemas.microsoft.com/office/drawing/2014/main" id="{8DF74F95-C6F9-465F-ACA9-DCCE6B2554C6}"/>
              </a:ext>
            </a:extLst>
          </p:cNvPr>
          <p:cNvSpPr>
            <a:spLocks/>
          </p:cNvSpPr>
          <p:nvPr userDrawn="1"/>
        </p:nvSpPr>
        <p:spPr bwMode="auto">
          <a:xfrm>
            <a:off x="1493781" y="269690"/>
            <a:ext cx="526562" cy="320452"/>
          </a:xfrm>
          <a:custGeom>
            <a:avLst/>
            <a:gdLst>
              <a:gd name="T0" fmla="*/ 207 w 222"/>
              <a:gd name="T1" fmla="*/ 133 h 136"/>
              <a:gd name="T2" fmla="*/ 218 w 222"/>
              <a:gd name="T3" fmla="*/ 114 h 136"/>
              <a:gd name="T4" fmla="*/ 117 w 222"/>
              <a:gd name="T5" fmla="*/ 55 h 136"/>
              <a:gd name="T6" fmla="*/ 1 w 222"/>
              <a:gd name="T7" fmla="*/ 1 h 136"/>
              <a:gd name="T8" fmla="*/ 1 w 222"/>
              <a:gd name="T9" fmla="*/ 3 h 136"/>
              <a:gd name="T10" fmla="*/ 112 w 222"/>
              <a:gd name="T11" fmla="*/ 79 h 136"/>
              <a:gd name="T12" fmla="*/ 207 w 222"/>
              <a:gd name="T13" fmla="*/ 133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2" h="136">
                <a:moveTo>
                  <a:pt x="207" y="133"/>
                </a:moveTo>
                <a:cubicBezTo>
                  <a:pt x="217" y="132"/>
                  <a:pt x="222" y="123"/>
                  <a:pt x="218" y="114"/>
                </a:cubicBezTo>
                <a:cubicBezTo>
                  <a:pt x="202" y="79"/>
                  <a:pt x="150" y="71"/>
                  <a:pt x="117" y="55"/>
                </a:cubicBezTo>
                <a:cubicBezTo>
                  <a:pt x="78" y="37"/>
                  <a:pt x="41" y="17"/>
                  <a:pt x="1" y="1"/>
                </a:cubicBezTo>
                <a:cubicBezTo>
                  <a:pt x="0" y="0"/>
                  <a:pt x="0" y="2"/>
                  <a:pt x="1" y="3"/>
                </a:cubicBezTo>
                <a:cubicBezTo>
                  <a:pt x="36" y="30"/>
                  <a:pt x="75" y="54"/>
                  <a:pt x="112" y="79"/>
                </a:cubicBezTo>
                <a:cubicBezTo>
                  <a:pt x="141" y="99"/>
                  <a:pt x="170" y="136"/>
                  <a:pt x="207" y="13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86" name="Freeform 322">
            <a:extLst>
              <a:ext uri="{FF2B5EF4-FFF2-40B4-BE49-F238E27FC236}">
                <a16:creationId xmlns:a16="http://schemas.microsoft.com/office/drawing/2014/main" id="{6A35F50F-E4F1-417A-8894-2F29DD725336}"/>
              </a:ext>
            </a:extLst>
          </p:cNvPr>
          <p:cNvSpPr>
            <a:spLocks/>
          </p:cNvSpPr>
          <p:nvPr userDrawn="1"/>
        </p:nvSpPr>
        <p:spPr bwMode="auto">
          <a:xfrm>
            <a:off x="2387822" y="782097"/>
            <a:ext cx="241805" cy="106289"/>
          </a:xfrm>
          <a:custGeom>
            <a:avLst/>
            <a:gdLst>
              <a:gd name="T0" fmla="*/ 96 w 102"/>
              <a:gd name="T1" fmla="*/ 44 h 45"/>
              <a:gd name="T2" fmla="*/ 99 w 102"/>
              <a:gd name="T3" fmla="*/ 38 h 45"/>
              <a:gd name="T4" fmla="*/ 3 w 102"/>
              <a:gd name="T5" fmla="*/ 0 h 45"/>
              <a:gd name="T6" fmla="*/ 2 w 102"/>
              <a:gd name="T7" fmla="*/ 3 h 45"/>
              <a:gd name="T8" fmla="*/ 96 w 102"/>
              <a:gd name="T9" fmla="*/ 44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45">
                <a:moveTo>
                  <a:pt x="96" y="44"/>
                </a:moveTo>
                <a:cubicBezTo>
                  <a:pt x="100" y="45"/>
                  <a:pt x="102" y="40"/>
                  <a:pt x="99" y="38"/>
                </a:cubicBezTo>
                <a:cubicBezTo>
                  <a:pt x="72" y="19"/>
                  <a:pt x="34" y="9"/>
                  <a:pt x="3" y="0"/>
                </a:cubicBezTo>
                <a:cubicBezTo>
                  <a:pt x="1" y="0"/>
                  <a:pt x="0" y="2"/>
                  <a:pt x="2" y="3"/>
                </a:cubicBezTo>
                <a:cubicBezTo>
                  <a:pt x="30" y="19"/>
                  <a:pt x="64" y="38"/>
                  <a:pt x="96" y="4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87" name="Freeform 323">
            <a:extLst>
              <a:ext uri="{FF2B5EF4-FFF2-40B4-BE49-F238E27FC236}">
                <a16:creationId xmlns:a16="http://schemas.microsoft.com/office/drawing/2014/main" id="{97D8DBB8-B085-468A-8B19-838C2AE6F424}"/>
              </a:ext>
            </a:extLst>
          </p:cNvPr>
          <p:cNvSpPr>
            <a:spLocks/>
          </p:cNvSpPr>
          <p:nvPr userDrawn="1"/>
        </p:nvSpPr>
        <p:spPr bwMode="auto">
          <a:xfrm>
            <a:off x="2817343" y="1173937"/>
            <a:ext cx="109767" cy="68216"/>
          </a:xfrm>
          <a:custGeom>
            <a:avLst/>
            <a:gdLst>
              <a:gd name="T0" fmla="*/ 2 w 46"/>
              <a:gd name="T1" fmla="*/ 4 h 29"/>
              <a:gd name="T2" fmla="*/ 23 w 46"/>
              <a:gd name="T3" fmla="*/ 18 h 29"/>
              <a:gd name="T4" fmla="*/ 42 w 46"/>
              <a:gd name="T5" fmla="*/ 29 h 29"/>
              <a:gd name="T6" fmla="*/ 44 w 46"/>
              <a:gd name="T7" fmla="*/ 24 h 29"/>
              <a:gd name="T8" fmla="*/ 26 w 46"/>
              <a:gd name="T9" fmla="*/ 12 h 29"/>
              <a:gd name="T10" fmla="*/ 4 w 46"/>
              <a:gd name="T11" fmla="*/ 1 h 29"/>
              <a:gd name="T12" fmla="*/ 2 w 46"/>
              <a:gd name="T13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29">
                <a:moveTo>
                  <a:pt x="2" y="4"/>
                </a:moveTo>
                <a:cubicBezTo>
                  <a:pt x="9" y="9"/>
                  <a:pt x="16" y="13"/>
                  <a:pt x="23" y="18"/>
                </a:cubicBezTo>
                <a:cubicBezTo>
                  <a:pt x="29" y="22"/>
                  <a:pt x="35" y="27"/>
                  <a:pt x="42" y="29"/>
                </a:cubicBezTo>
                <a:cubicBezTo>
                  <a:pt x="44" y="29"/>
                  <a:pt x="46" y="26"/>
                  <a:pt x="44" y="24"/>
                </a:cubicBezTo>
                <a:cubicBezTo>
                  <a:pt x="39" y="19"/>
                  <a:pt x="32" y="16"/>
                  <a:pt x="26" y="12"/>
                </a:cubicBezTo>
                <a:cubicBezTo>
                  <a:pt x="18" y="8"/>
                  <a:pt x="11" y="5"/>
                  <a:pt x="4" y="1"/>
                </a:cubicBezTo>
                <a:cubicBezTo>
                  <a:pt x="2" y="0"/>
                  <a:pt x="0" y="3"/>
                  <a:pt x="2" y="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88" name="Freeform 324">
            <a:extLst>
              <a:ext uri="{FF2B5EF4-FFF2-40B4-BE49-F238E27FC236}">
                <a16:creationId xmlns:a16="http://schemas.microsoft.com/office/drawing/2014/main" id="{984DA425-C548-40BF-9D06-55BA6F7B3572}"/>
              </a:ext>
            </a:extLst>
          </p:cNvPr>
          <p:cNvSpPr>
            <a:spLocks/>
          </p:cNvSpPr>
          <p:nvPr userDrawn="1"/>
        </p:nvSpPr>
        <p:spPr bwMode="auto">
          <a:xfrm>
            <a:off x="1356970" y="989914"/>
            <a:ext cx="671326" cy="303002"/>
          </a:xfrm>
          <a:custGeom>
            <a:avLst/>
            <a:gdLst>
              <a:gd name="T0" fmla="*/ 2 w 283"/>
              <a:gd name="T1" fmla="*/ 6 h 128"/>
              <a:gd name="T2" fmla="*/ 145 w 283"/>
              <a:gd name="T3" fmla="*/ 78 h 128"/>
              <a:gd name="T4" fmla="*/ 263 w 283"/>
              <a:gd name="T5" fmla="*/ 127 h 128"/>
              <a:gd name="T6" fmla="*/ 274 w 283"/>
              <a:gd name="T7" fmla="*/ 101 h 128"/>
              <a:gd name="T8" fmla="*/ 157 w 283"/>
              <a:gd name="T9" fmla="*/ 48 h 128"/>
              <a:gd name="T10" fmla="*/ 5 w 283"/>
              <a:gd name="T11" fmla="*/ 1 h 128"/>
              <a:gd name="T12" fmla="*/ 2 w 283"/>
              <a:gd name="T13" fmla="*/ 6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3" h="128">
                <a:moveTo>
                  <a:pt x="2" y="6"/>
                </a:moveTo>
                <a:cubicBezTo>
                  <a:pt x="49" y="32"/>
                  <a:pt x="97" y="54"/>
                  <a:pt x="145" y="78"/>
                </a:cubicBezTo>
                <a:cubicBezTo>
                  <a:pt x="183" y="97"/>
                  <a:pt x="220" y="123"/>
                  <a:pt x="263" y="127"/>
                </a:cubicBezTo>
                <a:cubicBezTo>
                  <a:pt x="276" y="128"/>
                  <a:pt x="283" y="110"/>
                  <a:pt x="274" y="101"/>
                </a:cubicBezTo>
                <a:cubicBezTo>
                  <a:pt x="242" y="72"/>
                  <a:pt x="197" y="62"/>
                  <a:pt x="157" y="48"/>
                </a:cubicBezTo>
                <a:cubicBezTo>
                  <a:pt x="107" y="31"/>
                  <a:pt x="56" y="13"/>
                  <a:pt x="5" y="1"/>
                </a:cubicBezTo>
                <a:cubicBezTo>
                  <a:pt x="2" y="0"/>
                  <a:pt x="0" y="5"/>
                  <a:pt x="2" y="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89" name="Freeform 325">
            <a:extLst>
              <a:ext uri="{FF2B5EF4-FFF2-40B4-BE49-F238E27FC236}">
                <a16:creationId xmlns:a16="http://schemas.microsoft.com/office/drawing/2014/main" id="{F4B06A99-C832-4C95-B50B-C1A1C21E6A20}"/>
              </a:ext>
            </a:extLst>
          </p:cNvPr>
          <p:cNvSpPr>
            <a:spLocks/>
          </p:cNvSpPr>
          <p:nvPr userDrawn="1"/>
        </p:nvSpPr>
        <p:spPr bwMode="auto">
          <a:xfrm>
            <a:off x="2348051" y="1457902"/>
            <a:ext cx="214761" cy="101529"/>
          </a:xfrm>
          <a:custGeom>
            <a:avLst/>
            <a:gdLst>
              <a:gd name="T0" fmla="*/ 46 w 91"/>
              <a:gd name="T1" fmla="*/ 20 h 43"/>
              <a:gd name="T2" fmla="*/ 82 w 91"/>
              <a:gd name="T3" fmla="*/ 41 h 43"/>
              <a:gd name="T4" fmla="*/ 87 w 91"/>
              <a:gd name="T5" fmla="*/ 35 h 43"/>
              <a:gd name="T6" fmla="*/ 4 w 91"/>
              <a:gd name="T7" fmla="*/ 0 h 43"/>
              <a:gd name="T8" fmla="*/ 3 w 91"/>
              <a:gd name="T9" fmla="*/ 3 h 43"/>
              <a:gd name="T10" fmla="*/ 46 w 91"/>
              <a:gd name="T11" fmla="*/ 2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1" h="43">
                <a:moveTo>
                  <a:pt x="46" y="20"/>
                </a:moveTo>
                <a:cubicBezTo>
                  <a:pt x="58" y="27"/>
                  <a:pt x="70" y="35"/>
                  <a:pt x="82" y="41"/>
                </a:cubicBezTo>
                <a:cubicBezTo>
                  <a:pt x="86" y="43"/>
                  <a:pt x="91" y="38"/>
                  <a:pt x="87" y="35"/>
                </a:cubicBezTo>
                <a:cubicBezTo>
                  <a:pt x="65" y="14"/>
                  <a:pt x="33" y="4"/>
                  <a:pt x="4" y="0"/>
                </a:cubicBezTo>
                <a:cubicBezTo>
                  <a:pt x="1" y="0"/>
                  <a:pt x="0" y="3"/>
                  <a:pt x="3" y="3"/>
                </a:cubicBezTo>
                <a:cubicBezTo>
                  <a:pt x="18" y="8"/>
                  <a:pt x="33" y="13"/>
                  <a:pt x="46" y="2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90" name="Freeform 326">
            <a:extLst>
              <a:ext uri="{FF2B5EF4-FFF2-40B4-BE49-F238E27FC236}">
                <a16:creationId xmlns:a16="http://schemas.microsoft.com/office/drawing/2014/main" id="{0A1973AE-1981-4517-951A-3CB0CF668B7C}"/>
              </a:ext>
            </a:extLst>
          </p:cNvPr>
          <p:cNvSpPr>
            <a:spLocks/>
          </p:cNvSpPr>
          <p:nvPr userDrawn="1"/>
        </p:nvSpPr>
        <p:spPr bwMode="auto">
          <a:xfrm>
            <a:off x="1434920" y="1675238"/>
            <a:ext cx="555197" cy="204646"/>
          </a:xfrm>
          <a:custGeom>
            <a:avLst/>
            <a:gdLst>
              <a:gd name="T0" fmla="*/ 110 w 234"/>
              <a:gd name="T1" fmla="*/ 46 h 87"/>
              <a:gd name="T2" fmla="*/ 222 w 234"/>
              <a:gd name="T3" fmla="*/ 84 h 87"/>
              <a:gd name="T4" fmla="*/ 229 w 234"/>
              <a:gd name="T5" fmla="*/ 68 h 87"/>
              <a:gd name="T6" fmla="*/ 124 w 234"/>
              <a:gd name="T7" fmla="*/ 24 h 87"/>
              <a:gd name="T8" fmla="*/ 1 w 234"/>
              <a:gd name="T9" fmla="*/ 0 h 87"/>
              <a:gd name="T10" fmla="*/ 1 w 234"/>
              <a:gd name="T11" fmla="*/ 2 h 87"/>
              <a:gd name="T12" fmla="*/ 110 w 234"/>
              <a:gd name="T13" fmla="*/ 46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4" h="87">
                <a:moveTo>
                  <a:pt x="110" y="46"/>
                </a:moveTo>
                <a:cubicBezTo>
                  <a:pt x="145" y="60"/>
                  <a:pt x="183" y="87"/>
                  <a:pt x="222" y="84"/>
                </a:cubicBezTo>
                <a:cubicBezTo>
                  <a:pt x="230" y="84"/>
                  <a:pt x="234" y="75"/>
                  <a:pt x="229" y="68"/>
                </a:cubicBezTo>
                <a:cubicBezTo>
                  <a:pt x="204" y="39"/>
                  <a:pt x="160" y="34"/>
                  <a:pt x="124" y="24"/>
                </a:cubicBezTo>
                <a:cubicBezTo>
                  <a:pt x="84" y="13"/>
                  <a:pt x="43" y="4"/>
                  <a:pt x="1" y="0"/>
                </a:cubicBezTo>
                <a:cubicBezTo>
                  <a:pt x="0" y="0"/>
                  <a:pt x="0" y="1"/>
                  <a:pt x="1" y="2"/>
                </a:cubicBezTo>
                <a:cubicBezTo>
                  <a:pt x="37" y="17"/>
                  <a:pt x="74" y="31"/>
                  <a:pt x="110" y="4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91" name="Freeform 327">
            <a:extLst>
              <a:ext uri="{FF2B5EF4-FFF2-40B4-BE49-F238E27FC236}">
                <a16:creationId xmlns:a16="http://schemas.microsoft.com/office/drawing/2014/main" id="{246726C7-A398-4252-A702-9E9AA4D83770}"/>
              </a:ext>
            </a:extLst>
          </p:cNvPr>
          <p:cNvSpPr>
            <a:spLocks/>
          </p:cNvSpPr>
          <p:nvPr userDrawn="1"/>
        </p:nvSpPr>
        <p:spPr bwMode="auto">
          <a:xfrm>
            <a:off x="2333734" y="2009969"/>
            <a:ext cx="241805" cy="76147"/>
          </a:xfrm>
          <a:custGeom>
            <a:avLst/>
            <a:gdLst>
              <a:gd name="T0" fmla="*/ 97 w 102"/>
              <a:gd name="T1" fmla="*/ 31 h 32"/>
              <a:gd name="T2" fmla="*/ 99 w 102"/>
              <a:gd name="T3" fmla="*/ 24 h 32"/>
              <a:gd name="T4" fmla="*/ 54 w 102"/>
              <a:gd name="T5" fmla="*/ 11 h 32"/>
              <a:gd name="T6" fmla="*/ 3 w 102"/>
              <a:gd name="T7" fmla="*/ 0 h 32"/>
              <a:gd name="T8" fmla="*/ 2 w 102"/>
              <a:gd name="T9" fmla="*/ 3 h 32"/>
              <a:gd name="T10" fmla="*/ 52 w 102"/>
              <a:gd name="T11" fmla="*/ 20 h 32"/>
              <a:gd name="T12" fmla="*/ 97 w 102"/>
              <a:gd name="T13" fmla="*/ 31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2" h="32">
                <a:moveTo>
                  <a:pt x="97" y="31"/>
                </a:moveTo>
                <a:cubicBezTo>
                  <a:pt x="101" y="31"/>
                  <a:pt x="102" y="26"/>
                  <a:pt x="99" y="24"/>
                </a:cubicBezTo>
                <a:cubicBezTo>
                  <a:pt x="86" y="15"/>
                  <a:pt x="69" y="14"/>
                  <a:pt x="54" y="11"/>
                </a:cubicBezTo>
                <a:cubicBezTo>
                  <a:pt x="37" y="8"/>
                  <a:pt x="20" y="4"/>
                  <a:pt x="3" y="0"/>
                </a:cubicBezTo>
                <a:cubicBezTo>
                  <a:pt x="1" y="0"/>
                  <a:pt x="0" y="3"/>
                  <a:pt x="2" y="3"/>
                </a:cubicBezTo>
                <a:cubicBezTo>
                  <a:pt x="19" y="8"/>
                  <a:pt x="35" y="14"/>
                  <a:pt x="52" y="20"/>
                </a:cubicBezTo>
                <a:cubicBezTo>
                  <a:pt x="66" y="25"/>
                  <a:pt x="81" y="32"/>
                  <a:pt x="97" y="3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92" name="Freeform 328">
            <a:extLst>
              <a:ext uri="{FF2B5EF4-FFF2-40B4-BE49-F238E27FC236}">
                <a16:creationId xmlns:a16="http://schemas.microsoft.com/office/drawing/2014/main" id="{5FB2B525-C38E-4D32-8725-1636213ECE5A}"/>
              </a:ext>
            </a:extLst>
          </p:cNvPr>
          <p:cNvSpPr>
            <a:spLocks/>
          </p:cNvSpPr>
          <p:nvPr userDrawn="1"/>
        </p:nvSpPr>
        <p:spPr bwMode="auto">
          <a:xfrm>
            <a:off x="1975799" y="2411327"/>
            <a:ext cx="388160" cy="166572"/>
          </a:xfrm>
          <a:custGeom>
            <a:avLst/>
            <a:gdLst>
              <a:gd name="T0" fmla="*/ 97 w 164"/>
              <a:gd name="T1" fmla="*/ 17 h 70"/>
              <a:gd name="T2" fmla="*/ 2 w 164"/>
              <a:gd name="T3" fmla="*/ 1 h 70"/>
              <a:gd name="T4" fmla="*/ 1 w 164"/>
              <a:gd name="T5" fmla="*/ 3 h 70"/>
              <a:gd name="T6" fmla="*/ 97 w 164"/>
              <a:gd name="T7" fmla="*/ 46 h 70"/>
              <a:gd name="T8" fmla="*/ 158 w 164"/>
              <a:gd name="T9" fmla="*/ 57 h 70"/>
              <a:gd name="T10" fmla="*/ 161 w 164"/>
              <a:gd name="T11" fmla="*/ 43 h 70"/>
              <a:gd name="T12" fmla="*/ 97 w 164"/>
              <a:gd name="T13" fmla="*/ 17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4" h="70">
                <a:moveTo>
                  <a:pt x="97" y="17"/>
                </a:moveTo>
                <a:cubicBezTo>
                  <a:pt x="65" y="11"/>
                  <a:pt x="33" y="8"/>
                  <a:pt x="2" y="1"/>
                </a:cubicBezTo>
                <a:cubicBezTo>
                  <a:pt x="1" y="0"/>
                  <a:pt x="0" y="2"/>
                  <a:pt x="1" y="3"/>
                </a:cubicBezTo>
                <a:cubicBezTo>
                  <a:pt x="34" y="15"/>
                  <a:pt x="65" y="32"/>
                  <a:pt x="97" y="46"/>
                </a:cubicBezTo>
                <a:cubicBezTo>
                  <a:pt x="117" y="55"/>
                  <a:pt x="137" y="70"/>
                  <a:pt x="158" y="57"/>
                </a:cubicBezTo>
                <a:cubicBezTo>
                  <a:pt x="163" y="54"/>
                  <a:pt x="164" y="48"/>
                  <a:pt x="161" y="43"/>
                </a:cubicBezTo>
                <a:cubicBezTo>
                  <a:pt x="151" y="19"/>
                  <a:pt x="120" y="21"/>
                  <a:pt x="97" y="1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93" name="Freeform 329">
            <a:extLst>
              <a:ext uri="{FF2B5EF4-FFF2-40B4-BE49-F238E27FC236}">
                <a16:creationId xmlns:a16="http://schemas.microsoft.com/office/drawing/2014/main" id="{9A6919C5-5BF8-4549-B8D4-FCBB8FCB092E}"/>
              </a:ext>
            </a:extLst>
          </p:cNvPr>
          <p:cNvSpPr>
            <a:spLocks/>
          </p:cNvSpPr>
          <p:nvPr userDrawn="1"/>
        </p:nvSpPr>
        <p:spPr bwMode="auto">
          <a:xfrm>
            <a:off x="2050568" y="2922147"/>
            <a:ext cx="330891" cy="109462"/>
          </a:xfrm>
          <a:custGeom>
            <a:avLst/>
            <a:gdLst>
              <a:gd name="T0" fmla="*/ 133 w 139"/>
              <a:gd name="T1" fmla="*/ 33 h 46"/>
              <a:gd name="T2" fmla="*/ 137 w 139"/>
              <a:gd name="T3" fmla="*/ 22 h 46"/>
              <a:gd name="T4" fmla="*/ 85 w 139"/>
              <a:gd name="T5" fmla="*/ 7 h 46"/>
              <a:gd name="T6" fmla="*/ 3 w 139"/>
              <a:gd name="T7" fmla="*/ 0 h 46"/>
              <a:gd name="T8" fmla="*/ 2 w 139"/>
              <a:gd name="T9" fmla="*/ 4 h 46"/>
              <a:gd name="T10" fmla="*/ 78 w 139"/>
              <a:gd name="T11" fmla="*/ 27 h 46"/>
              <a:gd name="T12" fmla="*/ 133 w 139"/>
              <a:gd name="T13" fmla="*/ 33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9" h="46">
                <a:moveTo>
                  <a:pt x="133" y="33"/>
                </a:moveTo>
                <a:cubicBezTo>
                  <a:pt x="137" y="31"/>
                  <a:pt x="139" y="26"/>
                  <a:pt x="137" y="22"/>
                </a:cubicBezTo>
                <a:cubicBezTo>
                  <a:pt x="125" y="3"/>
                  <a:pt x="106" y="8"/>
                  <a:pt x="85" y="7"/>
                </a:cubicBezTo>
                <a:cubicBezTo>
                  <a:pt x="58" y="5"/>
                  <a:pt x="30" y="2"/>
                  <a:pt x="3" y="0"/>
                </a:cubicBezTo>
                <a:cubicBezTo>
                  <a:pt x="0" y="0"/>
                  <a:pt x="0" y="4"/>
                  <a:pt x="2" y="4"/>
                </a:cubicBezTo>
                <a:cubicBezTo>
                  <a:pt x="27" y="12"/>
                  <a:pt x="53" y="19"/>
                  <a:pt x="78" y="27"/>
                </a:cubicBezTo>
                <a:cubicBezTo>
                  <a:pt x="97" y="33"/>
                  <a:pt x="116" y="46"/>
                  <a:pt x="133" y="3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94" name="Freeform 330">
            <a:extLst>
              <a:ext uri="{FF2B5EF4-FFF2-40B4-BE49-F238E27FC236}">
                <a16:creationId xmlns:a16="http://schemas.microsoft.com/office/drawing/2014/main" id="{5E981D81-AC7F-44E6-85AB-79904513CA2A}"/>
              </a:ext>
            </a:extLst>
          </p:cNvPr>
          <p:cNvSpPr>
            <a:spLocks/>
          </p:cNvSpPr>
          <p:nvPr userDrawn="1"/>
        </p:nvSpPr>
        <p:spPr bwMode="auto">
          <a:xfrm>
            <a:off x="1894667" y="3461522"/>
            <a:ext cx="286348" cy="84080"/>
          </a:xfrm>
          <a:custGeom>
            <a:avLst/>
            <a:gdLst>
              <a:gd name="T0" fmla="*/ 99 w 121"/>
              <a:gd name="T1" fmla="*/ 1 h 36"/>
              <a:gd name="T2" fmla="*/ 5 w 121"/>
              <a:gd name="T3" fmla="*/ 3 h 36"/>
              <a:gd name="T4" fmla="*/ 4 w 121"/>
              <a:gd name="T5" fmla="*/ 10 h 36"/>
              <a:gd name="T6" fmla="*/ 95 w 121"/>
              <a:gd name="T7" fmla="*/ 31 h 36"/>
              <a:gd name="T8" fmla="*/ 99 w 121"/>
              <a:gd name="T9" fmla="*/ 1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" h="36">
                <a:moveTo>
                  <a:pt x="99" y="1"/>
                </a:moveTo>
                <a:cubicBezTo>
                  <a:pt x="68" y="2"/>
                  <a:pt x="36" y="1"/>
                  <a:pt x="5" y="3"/>
                </a:cubicBezTo>
                <a:cubicBezTo>
                  <a:pt x="1" y="3"/>
                  <a:pt x="0" y="9"/>
                  <a:pt x="4" y="10"/>
                </a:cubicBezTo>
                <a:cubicBezTo>
                  <a:pt x="34" y="18"/>
                  <a:pt x="65" y="23"/>
                  <a:pt x="95" y="31"/>
                </a:cubicBezTo>
                <a:cubicBezTo>
                  <a:pt x="117" y="36"/>
                  <a:pt x="121" y="0"/>
                  <a:pt x="99" y="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95" name="Freeform 331">
            <a:extLst>
              <a:ext uri="{FF2B5EF4-FFF2-40B4-BE49-F238E27FC236}">
                <a16:creationId xmlns:a16="http://schemas.microsoft.com/office/drawing/2014/main" id="{505516BF-4DE9-402C-9F2D-9511E84D1CA8}"/>
              </a:ext>
            </a:extLst>
          </p:cNvPr>
          <p:cNvSpPr>
            <a:spLocks/>
          </p:cNvSpPr>
          <p:nvPr userDrawn="1"/>
        </p:nvSpPr>
        <p:spPr bwMode="auto">
          <a:xfrm>
            <a:off x="1465146" y="4023107"/>
            <a:ext cx="572695" cy="163399"/>
          </a:xfrm>
          <a:custGeom>
            <a:avLst/>
            <a:gdLst>
              <a:gd name="T0" fmla="*/ 4 w 241"/>
              <a:gd name="T1" fmla="*/ 66 h 69"/>
              <a:gd name="T2" fmla="*/ 209 w 241"/>
              <a:gd name="T3" fmla="*/ 51 h 69"/>
              <a:gd name="T4" fmla="*/ 203 w 241"/>
              <a:gd name="T5" fmla="*/ 8 h 69"/>
              <a:gd name="T6" fmla="*/ 3 w 241"/>
              <a:gd name="T7" fmla="*/ 61 h 69"/>
              <a:gd name="T8" fmla="*/ 4 w 241"/>
              <a:gd name="T9" fmla="*/ 66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1" h="69">
                <a:moveTo>
                  <a:pt x="4" y="66"/>
                </a:moveTo>
                <a:cubicBezTo>
                  <a:pt x="72" y="69"/>
                  <a:pt x="141" y="55"/>
                  <a:pt x="209" y="51"/>
                </a:cubicBezTo>
                <a:cubicBezTo>
                  <a:pt x="241" y="48"/>
                  <a:pt x="234" y="0"/>
                  <a:pt x="203" y="8"/>
                </a:cubicBezTo>
                <a:cubicBezTo>
                  <a:pt x="137" y="26"/>
                  <a:pt x="67" y="36"/>
                  <a:pt x="3" y="61"/>
                </a:cubicBezTo>
                <a:cubicBezTo>
                  <a:pt x="0" y="62"/>
                  <a:pt x="1" y="66"/>
                  <a:pt x="4" y="6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96" name="Freeform 332">
            <a:extLst>
              <a:ext uri="{FF2B5EF4-FFF2-40B4-BE49-F238E27FC236}">
                <a16:creationId xmlns:a16="http://schemas.microsoft.com/office/drawing/2014/main" id="{3C39689C-6CF9-4939-AEB6-6898DB6A5559}"/>
              </a:ext>
            </a:extLst>
          </p:cNvPr>
          <p:cNvSpPr>
            <a:spLocks/>
          </p:cNvSpPr>
          <p:nvPr userDrawn="1"/>
        </p:nvSpPr>
        <p:spPr bwMode="auto">
          <a:xfrm>
            <a:off x="1937619" y="4400669"/>
            <a:ext cx="532925" cy="179263"/>
          </a:xfrm>
          <a:custGeom>
            <a:avLst/>
            <a:gdLst>
              <a:gd name="T0" fmla="*/ 196 w 225"/>
              <a:gd name="T1" fmla="*/ 6 h 76"/>
              <a:gd name="T2" fmla="*/ 2 w 225"/>
              <a:gd name="T3" fmla="*/ 73 h 76"/>
              <a:gd name="T4" fmla="*/ 2 w 225"/>
              <a:gd name="T5" fmla="*/ 76 h 76"/>
              <a:gd name="T6" fmla="*/ 205 w 225"/>
              <a:gd name="T7" fmla="*/ 38 h 76"/>
              <a:gd name="T8" fmla="*/ 196 w 225"/>
              <a:gd name="T9" fmla="*/ 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5" h="76">
                <a:moveTo>
                  <a:pt x="196" y="6"/>
                </a:moveTo>
                <a:cubicBezTo>
                  <a:pt x="131" y="28"/>
                  <a:pt x="71" y="60"/>
                  <a:pt x="2" y="73"/>
                </a:cubicBezTo>
                <a:cubicBezTo>
                  <a:pt x="0" y="74"/>
                  <a:pt x="1" y="76"/>
                  <a:pt x="2" y="76"/>
                </a:cubicBezTo>
                <a:cubicBezTo>
                  <a:pt x="68" y="63"/>
                  <a:pt x="142" y="61"/>
                  <a:pt x="205" y="38"/>
                </a:cubicBezTo>
                <a:cubicBezTo>
                  <a:pt x="225" y="31"/>
                  <a:pt x="217" y="0"/>
                  <a:pt x="196" y="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97" name="Freeform 333">
            <a:extLst>
              <a:ext uri="{FF2B5EF4-FFF2-40B4-BE49-F238E27FC236}">
                <a16:creationId xmlns:a16="http://schemas.microsoft.com/office/drawing/2014/main" id="{A9C63C56-1FAC-44CB-A442-C8729B8F277E}"/>
              </a:ext>
            </a:extLst>
          </p:cNvPr>
          <p:cNvSpPr>
            <a:spLocks/>
          </p:cNvSpPr>
          <p:nvPr userDrawn="1"/>
        </p:nvSpPr>
        <p:spPr bwMode="auto">
          <a:xfrm>
            <a:off x="1786492" y="5181177"/>
            <a:ext cx="311801" cy="111048"/>
          </a:xfrm>
          <a:custGeom>
            <a:avLst/>
            <a:gdLst>
              <a:gd name="T0" fmla="*/ 3 w 132"/>
              <a:gd name="T1" fmla="*/ 47 h 47"/>
              <a:gd name="T2" fmla="*/ 63 w 132"/>
              <a:gd name="T3" fmla="*/ 29 h 47"/>
              <a:gd name="T4" fmla="*/ 124 w 132"/>
              <a:gd name="T5" fmla="*/ 15 h 47"/>
              <a:gd name="T6" fmla="*/ 122 w 132"/>
              <a:gd name="T7" fmla="*/ 0 h 47"/>
              <a:gd name="T8" fmla="*/ 1 w 132"/>
              <a:gd name="T9" fmla="*/ 43 h 47"/>
              <a:gd name="T10" fmla="*/ 3 w 132"/>
              <a:gd name="T11" fmla="*/ 47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2" h="47">
                <a:moveTo>
                  <a:pt x="3" y="47"/>
                </a:moveTo>
                <a:cubicBezTo>
                  <a:pt x="22" y="40"/>
                  <a:pt x="42" y="34"/>
                  <a:pt x="63" y="29"/>
                </a:cubicBezTo>
                <a:cubicBezTo>
                  <a:pt x="83" y="24"/>
                  <a:pt x="104" y="22"/>
                  <a:pt x="124" y="15"/>
                </a:cubicBezTo>
                <a:cubicBezTo>
                  <a:pt x="132" y="13"/>
                  <a:pt x="131" y="0"/>
                  <a:pt x="122" y="0"/>
                </a:cubicBezTo>
                <a:cubicBezTo>
                  <a:pt x="81" y="2"/>
                  <a:pt x="36" y="23"/>
                  <a:pt x="1" y="43"/>
                </a:cubicBezTo>
                <a:cubicBezTo>
                  <a:pt x="0" y="44"/>
                  <a:pt x="1" y="47"/>
                  <a:pt x="3" y="4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98" name="Freeform 334">
            <a:extLst>
              <a:ext uri="{FF2B5EF4-FFF2-40B4-BE49-F238E27FC236}">
                <a16:creationId xmlns:a16="http://schemas.microsoft.com/office/drawing/2014/main" id="{F1F140E3-1749-4876-8F5F-D8AC01C48856}"/>
              </a:ext>
            </a:extLst>
          </p:cNvPr>
          <p:cNvSpPr>
            <a:spLocks/>
          </p:cNvSpPr>
          <p:nvPr userDrawn="1"/>
        </p:nvSpPr>
        <p:spPr bwMode="auto">
          <a:xfrm>
            <a:off x="2445091" y="5043161"/>
            <a:ext cx="252941" cy="87252"/>
          </a:xfrm>
          <a:custGeom>
            <a:avLst/>
            <a:gdLst>
              <a:gd name="T0" fmla="*/ 99 w 107"/>
              <a:gd name="T1" fmla="*/ 3 h 37"/>
              <a:gd name="T2" fmla="*/ 51 w 107"/>
              <a:gd name="T3" fmla="*/ 13 h 37"/>
              <a:gd name="T4" fmla="*/ 1 w 107"/>
              <a:gd name="T5" fmla="*/ 33 h 37"/>
              <a:gd name="T6" fmla="*/ 2 w 107"/>
              <a:gd name="T7" fmla="*/ 37 h 37"/>
              <a:gd name="T8" fmla="*/ 56 w 107"/>
              <a:gd name="T9" fmla="*/ 30 h 37"/>
              <a:gd name="T10" fmla="*/ 102 w 107"/>
              <a:gd name="T11" fmla="*/ 16 h 37"/>
              <a:gd name="T12" fmla="*/ 99 w 107"/>
              <a:gd name="T13" fmla="*/ 3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" h="37">
                <a:moveTo>
                  <a:pt x="99" y="3"/>
                </a:moveTo>
                <a:cubicBezTo>
                  <a:pt x="82" y="0"/>
                  <a:pt x="67" y="8"/>
                  <a:pt x="51" y="13"/>
                </a:cubicBezTo>
                <a:cubicBezTo>
                  <a:pt x="34" y="19"/>
                  <a:pt x="17" y="25"/>
                  <a:pt x="1" y="33"/>
                </a:cubicBezTo>
                <a:cubicBezTo>
                  <a:pt x="0" y="34"/>
                  <a:pt x="0" y="37"/>
                  <a:pt x="2" y="37"/>
                </a:cubicBezTo>
                <a:cubicBezTo>
                  <a:pt x="20" y="36"/>
                  <a:pt x="38" y="32"/>
                  <a:pt x="56" y="30"/>
                </a:cubicBezTo>
                <a:cubicBezTo>
                  <a:pt x="72" y="27"/>
                  <a:pt x="90" y="27"/>
                  <a:pt x="102" y="16"/>
                </a:cubicBezTo>
                <a:cubicBezTo>
                  <a:pt x="107" y="12"/>
                  <a:pt x="105" y="4"/>
                  <a:pt x="99" y="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99" name="Freeform 335">
            <a:extLst>
              <a:ext uri="{FF2B5EF4-FFF2-40B4-BE49-F238E27FC236}">
                <a16:creationId xmlns:a16="http://schemas.microsoft.com/office/drawing/2014/main" id="{CDDE145B-43AF-45B5-B138-7D707884E28C}"/>
              </a:ext>
            </a:extLst>
          </p:cNvPr>
          <p:cNvSpPr>
            <a:spLocks/>
          </p:cNvSpPr>
          <p:nvPr userDrawn="1"/>
        </p:nvSpPr>
        <p:spPr bwMode="auto">
          <a:xfrm>
            <a:off x="1880350" y="5625368"/>
            <a:ext cx="569514" cy="188782"/>
          </a:xfrm>
          <a:custGeom>
            <a:avLst/>
            <a:gdLst>
              <a:gd name="T0" fmla="*/ 127 w 240"/>
              <a:gd name="T1" fmla="*/ 66 h 80"/>
              <a:gd name="T2" fmla="*/ 233 w 240"/>
              <a:gd name="T3" fmla="*/ 32 h 80"/>
              <a:gd name="T4" fmla="*/ 227 w 240"/>
              <a:gd name="T5" fmla="*/ 10 h 80"/>
              <a:gd name="T6" fmla="*/ 117 w 240"/>
              <a:gd name="T7" fmla="*/ 29 h 80"/>
              <a:gd name="T8" fmla="*/ 2 w 240"/>
              <a:gd name="T9" fmla="*/ 74 h 80"/>
              <a:gd name="T10" fmla="*/ 4 w 240"/>
              <a:gd name="T11" fmla="*/ 79 h 80"/>
              <a:gd name="T12" fmla="*/ 127 w 240"/>
              <a:gd name="T13" fmla="*/ 66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0" h="80">
                <a:moveTo>
                  <a:pt x="127" y="66"/>
                </a:moveTo>
                <a:cubicBezTo>
                  <a:pt x="163" y="59"/>
                  <a:pt x="206" y="58"/>
                  <a:pt x="233" y="32"/>
                </a:cubicBezTo>
                <a:cubicBezTo>
                  <a:pt x="240" y="25"/>
                  <a:pt x="237" y="13"/>
                  <a:pt x="227" y="10"/>
                </a:cubicBezTo>
                <a:cubicBezTo>
                  <a:pt x="191" y="0"/>
                  <a:pt x="152" y="19"/>
                  <a:pt x="117" y="29"/>
                </a:cubicBezTo>
                <a:cubicBezTo>
                  <a:pt x="78" y="41"/>
                  <a:pt x="39" y="54"/>
                  <a:pt x="2" y="74"/>
                </a:cubicBezTo>
                <a:cubicBezTo>
                  <a:pt x="0" y="76"/>
                  <a:pt x="1" y="79"/>
                  <a:pt x="4" y="79"/>
                </a:cubicBezTo>
                <a:cubicBezTo>
                  <a:pt x="45" y="80"/>
                  <a:pt x="86" y="73"/>
                  <a:pt x="127" y="6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00" name="Freeform 336">
            <a:extLst>
              <a:ext uri="{FF2B5EF4-FFF2-40B4-BE49-F238E27FC236}">
                <a16:creationId xmlns:a16="http://schemas.microsoft.com/office/drawing/2014/main" id="{2F426F1A-9233-4BD9-85BF-52CF1755FF7C}"/>
              </a:ext>
            </a:extLst>
          </p:cNvPr>
          <p:cNvSpPr>
            <a:spLocks/>
          </p:cNvSpPr>
          <p:nvPr userDrawn="1"/>
        </p:nvSpPr>
        <p:spPr bwMode="auto">
          <a:xfrm>
            <a:off x="2779163" y="5530185"/>
            <a:ext cx="222715" cy="66629"/>
          </a:xfrm>
          <a:custGeom>
            <a:avLst/>
            <a:gdLst>
              <a:gd name="T0" fmla="*/ 3 w 94"/>
              <a:gd name="T1" fmla="*/ 20 h 28"/>
              <a:gd name="T2" fmla="*/ 85 w 94"/>
              <a:gd name="T3" fmla="*/ 17 h 28"/>
              <a:gd name="T4" fmla="*/ 81 w 94"/>
              <a:gd name="T5" fmla="*/ 3 h 28"/>
              <a:gd name="T6" fmla="*/ 4 w 94"/>
              <a:gd name="T7" fmla="*/ 14 h 28"/>
              <a:gd name="T8" fmla="*/ 3 w 94"/>
              <a:gd name="T9" fmla="*/ 2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4" h="28">
                <a:moveTo>
                  <a:pt x="3" y="20"/>
                </a:moveTo>
                <a:cubicBezTo>
                  <a:pt x="29" y="28"/>
                  <a:pt x="59" y="25"/>
                  <a:pt x="85" y="17"/>
                </a:cubicBezTo>
                <a:cubicBezTo>
                  <a:pt x="94" y="15"/>
                  <a:pt x="90" y="0"/>
                  <a:pt x="81" y="3"/>
                </a:cubicBezTo>
                <a:cubicBezTo>
                  <a:pt x="55" y="11"/>
                  <a:pt x="30" y="13"/>
                  <a:pt x="4" y="14"/>
                </a:cubicBezTo>
                <a:cubicBezTo>
                  <a:pt x="0" y="15"/>
                  <a:pt x="0" y="19"/>
                  <a:pt x="3" y="2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01" name="Freeform 337">
            <a:extLst>
              <a:ext uri="{FF2B5EF4-FFF2-40B4-BE49-F238E27FC236}">
                <a16:creationId xmlns:a16="http://schemas.microsoft.com/office/drawing/2014/main" id="{4140E6FA-A082-4CD1-AB2B-2F8AFC572CB6}"/>
              </a:ext>
            </a:extLst>
          </p:cNvPr>
          <p:cNvSpPr>
            <a:spLocks/>
          </p:cNvSpPr>
          <p:nvPr userDrawn="1"/>
        </p:nvSpPr>
        <p:spPr bwMode="auto">
          <a:xfrm>
            <a:off x="2023523" y="6596244"/>
            <a:ext cx="372252" cy="144363"/>
          </a:xfrm>
          <a:custGeom>
            <a:avLst/>
            <a:gdLst>
              <a:gd name="T0" fmla="*/ 105 w 157"/>
              <a:gd name="T1" fmla="*/ 43 h 61"/>
              <a:gd name="T2" fmla="*/ 155 w 157"/>
              <a:gd name="T3" fmla="*/ 22 h 61"/>
              <a:gd name="T4" fmla="*/ 152 w 157"/>
              <a:gd name="T5" fmla="*/ 12 h 61"/>
              <a:gd name="T6" fmla="*/ 89 w 157"/>
              <a:gd name="T7" fmla="*/ 23 h 61"/>
              <a:gd name="T8" fmla="*/ 4 w 157"/>
              <a:gd name="T9" fmla="*/ 55 h 61"/>
              <a:gd name="T10" fmla="*/ 7 w 157"/>
              <a:gd name="T11" fmla="*/ 61 h 61"/>
              <a:gd name="T12" fmla="*/ 105 w 157"/>
              <a:gd name="T13" fmla="*/ 43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" h="61">
                <a:moveTo>
                  <a:pt x="105" y="43"/>
                </a:moveTo>
                <a:cubicBezTo>
                  <a:pt x="125" y="40"/>
                  <a:pt x="144" y="41"/>
                  <a:pt x="155" y="22"/>
                </a:cubicBezTo>
                <a:cubicBezTo>
                  <a:pt x="157" y="19"/>
                  <a:pt x="156" y="14"/>
                  <a:pt x="152" y="12"/>
                </a:cubicBezTo>
                <a:cubicBezTo>
                  <a:pt x="131" y="0"/>
                  <a:pt x="110" y="15"/>
                  <a:pt x="89" y="23"/>
                </a:cubicBezTo>
                <a:cubicBezTo>
                  <a:pt x="61" y="35"/>
                  <a:pt x="32" y="43"/>
                  <a:pt x="4" y="55"/>
                </a:cubicBezTo>
                <a:cubicBezTo>
                  <a:pt x="0" y="56"/>
                  <a:pt x="4" y="61"/>
                  <a:pt x="7" y="61"/>
                </a:cubicBezTo>
                <a:cubicBezTo>
                  <a:pt x="40" y="56"/>
                  <a:pt x="72" y="48"/>
                  <a:pt x="105" y="4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02" name="Freeform 338">
            <a:extLst>
              <a:ext uri="{FF2B5EF4-FFF2-40B4-BE49-F238E27FC236}">
                <a16:creationId xmlns:a16="http://schemas.microsoft.com/office/drawing/2014/main" id="{3EE818D8-2BD6-4918-876E-ECEC2861C48A}"/>
              </a:ext>
            </a:extLst>
          </p:cNvPr>
          <p:cNvSpPr>
            <a:spLocks/>
          </p:cNvSpPr>
          <p:nvPr userDrawn="1"/>
        </p:nvSpPr>
        <p:spPr bwMode="auto">
          <a:xfrm>
            <a:off x="2817343" y="6423327"/>
            <a:ext cx="324527" cy="95184"/>
          </a:xfrm>
          <a:custGeom>
            <a:avLst/>
            <a:gdLst>
              <a:gd name="T0" fmla="*/ 4 w 137"/>
              <a:gd name="T1" fmla="*/ 39 h 40"/>
              <a:gd name="T2" fmla="*/ 72 w 137"/>
              <a:gd name="T3" fmla="*/ 37 h 40"/>
              <a:gd name="T4" fmla="*/ 128 w 137"/>
              <a:gd name="T5" fmla="*/ 28 h 40"/>
              <a:gd name="T6" fmla="*/ 125 w 137"/>
              <a:gd name="T7" fmla="*/ 6 h 40"/>
              <a:gd name="T8" fmla="*/ 3 w 137"/>
              <a:gd name="T9" fmla="*/ 34 h 40"/>
              <a:gd name="T10" fmla="*/ 4 w 137"/>
              <a:gd name="T11" fmla="*/ 39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7" h="40">
                <a:moveTo>
                  <a:pt x="4" y="39"/>
                </a:moveTo>
                <a:cubicBezTo>
                  <a:pt x="26" y="38"/>
                  <a:pt x="49" y="39"/>
                  <a:pt x="72" y="37"/>
                </a:cubicBezTo>
                <a:cubicBezTo>
                  <a:pt x="91" y="36"/>
                  <a:pt x="111" y="37"/>
                  <a:pt x="128" y="28"/>
                </a:cubicBezTo>
                <a:cubicBezTo>
                  <a:pt x="137" y="24"/>
                  <a:pt x="136" y="7"/>
                  <a:pt x="125" y="6"/>
                </a:cubicBezTo>
                <a:cubicBezTo>
                  <a:pt x="86" y="0"/>
                  <a:pt x="41" y="25"/>
                  <a:pt x="3" y="34"/>
                </a:cubicBezTo>
                <a:cubicBezTo>
                  <a:pt x="0" y="35"/>
                  <a:pt x="0" y="40"/>
                  <a:pt x="4" y="3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03" name="Freeform 339">
            <a:extLst>
              <a:ext uri="{FF2B5EF4-FFF2-40B4-BE49-F238E27FC236}">
                <a16:creationId xmlns:a16="http://schemas.microsoft.com/office/drawing/2014/main" id="{1560105C-66B9-4D24-90BC-C92B1734812B}"/>
              </a:ext>
            </a:extLst>
          </p:cNvPr>
          <p:cNvSpPr>
            <a:spLocks/>
          </p:cNvSpPr>
          <p:nvPr userDrawn="1"/>
        </p:nvSpPr>
        <p:spPr bwMode="auto">
          <a:xfrm>
            <a:off x="1897849" y="6156812"/>
            <a:ext cx="272031" cy="120566"/>
          </a:xfrm>
          <a:custGeom>
            <a:avLst/>
            <a:gdLst>
              <a:gd name="T0" fmla="*/ 108 w 115"/>
              <a:gd name="T1" fmla="*/ 8 h 51"/>
              <a:gd name="T2" fmla="*/ 46 w 115"/>
              <a:gd name="T3" fmla="*/ 18 h 51"/>
              <a:gd name="T4" fmla="*/ 0 w 115"/>
              <a:gd name="T5" fmla="*/ 49 h 51"/>
              <a:gd name="T6" fmla="*/ 1 w 115"/>
              <a:gd name="T7" fmla="*/ 51 h 51"/>
              <a:gd name="T8" fmla="*/ 55 w 115"/>
              <a:gd name="T9" fmla="*/ 37 h 51"/>
              <a:gd name="T10" fmla="*/ 110 w 115"/>
              <a:gd name="T11" fmla="*/ 20 h 51"/>
              <a:gd name="T12" fmla="*/ 108 w 115"/>
              <a:gd name="T13" fmla="*/ 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51">
                <a:moveTo>
                  <a:pt x="108" y="8"/>
                </a:moveTo>
                <a:cubicBezTo>
                  <a:pt x="88" y="0"/>
                  <a:pt x="65" y="11"/>
                  <a:pt x="46" y="18"/>
                </a:cubicBezTo>
                <a:cubicBezTo>
                  <a:pt x="28" y="26"/>
                  <a:pt x="11" y="33"/>
                  <a:pt x="0" y="49"/>
                </a:cubicBezTo>
                <a:cubicBezTo>
                  <a:pt x="0" y="50"/>
                  <a:pt x="1" y="51"/>
                  <a:pt x="1" y="51"/>
                </a:cubicBezTo>
                <a:cubicBezTo>
                  <a:pt x="20" y="50"/>
                  <a:pt x="37" y="42"/>
                  <a:pt x="55" y="37"/>
                </a:cubicBezTo>
                <a:cubicBezTo>
                  <a:pt x="73" y="32"/>
                  <a:pt x="95" y="32"/>
                  <a:pt x="110" y="20"/>
                </a:cubicBezTo>
                <a:cubicBezTo>
                  <a:pt x="115" y="17"/>
                  <a:pt x="114" y="10"/>
                  <a:pt x="108" y="8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04" name="Freeform 340">
            <a:extLst>
              <a:ext uri="{FF2B5EF4-FFF2-40B4-BE49-F238E27FC236}">
                <a16:creationId xmlns:a16="http://schemas.microsoft.com/office/drawing/2014/main" id="{B9B0753A-4A6D-4A35-AD0D-E37451004E3B}"/>
              </a:ext>
            </a:extLst>
          </p:cNvPr>
          <p:cNvSpPr>
            <a:spLocks/>
          </p:cNvSpPr>
          <p:nvPr userDrawn="1"/>
        </p:nvSpPr>
        <p:spPr bwMode="auto">
          <a:xfrm>
            <a:off x="2577129" y="5977549"/>
            <a:ext cx="359525" cy="111048"/>
          </a:xfrm>
          <a:custGeom>
            <a:avLst/>
            <a:gdLst>
              <a:gd name="T0" fmla="*/ 2 w 151"/>
              <a:gd name="T1" fmla="*/ 43 h 47"/>
              <a:gd name="T2" fmla="*/ 2 w 151"/>
              <a:gd name="T3" fmla="*/ 47 h 47"/>
              <a:gd name="T4" fmla="*/ 80 w 151"/>
              <a:gd name="T5" fmla="*/ 34 h 47"/>
              <a:gd name="T6" fmla="*/ 147 w 151"/>
              <a:gd name="T7" fmla="*/ 14 h 47"/>
              <a:gd name="T8" fmla="*/ 145 w 151"/>
              <a:gd name="T9" fmla="*/ 5 h 47"/>
              <a:gd name="T10" fmla="*/ 82 w 151"/>
              <a:gd name="T11" fmla="*/ 17 h 47"/>
              <a:gd name="T12" fmla="*/ 2 w 151"/>
              <a:gd name="T13" fmla="*/ 43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1" h="47">
                <a:moveTo>
                  <a:pt x="2" y="43"/>
                </a:moveTo>
                <a:cubicBezTo>
                  <a:pt x="0" y="44"/>
                  <a:pt x="0" y="47"/>
                  <a:pt x="2" y="47"/>
                </a:cubicBezTo>
                <a:cubicBezTo>
                  <a:pt x="28" y="44"/>
                  <a:pt x="54" y="39"/>
                  <a:pt x="80" y="34"/>
                </a:cubicBezTo>
                <a:cubicBezTo>
                  <a:pt x="103" y="29"/>
                  <a:pt x="129" y="28"/>
                  <a:pt x="147" y="14"/>
                </a:cubicBezTo>
                <a:cubicBezTo>
                  <a:pt x="151" y="11"/>
                  <a:pt x="149" y="5"/>
                  <a:pt x="145" y="5"/>
                </a:cubicBezTo>
                <a:cubicBezTo>
                  <a:pt x="123" y="0"/>
                  <a:pt x="103" y="11"/>
                  <a:pt x="82" y="17"/>
                </a:cubicBezTo>
                <a:cubicBezTo>
                  <a:pt x="55" y="25"/>
                  <a:pt x="28" y="33"/>
                  <a:pt x="2" y="4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05" name="Freeform 341">
            <a:extLst>
              <a:ext uri="{FF2B5EF4-FFF2-40B4-BE49-F238E27FC236}">
                <a16:creationId xmlns:a16="http://schemas.microsoft.com/office/drawing/2014/main" id="{6F55619E-D932-4CFC-A9E5-06A355AC8351}"/>
              </a:ext>
            </a:extLst>
          </p:cNvPr>
          <p:cNvSpPr>
            <a:spLocks/>
          </p:cNvSpPr>
          <p:nvPr userDrawn="1"/>
        </p:nvSpPr>
        <p:spPr bwMode="auto">
          <a:xfrm>
            <a:off x="3741609" y="6635904"/>
            <a:ext cx="157492" cy="155467"/>
          </a:xfrm>
          <a:custGeom>
            <a:avLst/>
            <a:gdLst>
              <a:gd name="T0" fmla="*/ 2 w 66"/>
              <a:gd name="T1" fmla="*/ 66 h 66"/>
              <a:gd name="T2" fmla="*/ 27 w 66"/>
              <a:gd name="T3" fmla="*/ 47 h 66"/>
              <a:gd name="T4" fmla="*/ 40 w 66"/>
              <a:gd name="T5" fmla="*/ 35 h 66"/>
              <a:gd name="T6" fmla="*/ 54 w 66"/>
              <a:gd name="T7" fmla="*/ 24 h 66"/>
              <a:gd name="T8" fmla="*/ 66 w 66"/>
              <a:gd name="T9" fmla="*/ 12 h 66"/>
              <a:gd name="T10" fmla="*/ 66 w 66"/>
              <a:gd name="T11" fmla="*/ 9 h 66"/>
              <a:gd name="T12" fmla="*/ 57 w 66"/>
              <a:gd name="T13" fmla="*/ 0 h 66"/>
              <a:gd name="T14" fmla="*/ 54 w 66"/>
              <a:gd name="T15" fmla="*/ 0 h 66"/>
              <a:gd name="T16" fmla="*/ 42 w 66"/>
              <a:gd name="T17" fmla="*/ 12 h 66"/>
              <a:gd name="T18" fmla="*/ 31 w 66"/>
              <a:gd name="T19" fmla="*/ 26 h 66"/>
              <a:gd name="T20" fmla="*/ 19 w 66"/>
              <a:gd name="T21" fmla="*/ 39 h 66"/>
              <a:gd name="T22" fmla="*/ 0 w 66"/>
              <a:gd name="T23" fmla="*/ 64 h 66"/>
              <a:gd name="T24" fmla="*/ 2 w 66"/>
              <a:gd name="T25" fmla="*/ 66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6" h="66">
                <a:moveTo>
                  <a:pt x="2" y="66"/>
                </a:moveTo>
                <a:cubicBezTo>
                  <a:pt x="11" y="61"/>
                  <a:pt x="19" y="54"/>
                  <a:pt x="27" y="47"/>
                </a:cubicBezTo>
                <a:cubicBezTo>
                  <a:pt x="31" y="43"/>
                  <a:pt x="36" y="39"/>
                  <a:pt x="40" y="35"/>
                </a:cubicBezTo>
                <a:cubicBezTo>
                  <a:pt x="43" y="32"/>
                  <a:pt x="50" y="24"/>
                  <a:pt x="54" y="24"/>
                </a:cubicBezTo>
                <a:cubicBezTo>
                  <a:pt x="60" y="24"/>
                  <a:pt x="66" y="19"/>
                  <a:pt x="66" y="12"/>
                </a:cubicBezTo>
                <a:cubicBezTo>
                  <a:pt x="66" y="11"/>
                  <a:pt x="66" y="10"/>
                  <a:pt x="66" y="9"/>
                </a:cubicBezTo>
                <a:cubicBezTo>
                  <a:pt x="66" y="4"/>
                  <a:pt x="62" y="0"/>
                  <a:pt x="57" y="0"/>
                </a:cubicBezTo>
                <a:cubicBezTo>
                  <a:pt x="56" y="0"/>
                  <a:pt x="55" y="0"/>
                  <a:pt x="54" y="0"/>
                </a:cubicBezTo>
                <a:cubicBezTo>
                  <a:pt x="47" y="0"/>
                  <a:pt x="42" y="6"/>
                  <a:pt x="42" y="12"/>
                </a:cubicBezTo>
                <a:cubicBezTo>
                  <a:pt x="42" y="16"/>
                  <a:pt x="34" y="23"/>
                  <a:pt x="31" y="26"/>
                </a:cubicBezTo>
                <a:cubicBezTo>
                  <a:pt x="27" y="30"/>
                  <a:pt x="23" y="35"/>
                  <a:pt x="19" y="39"/>
                </a:cubicBezTo>
                <a:cubicBezTo>
                  <a:pt x="12" y="47"/>
                  <a:pt x="5" y="55"/>
                  <a:pt x="0" y="64"/>
                </a:cubicBezTo>
                <a:cubicBezTo>
                  <a:pt x="0" y="65"/>
                  <a:pt x="1" y="66"/>
                  <a:pt x="2" y="6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06" name="Freeform 342">
            <a:extLst>
              <a:ext uri="{FF2B5EF4-FFF2-40B4-BE49-F238E27FC236}">
                <a16:creationId xmlns:a16="http://schemas.microsoft.com/office/drawing/2014/main" id="{4E2F2583-EDBB-40D3-8D72-5B91FCC35D9A}"/>
              </a:ext>
            </a:extLst>
          </p:cNvPr>
          <p:cNvSpPr>
            <a:spLocks/>
          </p:cNvSpPr>
          <p:nvPr userDrawn="1"/>
        </p:nvSpPr>
        <p:spPr bwMode="auto">
          <a:xfrm>
            <a:off x="9734230" y="4395911"/>
            <a:ext cx="230669" cy="118980"/>
          </a:xfrm>
          <a:custGeom>
            <a:avLst/>
            <a:gdLst>
              <a:gd name="T0" fmla="*/ 96 w 97"/>
              <a:gd name="T1" fmla="*/ 38 h 50"/>
              <a:gd name="T2" fmla="*/ 95 w 97"/>
              <a:gd name="T3" fmla="*/ 37 h 50"/>
              <a:gd name="T4" fmla="*/ 37 w 97"/>
              <a:gd name="T5" fmla="*/ 14 h 50"/>
              <a:gd name="T6" fmla="*/ 19 w 97"/>
              <a:gd name="T7" fmla="*/ 38 h 50"/>
              <a:gd name="T8" fmla="*/ 96 w 97"/>
              <a:gd name="T9" fmla="*/ 3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7" h="50">
                <a:moveTo>
                  <a:pt x="96" y="38"/>
                </a:moveTo>
                <a:cubicBezTo>
                  <a:pt x="97" y="38"/>
                  <a:pt x="96" y="37"/>
                  <a:pt x="95" y="37"/>
                </a:cubicBezTo>
                <a:cubicBezTo>
                  <a:pt x="73" y="35"/>
                  <a:pt x="55" y="28"/>
                  <a:pt x="37" y="14"/>
                </a:cubicBezTo>
                <a:cubicBezTo>
                  <a:pt x="19" y="0"/>
                  <a:pt x="0" y="29"/>
                  <a:pt x="19" y="38"/>
                </a:cubicBezTo>
                <a:cubicBezTo>
                  <a:pt x="43" y="50"/>
                  <a:pt x="72" y="50"/>
                  <a:pt x="96" y="38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07" name="Freeform 343">
            <a:extLst>
              <a:ext uri="{FF2B5EF4-FFF2-40B4-BE49-F238E27FC236}">
                <a16:creationId xmlns:a16="http://schemas.microsoft.com/office/drawing/2014/main" id="{0E7DF0EA-0A61-48B1-A206-74B2FFDFAC55}"/>
              </a:ext>
            </a:extLst>
          </p:cNvPr>
          <p:cNvSpPr>
            <a:spLocks/>
          </p:cNvSpPr>
          <p:nvPr userDrawn="1"/>
        </p:nvSpPr>
        <p:spPr bwMode="auto">
          <a:xfrm>
            <a:off x="10022168" y="3902541"/>
            <a:ext cx="208398" cy="85665"/>
          </a:xfrm>
          <a:custGeom>
            <a:avLst/>
            <a:gdLst>
              <a:gd name="T0" fmla="*/ 4 w 88"/>
              <a:gd name="T1" fmla="*/ 4 h 36"/>
              <a:gd name="T2" fmla="*/ 0 w 88"/>
              <a:gd name="T3" fmla="*/ 12 h 36"/>
              <a:gd name="T4" fmla="*/ 6 w 88"/>
              <a:gd name="T5" fmla="*/ 21 h 36"/>
              <a:gd name="T6" fmla="*/ 86 w 88"/>
              <a:gd name="T7" fmla="*/ 26 h 36"/>
              <a:gd name="T8" fmla="*/ 86 w 88"/>
              <a:gd name="T9" fmla="*/ 23 h 36"/>
              <a:gd name="T10" fmla="*/ 14 w 88"/>
              <a:gd name="T11" fmla="*/ 1 h 36"/>
              <a:gd name="T12" fmla="*/ 4 w 88"/>
              <a:gd name="T13" fmla="*/ 4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" h="36">
                <a:moveTo>
                  <a:pt x="4" y="4"/>
                </a:moveTo>
                <a:cubicBezTo>
                  <a:pt x="1" y="7"/>
                  <a:pt x="1" y="8"/>
                  <a:pt x="0" y="12"/>
                </a:cubicBezTo>
                <a:cubicBezTo>
                  <a:pt x="0" y="16"/>
                  <a:pt x="3" y="20"/>
                  <a:pt x="6" y="21"/>
                </a:cubicBezTo>
                <a:cubicBezTo>
                  <a:pt x="33" y="36"/>
                  <a:pt x="58" y="30"/>
                  <a:pt x="86" y="26"/>
                </a:cubicBezTo>
                <a:cubicBezTo>
                  <a:pt x="88" y="26"/>
                  <a:pt x="88" y="23"/>
                  <a:pt x="86" y="23"/>
                </a:cubicBezTo>
                <a:cubicBezTo>
                  <a:pt x="61" y="24"/>
                  <a:pt x="37" y="10"/>
                  <a:pt x="14" y="1"/>
                </a:cubicBezTo>
                <a:cubicBezTo>
                  <a:pt x="11" y="0"/>
                  <a:pt x="6" y="2"/>
                  <a:pt x="4" y="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08" name="Freeform 344">
            <a:extLst>
              <a:ext uri="{FF2B5EF4-FFF2-40B4-BE49-F238E27FC236}">
                <a16:creationId xmlns:a16="http://schemas.microsoft.com/office/drawing/2014/main" id="{05D4A9D5-FE2C-4B70-9A1C-C38D4DCF5B31}"/>
              </a:ext>
            </a:extLst>
          </p:cNvPr>
          <p:cNvSpPr>
            <a:spLocks/>
          </p:cNvSpPr>
          <p:nvPr userDrawn="1"/>
        </p:nvSpPr>
        <p:spPr bwMode="auto">
          <a:xfrm>
            <a:off x="9403339" y="5138345"/>
            <a:ext cx="200443" cy="106289"/>
          </a:xfrm>
          <a:custGeom>
            <a:avLst/>
            <a:gdLst>
              <a:gd name="T0" fmla="*/ 83 w 85"/>
              <a:gd name="T1" fmla="*/ 44 h 45"/>
              <a:gd name="T2" fmla="*/ 83 w 85"/>
              <a:gd name="T3" fmla="*/ 40 h 45"/>
              <a:gd name="T4" fmla="*/ 24 w 85"/>
              <a:gd name="T5" fmla="*/ 5 h 45"/>
              <a:gd name="T6" fmla="*/ 11 w 85"/>
              <a:gd name="T7" fmla="*/ 2 h 45"/>
              <a:gd name="T8" fmla="*/ 1 w 85"/>
              <a:gd name="T9" fmla="*/ 11 h 45"/>
              <a:gd name="T10" fmla="*/ 7 w 85"/>
              <a:gd name="T11" fmla="*/ 27 h 45"/>
              <a:gd name="T12" fmla="*/ 44 w 85"/>
              <a:gd name="T13" fmla="*/ 42 h 45"/>
              <a:gd name="T14" fmla="*/ 83 w 85"/>
              <a:gd name="T15" fmla="*/ 44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5" h="45">
                <a:moveTo>
                  <a:pt x="83" y="44"/>
                </a:moveTo>
                <a:cubicBezTo>
                  <a:pt x="85" y="44"/>
                  <a:pt x="85" y="40"/>
                  <a:pt x="83" y="40"/>
                </a:cubicBezTo>
                <a:cubicBezTo>
                  <a:pt x="62" y="38"/>
                  <a:pt x="39" y="19"/>
                  <a:pt x="24" y="5"/>
                </a:cubicBezTo>
                <a:cubicBezTo>
                  <a:pt x="21" y="2"/>
                  <a:pt x="15" y="0"/>
                  <a:pt x="11" y="2"/>
                </a:cubicBezTo>
                <a:cubicBezTo>
                  <a:pt x="6" y="4"/>
                  <a:pt x="2" y="6"/>
                  <a:pt x="1" y="11"/>
                </a:cubicBezTo>
                <a:cubicBezTo>
                  <a:pt x="0" y="18"/>
                  <a:pt x="2" y="23"/>
                  <a:pt x="7" y="27"/>
                </a:cubicBezTo>
                <a:cubicBezTo>
                  <a:pt x="19" y="34"/>
                  <a:pt x="31" y="39"/>
                  <a:pt x="44" y="42"/>
                </a:cubicBezTo>
                <a:cubicBezTo>
                  <a:pt x="58" y="45"/>
                  <a:pt x="70" y="42"/>
                  <a:pt x="83" y="4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09" name="Freeform 345">
            <a:extLst>
              <a:ext uri="{FF2B5EF4-FFF2-40B4-BE49-F238E27FC236}">
                <a16:creationId xmlns:a16="http://schemas.microsoft.com/office/drawing/2014/main" id="{020336B3-BB71-48E7-A075-1B70D4AA8BF8}"/>
              </a:ext>
            </a:extLst>
          </p:cNvPr>
          <p:cNvSpPr>
            <a:spLocks/>
          </p:cNvSpPr>
          <p:nvPr userDrawn="1"/>
        </p:nvSpPr>
        <p:spPr bwMode="auto">
          <a:xfrm>
            <a:off x="9334933" y="5612677"/>
            <a:ext cx="189308" cy="172918"/>
          </a:xfrm>
          <a:custGeom>
            <a:avLst/>
            <a:gdLst>
              <a:gd name="T0" fmla="*/ 76 w 80"/>
              <a:gd name="T1" fmla="*/ 72 h 73"/>
              <a:gd name="T2" fmla="*/ 79 w 80"/>
              <a:gd name="T3" fmla="*/ 70 h 73"/>
              <a:gd name="T4" fmla="*/ 54 w 80"/>
              <a:gd name="T5" fmla="*/ 35 h 73"/>
              <a:gd name="T6" fmla="*/ 22 w 80"/>
              <a:gd name="T7" fmla="*/ 5 h 73"/>
              <a:gd name="T8" fmla="*/ 9 w 80"/>
              <a:gd name="T9" fmla="*/ 21 h 73"/>
              <a:gd name="T10" fmla="*/ 42 w 80"/>
              <a:gd name="T11" fmla="*/ 44 h 73"/>
              <a:gd name="T12" fmla="*/ 76 w 80"/>
              <a:gd name="T13" fmla="*/ 7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0" h="73">
                <a:moveTo>
                  <a:pt x="76" y="72"/>
                </a:moveTo>
                <a:cubicBezTo>
                  <a:pt x="77" y="73"/>
                  <a:pt x="80" y="72"/>
                  <a:pt x="79" y="70"/>
                </a:cubicBezTo>
                <a:cubicBezTo>
                  <a:pt x="70" y="59"/>
                  <a:pt x="64" y="46"/>
                  <a:pt x="54" y="35"/>
                </a:cubicBezTo>
                <a:cubicBezTo>
                  <a:pt x="45" y="24"/>
                  <a:pt x="34" y="12"/>
                  <a:pt x="22" y="5"/>
                </a:cubicBezTo>
                <a:cubicBezTo>
                  <a:pt x="12" y="0"/>
                  <a:pt x="0" y="14"/>
                  <a:pt x="9" y="21"/>
                </a:cubicBezTo>
                <a:cubicBezTo>
                  <a:pt x="20" y="30"/>
                  <a:pt x="32" y="36"/>
                  <a:pt x="42" y="44"/>
                </a:cubicBezTo>
                <a:cubicBezTo>
                  <a:pt x="53" y="52"/>
                  <a:pt x="68" y="61"/>
                  <a:pt x="76" y="7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10" name="Freeform 346">
            <a:extLst>
              <a:ext uri="{FF2B5EF4-FFF2-40B4-BE49-F238E27FC236}">
                <a16:creationId xmlns:a16="http://schemas.microsoft.com/office/drawing/2014/main" id="{B6758B68-4FBB-469A-B3AA-63C41010AB27}"/>
              </a:ext>
            </a:extLst>
          </p:cNvPr>
          <p:cNvSpPr>
            <a:spLocks/>
          </p:cNvSpPr>
          <p:nvPr userDrawn="1"/>
        </p:nvSpPr>
        <p:spPr bwMode="auto">
          <a:xfrm>
            <a:off x="9215622" y="6080665"/>
            <a:ext cx="189308" cy="155467"/>
          </a:xfrm>
          <a:custGeom>
            <a:avLst/>
            <a:gdLst>
              <a:gd name="T0" fmla="*/ 42 w 80"/>
              <a:gd name="T1" fmla="*/ 23 h 66"/>
              <a:gd name="T2" fmla="*/ 6 w 80"/>
              <a:gd name="T3" fmla="*/ 0 h 66"/>
              <a:gd name="T4" fmla="*/ 1 w 80"/>
              <a:gd name="T5" fmla="*/ 7 h 66"/>
              <a:gd name="T6" fmla="*/ 32 w 80"/>
              <a:gd name="T7" fmla="*/ 35 h 66"/>
              <a:gd name="T8" fmla="*/ 77 w 80"/>
              <a:gd name="T9" fmla="*/ 65 h 66"/>
              <a:gd name="T10" fmla="*/ 79 w 80"/>
              <a:gd name="T11" fmla="*/ 62 h 66"/>
              <a:gd name="T12" fmla="*/ 42 w 80"/>
              <a:gd name="T13" fmla="*/ 23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0" h="66">
                <a:moveTo>
                  <a:pt x="42" y="23"/>
                </a:moveTo>
                <a:cubicBezTo>
                  <a:pt x="32" y="13"/>
                  <a:pt x="20" y="0"/>
                  <a:pt x="6" y="0"/>
                </a:cubicBezTo>
                <a:cubicBezTo>
                  <a:pt x="3" y="0"/>
                  <a:pt x="0" y="4"/>
                  <a:pt x="1" y="7"/>
                </a:cubicBezTo>
                <a:cubicBezTo>
                  <a:pt x="5" y="21"/>
                  <a:pt x="21" y="27"/>
                  <a:pt x="32" y="35"/>
                </a:cubicBezTo>
                <a:cubicBezTo>
                  <a:pt x="47" y="45"/>
                  <a:pt x="63" y="54"/>
                  <a:pt x="77" y="65"/>
                </a:cubicBezTo>
                <a:cubicBezTo>
                  <a:pt x="79" y="66"/>
                  <a:pt x="80" y="63"/>
                  <a:pt x="79" y="62"/>
                </a:cubicBezTo>
                <a:cubicBezTo>
                  <a:pt x="67" y="49"/>
                  <a:pt x="55" y="35"/>
                  <a:pt x="42" y="2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11" name="Freeform 347">
            <a:extLst>
              <a:ext uri="{FF2B5EF4-FFF2-40B4-BE49-F238E27FC236}">
                <a16:creationId xmlns:a16="http://schemas.microsoft.com/office/drawing/2014/main" id="{35886367-1B6F-4256-971C-59ACCD255292}"/>
              </a:ext>
            </a:extLst>
          </p:cNvPr>
          <p:cNvSpPr>
            <a:spLocks/>
          </p:cNvSpPr>
          <p:nvPr userDrawn="1"/>
        </p:nvSpPr>
        <p:spPr bwMode="auto">
          <a:xfrm>
            <a:off x="9692868" y="6101288"/>
            <a:ext cx="203625" cy="172918"/>
          </a:xfrm>
          <a:custGeom>
            <a:avLst/>
            <a:gdLst>
              <a:gd name="T0" fmla="*/ 85 w 86"/>
              <a:gd name="T1" fmla="*/ 71 h 73"/>
              <a:gd name="T2" fmla="*/ 44 w 86"/>
              <a:gd name="T3" fmla="*/ 31 h 73"/>
              <a:gd name="T4" fmla="*/ 6 w 86"/>
              <a:gd name="T5" fmla="*/ 1 h 73"/>
              <a:gd name="T6" fmla="*/ 1 w 86"/>
              <a:gd name="T7" fmla="*/ 7 h 73"/>
              <a:gd name="T8" fmla="*/ 35 w 86"/>
              <a:gd name="T9" fmla="*/ 37 h 73"/>
              <a:gd name="T10" fmla="*/ 83 w 86"/>
              <a:gd name="T11" fmla="*/ 72 h 73"/>
              <a:gd name="T12" fmla="*/ 85 w 86"/>
              <a:gd name="T13" fmla="*/ 71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" h="73">
                <a:moveTo>
                  <a:pt x="85" y="71"/>
                </a:moveTo>
                <a:cubicBezTo>
                  <a:pt x="70" y="58"/>
                  <a:pt x="58" y="44"/>
                  <a:pt x="44" y="31"/>
                </a:cubicBezTo>
                <a:cubicBezTo>
                  <a:pt x="32" y="20"/>
                  <a:pt x="21" y="5"/>
                  <a:pt x="6" y="1"/>
                </a:cubicBezTo>
                <a:cubicBezTo>
                  <a:pt x="2" y="0"/>
                  <a:pt x="0" y="4"/>
                  <a:pt x="1" y="7"/>
                </a:cubicBezTo>
                <a:cubicBezTo>
                  <a:pt x="8" y="20"/>
                  <a:pt x="23" y="29"/>
                  <a:pt x="35" y="37"/>
                </a:cubicBezTo>
                <a:cubicBezTo>
                  <a:pt x="51" y="49"/>
                  <a:pt x="68" y="60"/>
                  <a:pt x="83" y="72"/>
                </a:cubicBezTo>
                <a:cubicBezTo>
                  <a:pt x="84" y="73"/>
                  <a:pt x="86" y="72"/>
                  <a:pt x="85" y="7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12" name="Freeform 348">
            <a:extLst>
              <a:ext uri="{FF2B5EF4-FFF2-40B4-BE49-F238E27FC236}">
                <a16:creationId xmlns:a16="http://schemas.microsoft.com/office/drawing/2014/main" id="{D447A0DF-2E24-4181-8A5A-78DD11DF28DA}"/>
              </a:ext>
            </a:extLst>
          </p:cNvPr>
          <p:cNvSpPr>
            <a:spLocks/>
          </p:cNvSpPr>
          <p:nvPr userDrawn="1"/>
        </p:nvSpPr>
        <p:spPr bwMode="auto">
          <a:xfrm>
            <a:off x="10564638" y="4621179"/>
            <a:ext cx="197262" cy="96771"/>
          </a:xfrm>
          <a:custGeom>
            <a:avLst/>
            <a:gdLst>
              <a:gd name="T0" fmla="*/ 82 w 83"/>
              <a:gd name="T1" fmla="*/ 29 h 41"/>
              <a:gd name="T2" fmla="*/ 42 w 83"/>
              <a:gd name="T3" fmla="*/ 15 h 41"/>
              <a:gd name="T4" fmla="*/ 14 w 83"/>
              <a:gd name="T5" fmla="*/ 1 h 41"/>
              <a:gd name="T6" fmla="*/ 4 w 83"/>
              <a:gd name="T7" fmla="*/ 18 h 41"/>
              <a:gd name="T8" fmla="*/ 82 w 83"/>
              <a:gd name="T9" fmla="*/ 31 h 41"/>
              <a:gd name="T10" fmla="*/ 82 w 83"/>
              <a:gd name="T11" fmla="*/ 2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3" h="41">
                <a:moveTo>
                  <a:pt x="82" y="29"/>
                </a:moveTo>
                <a:cubicBezTo>
                  <a:pt x="68" y="29"/>
                  <a:pt x="54" y="23"/>
                  <a:pt x="42" y="15"/>
                </a:cubicBezTo>
                <a:cubicBezTo>
                  <a:pt x="33" y="9"/>
                  <a:pt x="26" y="2"/>
                  <a:pt x="14" y="1"/>
                </a:cubicBezTo>
                <a:cubicBezTo>
                  <a:pt x="6" y="0"/>
                  <a:pt x="0" y="12"/>
                  <a:pt x="4" y="18"/>
                </a:cubicBezTo>
                <a:cubicBezTo>
                  <a:pt x="21" y="41"/>
                  <a:pt x="58" y="32"/>
                  <a:pt x="82" y="31"/>
                </a:cubicBezTo>
                <a:cubicBezTo>
                  <a:pt x="83" y="31"/>
                  <a:pt x="83" y="29"/>
                  <a:pt x="82" y="2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13" name="Freeform 349">
            <a:extLst>
              <a:ext uri="{FF2B5EF4-FFF2-40B4-BE49-F238E27FC236}">
                <a16:creationId xmlns:a16="http://schemas.microsoft.com/office/drawing/2014/main" id="{D1D1259E-F707-436C-BB49-56EBA7648B25}"/>
              </a:ext>
            </a:extLst>
          </p:cNvPr>
          <p:cNvSpPr>
            <a:spLocks/>
          </p:cNvSpPr>
          <p:nvPr userDrawn="1"/>
        </p:nvSpPr>
        <p:spPr bwMode="auto">
          <a:xfrm>
            <a:off x="10882802" y="4140500"/>
            <a:ext cx="95449" cy="36488"/>
          </a:xfrm>
          <a:custGeom>
            <a:avLst/>
            <a:gdLst>
              <a:gd name="T0" fmla="*/ 4 w 40"/>
              <a:gd name="T1" fmla="*/ 0 h 15"/>
              <a:gd name="T2" fmla="*/ 2 w 40"/>
              <a:gd name="T3" fmla="*/ 6 h 15"/>
              <a:gd name="T4" fmla="*/ 37 w 40"/>
              <a:gd name="T5" fmla="*/ 15 h 15"/>
              <a:gd name="T6" fmla="*/ 38 w 40"/>
              <a:gd name="T7" fmla="*/ 12 h 15"/>
              <a:gd name="T8" fmla="*/ 4 w 40"/>
              <a:gd name="T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" h="15">
                <a:moveTo>
                  <a:pt x="4" y="0"/>
                </a:moveTo>
                <a:cubicBezTo>
                  <a:pt x="1" y="0"/>
                  <a:pt x="0" y="4"/>
                  <a:pt x="2" y="6"/>
                </a:cubicBezTo>
                <a:cubicBezTo>
                  <a:pt x="13" y="11"/>
                  <a:pt x="25" y="13"/>
                  <a:pt x="37" y="15"/>
                </a:cubicBezTo>
                <a:cubicBezTo>
                  <a:pt x="39" y="15"/>
                  <a:pt x="40" y="13"/>
                  <a:pt x="38" y="12"/>
                </a:cubicBezTo>
                <a:cubicBezTo>
                  <a:pt x="27" y="7"/>
                  <a:pt x="16" y="2"/>
                  <a:pt x="4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14" name="Freeform 350">
            <a:extLst>
              <a:ext uri="{FF2B5EF4-FFF2-40B4-BE49-F238E27FC236}">
                <a16:creationId xmlns:a16="http://schemas.microsoft.com/office/drawing/2014/main" id="{8CAF0158-D17E-4398-8354-3DF1EB0E9B78}"/>
              </a:ext>
            </a:extLst>
          </p:cNvPr>
          <p:cNvSpPr>
            <a:spLocks/>
          </p:cNvSpPr>
          <p:nvPr userDrawn="1"/>
        </p:nvSpPr>
        <p:spPr bwMode="auto">
          <a:xfrm>
            <a:off x="8278629" y="6539134"/>
            <a:ext cx="133629" cy="242719"/>
          </a:xfrm>
          <a:custGeom>
            <a:avLst/>
            <a:gdLst>
              <a:gd name="T0" fmla="*/ 12 w 56"/>
              <a:gd name="T1" fmla="*/ 2 h 103"/>
              <a:gd name="T2" fmla="*/ 9 w 56"/>
              <a:gd name="T3" fmla="*/ 4 h 103"/>
              <a:gd name="T4" fmla="*/ 4 w 56"/>
              <a:gd name="T5" fmla="*/ 23 h 103"/>
              <a:gd name="T6" fmla="*/ 53 w 56"/>
              <a:gd name="T7" fmla="*/ 102 h 103"/>
              <a:gd name="T8" fmla="*/ 56 w 56"/>
              <a:gd name="T9" fmla="*/ 100 h 103"/>
              <a:gd name="T10" fmla="*/ 29 w 56"/>
              <a:gd name="T11" fmla="*/ 12 h 103"/>
              <a:gd name="T12" fmla="*/ 12 w 56"/>
              <a:gd name="T13" fmla="*/ 2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" h="103">
                <a:moveTo>
                  <a:pt x="12" y="2"/>
                </a:moveTo>
                <a:cubicBezTo>
                  <a:pt x="11" y="3"/>
                  <a:pt x="10" y="3"/>
                  <a:pt x="9" y="4"/>
                </a:cubicBezTo>
                <a:cubicBezTo>
                  <a:pt x="2" y="8"/>
                  <a:pt x="0" y="16"/>
                  <a:pt x="4" y="23"/>
                </a:cubicBezTo>
                <a:cubicBezTo>
                  <a:pt x="19" y="50"/>
                  <a:pt x="39" y="74"/>
                  <a:pt x="53" y="102"/>
                </a:cubicBezTo>
                <a:cubicBezTo>
                  <a:pt x="54" y="103"/>
                  <a:pt x="56" y="102"/>
                  <a:pt x="56" y="100"/>
                </a:cubicBezTo>
                <a:cubicBezTo>
                  <a:pt x="44" y="72"/>
                  <a:pt x="39" y="41"/>
                  <a:pt x="29" y="12"/>
                </a:cubicBezTo>
                <a:cubicBezTo>
                  <a:pt x="27" y="5"/>
                  <a:pt x="19" y="0"/>
                  <a:pt x="12" y="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15" name="Freeform 351">
            <a:extLst>
              <a:ext uri="{FF2B5EF4-FFF2-40B4-BE49-F238E27FC236}">
                <a16:creationId xmlns:a16="http://schemas.microsoft.com/office/drawing/2014/main" id="{7E08DE53-B0E2-4726-9E76-896B672A9357}"/>
              </a:ext>
            </a:extLst>
          </p:cNvPr>
          <p:cNvSpPr>
            <a:spLocks/>
          </p:cNvSpPr>
          <p:nvPr userDrawn="1"/>
        </p:nvSpPr>
        <p:spPr bwMode="auto">
          <a:xfrm>
            <a:off x="8741558" y="6437604"/>
            <a:ext cx="117721" cy="223683"/>
          </a:xfrm>
          <a:custGeom>
            <a:avLst/>
            <a:gdLst>
              <a:gd name="T0" fmla="*/ 49 w 50"/>
              <a:gd name="T1" fmla="*/ 91 h 95"/>
              <a:gd name="T2" fmla="*/ 21 w 50"/>
              <a:gd name="T3" fmla="*/ 11 h 95"/>
              <a:gd name="T4" fmla="*/ 6 w 50"/>
              <a:gd name="T5" fmla="*/ 18 h 95"/>
              <a:gd name="T6" fmla="*/ 46 w 50"/>
              <a:gd name="T7" fmla="*/ 93 h 95"/>
              <a:gd name="T8" fmla="*/ 49 w 50"/>
              <a:gd name="T9" fmla="*/ 91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95">
                <a:moveTo>
                  <a:pt x="49" y="91"/>
                </a:moveTo>
                <a:cubicBezTo>
                  <a:pt x="35" y="68"/>
                  <a:pt x="25" y="38"/>
                  <a:pt x="21" y="11"/>
                </a:cubicBezTo>
                <a:cubicBezTo>
                  <a:pt x="20" y="0"/>
                  <a:pt x="0" y="6"/>
                  <a:pt x="6" y="18"/>
                </a:cubicBezTo>
                <a:cubicBezTo>
                  <a:pt x="18" y="44"/>
                  <a:pt x="31" y="68"/>
                  <a:pt x="46" y="93"/>
                </a:cubicBezTo>
                <a:cubicBezTo>
                  <a:pt x="47" y="95"/>
                  <a:pt x="50" y="93"/>
                  <a:pt x="49" y="9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16" name="Freeform 352">
            <a:extLst>
              <a:ext uri="{FF2B5EF4-FFF2-40B4-BE49-F238E27FC236}">
                <a16:creationId xmlns:a16="http://schemas.microsoft.com/office/drawing/2014/main" id="{0868B4E1-06A7-415F-BD41-779E3A688C95}"/>
              </a:ext>
            </a:extLst>
          </p:cNvPr>
          <p:cNvSpPr>
            <a:spLocks/>
          </p:cNvSpPr>
          <p:nvPr userDrawn="1"/>
        </p:nvSpPr>
        <p:spPr bwMode="auto">
          <a:xfrm>
            <a:off x="7946148" y="6645423"/>
            <a:ext cx="84314" cy="130085"/>
          </a:xfrm>
          <a:custGeom>
            <a:avLst/>
            <a:gdLst>
              <a:gd name="T0" fmla="*/ 30 w 35"/>
              <a:gd name="T1" fmla="*/ 53 h 55"/>
              <a:gd name="T2" fmla="*/ 34 w 35"/>
              <a:gd name="T3" fmla="*/ 50 h 55"/>
              <a:gd name="T4" fmla="*/ 18 w 35"/>
              <a:gd name="T5" fmla="*/ 24 h 55"/>
              <a:gd name="T6" fmla="*/ 4 w 35"/>
              <a:gd name="T7" fmla="*/ 1 h 55"/>
              <a:gd name="T8" fmla="*/ 1 w 35"/>
              <a:gd name="T9" fmla="*/ 3 h 55"/>
              <a:gd name="T10" fmla="*/ 11 w 35"/>
              <a:gd name="T11" fmla="*/ 29 h 55"/>
              <a:gd name="T12" fmla="*/ 30 w 35"/>
              <a:gd name="T13" fmla="*/ 53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" h="55">
                <a:moveTo>
                  <a:pt x="30" y="53"/>
                </a:moveTo>
                <a:cubicBezTo>
                  <a:pt x="32" y="55"/>
                  <a:pt x="35" y="52"/>
                  <a:pt x="34" y="50"/>
                </a:cubicBezTo>
                <a:cubicBezTo>
                  <a:pt x="29" y="41"/>
                  <a:pt x="23" y="33"/>
                  <a:pt x="18" y="24"/>
                </a:cubicBezTo>
                <a:cubicBezTo>
                  <a:pt x="14" y="17"/>
                  <a:pt x="11" y="7"/>
                  <a:pt x="4" y="1"/>
                </a:cubicBezTo>
                <a:cubicBezTo>
                  <a:pt x="3" y="0"/>
                  <a:pt x="0" y="1"/>
                  <a:pt x="1" y="3"/>
                </a:cubicBezTo>
                <a:cubicBezTo>
                  <a:pt x="1" y="12"/>
                  <a:pt x="6" y="21"/>
                  <a:pt x="11" y="29"/>
                </a:cubicBezTo>
                <a:cubicBezTo>
                  <a:pt x="17" y="37"/>
                  <a:pt x="22" y="45"/>
                  <a:pt x="30" y="5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17" name="Freeform 353">
            <a:extLst>
              <a:ext uri="{FF2B5EF4-FFF2-40B4-BE49-F238E27FC236}">
                <a16:creationId xmlns:a16="http://schemas.microsoft.com/office/drawing/2014/main" id="{8BA8587B-A68D-4645-BC8A-CC8909D927F8}"/>
              </a:ext>
            </a:extLst>
          </p:cNvPr>
          <p:cNvSpPr>
            <a:spLocks/>
          </p:cNvSpPr>
          <p:nvPr userDrawn="1"/>
        </p:nvSpPr>
        <p:spPr bwMode="auto">
          <a:xfrm>
            <a:off x="9968080" y="2790476"/>
            <a:ext cx="170218" cy="68216"/>
          </a:xfrm>
          <a:custGeom>
            <a:avLst/>
            <a:gdLst>
              <a:gd name="T0" fmla="*/ 7 w 72"/>
              <a:gd name="T1" fmla="*/ 29 h 29"/>
              <a:gd name="T2" fmla="*/ 40 w 72"/>
              <a:gd name="T3" fmla="*/ 19 h 29"/>
              <a:gd name="T4" fmla="*/ 70 w 72"/>
              <a:gd name="T5" fmla="*/ 8 h 29"/>
              <a:gd name="T6" fmla="*/ 70 w 72"/>
              <a:gd name="T7" fmla="*/ 5 h 29"/>
              <a:gd name="T8" fmla="*/ 33 w 72"/>
              <a:gd name="T9" fmla="*/ 4 h 29"/>
              <a:gd name="T10" fmla="*/ 3 w 72"/>
              <a:gd name="T11" fmla="*/ 20 h 29"/>
              <a:gd name="T12" fmla="*/ 7 w 72"/>
              <a:gd name="T13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2" h="29">
                <a:moveTo>
                  <a:pt x="7" y="29"/>
                </a:moveTo>
                <a:cubicBezTo>
                  <a:pt x="19" y="29"/>
                  <a:pt x="29" y="22"/>
                  <a:pt x="40" y="19"/>
                </a:cubicBezTo>
                <a:cubicBezTo>
                  <a:pt x="50" y="16"/>
                  <a:pt x="61" y="13"/>
                  <a:pt x="70" y="8"/>
                </a:cubicBezTo>
                <a:cubicBezTo>
                  <a:pt x="72" y="7"/>
                  <a:pt x="71" y="6"/>
                  <a:pt x="70" y="5"/>
                </a:cubicBezTo>
                <a:cubicBezTo>
                  <a:pt x="58" y="0"/>
                  <a:pt x="46" y="2"/>
                  <a:pt x="33" y="4"/>
                </a:cubicBezTo>
                <a:cubicBezTo>
                  <a:pt x="22" y="7"/>
                  <a:pt x="9" y="10"/>
                  <a:pt x="3" y="20"/>
                </a:cubicBezTo>
                <a:cubicBezTo>
                  <a:pt x="0" y="24"/>
                  <a:pt x="3" y="29"/>
                  <a:pt x="7" y="2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18" name="Freeform 354">
            <a:extLst>
              <a:ext uri="{FF2B5EF4-FFF2-40B4-BE49-F238E27FC236}">
                <a16:creationId xmlns:a16="http://schemas.microsoft.com/office/drawing/2014/main" id="{6EB9F5EB-64E8-4EAF-9D44-51C35ED3478F}"/>
              </a:ext>
            </a:extLst>
          </p:cNvPr>
          <p:cNvSpPr>
            <a:spLocks/>
          </p:cNvSpPr>
          <p:nvPr userDrawn="1"/>
        </p:nvSpPr>
        <p:spPr bwMode="auto">
          <a:xfrm>
            <a:off x="9726275" y="2135294"/>
            <a:ext cx="157492" cy="114221"/>
          </a:xfrm>
          <a:custGeom>
            <a:avLst/>
            <a:gdLst>
              <a:gd name="T0" fmla="*/ 64 w 67"/>
              <a:gd name="T1" fmla="*/ 2 h 48"/>
              <a:gd name="T2" fmla="*/ 28 w 67"/>
              <a:gd name="T3" fmla="*/ 22 h 48"/>
              <a:gd name="T4" fmla="*/ 0 w 67"/>
              <a:gd name="T5" fmla="*/ 38 h 48"/>
              <a:gd name="T6" fmla="*/ 2 w 67"/>
              <a:gd name="T7" fmla="*/ 43 h 48"/>
              <a:gd name="T8" fmla="*/ 33 w 67"/>
              <a:gd name="T9" fmla="*/ 31 h 48"/>
              <a:gd name="T10" fmla="*/ 66 w 67"/>
              <a:gd name="T11" fmla="*/ 4 h 48"/>
              <a:gd name="T12" fmla="*/ 64 w 67"/>
              <a:gd name="T13" fmla="*/ 2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7" h="48">
                <a:moveTo>
                  <a:pt x="64" y="2"/>
                </a:moveTo>
                <a:cubicBezTo>
                  <a:pt x="52" y="10"/>
                  <a:pt x="41" y="16"/>
                  <a:pt x="28" y="22"/>
                </a:cubicBezTo>
                <a:cubicBezTo>
                  <a:pt x="18" y="26"/>
                  <a:pt x="3" y="28"/>
                  <a:pt x="0" y="38"/>
                </a:cubicBezTo>
                <a:cubicBezTo>
                  <a:pt x="0" y="40"/>
                  <a:pt x="0" y="42"/>
                  <a:pt x="2" y="43"/>
                </a:cubicBezTo>
                <a:cubicBezTo>
                  <a:pt x="13" y="48"/>
                  <a:pt x="24" y="37"/>
                  <a:pt x="33" y="31"/>
                </a:cubicBezTo>
                <a:cubicBezTo>
                  <a:pt x="44" y="23"/>
                  <a:pt x="55" y="13"/>
                  <a:pt x="66" y="4"/>
                </a:cubicBezTo>
                <a:cubicBezTo>
                  <a:pt x="67" y="3"/>
                  <a:pt x="65" y="0"/>
                  <a:pt x="64" y="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19" name="Freeform 355">
            <a:extLst>
              <a:ext uri="{FF2B5EF4-FFF2-40B4-BE49-F238E27FC236}">
                <a16:creationId xmlns:a16="http://schemas.microsoft.com/office/drawing/2014/main" id="{45879866-9012-45B4-AE66-F1F4154F7186}"/>
              </a:ext>
            </a:extLst>
          </p:cNvPr>
          <p:cNvSpPr>
            <a:spLocks/>
          </p:cNvSpPr>
          <p:nvPr userDrawn="1"/>
        </p:nvSpPr>
        <p:spPr bwMode="auto">
          <a:xfrm>
            <a:off x="9525832" y="1689516"/>
            <a:ext cx="186126" cy="107875"/>
          </a:xfrm>
          <a:custGeom>
            <a:avLst/>
            <a:gdLst>
              <a:gd name="T0" fmla="*/ 76 w 78"/>
              <a:gd name="T1" fmla="*/ 0 h 46"/>
              <a:gd name="T2" fmla="*/ 6 w 78"/>
              <a:gd name="T3" fmla="*/ 31 h 46"/>
              <a:gd name="T4" fmla="*/ 11 w 78"/>
              <a:gd name="T5" fmla="*/ 43 h 46"/>
              <a:gd name="T6" fmla="*/ 77 w 78"/>
              <a:gd name="T7" fmla="*/ 3 h 46"/>
              <a:gd name="T8" fmla="*/ 76 w 78"/>
              <a:gd name="T9" fmla="*/ 0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" h="46">
                <a:moveTo>
                  <a:pt x="76" y="0"/>
                </a:moveTo>
                <a:cubicBezTo>
                  <a:pt x="52" y="6"/>
                  <a:pt x="26" y="17"/>
                  <a:pt x="6" y="31"/>
                </a:cubicBezTo>
                <a:cubicBezTo>
                  <a:pt x="0" y="35"/>
                  <a:pt x="3" y="46"/>
                  <a:pt x="11" y="43"/>
                </a:cubicBezTo>
                <a:cubicBezTo>
                  <a:pt x="34" y="34"/>
                  <a:pt x="59" y="19"/>
                  <a:pt x="77" y="3"/>
                </a:cubicBezTo>
                <a:cubicBezTo>
                  <a:pt x="78" y="2"/>
                  <a:pt x="77" y="0"/>
                  <a:pt x="76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20" name="Freeform 356">
            <a:extLst>
              <a:ext uri="{FF2B5EF4-FFF2-40B4-BE49-F238E27FC236}">
                <a16:creationId xmlns:a16="http://schemas.microsoft.com/office/drawing/2014/main" id="{449AAA1A-4ADF-420F-A883-E00E80DAF75B}"/>
              </a:ext>
            </a:extLst>
          </p:cNvPr>
          <p:cNvSpPr>
            <a:spLocks/>
          </p:cNvSpPr>
          <p:nvPr userDrawn="1"/>
        </p:nvSpPr>
        <p:spPr bwMode="auto">
          <a:xfrm>
            <a:off x="9428792" y="1250084"/>
            <a:ext cx="149537" cy="106289"/>
          </a:xfrm>
          <a:custGeom>
            <a:avLst/>
            <a:gdLst>
              <a:gd name="T0" fmla="*/ 6 w 63"/>
              <a:gd name="T1" fmla="*/ 43 h 45"/>
              <a:gd name="T2" fmla="*/ 33 w 63"/>
              <a:gd name="T3" fmla="*/ 23 h 45"/>
              <a:gd name="T4" fmla="*/ 62 w 63"/>
              <a:gd name="T5" fmla="*/ 4 h 45"/>
              <a:gd name="T6" fmla="*/ 61 w 63"/>
              <a:gd name="T7" fmla="*/ 1 h 45"/>
              <a:gd name="T8" fmla="*/ 2 w 63"/>
              <a:gd name="T9" fmla="*/ 39 h 45"/>
              <a:gd name="T10" fmla="*/ 6 w 63"/>
              <a:gd name="T11" fmla="*/ 43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" h="45">
                <a:moveTo>
                  <a:pt x="6" y="43"/>
                </a:moveTo>
                <a:cubicBezTo>
                  <a:pt x="16" y="38"/>
                  <a:pt x="24" y="30"/>
                  <a:pt x="33" y="23"/>
                </a:cubicBezTo>
                <a:cubicBezTo>
                  <a:pt x="42" y="16"/>
                  <a:pt x="52" y="10"/>
                  <a:pt x="62" y="4"/>
                </a:cubicBezTo>
                <a:cubicBezTo>
                  <a:pt x="63" y="3"/>
                  <a:pt x="62" y="0"/>
                  <a:pt x="61" y="1"/>
                </a:cubicBezTo>
                <a:cubicBezTo>
                  <a:pt x="39" y="9"/>
                  <a:pt x="14" y="20"/>
                  <a:pt x="2" y="39"/>
                </a:cubicBezTo>
                <a:cubicBezTo>
                  <a:pt x="0" y="42"/>
                  <a:pt x="3" y="45"/>
                  <a:pt x="6" y="43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21" name="Freeform 357">
            <a:extLst>
              <a:ext uri="{FF2B5EF4-FFF2-40B4-BE49-F238E27FC236}">
                <a16:creationId xmlns:a16="http://schemas.microsoft.com/office/drawing/2014/main" id="{5FA478CD-650F-45C0-A37B-6CCF85F048DD}"/>
              </a:ext>
            </a:extLst>
          </p:cNvPr>
          <p:cNvSpPr>
            <a:spLocks/>
          </p:cNvSpPr>
          <p:nvPr userDrawn="1"/>
        </p:nvSpPr>
        <p:spPr bwMode="auto">
          <a:xfrm>
            <a:off x="9573556" y="358528"/>
            <a:ext cx="203625" cy="139603"/>
          </a:xfrm>
          <a:custGeom>
            <a:avLst/>
            <a:gdLst>
              <a:gd name="T0" fmla="*/ 84 w 86"/>
              <a:gd name="T1" fmla="*/ 0 h 59"/>
              <a:gd name="T2" fmla="*/ 9 w 86"/>
              <a:gd name="T3" fmla="*/ 34 h 59"/>
              <a:gd name="T4" fmla="*/ 22 w 86"/>
              <a:gd name="T5" fmla="*/ 51 h 59"/>
              <a:gd name="T6" fmla="*/ 51 w 86"/>
              <a:gd name="T7" fmla="*/ 26 h 59"/>
              <a:gd name="T8" fmla="*/ 85 w 86"/>
              <a:gd name="T9" fmla="*/ 4 h 59"/>
              <a:gd name="T10" fmla="*/ 84 w 86"/>
              <a:gd name="T11" fmla="*/ 0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59">
                <a:moveTo>
                  <a:pt x="84" y="0"/>
                </a:moveTo>
                <a:cubicBezTo>
                  <a:pt x="59" y="3"/>
                  <a:pt x="26" y="16"/>
                  <a:pt x="9" y="34"/>
                </a:cubicBezTo>
                <a:cubicBezTo>
                  <a:pt x="0" y="43"/>
                  <a:pt x="11" y="59"/>
                  <a:pt x="22" y="51"/>
                </a:cubicBezTo>
                <a:cubicBezTo>
                  <a:pt x="32" y="44"/>
                  <a:pt x="41" y="34"/>
                  <a:pt x="51" y="26"/>
                </a:cubicBezTo>
                <a:cubicBezTo>
                  <a:pt x="62" y="18"/>
                  <a:pt x="73" y="11"/>
                  <a:pt x="85" y="4"/>
                </a:cubicBezTo>
                <a:cubicBezTo>
                  <a:pt x="86" y="3"/>
                  <a:pt x="86" y="0"/>
                  <a:pt x="84" y="0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22" name="Freeform 358">
            <a:extLst>
              <a:ext uri="{FF2B5EF4-FFF2-40B4-BE49-F238E27FC236}">
                <a16:creationId xmlns:a16="http://schemas.microsoft.com/office/drawing/2014/main" id="{939424EE-B2FC-49F2-B1E6-58B4EC559258}"/>
              </a:ext>
            </a:extLst>
          </p:cNvPr>
          <p:cNvSpPr>
            <a:spLocks/>
          </p:cNvSpPr>
          <p:nvPr userDrawn="1"/>
        </p:nvSpPr>
        <p:spPr bwMode="auto">
          <a:xfrm>
            <a:off x="9158353" y="3175"/>
            <a:ext cx="182945" cy="138017"/>
          </a:xfrm>
          <a:custGeom>
            <a:avLst/>
            <a:gdLst>
              <a:gd name="T0" fmla="*/ 1 w 77"/>
              <a:gd name="T1" fmla="*/ 52 h 59"/>
              <a:gd name="T2" fmla="*/ 7 w 77"/>
              <a:gd name="T3" fmla="*/ 59 h 59"/>
              <a:gd name="T4" fmla="*/ 39 w 77"/>
              <a:gd name="T5" fmla="*/ 38 h 59"/>
              <a:gd name="T6" fmla="*/ 75 w 77"/>
              <a:gd name="T7" fmla="*/ 4 h 59"/>
              <a:gd name="T8" fmla="*/ 73 w 77"/>
              <a:gd name="T9" fmla="*/ 1 h 59"/>
              <a:gd name="T10" fmla="*/ 30 w 77"/>
              <a:gd name="T11" fmla="*/ 26 h 59"/>
              <a:gd name="T12" fmla="*/ 1 w 77"/>
              <a:gd name="T13" fmla="*/ 52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7" h="59">
                <a:moveTo>
                  <a:pt x="1" y="52"/>
                </a:moveTo>
                <a:cubicBezTo>
                  <a:pt x="0" y="55"/>
                  <a:pt x="3" y="59"/>
                  <a:pt x="7" y="59"/>
                </a:cubicBezTo>
                <a:cubicBezTo>
                  <a:pt x="20" y="58"/>
                  <a:pt x="29" y="46"/>
                  <a:pt x="39" y="38"/>
                </a:cubicBezTo>
                <a:cubicBezTo>
                  <a:pt x="52" y="27"/>
                  <a:pt x="64" y="15"/>
                  <a:pt x="75" y="4"/>
                </a:cubicBezTo>
                <a:cubicBezTo>
                  <a:pt x="77" y="2"/>
                  <a:pt x="75" y="0"/>
                  <a:pt x="73" y="1"/>
                </a:cubicBezTo>
                <a:cubicBezTo>
                  <a:pt x="58" y="9"/>
                  <a:pt x="44" y="17"/>
                  <a:pt x="30" y="26"/>
                </a:cubicBezTo>
                <a:cubicBezTo>
                  <a:pt x="20" y="33"/>
                  <a:pt x="6" y="39"/>
                  <a:pt x="1" y="5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23" name="Freeform 359">
            <a:extLst>
              <a:ext uri="{FF2B5EF4-FFF2-40B4-BE49-F238E27FC236}">
                <a16:creationId xmlns:a16="http://schemas.microsoft.com/office/drawing/2014/main" id="{8811FB1D-EA19-41E9-A89B-DF866D37C817}"/>
              </a:ext>
            </a:extLst>
          </p:cNvPr>
          <p:cNvSpPr>
            <a:spLocks/>
          </p:cNvSpPr>
          <p:nvPr userDrawn="1"/>
        </p:nvSpPr>
        <p:spPr bwMode="auto">
          <a:xfrm>
            <a:off x="1188343" y="1292917"/>
            <a:ext cx="232260" cy="115808"/>
          </a:xfrm>
          <a:custGeom>
            <a:avLst/>
            <a:gdLst>
              <a:gd name="T0" fmla="*/ 51 w 98"/>
              <a:gd name="T1" fmla="*/ 31 h 49"/>
              <a:gd name="T2" fmla="*/ 93 w 98"/>
              <a:gd name="T3" fmla="*/ 49 h 49"/>
              <a:gd name="T4" fmla="*/ 96 w 98"/>
              <a:gd name="T5" fmla="*/ 42 h 49"/>
              <a:gd name="T6" fmla="*/ 56 w 98"/>
              <a:gd name="T7" fmla="*/ 21 h 49"/>
              <a:gd name="T8" fmla="*/ 3 w 98"/>
              <a:gd name="T9" fmla="*/ 1 h 49"/>
              <a:gd name="T10" fmla="*/ 2 w 98"/>
              <a:gd name="T11" fmla="*/ 4 h 49"/>
              <a:gd name="T12" fmla="*/ 51 w 98"/>
              <a:gd name="T13" fmla="*/ 31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8" h="49">
                <a:moveTo>
                  <a:pt x="51" y="31"/>
                </a:moveTo>
                <a:cubicBezTo>
                  <a:pt x="64" y="38"/>
                  <a:pt x="78" y="49"/>
                  <a:pt x="93" y="49"/>
                </a:cubicBezTo>
                <a:cubicBezTo>
                  <a:pt x="97" y="49"/>
                  <a:pt x="98" y="45"/>
                  <a:pt x="96" y="42"/>
                </a:cubicBezTo>
                <a:cubicBezTo>
                  <a:pt x="86" y="30"/>
                  <a:pt x="69" y="27"/>
                  <a:pt x="56" y="21"/>
                </a:cubicBezTo>
                <a:cubicBezTo>
                  <a:pt x="38" y="14"/>
                  <a:pt x="21" y="6"/>
                  <a:pt x="3" y="1"/>
                </a:cubicBezTo>
                <a:cubicBezTo>
                  <a:pt x="1" y="0"/>
                  <a:pt x="0" y="3"/>
                  <a:pt x="2" y="4"/>
                </a:cubicBezTo>
                <a:cubicBezTo>
                  <a:pt x="18" y="14"/>
                  <a:pt x="35" y="23"/>
                  <a:pt x="51" y="31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24" name="Freeform 360">
            <a:extLst>
              <a:ext uri="{FF2B5EF4-FFF2-40B4-BE49-F238E27FC236}">
                <a16:creationId xmlns:a16="http://schemas.microsoft.com/office/drawing/2014/main" id="{E999E57A-73EA-451B-8A2D-022758475625}"/>
              </a:ext>
            </a:extLst>
          </p:cNvPr>
          <p:cNvSpPr>
            <a:spLocks/>
          </p:cNvSpPr>
          <p:nvPr userDrawn="1"/>
        </p:nvSpPr>
        <p:spPr bwMode="auto">
          <a:xfrm>
            <a:off x="1543096" y="2162263"/>
            <a:ext cx="268849" cy="74561"/>
          </a:xfrm>
          <a:custGeom>
            <a:avLst/>
            <a:gdLst>
              <a:gd name="T0" fmla="*/ 58 w 113"/>
              <a:gd name="T1" fmla="*/ 19 h 32"/>
              <a:gd name="T2" fmla="*/ 106 w 113"/>
              <a:gd name="T3" fmla="*/ 31 h 32"/>
              <a:gd name="T4" fmla="*/ 109 w 113"/>
              <a:gd name="T5" fmla="*/ 23 h 32"/>
              <a:gd name="T6" fmla="*/ 60 w 113"/>
              <a:gd name="T7" fmla="*/ 12 h 32"/>
              <a:gd name="T8" fmla="*/ 3 w 113"/>
              <a:gd name="T9" fmla="*/ 1 h 32"/>
              <a:gd name="T10" fmla="*/ 2 w 113"/>
              <a:gd name="T11" fmla="*/ 4 h 32"/>
              <a:gd name="T12" fmla="*/ 58 w 113"/>
              <a:gd name="T13" fmla="*/ 19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3" h="32">
                <a:moveTo>
                  <a:pt x="58" y="19"/>
                </a:moveTo>
                <a:cubicBezTo>
                  <a:pt x="74" y="24"/>
                  <a:pt x="90" y="30"/>
                  <a:pt x="106" y="31"/>
                </a:cubicBezTo>
                <a:cubicBezTo>
                  <a:pt x="111" y="32"/>
                  <a:pt x="113" y="25"/>
                  <a:pt x="109" y="23"/>
                </a:cubicBezTo>
                <a:cubicBezTo>
                  <a:pt x="93" y="17"/>
                  <a:pt x="76" y="15"/>
                  <a:pt x="60" y="12"/>
                </a:cubicBezTo>
                <a:cubicBezTo>
                  <a:pt x="41" y="9"/>
                  <a:pt x="22" y="5"/>
                  <a:pt x="3" y="1"/>
                </a:cubicBezTo>
                <a:cubicBezTo>
                  <a:pt x="1" y="0"/>
                  <a:pt x="0" y="3"/>
                  <a:pt x="2" y="4"/>
                </a:cubicBezTo>
                <a:cubicBezTo>
                  <a:pt x="21" y="9"/>
                  <a:pt x="39" y="14"/>
                  <a:pt x="58" y="1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25" name="Freeform 361">
            <a:extLst>
              <a:ext uri="{FF2B5EF4-FFF2-40B4-BE49-F238E27FC236}">
                <a16:creationId xmlns:a16="http://schemas.microsoft.com/office/drawing/2014/main" id="{65CF3D35-5B7B-4AB4-85EA-659100C31DE2}"/>
              </a:ext>
            </a:extLst>
          </p:cNvPr>
          <p:cNvSpPr>
            <a:spLocks/>
          </p:cNvSpPr>
          <p:nvPr userDrawn="1"/>
        </p:nvSpPr>
        <p:spPr bwMode="auto">
          <a:xfrm>
            <a:off x="1387195" y="4443503"/>
            <a:ext cx="284757" cy="68216"/>
          </a:xfrm>
          <a:custGeom>
            <a:avLst/>
            <a:gdLst>
              <a:gd name="T0" fmla="*/ 1 w 120"/>
              <a:gd name="T1" fmla="*/ 15 h 29"/>
              <a:gd name="T2" fmla="*/ 116 w 120"/>
              <a:gd name="T3" fmla="*/ 10 h 29"/>
              <a:gd name="T4" fmla="*/ 114 w 120"/>
              <a:gd name="T5" fmla="*/ 0 h 29"/>
              <a:gd name="T6" fmla="*/ 65 w 120"/>
              <a:gd name="T7" fmla="*/ 11 h 29"/>
              <a:gd name="T8" fmla="*/ 1 w 120"/>
              <a:gd name="T9" fmla="*/ 13 h 29"/>
              <a:gd name="T10" fmla="*/ 1 w 120"/>
              <a:gd name="T11" fmla="*/ 15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" h="29">
                <a:moveTo>
                  <a:pt x="1" y="15"/>
                </a:moveTo>
                <a:cubicBezTo>
                  <a:pt x="35" y="20"/>
                  <a:pt x="85" y="29"/>
                  <a:pt x="116" y="10"/>
                </a:cubicBezTo>
                <a:cubicBezTo>
                  <a:pt x="120" y="7"/>
                  <a:pt x="119" y="0"/>
                  <a:pt x="114" y="0"/>
                </a:cubicBezTo>
                <a:cubicBezTo>
                  <a:pt x="97" y="1"/>
                  <a:pt x="81" y="8"/>
                  <a:pt x="65" y="11"/>
                </a:cubicBezTo>
                <a:cubicBezTo>
                  <a:pt x="44" y="15"/>
                  <a:pt x="23" y="15"/>
                  <a:pt x="1" y="13"/>
                </a:cubicBezTo>
                <a:cubicBezTo>
                  <a:pt x="0" y="13"/>
                  <a:pt x="0" y="15"/>
                  <a:pt x="1" y="15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26" name="Freeform 362">
            <a:extLst>
              <a:ext uri="{FF2B5EF4-FFF2-40B4-BE49-F238E27FC236}">
                <a16:creationId xmlns:a16="http://schemas.microsoft.com/office/drawing/2014/main" id="{DDC754F1-50AE-4582-985A-4BCBFEE30231}"/>
              </a:ext>
            </a:extLst>
          </p:cNvPr>
          <p:cNvSpPr>
            <a:spLocks/>
          </p:cNvSpPr>
          <p:nvPr userDrawn="1"/>
        </p:nvSpPr>
        <p:spPr bwMode="auto">
          <a:xfrm>
            <a:off x="1576503" y="4936872"/>
            <a:ext cx="367480" cy="85665"/>
          </a:xfrm>
          <a:custGeom>
            <a:avLst/>
            <a:gdLst>
              <a:gd name="T0" fmla="*/ 149 w 155"/>
              <a:gd name="T1" fmla="*/ 24 h 36"/>
              <a:gd name="T2" fmla="*/ 149 w 155"/>
              <a:gd name="T3" fmla="*/ 10 h 36"/>
              <a:gd name="T4" fmla="*/ 88 w 155"/>
              <a:gd name="T5" fmla="*/ 10 h 36"/>
              <a:gd name="T6" fmla="*/ 3 w 155"/>
              <a:gd name="T7" fmla="*/ 24 h 36"/>
              <a:gd name="T8" fmla="*/ 4 w 155"/>
              <a:gd name="T9" fmla="*/ 28 h 36"/>
              <a:gd name="T10" fmla="*/ 85 w 155"/>
              <a:gd name="T11" fmla="*/ 30 h 36"/>
              <a:gd name="T12" fmla="*/ 149 w 155"/>
              <a:gd name="T13" fmla="*/ 24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5" h="36">
                <a:moveTo>
                  <a:pt x="149" y="24"/>
                </a:moveTo>
                <a:cubicBezTo>
                  <a:pt x="154" y="20"/>
                  <a:pt x="155" y="13"/>
                  <a:pt x="149" y="10"/>
                </a:cubicBezTo>
                <a:cubicBezTo>
                  <a:pt x="129" y="0"/>
                  <a:pt x="109" y="7"/>
                  <a:pt x="88" y="10"/>
                </a:cubicBezTo>
                <a:cubicBezTo>
                  <a:pt x="60" y="15"/>
                  <a:pt x="31" y="18"/>
                  <a:pt x="3" y="24"/>
                </a:cubicBezTo>
                <a:cubicBezTo>
                  <a:pt x="0" y="25"/>
                  <a:pt x="1" y="28"/>
                  <a:pt x="4" y="28"/>
                </a:cubicBezTo>
                <a:cubicBezTo>
                  <a:pt x="31" y="30"/>
                  <a:pt x="58" y="30"/>
                  <a:pt x="85" y="30"/>
                </a:cubicBezTo>
                <a:cubicBezTo>
                  <a:pt x="107" y="31"/>
                  <a:pt x="131" y="36"/>
                  <a:pt x="149" y="2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27" name="Freeform 363">
            <a:extLst>
              <a:ext uri="{FF2B5EF4-FFF2-40B4-BE49-F238E27FC236}">
                <a16:creationId xmlns:a16="http://schemas.microsoft.com/office/drawing/2014/main" id="{714D7733-0CE3-47F2-8353-BD76B0876B9C}"/>
              </a:ext>
            </a:extLst>
          </p:cNvPr>
          <p:cNvSpPr>
            <a:spLocks/>
          </p:cNvSpPr>
          <p:nvPr userDrawn="1"/>
        </p:nvSpPr>
        <p:spPr bwMode="auto">
          <a:xfrm>
            <a:off x="1543096" y="6099702"/>
            <a:ext cx="186126" cy="63456"/>
          </a:xfrm>
          <a:custGeom>
            <a:avLst/>
            <a:gdLst>
              <a:gd name="T0" fmla="*/ 3 w 78"/>
              <a:gd name="T1" fmla="*/ 27 h 27"/>
              <a:gd name="T2" fmla="*/ 71 w 78"/>
              <a:gd name="T3" fmla="*/ 13 h 27"/>
              <a:gd name="T4" fmla="*/ 68 w 78"/>
              <a:gd name="T5" fmla="*/ 2 h 27"/>
              <a:gd name="T6" fmla="*/ 2 w 78"/>
              <a:gd name="T7" fmla="*/ 22 h 27"/>
              <a:gd name="T8" fmla="*/ 3 w 78"/>
              <a:gd name="T9" fmla="*/ 27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" h="27">
                <a:moveTo>
                  <a:pt x="3" y="27"/>
                </a:moveTo>
                <a:cubicBezTo>
                  <a:pt x="26" y="23"/>
                  <a:pt x="49" y="19"/>
                  <a:pt x="71" y="13"/>
                </a:cubicBezTo>
                <a:cubicBezTo>
                  <a:pt x="78" y="12"/>
                  <a:pt x="75" y="0"/>
                  <a:pt x="68" y="2"/>
                </a:cubicBezTo>
                <a:cubicBezTo>
                  <a:pt x="46" y="8"/>
                  <a:pt x="24" y="15"/>
                  <a:pt x="2" y="22"/>
                </a:cubicBezTo>
                <a:cubicBezTo>
                  <a:pt x="0" y="23"/>
                  <a:pt x="1" y="27"/>
                  <a:pt x="3" y="2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928" name="Freeform 364">
            <a:extLst>
              <a:ext uri="{FF2B5EF4-FFF2-40B4-BE49-F238E27FC236}">
                <a16:creationId xmlns:a16="http://schemas.microsoft.com/office/drawing/2014/main" id="{F5C3B9DB-1887-4C84-95C4-23E2216912BA}"/>
              </a:ext>
            </a:extLst>
          </p:cNvPr>
          <p:cNvSpPr>
            <a:spLocks/>
          </p:cNvSpPr>
          <p:nvPr userDrawn="1"/>
        </p:nvSpPr>
        <p:spPr bwMode="auto">
          <a:xfrm>
            <a:off x="7443449" y="9521"/>
            <a:ext cx="93859" cy="134844"/>
          </a:xfrm>
          <a:custGeom>
            <a:avLst/>
            <a:gdLst>
              <a:gd name="T0" fmla="*/ 32 w 39"/>
              <a:gd name="T1" fmla="*/ 4 h 57"/>
              <a:gd name="T2" fmla="*/ 15 w 39"/>
              <a:gd name="T3" fmla="*/ 26 h 57"/>
              <a:gd name="T4" fmla="*/ 1 w 39"/>
              <a:gd name="T5" fmla="*/ 50 h 57"/>
              <a:gd name="T6" fmla="*/ 7 w 39"/>
              <a:gd name="T7" fmla="*/ 55 h 57"/>
              <a:gd name="T8" fmla="*/ 22 w 39"/>
              <a:gd name="T9" fmla="*/ 34 h 57"/>
              <a:gd name="T10" fmla="*/ 38 w 39"/>
              <a:gd name="T11" fmla="*/ 8 h 57"/>
              <a:gd name="T12" fmla="*/ 32 w 39"/>
              <a:gd name="T13" fmla="*/ 4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9" h="57">
                <a:moveTo>
                  <a:pt x="32" y="4"/>
                </a:moveTo>
                <a:cubicBezTo>
                  <a:pt x="26" y="11"/>
                  <a:pt x="21" y="18"/>
                  <a:pt x="15" y="26"/>
                </a:cubicBezTo>
                <a:cubicBezTo>
                  <a:pt x="10" y="33"/>
                  <a:pt x="3" y="41"/>
                  <a:pt x="1" y="50"/>
                </a:cubicBezTo>
                <a:cubicBezTo>
                  <a:pt x="0" y="53"/>
                  <a:pt x="4" y="57"/>
                  <a:pt x="7" y="55"/>
                </a:cubicBezTo>
                <a:cubicBezTo>
                  <a:pt x="14" y="50"/>
                  <a:pt x="18" y="41"/>
                  <a:pt x="22" y="34"/>
                </a:cubicBezTo>
                <a:cubicBezTo>
                  <a:pt x="28" y="26"/>
                  <a:pt x="33" y="17"/>
                  <a:pt x="38" y="8"/>
                </a:cubicBezTo>
                <a:cubicBezTo>
                  <a:pt x="39" y="5"/>
                  <a:pt x="35" y="0"/>
                  <a:pt x="32" y="4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355" name="组合 354">
            <a:extLst>
              <a:ext uri="{FF2B5EF4-FFF2-40B4-BE49-F238E27FC236}">
                <a16:creationId xmlns:a16="http://schemas.microsoft.com/office/drawing/2014/main" id="{DA18CBA5-5008-4CCE-BD3F-EF4DB918B197}"/>
              </a:ext>
            </a:extLst>
          </p:cNvPr>
          <p:cNvGrpSpPr/>
          <p:nvPr userDrawn="1"/>
        </p:nvGrpSpPr>
        <p:grpSpPr>
          <a:xfrm>
            <a:off x="2566932" y="-97195"/>
            <a:ext cx="7008868" cy="6982592"/>
            <a:chOff x="2566932" y="-97195"/>
            <a:chExt cx="7008868" cy="6982592"/>
          </a:xfrm>
        </p:grpSpPr>
        <p:grpSp>
          <p:nvGrpSpPr>
            <p:cNvPr id="4" name="组合 3">
              <a:extLst>
                <a:ext uri="{FF2B5EF4-FFF2-40B4-BE49-F238E27FC236}">
                  <a16:creationId xmlns:a16="http://schemas.microsoft.com/office/drawing/2014/main" id="{8B9AF2C6-D097-4A6E-AFCB-98A8E637A5CE}"/>
                </a:ext>
              </a:extLst>
            </p:cNvPr>
            <p:cNvGrpSpPr/>
            <p:nvPr userDrawn="1"/>
          </p:nvGrpSpPr>
          <p:grpSpPr>
            <a:xfrm>
              <a:off x="2566932" y="-97195"/>
              <a:ext cx="7008868" cy="6982592"/>
              <a:chOff x="2796662" y="131674"/>
              <a:chExt cx="6549408" cy="6524854"/>
            </a:xfrm>
          </p:grpSpPr>
          <p:sp>
            <p:nvSpPr>
              <p:cNvPr id="9929" name="Freeform 365">
                <a:extLst>
                  <a:ext uri="{FF2B5EF4-FFF2-40B4-BE49-F238E27FC236}">
                    <a16:creationId xmlns:a16="http://schemas.microsoft.com/office/drawing/2014/main" id="{025C4932-3BC8-4F67-926A-51D9860246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27109" y="283968"/>
                <a:ext cx="6282150" cy="6234543"/>
              </a:xfrm>
              <a:custGeom>
                <a:avLst/>
                <a:gdLst>
                  <a:gd name="T0" fmla="*/ 2649 w 2649"/>
                  <a:gd name="T1" fmla="*/ 1323 h 2639"/>
                  <a:gd name="T2" fmla="*/ 2628 w 2649"/>
                  <a:gd name="T3" fmla="*/ 1270 h 2639"/>
                  <a:gd name="T4" fmla="*/ 2421 w 2649"/>
                  <a:gd name="T5" fmla="*/ 888 h 2639"/>
                  <a:gd name="T6" fmla="*/ 2268 w 2649"/>
                  <a:gd name="T7" fmla="*/ 392 h 2639"/>
                  <a:gd name="T8" fmla="*/ 2245 w 2649"/>
                  <a:gd name="T9" fmla="*/ 370 h 2639"/>
                  <a:gd name="T10" fmla="*/ 1799 w 2649"/>
                  <a:gd name="T11" fmla="*/ 239 h 2639"/>
                  <a:gd name="T12" fmla="*/ 1343 w 2649"/>
                  <a:gd name="T13" fmla="*/ 0 h 2639"/>
                  <a:gd name="T14" fmla="*/ 1303 w 2649"/>
                  <a:gd name="T15" fmla="*/ 1 h 2639"/>
                  <a:gd name="T16" fmla="*/ 899 w 2649"/>
                  <a:gd name="T17" fmla="*/ 221 h 2639"/>
                  <a:gd name="T18" fmla="*/ 405 w 2649"/>
                  <a:gd name="T19" fmla="*/ 374 h 2639"/>
                  <a:gd name="T20" fmla="*/ 381 w 2649"/>
                  <a:gd name="T21" fmla="*/ 397 h 2639"/>
                  <a:gd name="T22" fmla="*/ 250 w 2649"/>
                  <a:gd name="T23" fmla="*/ 844 h 2639"/>
                  <a:gd name="T24" fmla="*/ 9 w 2649"/>
                  <a:gd name="T25" fmla="*/ 1302 h 2639"/>
                  <a:gd name="T26" fmla="*/ 11 w 2649"/>
                  <a:gd name="T27" fmla="*/ 1338 h 2639"/>
                  <a:gd name="T28" fmla="*/ 232 w 2649"/>
                  <a:gd name="T29" fmla="*/ 1743 h 2639"/>
                  <a:gd name="T30" fmla="*/ 387 w 2649"/>
                  <a:gd name="T31" fmla="*/ 2246 h 2639"/>
                  <a:gd name="T32" fmla="*/ 412 w 2649"/>
                  <a:gd name="T33" fmla="*/ 2262 h 2639"/>
                  <a:gd name="T34" fmla="*/ 855 w 2649"/>
                  <a:gd name="T35" fmla="*/ 2392 h 2639"/>
                  <a:gd name="T36" fmla="*/ 1320 w 2649"/>
                  <a:gd name="T37" fmla="*/ 2638 h 2639"/>
                  <a:gd name="T38" fmla="*/ 1320 w 2649"/>
                  <a:gd name="T39" fmla="*/ 2638 h 2639"/>
                  <a:gd name="T40" fmla="*/ 1322 w 2649"/>
                  <a:gd name="T41" fmla="*/ 2638 h 2639"/>
                  <a:gd name="T42" fmla="*/ 1350 w 2649"/>
                  <a:gd name="T43" fmla="*/ 2631 h 2639"/>
                  <a:gd name="T44" fmla="*/ 1754 w 2649"/>
                  <a:gd name="T45" fmla="*/ 2411 h 2639"/>
                  <a:gd name="T46" fmla="*/ 2257 w 2649"/>
                  <a:gd name="T47" fmla="*/ 2255 h 2639"/>
                  <a:gd name="T48" fmla="*/ 2257 w 2649"/>
                  <a:gd name="T49" fmla="*/ 2255 h 2639"/>
                  <a:gd name="T50" fmla="*/ 2257 w 2649"/>
                  <a:gd name="T51" fmla="*/ 2255 h 2639"/>
                  <a:gd name="T52" fmla="*/ 2257 w 2649"/>
                  <a:gd name="T53" fmla="*/ 2255 h 2639"/>
                  <a:gd name="T54" fmla="*/ 2260 w 2649"/>
                  <a:gd name="T55" fmla="*/ 2252 h 2639"/>
                  <a:gd name="T56" fmla="*/ 2276 w 2649"/>
                  <a:gd name="T57" fmla="*/ 2217 h 2639"/>
                  <a:gd name="T58" fmla="*/ 2403 w 2649"/>
                  <a:gd name="T59" fmla="*/ 1788 h 2639"/>
                  <a:gd name="T60" fmla="*/ 2649 w 2649"/>
                  <a:gd name="T61" fmla="*/ 1323 h 2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649" h="2639">
                    <a:moveTo>
                      <a:pt x="2649" y="1323"/>
                    </a:moveTo>
                    <a:cubicBezTo>
                      <a:pt x="2645" y="1304"/>
                      <a:pt x="2638" y="1286"/>
                      <a:pt x="2628" y="1270"/>
                    </a:cubicBezTo>
                    <a:cubicBezTo>
                      <a:pt x="2584" y="1200"/>
                      <a:pt x="2481" y="1031"/>
                      <a:pt x="2421" y="888"/>
                    </a:cubicBezTo>
                    <a:cubicBezTo>
                      <a:pt x="2351" y="719"/>
                      <a:pt x="2280" y="440"/>
                      <a:pt x="2268" y="392"/>
                    </a:cubicBezTo>
                    <a:cubicBezTo>
                      <a:pt x="2245" y="370"/>
                      <a:pt x="2245" y="370"/>
                      <a:pt x="2245" y="370"/>
                    </a:cubicBezTo>
                    <a:cubicBezTo>
                      <a:pt x="2199" y="360"/>
                      <a:pt x="1965" y="308"/>
                      <a:pt x="1799" y="239"/>
                    </a:cubicBezTo>
                    <a:cubicBezTo>
                      <a:pt x="1634" y="172"/>
                      <a:pt x="1395" y="31"/>
                      <a:pt x="1343" y="0"/>
                    </a:cubicBezTo>
                    <a:cubicBezTo>
                      <a:pt x="1303" y="1"/>
                      <a:pt x="1303" y="1"/>
                      <a:pt x="1303" y="1"/>
                    </a:cubicBezTo>
                    <a:cubicBezTo>
                      <a:pt x="1255" y="32"/>
                      <a:pt x="1060" y="154"/>
                      <a:pt x="899" y="221"/>
                    </a:cubicBezTo>
                    <a:cubicBezTo>
                      <a:pt x="732" y="291"/>
                      <a:pt x="457" y="361"/>
                      <a:pt x="405" y="374"/>
                    </a:cubicBezTo>
                    <a:cubicBezTo>
                      <a:pt x="405" y="374"/>
                      <a:pt x="382" y="387"/>
                      <a:pt x="381" y="397"/>
                    </a:cubicBezTo>
                    <a:cubicBezTo>
                      <a:pt x="371" y="443"/>
                      <a:pt x="319" y="677"/>
                      <a:pt x="250" y="844"/>
                    </a:cubicBezTo>
                    <a:cubicBezTo>
                      <a:pt x="181" y="1012"/>
                      <a:pt x="36" y="1257"/>
                      <a:pt x="9" y="1302"/>
                    </a:cubicBezTo>
                    <a:cubicBezTo>
                      <a:pt x="3" y="1308"/>
                      <a:pt x="0" y="1330"/>
                      <a:pt x="11" y="1338"/>
                    </a:cubicBezTo>
                    <a:cubicBezTo>
                      <a:pt x="41" y="1385"/>
                      <a:pt x="164" y="1581"/>
                      <a:pt x="232" y="1743"/>
                    </a:cubicBezTo>
                    <a:cubicBezTo>
                      <a:pt x="309" y="1927"/>
                      <a:pt x="386" y="2242"/>
                      <a:pt x="387" y="2246"/>
                    </a:cubicBezTo>
                    <a:cubicBezTo>
                      <a:pt x="412" y="2262"/>
                      <a:pt x="412" y="2262"/>
                      <a:pt x="412" y="2262"/>
                    </a:cubicBezTo>
                    <a:cubicBezTo>
                      <a:pt x="464" y="2274"/>
                      <a:pt x="692" y="2325"/>
                      <a:pt x="855" y="2392"/>
                    </a:cubicBezTo>
                    <a:cubicBezTo>
                      <a:pt x="1041" y="2468"/>
                      <a:pt x="1320" y="2638"/>
                      <a:pt x="1320" y="2638"/>
                    </a:cubicBezTo>
                    <a:cubicBezTo>
                      <a:pt x="1320" y="2638"/>
                      <a:pt x="1320" y="2638"/>
                      <a:pt x="1320" y="2638"/>
                    </a:cubicBezTo>
                    <a:cubicBezTo>
                      <a:pt x="1322" y="2638"/>
                      <a:pt x="1322" y="2638"/>
                      <a:pt x="1322" y="2638"/>
                    </a:cubicBezTo>
                    <a:cubicBezTo>
                      <a:pt x="1332" y="2639"/>
                      <a:pt x="1350" y="2631"/>
                      <a:pt x="1350" y="2631"/>
                    </a:cubicBezTo>
                    <a:cubicBezTo>
                      <a:pt x="1398" y="2600"/>
                      <a:pt x="1593" y="2478"/>
                      <a:pt x="1754" y="2411"/>
                    </a:cubicBezTo>
                    <a:cubicBezTo>
                      <a:pt x="1939" y="2333"/>
                      <a:pt x="2257" y="2255"/>
                      <a:pt x="2257" y="2255"/>
                    </a:cubicBezTo>
                    <a:cubicBezTo>
                      <a:pt x="2257" y="2255"/>
                      <a:pt x="2257" y="2255"/>
                      <a:pt x="2257" y="2255"/>
                    </a:cubicBezTo>
                    <a:cubicBezTo>
                      <a:pt x="2257" y="2255"/>
                      <a:pt x="2257" y="2255"/>
                      <a:pt x="2257" y="2255"/>
                    </a:cubicBezTo>
                    <a:cubicBezTo>
                      <a:pt x="2257" y="2255"/>
                      <a:pt x="2257" y="2255"/>
                      <a:pt x="2257" y="2255"/>
                    </a:cubicBezTo>
                    <a:cubicBezTo>
                      <a:pt x="2260" y="2252"/>
                      <a:pt x="2260" y="2252"/>
                      <a:pt x="2260" y="2252"/>
                    </a:cubicBezTo>
                    <a:cubicBezTo>
                      <a:pt x="2276" y="2217"/>
                      <a:pt x="2276" y="2217"/>
                      <a:pt x="2276" y="2217"/>
                    </a:cubicBezTo>
                    <a:cubicBezTo>
                      <a:pt x="2292" y="2145"/>
                      <a:pt x="2341" y="1939"/>
                      <a:pt x="2403" y="1788"/>
                    </a:cubicBezTo>
                    <a:cubicBezTo>
                      <a:pt x="2477" y="1608"/>
                      <a:pt x="2638" y="1341"/>
                      <a:pt x="2649" y="132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dirty="0"/>
              </a:p>
            </p:txBody>
          </p:sp>
          <p:sp>
            <p:nvSpPr>
              <p:cNvPr id="9930" name="Freeform 366">
                <a:extLst>
                  <a:ext uri="{FF2B5EF4-FFF2-40B4-BE49-F238E27FC236}">
                    <a16:creationId xmlns:a16="http://schemas.microsoft.com/office/drawing/2014/main" id="{E6EF6A45-9A12-4E19-9C5E-E82B94B520A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96662" y="131674"/>
                <a:ext cx="6549408" cy="6524854"/>
              </a:xfrm>
              <a:custGeom>
                <a:avLst/>
                <a:gdLst>
                  <a:gd name="T0" fmla="*/ 2756 w 2762"/>
                  <a:gd name="T1" fmla="*/ 1376 h 2762"/>
                  <a:gd name="T2" fmla="*/ 2190 w 2762"/>
                  <a:gd name="T3" fmla="*/ 1369 h 2762"/>
                  <a:gd name="T4" fmla="*/ 1409 w 2762"/>
                  <a:gd name="T5" fmla="*/ 1376 h 2762"/>
                  <a:gd name="T6" fmla="*/ 1406 w 2762"/>
                  <a:gd name="T7" fmla="*/ 1366 h 2762"/>
                  <a:gd name="T8" fmla="*/ 2356 w 2762"/>
                  <a:gd name="T9" fmla="*/ 411 h 2762"/>
                  <a:gd name="T10" fmla="*/ 2349 w 2762"/>
                  <a:gd name="T11" fmla="*/ 405 h 2762"/>
                  <a:gd name="T12" fmla="*/ 1944 w 2762"/>
                  <a:gd name="T13" fmla="*/ 801 h 2762"/>
                  <a:gd name="T14" fmla="*/ 1395 w 2762"/>
                  <a:gd name="T15" fmla="*/ 1360 h 2762"/>
                  <a:gd name="T16" fmla="*/ 1388 w 2762"/>
                  <a:gd name="T17" fmla="*/ 1355 h 2762"/>
                  <a:gd name="T18" fmla="*/ 1384 w 2762"/>
                  <a:gd name="T19" fmla="*/ 6 h 2762"/>
                  <a:gd name="T20" fmla="*/ 1376 w 2762"/>
                  <a:gd name="T21" fmla="*/ 6 h 2762"/>
                  <a:gd name="T22" fmla="*/ 1369 w 2762"/>
                  <a:gd name="T23" fmla="*/ 572 h 2762"/>
                  <a:gd name="T24" fmla="*/ 1376 w 2762"/>
                  <a:gd name="T25" fmla="*/ 1355 h 2762"/>
                  <a:gd name="T26" fmla="*/ 1366 w 2762"/>
                  <a:gd name="T27" fmla="*/ 1357 h 2762"/>
                  <a:gd name="T28" fmla="*/ 411 w 2762"/>
                  <a:gd name="T29" fmla="*/ 406 h 2762"/>
                  <a:gd name="T30" fmla="*/ 405 w 2762"/>
                  <a:gd name="T31" fmla="*/ 413 h 2762"/>
                  <a:gd name="T32" fmla="*/ 801 w 2762"/>
                  <a:gd name="T33" fmla="*/ 818 h 2762"/>
                  <a:gd name="T34" fmla="*/ 1356 w 2762"/>
                  <a:gd name="T35" fmla="*/ 1364 h 2762"/>
                  <a:gd name="T36" fmla="*/ 1351 w 2762"/>
                  <a:gd name="T37" fmla="*/ 1374 h 2762"/>
                  <a:gd name="T38" fmla="*/ 6 w 2762"/>
                  <a:gd name="T39" fmla="*/ 1378 h 2762"/>
                  <a:gd name="T40" fmla="*/ 6 w 2762"/>
                  <a:gd name="T41" fmla="*/ 1386 h 2762"/>
                  <a:gd name="T42" fmla="*/ 572 w 2762"/>
                  <a:gd name="T43" fmla="*/ 1393 h 2762"/>
                  <a:gd name="T44" fmla="*/ 1350 w 2762"/>
                  <a:gd name="T45" fmla="*/ 1386 h 2762"/>
                  <a:gd name="T46" fmla="*/ 1355 w 2762"/>
                  <a:gd name="T47" fmla="*/ 1398 h 2762"/>
                  <a:gd name="T48" fmla="*/ 406 w 2762"/>
                  <a:gd name="T49" fmla="*/ 2351 h 2762"/>
                  <a:gd name="T50" fmla="*/ 413 w 2762"/>
                  <a:gd name="T51" fmla="*/ 2357 h 2762"/>
                  <a:gd name="T52" fmla="*/ 818 w 2762"/>
                  <a:gd name="T53" fmla="*/ 1961 h 2762"/>
                  <a:gd name="T54" fmla="*/ 1363 w 2762"/>
                  <a:gd name="T55" fmla="*/ 1407 h 2762"/>
                  <a:gd name="T56" fmla="*/ 1374 w 2762"/>
                  <a:gd name="T57" fmla="*/ 1412 h 2762"/>
                  <a:gd name="T58" fmla="*/ 1378 w 2762"/>
                  <a:gd name="T59" fmla="*/ 2756 h 2762"/>
                  <a:gd name="T60" fmla="*/ 1386 w 2762"/>
                  <a:gd name="T61" fmla="*/ 2756 h 2762"/>
                  <a:gd name="T62" fmla="*/ 1393 w 2762"/>
                  <a:gd name="T63" fmla="*/ 2190 h 2762"/>
                  <a:gd name="T64" fmla="*/ 1386 w 2762"/>
                  <a:gd name="T65" fmla="*/ 1412 h 2762"/>
                  <a:gd name="T66" fmla="*/ 1397 w 2762"/>
                  <a:gd name="T67" fmla="*/ 1406 h 2762"/>
                  <a:gd name="T68" fmla="*/ 2351 w 2762"/>
                  <a:gd name="T69" fmla="*/ 2356 h 2762"/>
                  <a:gd name="T70" fmla="*/ 2357 w 2762"/>
                  <a:gd name="T71" fmla="*/ 2349 h 2762"/>
                  <a:gd name="T72" fmla="*/ 1961 w 2762"/>
                  <a:gd name="T73" fmla="*/ 1944 h 2762"/>
                  <a:gd name="T74" fmla="*/ 1405 w 2762"/>
                  <a:gd name="T75" fmla="*/ 1397 h 2762"/>
                  <a:gd name="T76" fmla="*/ 1408 w 2762"/>
                  <a:gd name="T77" fmla="*/ 1388 h 2762"/>
                  <a:gd name="T78" fmla="*/ 2756 w 2762"/>
                  <a:gd name="T79" fmla="*/ 1384 h 2762"/>
                  <a:gd name="T80" fmla="*/ 2756 w 2762"/>
                  <a:gd name="T81" fmla="*/ 1376 h 2762"/>
                  <a:gd name="T82" fmla="*/ 1385 w 2762"/>
                  <a:gd name="T83" fmla="*/ 1400 h 2762"/>
                  <a:gd name="T84" fmla="*/ 1375 w 2762"/>
                  <a:gd name="T85" fmla="*/ 1400 h 2762"/>
                  <a:gd name="T86" fmla="*/ 1370 w 2762"/>
                  <a:gd name="T87" fmla="*/ 1398 h 2762"/>
                  <a:gd name="T88" fmla="*/ 1363 w 2762"/>
                  <a:gd name="T89" fmla="*/ 1391 h 2762"/>
                  <a:gd name="T90" fmla="*/ 1361 w 2762"/>
                  <a:gd name="T91" fmla="*/ 1386 h 2762"/>
                  <a:gd name="T92" fmla="*/ 1362 w 2762"/>
                  <a:gd name="T93" fmla="*/ 1375 h 2762"/>
                  <a:gd name="T94" fmla="*/ 1365 w 2762"/>
                  <a:gd name="T95" fmla="*/ 1370 h 2762"/>
                  <a:gd name="T96" fmla="*/ 1372 w 2762"/>
                  <a:gd name="T97" fmla="*/ 1366 h 2762"/>
                  <a:gd name="T98" fmla="*/ 1379 w 2762"/>
                  <a:gd name="T99" fmla="*/ 1364 h 2762"/>
                  <a:gd name="T100" fmla="*/ 1384 w 2762"/>
                  <a:gd name="T101" fmla="*/ 1364 h 2762"/>
                  <a:gd name="T102" fmla="*/ 1390 w 2762"/>
                  <a:gd name="T103" fmla="*/ 1365 h 2762"/>
                  <a:gd name="T104" fmla="*/ 1391 w 2762"/>
                  <a:gd name="T105" fmla="*/ 1370 h 2762"/>
                  <a:gd name="T106" fmla="*/ 1393 w 2762"/>
                  <a:gd name="T107" fmla="*/ 1392 h 2762"/>
                  <a:gd name="T108" fmla="*/ 1391 w 2762"/>
                  <a:gd name="T109" fmla="*/ 1396 h 2762"/>
                  <a:gd name="T110" fmla="*/ 1385 w 2762"/>
                  <a:gd name="T111" fmla="*/ 1400 h 2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762" h="2762">
                    <a:moveTo>
                      <a:pt x="2756" y="1376"/>
                    </a:moveTo>
                    <a:cubicBezTo>
                      <a:pt x="2567" y="1368"/>
                      <a:pt x="2378" y="1369"/>
                      <a:pt x="2190" y="1369"/>
                    </a:cubicBezTo>
                    <a:cubicBezTo>
                      <a:pt x="1930" y="1368"/>
                      <a:pt x="1669" y="1364"/>
                      <a:pt x="1409" y="1376"/>
                    </a:cubicBezTo>
                    <a:cubicBezTo>
                      <a:pt x="1408" y="1372"/>
                      <a:pt x="1407" y="1369"/>
                      <a:pt x="1406" y="1366"/>
                    </a:cubicBezTo>
                    <a:cubicBezTo>
                      <a:pt x="1730" y="1056"/>
                      <a:pt x="2039" y="729"/>
                      <a:pt x="2356" y="411"/>
                    </a:cubicBezTo>
                    <a:cubicBezTo>
                      <a:pt x="2360" y="407"/>
                      <a:pt x="2354" y="401"/>
                      <a:pt x="2349" y="405"/>
                    </a:cubicBezTo>
                    <a:cubicBezTo>
                      <a:pt x="2211" y="533"/>
                      <a:pt x="2078" y="668"/>
                      <a:pt x="1944" y="801"/>
                    </a:cubicBezTo>
                    <a:cubicBezTo>
                      <a:pt x="1759" y="985"/>
                      <a:pt x="1571" y="1167"/>
                      <a:pt x="1395" y="1360"/>
                    </a:cubicBezTo>
                    <a:cubicBezTo>
                      <a:pt x="1393" y="1357"/>
                      <a:pt x="1391" y="1356"/>
                      <a:pt x="1388" y="1355"/>
                    </a:cubicBezTo>
                    <a:cubicBezTo>
                      <a:pt x="1399" y="906"/>
                      <a:pt x="1385" y="455"/>
                      <a:pt x="1384" y="6"/>
                    </a:cubicBezTo>
                    <a:cubicBezTo>
                      <a:pt x="1384" y="0"/>
                      <a:pt x="1376" y="1"/>
                      <a:pt x="1376" y="6"/>
                    </a:cubicBezTo>
                    <a:cubicBezTo>
                      <a:pt x="1368" y="195"/>
                      <a:pt x="1369" y="384"/>
                      <a:pt x="1369" y="572"/>
                    </a:cubicBezTo>
                    <a:cubicBezTo>
                      <a:pt x="1368" y="833"/>
                      <a:pt x="1364" y="1094"/>
                      <a:pt x="1376" y="1355"/>
                    </a:cubicBezTo>
                    <a:cubicBezTo>
                      <a:pt x="1372" y="1355"/>
                      <a:pt x="1369" y="1356"/>
                      <a:pt x="1366" y="1357"/>
                    </a:cubicBezTo>
                    <a:cubicBezTo>
                      <a:pt x="1057" y="1032"/>
                      <a:pt x="729" y="723"/>
                      <a:pt x="411" y="406"/>
                    </a:cubicBezTo>
                    <a:cubicBezTo>
                      <a:pt x="407" y="402"/>
                      <a:pt x="401" y="408"/>
                      <a:pt x="405" y="413"/>
                    </a:cubicBezTo>
                    <a:cubicBezTo>
                      <a:pt x="533" y="551"/>
                      <a:pt x="668" y="684"/>
                      <a:pt x="801" y="818"/>
                    </a:cubicBezTo>
                    <a:cubicBezTo>
                      <a:pt x="984" y="1002"/>
                      <a:pt x="1165" y="1188"/>
                      <a:pt x="1356" y="1364"/>
                    </a:cubicBezTo>
                    <a:cubicBezTo>
                      <a:pt x="1354" y="1367"/>
                      <a:pt x="1352" y="1371"/>
                      <a:pt x="1351" y="1374"/>
                    </a:cubicBezTo>
                    <a:cubicBezTo>
                      <a:pt x="903" y="1363"/>
                      <a:pt x="454" y="1377"/>
                      <a:pt x="6" y="1378"/>
                    </a:cubicBezTo>
                    <a:cubicBezTo>
                      <a:pt x="0" y="1378"/>
                      <a:pt x="1" y="1386"/>
                      <a:pt x="6" y="1386"/>
                    </a:cubicBezTo>
                    <a:cubicBezTo>
                      <a:pt x="195" y="1394"/>
                      <a:pt x="384" y="1393"/>
                      <a:pt x="572" y="1393"/>
                    </a:cubicBezTo>
                    <a:cubicBezTo>
                      <a:pt x="831" y="1394"/>
                      <a:pt x="1091" y="1397"/>
                      <a:pt x="1350" y="1386"/>
                    </a:cubicBezTo>
                    <a:cubicBezTo>
                      <a:pt x="1351" y="1390"/>
                      <a:pt x="1352" y="1394"/>
                      <a:pt x="1355" y="1398"/>
                    </a:cubicBezTo>
                    <a:cubicBezTo>
                      <a:pt x="1030" y="1707"/>
                      <a:pt x="723" y="2034"/>
                      <a:pt x="406" y="2351"/>
                    </a:cubicBezTo>
                    <a:cubicBezTo>
                      <a:pt x="402" y="2355"/>
                      <a:pt x="408" y="2361"/>
                      <a:pt x="413" y="2357"/>
                    </a:cubicBezTo>
                    <a:cubicBezTo>
                      <a:pt x="551" y="2229"/>
                      <a:pt x="684" y="2094"/>
                      <a:pt x="818" y="1961"/>
                    </a:cubicBezTo>
                    <a:cubicBezTo>
                      <a:pt x="1001" y="1779"/>
                      <a:pt x="1188" y="1597"/>
                      <a:pt x="1363" y="1407"/>
                    </a:cubicBezTo>
                    <a:cubicBezTo>
                      <a:pt x="1366" y="1409"/>
                      <a:pt x="1370" y="1411"/>
                      <a:pt x="1374" y="1412"/>
                    </a:cubicBezTo>
                    <a:cubicBezTo>
                      <a:pt x="1363" y="1859"/>
                      <a:pt x="1377" y="2308"/>
                      <a:pt x="1378" y="2756"/>
                    </a:cubicBezTo>
                    <a:cubicBezTo>
                      <a:pt x="1378" y="2762"/>
                      <a:pt x="1386" y="2761"/>
                      <a:pt x="1386" y="2756"/>
                    </a:cubicBezTo>
                    <a:cubicBezTo>
                      <a:pt x="1394" y="2567"/>
                      <a:pt x="1393" y="2378"/>
                      <a:pt x="1393" y="2190"/>
                    </a:cubicBezTo>
                    <a:cubicBezTo>
                      <a:pt x="1394" y="1930"/>
                      <a:pt x="1397" y="1671"/>
                      <a:pt x="1386" y="1412"/>
                    </a:cubicBezTo>
                    <a:cubicBezTo>
                      <a:pt x="1390" y="1411"/>
                      <a:pt x="1394" y="1409"/>
                      <a:pt x="1397" y="1406"/>
                    </a:cubicBezTo>
                    <a:cubicBezTo>
                      <a:pt x="1706" y="1731"/>
                      <a:pt x="2034" y="2039"/>
                      <a:pt x="2351" y="2356"/>
                    </a:cubicBezTo>
                    <a:cubicBezTo>
                      <a:pt x="2355" y="2360"/>
                      <a:pt x="2361" y="2354"/>
                      <a:pt x="2357" y="2349"/>
                    </a:cubicBezTo>
                    <a:cubicBezTo>
                      <a:pt x="2229" y="2211"/>
                      <a:pt x="2094" y="2078"/>
                      <a:pt x="1961" y="1944"/>
                    </a:cubicBezTo>
                    <a:cubicBezTo>
                      <a:pt x="1778" y="1760"/>
                      <a:pt x="1596" y="1573"/>
                      <a:pt x="1405" y="1397"/>
                    </a:cubicBezTo>
                    <a:cubicBezTo>
                      <a:pt x="1406" y="1394"/>
                      <a:pt x="1408" y="1391"/>
                      <a:pt x="1408" y="1388"/>
                    </a:cubicBezTo>
                    <a:cubicBezTo>
                      <a:pt x="1857" y="1399"/>
                      <a:pt x="2307" y="1385"/>
                      <a:pt x="2756" y="1384"/>
                    </a:cubicBezTo>
                    <a:cubicBezTo>
                      <a:pt x="2762" y="1384"/>
                      <a:pt x="2761" y="1376"/>
                      <a:pt x="2756" y="1376"/>
                    </a:cubicBezTo>
                    <a:close/>
                    <a:moveTo>
                      <a:pt x="1385" y="1400"/>
                    </a:moveTo>
                    <a:cubicBezTo>
                      <a:pt x="1383" y="1397"/>
                      <a:pt x="1377" y="1397"/>
                      <a:pt x="1375" y="1400"/>
                    </a:cubicBezTo>
                    <a:cubicBezTo>
                      <a:pt x="1374" y="1400"/>
                      <a:pt x="1372" y="1399"/>
                      <a:pt x="1370" y="1398"/>
                    </a:cubicBezTo>
                    <a:cubicBezTo>
                      <a:pt x="1372" y="1394"/>
                      <a:pt x="1367" y="1389"/>
                      <a:pt x="1363" y="1391"/>
                    </a:cubicBezTo>
                    <a:cubicBezTo>
                      <a:pt x="1362" y="1389"/>
                      <a:pt x="1361" y="1387"/>
                      <a:pt x="1361" y="1386"/>
                    </a:cubicBezTo>
                    <a:cubicBezTo>
                      <a:pt x="1365" y="1384"/>
                      <a:pt x="1366" y="1377"/>
                      <a:pt x="1362" y="1375"/>
                    </a:cubicBezTo>
                    <a:cubicBezTo>
                      <a:pt x="1362" y="1373"/>
                      <a:pt x="1363" y="1372"/>
                      <a:pt x="1365" y="1370"/>
                    </a:cubicBezTo>
                    <a:cubicBezTo>
                      <a:pt x="1368" y="1371"/>
                      <a:pt x="1371" y="1369"/>
                      <a:pt x="1372" y="1366"/>
                    </a:cubicBezTo>
                    <a:cubicBezTo>
                      <a:pt x="1374" y="1364"/>
                      <a:pt x="1377" y="1364"/>
                      <a:pt x="1379" y="1364"/>
                    </a:cubicBezTo>
                    <a:cubicBezTo>
                      <a:pt x="1381" y="1365"/>
                      <a:pt x="1382" y="1365"/>
                      <a:pt x="1384" y="1364"/>
                    </a:cubicBezTo>
                    <a:cubicBezTo>
                      <a:pt x="1386" y="1364"/>
                      <a:pt x="1388" y="1365"/>
                      <a:pt x="1390" y="1365"/>
                    </a:cubicBezTo>
                    <a:cubicBezTo>
                      <a:pt x="1390" y="1367"/>
                      <a:pt x="1390" y="1368"/>
                      <a:pt x="1391" y="1370"/>
                    </a:cubicBezTo>
                    <a:cubicBezTo>
                      <a:pt x="1396" y="1377"/>
                      <a:pt x="1398" y="1385"/>
                      <a:pt x="1393" y="1392"/>
                    </a:cubicBezTo>
                    <a:cubicBezTo>
                      <a:pt x="1392" y="1393"/>
                      <a:pt x="1391" y="1394"/>
                      <a:pt x="1391" y="1396"/>
                    </a:cubicBezTo>
                    <a:cubicBezTo>
                      <a:pt x="1389" y="1398"/>
                      <a:pt x="1387" y="1399"/>
                      <a:pt x="1385" y="1400"/>
                    </a:cubicBez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352" name="矩形 351">
              <a:extLst>
                <a:ext uri="{FF2B5EF4-FFF2-40B4-BE49-F238E27FC236}">
                  <a16:creationId xmlns:a16="http://schemas.microsoft.com/office/drawing/2014/main" id="{51F70520-F4B4-42A2-8D8B-8AD19DEFC265}"/>
                </a:ext>
              </a:extLst>
            </p:cNvPr>
            <p:cNvSpPr/>
            <p:nvPr userDrawn="1"/>
          </p:nvSpPr>
          <p:spPr>
            <a:xfrm>
              <a:off x="3199140" y="3156934"/>
              <a:ext cx="5758769" cy="64361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9" name="矩形 378">
              <a:extLst>
                <a:ext uri="{FF2B5EF4-FFF2-40B4-BE49-F238E27FC236}">
                  <a16:creationId xmlns:a16="http://schemas.microsoft.com/office/drawing/2014/main" id="{E5B55224-FE96-4DB4-BFF3-19E1B805E9FB}"/>
                </a:ext>
              </a:extLst>
            </p:cNvPr>
            <p:cNvSpPr/>
            <p:nvPr userDrawn="1"/>
          </p:nvSpPr>
          <p:spPr>
            <a:xfrm>
              <a:off x="4357257" y="2041696"/>
              <a:ext cx="3442536" cy="264479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53" name="组合 352">
            <a:extLst>
              <a:ext uri="{FF2B5EF4-FFF2-40B4-BE49-F238E27FC236}">
                <a16:creationId xmlns:a16="http://schemas.microsoft.com/office/drawing/2014/main" id="{586A6CF8-F36F-458E-B32B-FB1B33AB57E4}"/>
              </a:ext>
            </a:extLst>
          </p:cNvPr>
          <p:cNvGrpSpPr/>
          <p:nvPr userDrawn="1"/>
        </p:nvGrpSpPr>
        <p:grpSpPr>
          <a:xfrm>
            <a:off x="8090911" y="186555"/>
            <a:ext cx="1944406" cy="1937116"/>
            <a:chOff x="8090911" y="186555"/>
            <a:chExt cx="1944406" cy="1937116"/>
          </a:xfrm>
        </p:grpSpPr>
        <p:sp>
          <p:nvSpPr>
            <p:cNvPr id="372" name="Freeform 365">
              <a:extLst>
                <a:ext uri="{FF2B5EF4-FFF2-40B4-BE49-F238E27FC236}">
                  <a16:creationId xmlns:a16="http://schemas.microsoft.com/office/drawing/2014/main" id="{3C7767F5-7681-42E3-9FED-83E5B6031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638" y="231768"/>
              <a:ext cx="1865062" cy="1850928"/>
            </a:xfrm>
            <a:custGeom>
              <a:avLst/>
              <a:gdLst>
                <a:gd name="T0" fmla="*/ 2649 w 2649"/>
                <a:gd name="T1" fmla="*/ 1323 h 2639"/>
                <a:gd name="T2" fmla="*/ 2628 w 2649"/>
                <a:gd name="T3" fmla="*/ 1270 h 2639"/>
                <a:gd name="T4" fmla="*/ 2421 w 2649"/>
                <a:gd name="T5" fmla="*/ 888 h 2639"/>
                <a:gd name="T6" fmla="*/ 2268 w 2649"/>
                <a:gd name="T7" fmla="*/ 392 h 2639"/>
                <a:gd name="T8" fmla="*/ 2245 w 2649"/>
                <a:gd name="T9" fmla="*/ 370 h 2639"/>
                <a:gd name="T10" fmla="*/ 1799 w 2649"/>
                <a:gd name="T11" fmla="*/ 239 h 2639"/>
                <a:gd name="T12" fmla="*/ 1343 w 2649"/>
                <a:gd name="T13" fmla="*/ 0 h 2639"/>
                <a:gd name="T14" fmla="*/ 1303 w 2649"/>
                <a:gd name="T15" fmla="*/ 1 h 2639"/>
                <a:gd name="T16" fmla="*/ 899 w 2649"/>
                <a:gd name="T17" fmla="*/ 221 h 2639"/>
                <a:gd name="T18" fmla="*/ 405 w 2649"/>
                <a:gd name="T19" fmla="*/ 374 h 2639"/>
                <a:gd name="T20" fmla="*/ 381 w 2649"/>
                <a:gd name="T21" fmla="*/ 397 h 2639"/>
                <a:gd name="T22" fmla="*/ 250 w 2649"/>
                <a:gd name="T23" fmla="*/ 844 h 2639"/>
                <a:gd name="T24" fmla="*/ 9 w 2649"/>
                <a:gd name="T25" fmla="*/ 1302 h 2639"/>
                <a:gd name="T26" fmla="*/ 11 w 2649"/>
                <a:gd name="T27" fmla="*/ 1338 h 2639"/>
                <a:gd name="T28" fmla="*/ 232 w 2649"/>
                <a:gd name="T29" fmla="*/ 1743 h 2639"/>
                <a:gd name="T30" fmla="*/ 387 w 2649"/>
                <a:gd name="T31" fmla="*/ 2246 h 2639"/>
                <a:gd name="T32" fmla="*/ 412 w 2649"/>
                <a:gd name="T33" fmla="*/ 2262 h 2639"/>
                <a:gd name="T34" fmla="*/ 855 w 2649"/>
                <a:gd name="T35" fmla="*/ 2392 h 2639"/>
                <a:gd name="T36" fmla="*/ 1320 w 2649"/>
                <a:gd name="T37" fmla="*/ 2638 h 2639"/>
                <a:gd name="T38" fmla="*/ 1320 w 2649"/>
                <a:gd name="T39" fmla="*/ 2638 h 2639"/>
                <a:gd name="T40" fmla="*/ 1322 w 2649"/>
                <a:gd name="T41" fmla="*/ 2638 h 2639"/>
                <a:gd name="T42" fmla="*/ 1350 w 2649"/>
                <a:gd name="T43" fmla="*/ 2631 h 2639"/>
                <a:gd name="T44" fmla="*/ 1754 w 2649"/>
                <a:gd name="T45" fmla="*/ 2411 h 2639"/>
                <a:gd name="T46" fmla="*/ 2257 w 2649"/>
                <a:gd name="T47" fmla="*/ 2255 h 2639"/>
                <a:gd name="T48" fmla="*/ 2257 w 2649"/>
                <a:gd name="T49" fmla="*/ 2255 h 2639"/>
                <a:gd name="T50" fmla="*/ 2257 w 2649"/>
                <a:gd name="T51" fmla="*/ 2255 h 2639"/>
                <a:gd name="T52" fmla="*/ 2257 w 2649"/>
                <a:gd name="T53" fmla="*/ 2255 h 2639"/>
                <a:gd name="T54" fmla="*/ 2260 w 2649"/>
                <a:gd name="T55" fmla="*/ 2252 h 2639"/>
                <a:gd name="T56" fmla="*/ 2276 w 2649"/>
                <a:gd name="T57" fmla="*/ 2217 h 2639"/>
                <a:gd name="T58" fmla="*/ 2403 w 2649"/>
                <a:gd name="T59" fmla="*/ 1788 h 2639"/>
                <a:gd name="T60" fmla="*/ 2649 w 2649"/>
                <a:gd name="T61" fmla="*/ 132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49" h="2639">
                  <a:moveTo>
                    <a:pt x="2649" y="1323"/>
                  </a:moveTo>
                  <a:cubicBezTo>
                    <a:pt x="2645" y="1304"/>
                    <a:pt x="2638" y="1286"/>
                    <a:pt x="2628" y="1270"/>
                  </a:cubicBezTo>
                  <a:cubicBezTo>
                    <a:pt x="2584" y="1200"/>
                    <a:pt x="2481" y="1031"/>
                    <a:pt x="2421" y="888"/>
                  </a:cubicBezTo>
                  <a:cubicBezTo>
                    <a:pt x="2351" y="719"/>
                    <a:pt x="2280" y="440"/>
                    <a:pt x="2268" y="392"/>
                  </a:cubicBezTo>
                  <a:cubicBezTo>
                    <a:pt x="2245" y="370"/>
                    <a:pt x="2245" y="370"/>
                    <a:pt x="2245" y="370"/>
                  </a:cubicBezTo>
                  <a:cubicBezTo>
                    <a:pt x="2199" y="360"/>
                    <a:pt x="1965" y="308"/>
                    <a:pt x="1799" y="239"/>
                  </a:cubicBezTo>
                  <a:cubicBezTo>
                    <a:pt x="1634" y="172"/>
                    <a:pt x="1395" y="31"/>
                    <a:pt x="1343" y="0"/>
                  </a:cubicBezTo>
                  <a:cubicBezTo>
                    <a:pt x="1303" y="1"/>
                    <a:pt x="1303" y="1"/>
                    <a:pt x="1303" y="1"/>
                  </a:cubicBezTo>
                  <a:cubicBezTo>
                    <a:pt x="1255" y="32"/>
                    <a:pt x="1060" y="154"/>
                    <a:pt x="899" y="221"/>
                  </a:cubicBezTo>
                  <a:cubicBezTo>
                    <a:pt x="732" y="291"/>
                    <a:pt x="457" y="361"/>
                    <a:pt x="405" y="374"/>
                  </a:cubicBezTo>
                  <a:cubicBezTo>
                    <a:pt x="405" y="374"/>
                    <a:pt x="382" y="387"/>
                    <a:pt x="381" y="397"/>
                  </a:cubicBezTo>
                  <a:cubicBezTo>
                    <a:pt x="371" y="443"/>
                    <a:pt x="319" y="677"/>
                    <a:pt x="250" y="844"/>
                  </a:cubicBezTo>
                  <a:cubicBezTo>
                    <a:pt x="181" y="1012"/>
                    <a:pt x="36" y="1257"/>
                    <a:pt x="9" y="1302"/>
                  </a:cubicBezTo>
                  <a:cubicBezTo>
                    <a:pt x="3" y="1308"/>
                    <a:pt x="0" y="1330"/>
                    <a:pt x="11" y="1338"/>
                  </a:cubicBezTo>
                  <a:cubicBezTo>
                    <a:pt x="41" y="1385"/>
                    <a:pt x="164" y="1581"/>
                    <a:pt x="232" y="1743"/>
                  </a:cubicBezTo>
                  <a:cubicBezTo>
                    <a:pt x="309" y="1927"/>
                    <a:pt x="386" y="2242"/>
                    <a:pt x="387" y="2246"/>
                  </a:cubicBezTo>
                  <a:cubicBezTo>
                    <a:pt x="412" y="2262"/>
                    <a:pt x="412" y="2262"/>
                    <a:pt x="412" y="2262"/>
                  </a:cubicBezTo>
                  <a:cubicBezTo>
                    <a:pt x="464" y="2274"/>
                    <a:pt x="692" y="2325"/>
                    <a:pt x="855" y="2392"/>
                  </a:cubicBezTo>
                  <a:cubicBezTo>
                    <a:pt x="1041" y="2468"/>
                    <a:pt x="1320" y="2638"/>
                    <a:pt x="1320" y="2638"/>
                  </a:cubicBezTo>
                  <a:cubicBezTo>
                    <a:pt x="1320" y="2638"/>
                    <a:pt x="1320" y="2638"/>
                    <a:pt x="1320" y="2638"/>
                  </a:cubicBezTo>
                  <a:cubicBezTo>
                    <a:pt x="1322" y="2638"/>
                    <a:pt x="1322" y="2638"/>
                    <a:pt x="1322" y="2638"/>
                  </a:cubicBezTo>
                  <a:cubicBezTo>
                    <a:pt x="1332" y="2639"/>
                    <a:pt x="1350" y="2631"/>
                    <a:pt x="1350" y="2631"/>
                  </a:cubicBezTo>
                  <a:cubicBezTo>
                    <a:pt x="1398" y="2600"/>
                    <a:pt x="1593" y="2478"/>
                    <a:pt x="1754" y="2411"/>
                  </a:cubicBezTo>
                  <a:cubicBezTo>
                    <a:pt x="1939" y="2333"/>
                    <a:pt x="2257" y="2255"/>
                    <a:pt x="2257" y="2255"/>
                  </a:cubicBezTo>
                  <a:cubicBezTo>
                    <a:pt x="2257" y="2255"/>
                    <a:pt x="2257" y="2255"/>
                    <a:pt x="2257" y="2255"/>
                  </a:cubicBezTo>
                  <a:cubicBezTo>
                    <a:pt x="2257" y="2255"/>
                    <a:pt x="2257" y="2255"/>
                    <a:pt x="2257" y="2255"/>
                  </a:cubicBezTo>
                  <a:cubicBezTo>
                    <a:pt x="2257" y="2255"/>
                    <a:pt x="2257" y="2255"/>
                    <a:pt x="2257" y="2255"/>
                  </a:cubicBezTo>
                  <a:cubicBezTo>
                    <a:pt x="2260" y="2252"/>
                    <a:pt x="2260" y="2252"/>
                    <a:pt x="2260" y="2252"/>
                  </a:cubicBezTo>
                  <a:cubicBezTo>
                    <a:pt x="2276" y="2217"/>
                    <a:pt x="2276" y="2217"/>
                    <a:pt x="2276" y="2217"/>
                  </a:cubicBezTo>
                  <a:cubicBezTo>
                    <a:pt x="2292" y="2145"/>
                    <a:pt x="2341" y="1939"/>
                    <a:pt x="2403" y="1788"/>
                  </a:cubicBezTo>
                  <a:cubicBezTo>
                    <a:pt x="2477" y="1608"/>
                    <a:pt x="2638" y="1341"/>
                    <a:pt x="2649" y="132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373" name="Freeform 366">
              <a:extLst>
                <a:ext uri="{FF2B5EF4-FFF2-40B4-BE49-F238E27FC236}">
                  <a16:creationId xmlns:a16="http://schemas.microsoft.com/office/drawing/2014/main" id="{1F6F07A5-4A96-4D5A-BAA5-F8F2E21FE1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90911" y="186555"/>
              <a:ext cx="1944406" cy="1937116"/>
            </a:xfrm>
            <a:custGeom>
              <a:avLst/>
              <a:gdLst>
                <a:gd name="T0" fmla="*/ 2756 w 2762"/>
                <a:gd name="T1" fmla="*/ 1376 h 2762"/>
                <a:gd name="T2" fmla="*/ 2190 w 2762"/>
                <a:gd name="T3" fmla="*/ 1369 h 2762"/>
                <a:gd name="T4" fmla="*/ 1409 w 2762"/>
                <a:gd name="T5" fmla="*/ 1376 h 2762"/>
                <a:gd name="T6" fmla="*/ 1406 w 2762"/>
                <a:gd name="T7" fmla="*/ 1366 h 2762"/>
                <a:gd name="T8" fmla="*/ 2356 w 2762"/>
                <a:gd name="T9" fmla="*/ 411 h 2762"/>
                <a:gd name="T10" fmla="*/ 2349 w 2762"/>
                <a:gd name="T11" fmla="*/ 405 h 2762"/>
                <a:gd name="T12" fmla="*/ 1944 w 2762"/>
                <a:gd name="T13" fmla="*/ 801 h 2762"/>
                <a:gd name="T14" fmla="*/ 1395 w 2762"/>
                <a:gd name="T15" fmla="*/ 1360 h 2762"/>
                <a:gd name="T16" fmla="*/ 1388 w 2762"/>
                <a:gd name="T17" fmla="*/ 1355 h 2762"/>
                <a:gd name="T18" fmla="*/ 1384 w 2762"/>
                <a:gd name="T19" fmla="*/ 6 h 2762"/>
                <a:gd name="T20" fmla="*/ 1376 w 2762"/>
                <a:gd name="T21" fmla="*/ 6 h 2762"/>
                <a:gd name="T22" fmla="*/ 1369 w 2762"/>
                <a:gd name="T23" fmla="*/ 572 h 2762"/>
                <a:gd name="T24" fmla="*/ 1376 w 2762"/>
                <a:gd name="T25" fmla="*/ 1355 h 2762"/>
                <a:gd name="T26" fmla="*/ 1366 w 2762"/>
                <a:gd name="T27" fmla="*/ 1357 h 2762"/>
                <a:gd name="T28" fmla="*/ 411 w 2762"/>
                <a:gd name="T29" fmla="*/ 406 h 2762"/>
                <a:gd name="T30" fmla="*/ 405 w 2762"/>
                <a:gd name="T31" fmla="*/ 413 h 2762"/>
                <a:gd name="T32" fmla="*/ 801 w 2762"/>
                <a:gd name="T33" fmla="*/ 818 h 2762"/>
                <a:gd name="T34" fmla="*/ 1356 w 2762"/>
                <a:gd name="T35" fmla="*/ 1364 h 2762"/>
                <a:gd name="T36" fmla="*/ 1351 w 2762"/>
                <a:gd name="T37" fmla="*/ 1374 h 2762"/>
                <a:gd name="T38" fmla="*/ 6 w 2762"/>
                <a:gd name="T39" fmla="*/ 1378 h 2762"/>
                <a:gd name="T40" fmla="*/ 6 w 2762"/>
                <a:gd name="T41" fmla="*/ 1386 h 2762"/>
                <a:gd name="T42" fmla="*/ 572 w 2762"/>
                <a:gd name="T43" fmla="*/ 1393 h 2762"/>
                <a:gd name="T44" fmla="*/ 1350 w 2762"/>
                <a:gd name="T45" fmla="*/ 1386 h 2762"/>
                <a:gd name="T46" fmla="*/ 1355 w 2762"/>
                <a:gd name="T47" fmla="*/ 1398 h 2762"/>
                <a:gd name="T48" fmla="*/ 406 w 2762"/>
                <a:gd name="T49" fmla="*/ 2351 h 2762"/>
                <a:gd name="T50" fmla="*/ 413 w 2762"/>
                <a:gd name="T51" fmla="*/ 2357 h 2762"/>
                <a:gd name="T52" fmla="*/ 818 w 2762"/>
                <a:gd name="T53" fmla="*/ 1961 h 2762"/>
                <a:gd name="T54" fmla="*/ 1363 w 2762"/>
                <a:gd name="T55" fmla="*/ 1407 h 2762"/>
                <a:gd name="T56" fmla="*/ 1374 w 2762"/>
                <a:gd name="T57" fmla="*/ 1412 h 2762"/>
                <a:gd name="T58" fmla="*/ 1378 w 2762"/>
                <a:gd name="T59" fmla="*/ 2756 h 2762"/>
                <a:gd name="T60" fmla="*/ 1386 w 2762"/>
                <a:gd name="T61" fmla="*/ 2756 h 2762"/>
                <a:gd name="T62" fmla="*/ 1393 w 2762"/>
                <a:gd name="T63" fmla="*/ 2190 h 2762"/>
                <a:gd name="T64" fmla="*/ 1386 w 2762"/>
                <a:gd name="T65" fmla="*/ 1412 h 2762"/>
                <a:gd name="T66" fmla="*/ 1397 w 2762"/>
                <a:gd name="T67" fmla="*/ 1406 h 2762"/>
                <a:gd name="T68" fmla="*/ 2351 w 2762"/>
                <a:gd name="T69" fmla="*/ 2356 h 2762"/>
                <a:gd name="T70" fmla="*/ 2357 w 2762"/>
                <a:gd name="T71" fmla="*/ 2349 h 2762"/>
                <a:gd name="T72" fmla="*/ 1961 w 2762"/>
                <a:gd name="T73" fmla="*/ 1944 h 2762"/>
                <a:gd name="T74" fmla="*/ 1405 w 2762"/>
                <a:gd name="T75" fmla="*/ 1397 h 2762"/>
                <a:gd name="T76" fmla="*/ 1408 w 2762"/>
                <a:gd name="T77" fmla="*/ 1388 h 2762"/>
                <a:gd name="T78" fmla="*/ 2756 w 2762"/>
                <a:gd name="T79" fmla="*/ 1384 h 2762"/>
                <a:gd name="T80" fmla="*/ 2756 w 2762"/>
                <a:gd name="T81" fmla="*/ 1376 h 2762"/>
                <a:gd name="T82" fmla="*/ 1385 w 2762"/>
                <a:gd name="T83" fmla="*/ 1400 h 2762"/>
                <a:gd name="T84" fmla="*/ 1375 w 2762"/>
                <a:gd name="T85" fmla="*/ 1400 h 2762"/>
                <a:gd name="T86" fmla="*/ 1370 w 2762"/>
                <a:gd name="T87" fmla="*/ 1398 h 2762"/>
                <a:gd name="T88" fmla="*/ 1363 w 2762"/>
                <a:gd name="T89" fmla="*/ 1391 h 2762"/>
                <a:gd name="T90" fmla="*/ 1361 w 2762"/>
                <a:gd name="T91" fmla="*/ 1386 h 2762"/>
                <a:gd name="T92" fmla="*/ 1362 w 2762"/>
                <a:gd name="T93" fmla="*/ 1375 h 2762"/>
                <a:gd name="T94" fmla="*/ 1365 w 2762"/>
                <a:gd name="T95" fmla="*/ 1370 h 2762"/>
                <a:gd name="T96" fmla="*/ 1372 w 2762"/>
                <a:gd name="T97" fmla="*/ 1366 h 2762"/>
                <a:gd name="T98" fmla="*/ 1379 w 2762"/>
                <a:gd name="T99" fmla="*/ 1364 h 2762"/>
                <a:gd name="T100" fmla="*/ 1384 w 2762"/>
                <a:gd name="T101" fmla="*/ 1364 h 2762"/>
                <a:gd name="T102" fmla="*/ 1390 w 2762"/>
                <a:gd name="T103" fmla="*/ 1365 h 2762"/>
                <a:gd name="T104" fmla="*/ 1391 w 2762"/>
                <a:gd name="T105" fmla="*/ 1370 h 2762"/>
                <a:gd name="T106" fmla="*/ 1393 w 2762"/>
                <a:gd name="T107" fmla="*/ 1392 h 2762"/>
                <a:gd name="T108" fmla="*/ 1391 w 2762"/>
                <a:gd name="T109" fmla="*/ 1396 h 2762"/>
                <a:gd name="T110" fmla="*/ 1385 w 2762"/>
                <a:gd name="T111" fmla="*/ 1400 h 2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62" h="2762">
                  <a:moveTo>
                    <a:pt x="2756" y="1376"/>
                  </a:moveTo>
                  <a:cubicBezTo>
                    <a:pt x="2567" y="1368"/>
                    <a:pt x="2378" y="1369"/>
                    <a:pt x="2190" y="1369"/>
                  </a:cubicBezTo>
                  <a:cubicBezTo>
                    <a:pt x="1930" y="1368"/>
                    <a:pt x="1669" y="1364"/>
                    <a:pt x="1409" y="1376"/>
                  </a:cubicBezTo>
                  <a:cubicBezTo>
                    <a:pt x="1408" y="1372"/>
                    <a:pt x="1407" y="1369"/>
                    <a:pt x="1406" y="1366"/>
                  </a:cubicBezTo>
                  <a:cubicBezTo>
                    <a:pt x="1730" y="1056"/>
                    <a:pt x="2039" y="729"/>
                    <a:pt x="2356" y="411"/>
                  </a:cubicBezTo>
                  <a:cubicBezTo>
                    <a:pt x="2360" y="407"/>
                    <a:pt x="2354" y="401"/>
                    <a:pt x="2349" y="405"/>
                  </a:cubicBezTo>
                  <a:cubicBezTo>
                    <a:pt x="2211" y="533"/>
                    <a:pt x="2078" y="668"/>
                    <a:pt x="1944" y="801"/>
                  </a:cubicBezTo>
                  <a:cubicBezTo>
                    <a:pt x="1759" y="985"/>
                    <a:pt x="1571" y="1167"/>
                    <a:pt x="1395" y="1360"/>
                  </a:cubicBezTo>
                  <a:cubicBezTo>
                    <a:pt x="1393" y="1357"/>
                    <a:pt x="1391" y="1356"/>
                    <a:pt x="1388" y="1355"/>
                  </a:cubicBezTo>
                  <a:cubicBezTo>
                    <a:pt x="1399" y="906"/>
                    <a:pt x="1385" y="455"/>
                    <a:pt x="1384" y="6"/>
                  </a:cubicBezTo>
                  <a:cubicBezTo>
                    <a:pt x="1384" y="0"/>
                    <a:pt x="1376" y="1"/>
                    <a:pt x="1376" y="6"/>
                  </a:cubicBezTo>
                  <a:cubicBezTo>
                    <a:pt x="1368" y="195"/>
                    <a:pt x="1369" y="384"/>
                    <a:pt x="1369" y="572"/>
                  </a:cubicBezTo>
                  <a:cubicBezTo>
                    <a:pt x="1368" y="833"/>
                    <a:pt x="1364" y="1094"/>
                    <a:pt x="1376" y="1355"/>
                  </a:cubicBezTo>
                  <a:cubicBezTo>
                    <a:pt x="1372" y="1355"/>
                    <a:pt x="1369" y="1356"/>
                    <a:pt x="1366" y="1357"/>
                  </a:cubicBezTo>
                  <a:cubicBezTo>
                    <a:pt x="1057" y="1032"/>
                    <a:pt x="729" y="723"/>
                    <a:pt x="411" y="406"/>
                  </a:cubicBezTo>
                  <a:cubicBezTo>
                    <a:pt x="407" y="402"/>
                    <a:pt x="401" y="408"/>
                    <a:pt x="405" y="413"/>
                  </a:cubicBezTo>
                  <a:cubicBezTo>
                    <a:pt x="533" y="551"/>
                    <a:pt x="668" y="684"/>
                    <a:pt x="801" y="818"/>
                  </a:cubicBezTo>
                  <a:cubicBezTo>
                    <a:pt x="984" y="1002"/>
                    <a:pt x="1165" y="1188"/>
                    <a:pt x="1356" y="1364"/>
                  </a:cubicBezTo>
                  <a:cubicBezTo>
                    <a:pt x="1354" y="1367"/>
                    <a:pt x="1352" y="1371"/>
                    <a:pt x="1351" y="1374"/>
                  </a:cubicBezTo>
                  <a:cubicBezTo>
                    <a:pt x="903" y="1363"/>
                    <a:pt x="454" y="1377"/>
                    <a:pt x="6" y="1378"/>
                  </a:cubicBezTo>
                  <a:cubicBezTo>
                    <a:pt x="0" y="1378"/>
                    <a:pt x="1" y="1386"/>
                    <a:pt x="6" y="1386"/>
                  </a:cubicBezTo>
                  <a:cubicBezTo>
                    <a:pt x="195" y="1394"/>
                    <a:pt x="384" y="1393"/>
                    <a:pt x="572" y="1393"/>
                  </a:cubicBezTo>
                  <a:cubicBezTo>
                    <a:pt x="831" y="1394"/>
                    <a:pt x="1091" y="1397"/>
                    <a:pt x="1350" y="1386"/>
                  </a:cubicBezTo>
                  <a:cubicBezTo>
                    <a:pt x="1351" y="1390"/>
                    <a:pt x="1352" y="1394"/>
                    <a:pt x="1355" y="1398"/>
                  </a:cubicBezTo>
                  <a:cubicBezTo>
                    <a:pt x="1030" y="1707"/>
                    <a:pt x="723" y="2034"/>
                    <a:pt x="406" y="2351"/>
                  </a:cubicBezTo>
                  <a:cubicBezTo>
                    <a:pt x="402" y="2355"/>
                    <a:pt x="408" y="2361"/>
                    <a:pt x="413" y="2357"/>
                  </a:cubicBezTo>
                  <a:cubicBezTo>
                    <a:pt x="551" y="2229"/>
                    <a:pt x="684" y="2094"/>
                    <a:pt x="818" y="1961"/>
                  </a:cubicBezTo>
                  <a:cubicBezTo>
                    <a:pt x="1001" y="1779"/>
                    <a:pt x="1188" y="1597"/>
                    <a:pt x="1363" y="1407"/>
                  </a:cubicBezTo>
                  <a:cubicBezTo>
                    <a:pt x="1366" y="1409"/>
                    <a:pt x="1370" y="1411"/>
                    <a:pt x="1374" y="1412"/>
                  </a:cubicBezTo>
                  <a:cubicBezTo>
                    <a:pt x="1363" y="1859"/>
                    <a:pt x="1377" y="2308"/>
                    <a:pt x="1378" y="2756"/>
                  </a:cubicBezTo>
                  <a:cubicBezTo>
                    <a:pt x="1378" y="2762"/>
                    <a:pt x="1386" y="2761"/>
                    <a:pt x="1386" y="2756"/>
                  </a:cubicBezTo>
                  <a:cubicBezTo>
                    <a:pt x="1394" y="2567"/>
                    <a:pt x="1393" y="2378"/>
                    <a:pt x="1393" y="2190"/>
                  </a:cubicBezTo>
                  <a:cubicBezTo>
                    <a:pt x="1394" y="1930"/>
                    <a:pt x="1397" y="1671"/>
                    <a:pt x="1386" y="1412"/>
                  </a:cubicBezTo>
                  <a:cubicBezTo>
                    <a:pt x="1390" y="1411"/>
                    <a:pt x="1394" y="1409"/>
                    <a:pt x="1397" y="1406"/>
                  </a:cubicBezTo>
                  <a:cubicBezTo>
                    <a:pt x="1706" y="1731"/>
                    <a:pt x="2034" y="2039"/>
                    <a:pt x="2351" y="2356"/>
                  </a:cubicBezTo>
                  <a:cubicBezTo>
                    <a:pt x="2355" y="2360"/>
                    <a:pt x="2361" y="2354"/>
                    <a:pt x="2357" y="2349"/>
                  </a:cubicBezTo>
                  <a:cubicBezTo>
                    <a:pt x="2229" y="2211"/>
                    <a:pt x="2094" y="2078"/>
                    <a:pt x="1961" y="1944"/>
                  </a:cubicBezTo>
                  <a:cubicBezTo>
                    <a:pt x="1778" y="1760"/>
                    <a:pt x="1596" y="1573"/>
                    <a:pt x="1405" y="1397"/>
                  </a:cubicBezTo>
                  <a:cubicBezTo>
                    <a:pt x="1406" y="1394"/>
                    <a:pt x="1408" y="1391"/>
                    <a:pt x="1408" y="1388"/>
                  </a:cubicBezTo>
                  <a:cubicBezTo>
                    <a:pt x="1857" y="1399"/>
                    <a:pt x="2307" y="1385"/>
                    <a:pt x="2756" y="1384"/>
                  </a:cubicBezTo>
                  <a:cubicBezTo>
                    <a:pt x="2762" y="1384"/>
                    <a:pt x="2761" y="1376"/>
                    <a:pt x="2756" y="1376"/>
                  </a:cubicBezTo>
                  <a:close/>
                  <a:moveTo>
                    <a:pt x="1385" y="1400"/>
                  </a:moveTo>
                  <a:cubicBezTo>
                    <a:pt x="1383" y="1397"/>
                    <a:pt x="1377" y="1397"/>
                    <a:pt x="1375" y="1400"/>
                  </a:cubicBezTo>
                  <a:cubicBezTo>
                    <a:pt x="1374" y="1400"/>
                    <a:pt x="1372" y="1399"/>
                    <a:pt x="1370" y="1398"/>
                  </a:cubicBezTo>
                  <a:cubicBezTo>
                    <a:pt x="1372" y="1394"/>
                    <a:pt x="1367" y="1389"/>
                    <a:pt x="1363" y="1391"/>
                  </a:cubicBezTo>
                  <a:cubicBezTo>
                    <a:pt x="1362" y="1389"/>
                    <a:pt x="1361" y="1387"/>
                    <a:pt x="1361" y="1386"/>
                  </a:cubicBezTo>
                  <a:cubicBezTo>
                    <a:pt x="1365" y="1384"/>
                    <a:pt x="1366" y="1377"/>
                    <a:pt x="1362" y="1375"/>
                  </a:cubicBezTo>
                  <a:cubicBezTo>
                    <a:pt x="1362" y="1373"/>
                    <a:pt x="1363" y="1372"/>
                    <a:pt x="1365" y="1370"/>
                  </a:cubicBezTo>
                  <a:cubicBezTo>
                    <a:pt x="1368" y="1371"/>
                    <a:pt x="1371" y="1369"/>
                    <a:pt x="1372" y="1366"/>
                  </a:cubicBezTo>
                  <a:cubicBezTo>
                    <a:pt x="1374" y="1364"/>
                    <a:pt x="1377" y="1364"/>
                    <a:pt x="1379" y="1364"/>
                  </a:cubicBezTo>
                  <a:cubicBezTo>
                    <a:pt x="1381" y="1365"/>
                    <a:pt x="1382" y="1365"/>
                    <a:pt x="1384" y="1364"/>
                  </a:cubicBezTo>
                  <a:cubicBezTo>
                    <a:pt x="1386" y="1364"/>
                    <a:pt x="1388" y="1365"/>
                    <a:pt x="1390" y="1365"/>
                  </a:cubicBezTo>
                  <a:cubicBezTo>
                    <a:pt x="1390" y="1367"/>
                    <a:pt x="1390" y="1368"/>
                    <a:pt x="1391" y="1370"/>
                  </a:cubicBezTo>
                  <a:cubicBezTo>
                    <a:pt x="1396" y="1377"/>
                    <a:pt x="1398" y="1385"/>
                    <a:pt x="1393" y="1392"/>
                  </a:cubicBezTo>
                  <a:cubicBezTo>
                    <a:pt x="1392" y="1393"/>
                    <a:pt x="1391" y="1394"/>
                    <a:pt x="1391" y="1396"/>
                  </a:cubicBezTo>
                  <a:cubicBezTo>
                    <a:pt x="1389" y="1398"/>
                    <a:pt x="1387" y="1399"/>
                    <a:pt x="1385" y="140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354" name="组合 353">
            <a:extLst>
              <a:ext uri="{FF2B5EF4-FFF2-40B4-BE49-F238E27FC236}">
                <a16:creationId xmlns:a16="http://schemas.microsoft.com/office/drawing/2014/main" id="{FDA2CD82-9823-4A5D-9D1A-B7668C8959D3}"/>
              </a:ext>
            </a:extLst>
          </p:cNvPr>
          <p:cNvGrpSpPr/>
          <p:nvPr userDrawn="1"/>
        </p:nvGrpSpPr>
        <p:grpSpPr>
          <a:xfrm>
            <a:off x="2222376" y="4181791"/>
            <a:ext cx="1684696" cy="1678380"/>
            <a:chOff x="2222376" y="4181791"/>
            <a:chExt cx="1684696" cy="1678380"/>
          </a:xfrm>
        </p:grpSpPr>
        <p:sp>
          <p:nvSpPr>
            <p:cNvPr id="375" name="Freeform 365">
              <a:extLst>
                <a:ext uri="{FF2B5EF4-FFF2-40B4-BE49-F238E27FC236}">
                  <a16:creationId xmlns:a16="http://schemas.microsoft.com/office/drawing/2014/main" id="{96C49405-A742-4950-B844-29918186B8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55931" y="4220965"/>
              <a:ext cx="1615950" cy="1603704"/>
            </a:xfrm>
            <a:custGeom>
              <a:avLst/>
              <a:gdLst>
                <a:gd name="T0" fmla="*/ 2649 w 2649"/>
                <a:gd name="T1" fmla="*/ 1323 h 2639"/>
                <a:gd name="T2" fmla="*/ 2628 w 2649"/>
                <a:gd name="T3" fmla="*/ 1270 h 2639"/>
                <a:gd name="T4" fmla="*/ 2421 w 2649"/>
                <a:gd name="T5" fmla="*/ 888 h 2639"/>
                <a:gd name="T6" fmla="*/ 2268 w 2649"/>
                <a:gd name="T7" fmla="*/ 392 h 2639"/>
                <a:gd name="T8" fmla="*/ 2245 w 2649"/>
                <a:gd name="T9" fmla="*/ 370 h 2639"/>
                <a:gd name="T10" fmla="*/ 1799 w 2649"/>
                <a:gd name="T11" fmla="*/ 239 h 2639"/>
                <a:gd name="T12" fmla="*/ 1343 w 2649"/>
                <a:gd name="T13" fmla="*/ 0 h 2639"/>
                <a:gd name="T14" fmla="*/ 1303 w 2649"/>
                <a:gd name="T15" fmla="*/ 1 h 2639"/>
                <a:gd name="T16" fmla="*/ 899 w 2649"/>
                <a:gd name="T17" fmla="*/ 221 h 2639"/>
                <a:gd name="T18" fmla="*/ 405 w 2649"/>
                <a:gd name="T19" fmla="*/ 374 h 2639"/>
                <a:gd name="T20" fmla="*/ 381 w 2649"/>
                <a:gd name="T21" fmla="*/ 397 h 2639"/>
                <a:gd name="T22" fmla="*/ 250 w 2649"/>
                <a:gd name="T23" fmla="*/ 844 h 2639"/>
                <a:gd name="T24" fmla="*/ 9 w 2649"/>
                <a:gd name="T25" fmla="*/ 1302 h 2639"/>
                <a:gd name="T26" fmla="*/ 11 w 2649"/>
                <a:gd name="T27" fmla="*/ 1338 h 2639"/>
                <a:gd name="T28" fmla="*/ 232 w 2649"/>
                <a:gd name="T29" fmla="*/ 1743 h 2639"/>
                <a:gd name="T30" fmla="*/ 387 w 2649"/>
                <a:gd name="T31" fmla="*/ 2246 h 2639"/>
                <a:gd name="T32" fmla="*/ 412 w 2649"/>
                <a:gd name="T33" fmla="*/ 2262 h 2639"/>
                <a:gd name="T34" fmla="*/ 855 w 2649"/>
                <a:gd name="T35" fmla="*/ 2392 h 2639"/>
                <a:gd name="T36" fmla="*/ 1320 w 2649"/>
                <a:gd name="T37" fmla="*/ 2638 h 2639"/>
                <a:gd name="T38" fmla="*/ 1320 w 2649"/>
                <a:gd name="T39" fmla="*/ 2638 h 2639"/>
                <a:gd name="T40" fmla="*/ 1322 w 2649"/>
                <a:gd name="T41" fmla="*/ 2638 h 2639"/>
                <a:gd name="T42" fmla="*/ 1350 w 2649"/>
                <a:gd name="T43" fmla="*/ 2631 h 2639"/>
                <a:gd name="T44" fmla="*/ 1754 w 2649"/>
                <a:gd name="T45" fmla="*/ 2411 h 2639"/>
                <a:gd name="T46" fmla="*/ 2257 w 2649"/>
                <a:gd name="T47" fmla="*/ 2255 h 2639"/>
                <a:gd name="T48" fmla="*/ 2257 w 2649"/>
                <a:gd name="T49" fmla="*/ 2255 h 2639"/>
                <a:gd name="T50" fmla="*/ 2257 w 2649"/>
                <a:gd name="T51" fmla="*/ 2255 h 2639"/>
                <a:gd name="T52" fmla="*/ 2257 w 2649"/>
                <a:gd name="T53" fmla="*/ 2255 h 2639"/>
                <a:gd name="T54" fmla="*/ 2260 w 2649"/>
                <a:gd name="T55" fmla="*/ 2252 h 2639"/>
                <a:gd name="T56" fmla="*/ 2276 w 2649"/>
                <a:gd name="T57" fmla="*/ 2217 h 2639"/>
                <a:gd name="T58" fmla="*/ 2403 w 2649"/>
                <a:gd name="T59" fmla="*/ 1788 h 2639"/>
                <a:gd name="T60" fmla="*/ 2649 w 2649"/>
                <a:gd name="T61" fmla="*/ 132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49" h="2639">
                  <a:moveTo>
                    <a:pt x="2649" y="1323"/>
                  </a:moveTo>
                  <a:cubicBezTo>
                    <a:pt x="2645" y="1304"/>
                    <a:pt x="2638" y="1286"/>
                    <a:pt x="2628" y="1270"/>
                  </a:cubicBezTo>
                  <a:cubicBezTo>
                    <a:pt x="2584" y="1200"/>
                    <a:pt x="2481" y="1031"/>
                    <a:pt x="2421" y="888"/>
                  </a:cubicBezTo>
                  <a:cubicBezTo>
                    <a:pt x="2351" y="719"/>
                    <a:pt x="2280" y="440"/>
                    <a:pt x="2268" y="392"/>
                  </a:cubicBezTo>
                  <a:cubicBezTo>
                    <a:pt x="2245" y="370"/>
                    <a:pt x="2245" y="370"/>
                    <a:pt x="2245" y="370"/>
                  </a:cubicBezTo>
                  <a:cubicBezTo>
                    <a:pt x="2199" y="360"/>
                    <a:pt x="1965" y="308"/>
                    <a:pt x="1799" y="239"/>
                  </a:cubicBezTo>
                  <a:cubicBezTo>
                    <a:pt x="1634" y="172"/>
                    <a:pt x="1395" y="31"/>
                    <a:pt x="1343" y="0"/>
                  </a:cubicBezTo>
                  <a:cubicBezTo>
                    <a:pt x="1303" y="1"/>
                    <a:pt x="1303" y="1"/>
                    <a:pt x="1303" y="1"/>
                  </a:cubicBezTo>
                  <a:cubicBezTo>
                    <a:pt x="1255" y="32"/>
                    <a:pt x="1060" y="154"/>
                    <a:pt x="899" y="221"/>
                  </a:cubicBezTo>
                  <a:cubicBezTo>
                    <a:pt x="732" y="291"/>
                    <a:pt x="457" y="361"/>
                    <a:pt x="405" y="374"/>
                  </a:cubicBezTo>
                  <a:cubicBezTo>
                    <a:pt x="405" y="374"/>
                    <a:pt x="382" y="387"/>
                    <a:pt x="381" y="397"/>
                  </a:cubicBezTo>
                  <a:cubicBezTo>
                    <a:pt x="371" y="443"/>
                    <a:pt x="319" y="677"/>
                    <a:pt x="250" y="844"/>
                  </a:cubicBezTo>
                  <a:cubicBezTo>
                    <a:pt x="181" y="1012"/>
                    <a:pt x="36" y="1257"/>
                    <a:pt x="9" y="1302"/>
                  </a:cubicBezTo>
                  <a:cubicBezTo>
                    <a:pt x="3" y="1308"/>
                    <a:pt x="0" y="1330"/>
                    <a:pt x="11" y="1338"/>
                  </a:cubicBezTo>
                  <a:cubicBezTo>
                    <a:pt x="41" y="1385"/>
                    <a:pt x="164" y="1581"/>
                    <a:pt x="232" y="1743"/>
                  </a:cubicBezTo>
                  <a:cubicBezTo>
                    <a:pt x="309" y="1927"/>
                    <a:pt x="386" y="2242"/>
                    <a:pt x="387" y="2246"/>
                  </a:cubicBezTo>
                  <a:cubicBezTo>
                    <a:pt x="412" y="2262"/>
                    <a:pt x="412" y="2262"/>
                    <a:pt x="412" y="2262"/>
                  </a:cubicBezTo>
                  <a:cubicBezTo>
                    <a:pt x="464" y="2274"/>
                    <a:pt x="692" y="2325"/>
                    <a:pt x="855" y="2392"/>
                  </a:cubicBezTo>
                  <a:cubicBezTo>
                    <a:pt x="1041" y="2468"/>
                    <a:pt x="1320" y="2638"/>
                    <a:pt x="1320" y="2638"/>
                  </a:cubicBezTo>
                  <a:cubicBezTo>
                    <a:pt x="1320" y="2638"/>
                    <a:pt x="1320" y="2638"/>
                    <a:pt x="1320" y="2638"/>
                  </a:cubicBezTo>
                  <a:cubicBezTo>
                    <a:pt x="1322" y="2638"/>
                    <a:pt x="1322" y="2638"/>
                    <a:pt x="1322" y="2638"/>
                  </a:cubicBezTo>
                  <a:cubicBezTo>
                    <a:pt x="1332" y="2639"/>
                    <a:pt x="1350" y="2631"/>
                    <a:pt x="1350" y="2631"/>
                  </a:cubicBezTo>
                  <a:cubicBezTo>
                    <a:pt x="1398" y="2600"/>
                    <a:pt x="1593" y="2478"/>
                    <a:pt x="1754" y="2411"/>
                  </a:cubicBezTo>
                  <a:cubicBezTo>
                    <a:pt x="1939" y="2333"/>
                    <a:pt x="2257" y="2255"/>
                    <a:pt x="2257" y="2255"/>
                  </a:cubicBezTo>
                  <a:cubicBezTo>
                    <a:pt x="2257" y="2255"/>
                    <a:pt x="2257" y="2255"/>
                    <a:pt x="2257" y="2255"/>
                  </a:cubicBezTo>
                  <a:cubicBezTo>
                    <a:pt x="2257" y="2255"/>
                    <a:pt x="2257" y="2255"/>
                    <a:pt x="2257" y="2255"/>
                  </a:cubicBezTo>
                  <a:cubicBezTo>
                    <a:pt x="2257" y="2255"/>
                    <a:pt x="2257" y="2255"/>
                    <a:pt x="2257" y="2255"/>
                  </a:cubicBezTo>
                  <a:cubicBezTo>
                    <a:pt x="2260" y="2252"/>
                    <a:pt x="2260" y="2252"/>
                    <a:pt x="2260" y="2252"/>
                  </a:cubicBezTo>
                  <a:cubicBezTo>
                    <a:pt x="2276" y="2217"/>
                    <a:pt x="2276" y="2217"/>
                    <a:pt x="2276" y="2217"/>
                  </a:cubicBezTo>
                  <a:cubicBezTo>
                    <a:pt x="2292" y="2145"/>
                    <a:pt x="2341" y="1939"/>
                    <a:pt x="2403" y="1788"/>
                  </a:cubicBezTo>
                  <a:cubicBezTo>
                    <a:pt x="2477" y="1608"/>
                    <a:pt x="2638" y="1341"/>
                    <a:pt x="2649" y="132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376" name="Freeform 366">
              <a:extLst>
                <a:ext uri="{FF2B5EF4-FFF2-40B4-BE49-F238E27FC236}">
                  <a16:creationId xmlns:a16="http://schemas.microsoft.com/office/drawing/2014/main" id="{FE1D69FB-0216-4DC8-BEE7-FA932FE38C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22376" y="4181791"/>
              <a:ext cx="1684696" cy="1678380"/>
            </a:xfrm>
            <a:custGeom>
              <a:avLst/>
              <a:gdLst>
                <a:gd name="T0" fmla="*/ 2756 w 2762"/>
                <a:gd name="T1" fmla="*/ 1376 h 2762"/>
                <a:gd name="T2" fmla="*/ 2190 w 2762"/>
                <a:gd name="T3" fmla="*/ 1369 h 2762"/>
                <a:gd name="T4" fmla="*/ 1409 w 2762"/>
                <a:gd name="T5" fmla="*/ 1376 h 2762"/>
                <a:gd name="T6" fmla="*/ 1406 w 2762"/>
                <a:gd name="T7" fmla="*/ 1366 h 2762"/>
                <a:gd name="T8" fmla="*/ 2356 w 2762"/>
                <a:gd name="T9" fmla="*/ 411 h 2762"/>
                <a:gd name="T10" fmla="*/ 2349 w 2762"/>
                <a:gd name="T11" fmla="*/ 405 h 2762"/>
                <a:gd name="T12" fmla="*/ 1944 w 2762"/>
                <a:gd name="T13" fmla="*/ 801 h 2762"/>
                <a:gd name="T14" fmla="*/ 1395 w 2762"/>
                <a:gd name="T15" fmla="*/ 1360 h 2762"/>
                <a:gd name="T16" fmla="*/ 1388 w 2762"/>
                <a:gd name="T17" fmla="*/ 1355 h 2762"/>
                <a:gd name="T18" fmla="*/ 1384 w 2762"/>
                <a:gd name="T19" fmla="*/ 6 h 2762"/>
                <a:gd name="T20" fmla="*/ 1376 w 2762"/>
                <a:gd name="T21" fmla="*/ 6 h 2762"/>
                <a:gd name="T22" fmla="*/ 1369 w 2762"/>
                <a:gd name="T23" fmla="*/ 572 h 2762"/>
                <a:gd name="T24" fmla="*/ 1376 w 2762"/>
                <a:gd name="T25" fmla="*/ 1355 h 2762"/>
                <a:gd name="T26" fmla="*/ 1366 w 2762"/>
                <a:gd name="T27" fmla="*/ 1357 h 2762"/>
                <a:gd name="T28" fmla="*/ 411 w 2762"/>
                <a:gd name="T29" fmla="*/ 406 h 2762"/>
                <a:gd name="T30" fmla="*/ 405 w 2762"/>
                <a:gd name="T31" fmla="*/ 413 h 2762"/>
                <a:gd name="T32" fmla="*/ 801 w 2762"/>
                <a:gd name="T33" fmla="*/ 818 h 2762"/>
                <a:gd name="T34" fmla="*/ 1356 w 2762"/>
                <a:gd name="T35" fmla="*/ 1364 h 2762"/>
                <a:gd name="T36" fmla="*/ 1351 w 2762"/>
                <a:gd name="T37" fmla="*/ 1374 h 2762"/>
                <a:gd name="T38" fmla="*/ 6 w 2762"/>
                <a:gd name="T39" fmla="*/ 1378 h 2762"/>
                <a:gd name="T40" fmla="*/ 6 w 2762"/>
                <a:gd name="T41" fmla="*/ 1386 h 2762"/>
                <a:gd name="T42" fmla="*/ 572 w 2762"/>
                <a:gd name="T43" fmla="*/ 1393 h 2762"/>
                <a:gd name="T44" fmla="*/ 1350 w 2762"/>
                <a:gd name="T45" fmla="*/ 1386 h 2762"/>
                <a:gd name="T46" fmla="*/ 1355 w 2762"/>
                <a:gd name="T47" fmla="*/ 1398 h 2762"/>
                <a:gd name="T48" fmla="*/ 406 w 2762"/>
                <a:gd name="T49" fmla="*/ 2351 h 2762"/>
                <a:gd name="T50" fmla="*/ 413 w 2762"/>
                <a:gd name="T51" fmla="*/ 2357 h 2762"/>
                <a:gd name="T52" fmla="*/ 818 w 2762"/>
                <a:gd name="T53" fmla="*/ 1961 h 2762"/>
                <a:gd name="T54" fmla="*/ 1363 w 2762"/>
                <a:gd name="T55" fmla="*/ 1407 h 2762"/>
                <a:gd name="T56" fmla="*/ 1374 w 2762"/>
                <a:gd name="T57" fmla="*/ 1412 h 2762"/>
                <a:gd name="T58" fmla="*/ 1378 w 2762"/>
                <a:gd name="T59" fmla="*/ 2756 h 2762"/>
                <a:gd name="T60" fmla="*/ 1386 w 2762"/>
                <a:gd name="T61" fmla="*/ 2756 h 2762"/>
                <a:gd name="T62" fmla="*/ 1393 w 2762"/>
                <a:gd name="T63" fmla="*/ 2190 h 2762"/>
                <a:gd name="T64" fmla="*/ 1386 w 2762"/>
                <a:gd name="T65" fmla="*/ 1412 h 2762"/>
                <a:gd name="T66" fmla="*/ 1397 w 2762"/>
                <a:gd name="T67" fmla="*/ 1406 h 2762"/>
                <a:gd name="T68" fmla="*/ 2351 w 2762"/>
                <a:gd name="T69" fmla="*/ 2356 h 2762"/>
                <a:gd name="T70" fmla="*/ 2357 w 2762"/>
                <a:gd name="T71" fmla="*/ 2349 h 2762"/>
                <a:gd name="T72" fmla="*/ 1961 w 2762"/>
                <a:gd name="T73" fmla="*/ 1944 h 2762"/>
                <a:gd name="T74" fmla="*/ 1405 w 2762"/>
                <a:gd name="T75" fmla="*/ 1397 h 2762"/>
                <a:gd name="T76" fmla="*/ 1408 w 2762"/>
                <a:gd name="T77" fmla="*/ 1388 h 2762"/>
                <a:gd name="T78" fmla="*/ 2756 w 2762"/>
                <a:gd name="T79" fmla="*/ 1384 h 2762"/>
                <a:gd name="T80" fmla="*/ 2756 w 2762"/>
                <a:gd name="T81" fmla="*/ 1376 h 2762"/>
                <a:gd name="T82" fmla="*/ 1385 w 2762"/>
                <a:gd name="T83" fmla="*/ 1400 h 2762"/>
                <a:gd name="T84" fmla="*/ 1375 w 2762"/>
                <a:gd name="T85" fmla="*/ 1400 h 2762"/>
                <a:gd name="T86" fmla="*/ 1370 w 2762"/>
                <a:gd name="T87" fmla="*/ 1398 h 2762"/>
                <a:gd name="T88" fmla="*/ 1363 w 2762"/>
                <a:gd name="T89" fmla="*/ 1391 h 2762"/>
                <a:gd name="T90" fmla="*/ 1361 w 2762"/>
                <a:gd name="T91" fmla="*/ 1386 h 2762"/>
                <a:gd name="T92" fmla="*/ 1362 w 2762"/>
                <a:gd name="T93" fmla="*/ 1375 h 2762"/>
                <a:gd name="T94" fmla="*/ 1365 w 2762"/>
                <a:gd name="T95" fmla="*/ 1370 h 2762"/>
                <a:gd name="T96" fmla="*/ 1372 w 2762"/>
                <a:gd name="T97" fmla="*/ 1366 h 2762"/>
                <a:gd name="T98" fmla="*/ 1379 w 2762"/>
                <a:gd name="T99" fmla="*/ 1364 h 2762"/>
                <a:gd name="T100" fmla="*/ 1384 w 2762"/>
                <a:gd name="T101" fmla="*/ 1364 h 2762"/>
                <a:gd name="T102" fmla="*/ 1390 w 2762"/>
                <a:gd name="T103" fmla="*/ 1365 h 2762"/>
                <a:gd name="T104" fmla="*/ 1391 w 2762"/>
                <a:gd name="T105" fmla="*/ 1370 h 2762"/>
                <a:gd name="T106" fmla="*/ 1393 w 2762"/>
                <a:gd name="T107" fmla="*/ 1392 h 2762"/>
                <a:gd name="T108" fmla="*/ 1391 w 2762"/>
                <a:gd name="T109" fmla="*/ 1396 h 2762"/>
                <a:gd name="T110" fmla="*/ 1385 w 2762"/>
                <a:gd name="T111" fmla="*/ 1400 h 2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62" h="2762">
                  <a:moveTo>
                    <a:pt x="2756" y="1376"/>
                  </a:moveTo>
                  <a:cubicBezTo>
                    <a:pt x="2567" y="1368"/>
                    <a:pt x="2378" y="1369"/>
                    <a:pt x="2190" y="1369"/>
                  </a:cubicBezTo>
                  <a:cubicBezTo>
                    <a:pt x="1930" y="1368"/>
                    <a:pt x="1669" y="1364"/>
                    <a:pt x="1409" y="1376"/>
                  </a:cubicBezTo>
                  <a:cubicBezTo>
                    <a:pt x="1408" y="1372"/>
                    <a:pt x="1407" y="1369"/>
                    <a:pt x="1406" y="1366"/>
                  </a:cubicBezTo>
                  <a:cubicBezTo>
                    <a:pt x="1730" y="1056"/>
                    <a:pt x="2039" y="729"/>
                    <a:pt x="2356" y="411"/>
                  </a:cubicBezTo>
                  <a:cubicBezTo>
                    <a:pt x="2360" y="407"/>
                    <a:pt x="2354" y="401"/>
                    <a:pt x="2349" y="405"/>
                  </a:cubicBezTo>
                  <a:cubicBezTo>
                    <a:pt x="2211" y="533"/>
                    <a:pt x="2078" y="668"/>
                    <a:pt x="1944" y="801"/>
                  </a:cubicBezTo>
                  <a:cubicBezTo>
                    <a:pt x="1759" y="985"/>
                    <a:pt x="1571" y="1167"/>
                    <a:pt x="1395" y="1360"/>
                  </a:cubicBezTo>
                  <a:cubicBezTo>
                    <a:pt x="1393" y="1357"/>
                    <a:pt x="1391" y="1356"/>
                    <a:pt x="1388" y="1355"/>
                  </a:cubicBezTo>
                  <a:cubicBezTo>
                    <a:pt x="1399" y="906"/>
                    <a:pt x="1385" y="455"/>
                    <a:pt x="1384" y="6"/>
                  </a:cubicBezTo>
                  <a:cubicBezTo>
                    <a:pt x="1384" y="0"/>
                    <a:pt x="1376" y="1"/>
                    <a:pt x="1376" y="6"/>
                  </a:cubicBezTo>
                  <a:cubicBezTo>
                    <a:pt x="1368" y="195"/>
                    <a:pt x="1369" y="384"/>
                    <a:pt x="1369" y="572"/>
                  </a:cubicBezTo>
                  <a:cubicBezTo>
                    <a:pt x="1368" y="833"/>
                    <a:pt x="1364" y="1094"/>
                    <a:pt x="1376" y="1355"/>
                  </a:cubicBezTo>
                  <a:cubicBezTo>
                    <a:pt x="1372" y="1355"/>
                    <a:pt x="1369" y="1356"/>
                    <a:pt x="1366" y="1357"/>
                  </a:cubicBezTo>
                  <a:cubicBezTo>
                    <a:pt x="1057" y="1032"/>
                    <a:pt x="729" y="723"/>
                    <a:pt x="411" y="406"/>
                  </a:cubicBezTo>
                  <a:cubicBezTo>
                    <a:pt x="407" y="402"/>
                    <a:pt x="401" y="408"/>
                    <a:pt x="405" y="413"/>
                  </a:cubicBezTo>
                  <a:cubicBezTo>
                    <a:pt x="533" y="551"/>
                    <a:pt x="668" y="684"/>
                    <a:pt x="801" y="818"/>
                  </a:cubicBezTo>
                  <a:cubicBezTo>
                    <a:pt x="984" y="1002"/>
                    <a:pt x="1165" y="1188"/>
                    <a:pt x="1356" y="1364"/>
                  </a:cubicBezTo>
                  <a:cubicBezTo>
                    <a:pt x="1354" y="1367"/>
                    <a:pt x="1352" y="1371"/>
                    <a:pt x="1351" y="1374"/>
                  </a:cubicBezTo>
                  <a:cubicBezTo>
                    <a:pt x="903" y="1363"/>
                    <a:pt x="454" y="1377"/>
                    <a:pt x="6" y="1378"/>
                  </a:cubicBezTo>
                  <a:cubicBezTo>
                    <a:pt x="0" y="1378"/>
                    <a:pt x="1" y="1386"/>
                    <a:pt x="6" y="1386"/>
                  </a:cubicBezTo>
                  <a:cubicBezTo>
                    <a:pt x="195" y="1394"/>
                    <a:pt x="384" y="1393"/>
                    <a:pt x="572" y="1393"/>
                  </a:cubicBezTo>
                  <a:cubicBezTo>
                    <a:pt x="831" y="1394"/>
                    <a:pt x="1091" y="1397"/>
                    <a:pt x="1350" y="1386"/>
                  </a:cubicBezTo>
                  <a:cubicBezTo>
                    <a:pt x="1351" y="1390"/>
                    <a:pt x="1352" y="1394"/>
                    <a:pt x="1355" y="1398"/>
                  </a:cubicBezTo>
                  <a:cubicBezTo>
                    <a:pt x="1030" y="1707"/>
                    <a:pt x="723" y="2034"/>
                    <a:pt x="406" y="2351"/>
                  </a:cubicBezTo>
                  <a:cubicBezTo>
                    <a:pt x="402" y="2355"/>
                    <a:pt x="408" y="2361"/>
                    <a:pt x="413" y="2357"/>
                  </a:cubicBezTo>
                  <a:cubicBezTo>
                    <a:pt x="551" y="2229"/>
                    <a:pt x="684" y="2094"/>
                    <a:pt x="818" y="1961"/>
                  </a:cubicBezTo>
                  <a:cubicBezTo>
                    <a:pt x="1001" y="1779"/>
                    <a:pt x="1188" y="1597"/>
                    <a:pt x="1363" y="1407"/>
                  </a:cubicBezTo>
                  <a:cubicBezTo>
                    <a:pt x="1366" y="1409"/>
                    <a:pt x="1370" y="1411"/>
                    <a:pt x="1374" y="1412"/>
                  </a:cubicBezTo>
                  <a:cubicBezTo>
                    <a:pt x="1363" y="1859"/>
                    <a:pt x="1377" y="2308"/>
                    <a:pt x="1378" y="2756"/>
                  </a:cubicBezTo>
                  <a:cubicBezTo>
                    <a:pt x="1378" y="2762"/>
                    <a:pt x="1386" y="2761"/>
                    <a:pt x="1386" y="2756"/>
                  </a:cubicBezTo>
                  <a:cubicBezTo>
                    <a:pt x="1394" y="2567"/>
                    <a:pt x="1393" y="2378"/>
                    <a:pt x="1393" y="2190"/>
                  </a:cubicBezTo>
                  <a:cubicBezTo>
                    <a:pt x="1394" y="1930"/>
                    <a:pt x="1397" y="1671"/>
                    <a:pt x="1386" y="1412"/>
                  </a:cubicBezTo>
                  <a:cubicBezTo>
                    <a:pt x="1390" y="1411"/>
                    <a:pt x="1394" y="1409"/>
                    <a:pt x="1397" y="1406"/>
                  </a:cubicBezTo>
                  <a:cubicBezTo>
                    <a:pt x="1706" y="1731"/>
                    <a:pt x="2034" y="2039"/>
                    <a:pt x="2351" y="2356"/>
                  </a:cubicBezTo>
                  <a:cubicBezTo>
                    <a:pt x="2355" y="2360"/>
                    <a:pt x="2361" y="2354"/>
                    <a:pt x="2357" y="2349"/>
                  </a:cubicBezTo>
                  <a:cubicBezTo>
                    <a:pt x="2229" y="2211"/>
                    <a:pt x="2094" y="2078"/>
                    <a:pt x="1961" y="1944"/>
                  </a:cubicBezTo>
                  <a:cubicBezTo>
                    <a:pt x="1778" y="1760"/>
                    <a:pt x="1596" y="1573"/>
                    <a:pt x="1405" y="1397"/>
                  </a:cubicBezTo>
                  <a:cubicBezTo>
                    <a:pt x="1406" y="1394"/>
                    <a:pt x="1408" y="1391"/>
                    <a:pt x="1408" y="1388"/>
                  </a:cubicBezTo>
                  <a:cubicBezTo>
                    <a:pt x="1857" y="1399"/>
                    <a:pt x="2307" y="1385"/>
                    <a:pt x="2756" y="1384"/>
                  </a:cubicBezTo>
                  <a:cubicBezTo>
                    <a:pt x="2762" y="1384"/>
                    <a:pt x="2761" y="1376"/>
                    <a:pt x="2756" y="1376"/>
                  </a:cubicBezTo>
                  <a:close/>
                  <a:moveTo>
                    <a:pt x="1385" y="1400"/>
                  </a:moveTo>
                  <a:cubicBezTo>
                    <a:pt x="1383" y="1397"/>
                    <a:pt x="1377" y="1397"/>
                    <a:pt x="1375" y="1400"/>
                  </a:cubicBezTo>
                  <a:cubicBezTo>
                    <a:pt x="1374" y="1400"/>
                    <a:pt x="1372" y="1399"/>
                    <a:pt x="1370" y="1398"/>
                  </a:cubicBezTo>
                  <a:cubicBezTo>
                    <a:pt x="1372" y="1394"/>
                    <a:pt x="1367" y="1389"/>
                    <a:pt x="1363" y="1391"/>
                  </a:cubicBezTo>
                  <a:cubicBezTo>
                    <a:pt x="1362" y="1389"/>
                    <a:pt x="1361" y="1387"/>
                    <a:pt x="1361" y="1386"/>
                  </a:cubicBezTo>
                  <a:cubicBezTo>
                    <a:pt x="1365" y="1384"/>
                    <a:pt x="1366" y="1377"/>
                    <a:pt x="1362" y="1375"/>
                  </a:cubicBezTo>
                  <a:cubicBezTo>
                    <a:pt x="1362" y="1373"/>
                    <a:pt x="1363" y="1372"/>
                    <a:pt x="1365" y="1370"/>
                  </a:cubicBezTo>
                  <a:cubicBezTo>
                    <a:pt x="1368" y="1371"/>
                    <a:pt x="1371" y="1369"/>
                    <a:pt x="1372" y="1366"/>
                  </a:cubicBezTo>
                  <a:cubicBezTo>
                    <a:pt x="1374" y="1364"/>
                    <a:pt x="1377" y="1364"/>
                    <a:pt x="1379" y="1364"/>
                  </a:cubicBezTo>
                  <a:cubicBezTo>
                    <a:pt x="1381" y="1365"/>
                    <a:pt x="1382" y="1365"/>
                    <a:pt x="1384" y="1364"/>
                  </a:cubicBezTo>
                  <a:cubicBezTo>
                    <a:pt x="1386" y="1364"/>
                    <a:pt x="1388" y="1365"/>
                    <a:pt x="1390" y="1365"/>
                  </a:cubicBezTo>
                  <a:cubicBezTo>
                    <a:pt x="1390" y="1367"/>
                    <a:pt x="1390" y="1368"/>
                    <a:pt x="1391" y="1370"/>
                  </a:cubicBezTo>
                  <a:cubicBezTo>
                    <a:pt x="1396" y="1377"/>
                    <a:pt x="1398" y="1385"/>
                    <a:pt x="1393" y="1392"/>
                  </a:cubicBezTo>
                  <a:cubicBezTo>
                    <a:pt x="1392" y="1393"/>
                    <a:pt x="1391" y="1394"/>
                    <a:pt x="1391" y="1396"/>
                  </a:cubicBezTo>
                  <a:cubicBezTo>
                    <a:pt x="1389" y="1398"/>
                    <a:pt x="1387" y="1399"/>
                    <a:pt x="1385" y="1400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066713" y="4758344"/>
            <a:ext cx="6272698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074735" y="1146174"/>
            <a:ext cx="6256339" cy="319174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04610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F6AD639B-A304-4328-85D1-BD03847B344B}"/>
              </a:ext>
            </a:extLst>
          </p:cNvPr>
          <p:cNvGrpSpPr/>
          <p:nvPr userDrawn="1"/>
        </p:nvGrpSpPr>
        <p:grpSpPr>
          <a:xfrm>
            <a:off x="1381126" y="1711758"/>
            <a:ext cx="3687586" cy="3683042"/>
            <a:chOff x="3516313" y="852488"/>
            <a:chExt cx="5153025" cy="51466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509169ED-74E6-4623-8CAA-33C0E47953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17913" y="969963"/>
              <a:ext cx="4941888" cy="4916488"/>
            </a:xfrm>
            <a:custGeom>
              <a:avLst/>
              <a:gdLst>
                <a:gd name="T0" fmla="*/ 1498 w 1498"/>
                <a:gd name="T1" fmla="*/ 748 h 1492"/>
                <a:gd name="T2" fmla="*/ 1486 w 1498"/>
                <a:gd name="T3" fmla="*/ 718 h 1492"/>
                <a:gd name="T4" fmla="*/ 1370 w 1498"/>
                <a:gd name="T5" fmla="*/ 502 h 1492"/>
                <a:gd name="T6" fmla="*/ 1283 w 1498"/>
                <a:gd name="T7" fmla="*/ 222 h 1492"/>
                <a:gd name="T8" fmla="*/ 1270 w 1498"/>
                <a:gd name="T9" fmla="*/ 209 h 1492"/>
                <a:gd name="T10" fmla="*/ 1017 w 1498"/>
                <a:gd name="T11" fmla="*/ 135 h 1492"/>
                <a:gd name="T12" fmla="*/ 760 w 1498"/>
                <a:gd name="T13" fmla="*/ 0 h 1492"/>
                <a:gd name="T14" fmla="*/ 737 w 1498"/>
                <a:gd name="T15" fmla="*/ 0 h 1492"/>
                <a:gd name="T16" fmla="*/ 509 w 1498"/>
                <a:gd name="T17" fmla="*/ 125 h 1492"/>
                <a:gd name="T18" fmla="*/ 229 w 1498"/>
                <a:gd name="T19" fmla="*/ 211 h 1492"/>
                <a:gd name="T20" fmla="*/ 216 w 1498"/>
                <a:gd name="T21" fmla="*/ 225 h 1492"/>
                <a:gd name="T22" fmla="*/ 142 w 1498"/>
                <a:gd name="T23" fmla="*/ 477 h 1492"/>
                <a:gd name="T24" fmla="*/ 5 w 1498"/>
                <a:gd name="T25" fmla="*/ 736 h 1492"/>
                <a:gd name="T26" fmla="*/ 6 w 1498"/>
                <a:gd name="T27" fmla="*/ 757 h 1492"/>
                <a:gd name="T28" fmla="*/ 131 w 1498"/>
                <a:gd name="T29" fmla="*/ 986 h 1492"/>
                <a:gd name="T30" fmla="*/ 219 w 1498"/>
                <a:gd name="T31" fmla="*/ 1270 h 1492"/>
                <a:gd name="T32" fmla="*/ 233 w 1498"/>
                <a:gd name="T33" fmla="*/ 1279 h 1492"/>
                <a:gd name="T34" fmla="*/ 484 w 1498"/>
                <a:gd name="T35" fmla="*/ 1353 h 1492"/>
                <a:gd name="T36" fmla="*/ 747 w 1498"/>
                <a:gd name="T37" fmla="*/ 1492 h 1492"/>
                <a:gd name="T38" fmla="*/ 747 w 1498"/>
                <a:gd name="T39" fmla="*/ 1492 h 1492"/>
                <a:gd name="T40" fmla="*/ 748 w 1498"/>
                <a:gd name="T41" fmla="*/ 1492 h 1492"/>
                <a:gd name="T42" fmla="*/ 764 w 1498"/>
                <a:gd name="T43" fmla="*/ 1488 h 1492"/>
                <a:gd name="T44" fmla="*/ 992 w 1498"/>
                <a:gd name="T45" fmla="*/ 1363 h 1492"/>
                <a:gd name="T46" fmla="*/ 1277 w 1498"/>
                <a:gd name="T47" fmla="*/ 1275 h 1492"/>
                <a:gd name="T48" fmla="*/ 1277 w 1498"/>
                <a:gd name="T49" fmla="*/ 1275 h 1492"/>
                <a:gd name="T50" fmla="*/ 1277 w 1498"/>
                <a:gd name="T51" fmla="*/ 1275 h 1492"/>
                <a:gd name="T52" fmla="*/ 1277 w 1498"/>
                <a:gd name="T53" fmla="*/ 1275 h 1492"/>
                <a:gd name="T54" fmla="*/ 1278 w 1498"/>
                <a:gd name="T55" fmla="*/ 1274 h 1492"/>
                <a:gd name="T56" fmla="*/ 1287 w 1498"/>
                <a:gd name="T57" fmla="*/ 1254 h 1492"/>
                <a:gd name="T58" fmla="*/ 1359 w 1498"/>
                <a:gd name="T59" fmla="*/ 1011 h 1492"/>
                <a:gd name="T60" fmla="*/ 1498 w 1498"/>
                <a:gd name="T61" fmla="*/ 748 h 1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98" h="1492">
                  <a:moveTo>
                    <a:pt x="1498" y="748"/>
                  </a:moveTo>
                  <a:cubicBezTo>
                    <a:pt x="1496" y="738"/>
                    <a:pt x="1492" y="727"/>
                    <a:pt x="1486" y="718"/>
                  </a:cubicBezTo>
                  <a:cubicBezTo>
                    <a:pt x="1461" y="678"/>
                    <a:pt x="1403" y="583"/>
                    <a:pt x="1370" y="502"/>
                  </a:cubicBezTo>
                  <a:cubicBezTo>
                    <a:pt x="1330" y="407"/>
                    <a:pt x="1290" y="249"/>
                    <a:pt x="1283" y="222"/>
                  </a:cubicBezTo>
                  <a:cubicBezTo>
                    <a:pt x="1270" y="209"/>
                    <a:pt x="1270" y="209"/>
                    <a:pt x="1270" y="209"/>
                  </a:cubicBezTo>
                  <a:cubicBezTo>
                    <a:pt x="1244" y="204"/>
                    <a:pt x="1112" y="174"/>
                    <a:pt x="1017" y="135"/>
                  </a:cubicBezTo>
                  <a:cubicBezTo>
                    <a:pt x="924" y="97"/>
                    <a:pt x="789" y="17"/>
                    <a:pt x="760" y="0"/>
                  </a:cubicBezTo>
                  <a:cubicBezTo>
                    <a:pt x="737" y="0"/>
                    <a:pt x="737" y="0"/>
                    <a:pt x="737" y="0"/>
                  </a:cubicBezTo>
                  <a:cubicBezTo>
                    <a:pt x="710" y="18"/>
                    <a:pt x="600" y="87"/>
                    <a:pt x="509" y="125"/>
                  </a:cubicBezTo>
                  <a:cubicBezTo>
                    <a:pt x="414" y="164"/>
                    <a:pt x="258" y="204"/>
                    <a:pt x="229" y="211"/>
                  </a:cubicBezTo>
                  <a:cubicBezTo>
                    <a:pt x="229" y="211"/>
                    <a:pt x="216" y="219"/>
                    <a:pt x="216" y="225"/>
                  </a:cubicBezTo>
                  <a:cubicBezTo>
                    <a:pt x="210" y="250"/>
                    <a:pt x="180" y="383"/>
                    <a:pt x="142" y="477"/>
                  </a:cubicBezTo>
                  <a:cubicBezTo>
                    <a:pt x="103" y="572"/>
                    <a:pt x="20" y="711"/>
                    <a:pt x="5" y="736"/>
                  </a:cubicBezTo>
                  <a:cubicBezTo>
                    <a:pt x="2" y="740"/>
                    <a:pt x="0" y="752"/>
                    <a:pt x="6" y="757"/>
                  </a:cubicBezTo>
                  <a:cubicBezTo>
                    <a:pt x="23" y="783"/>
                    <a:pt x="93" y="894"/>
                    <a:pt x="131" y="986"/>
                  </a:cubicBezTo>
                  <a:cubicBezTo>
                    <a:pt x="175" y="1090"/>
                    <a:pt x="218" y="1268"/>
                    <a:pt x="219" y="1270"/>
                  </a:cubicBezTo>
                  <a:cubicBezTo>
                    <a:pt x="233" y="1279"/>
                    <a:pt x="233" y="1279"/>
                    <a:pt x="233" y="1279"/>
                  </a:cubicBezTo>
                  <a:cubicBezTo>
                    <a:pt x="263" y="1286"/>
                    <a:pt x="391" y="1315"/>
                    <a:pt x="484" y="1353"/>
                  </a:cubicBezTo>
                  <a:cubicBezTo>
                    <a:pt x="589" y="1396"/>
                    <a:pt x="747" y="1492"/>
                    <a:pt x="747" y="1492"/>
                  </a:cubicBezTo>
                  <a:cubicBezTo>
                    <a:pt x="747" y="1492"/>
                    <a:pt x="747" y="1492"/>
                    <a:pt x="747" y="1492"/>
                  </a:cubicBezTo>
                  <a:cubicBezTo>
                    <a:pt x="748" y="1492"/>
                    <a:pt x="748" y="1492"/>
                    <a:pt x="748" y="1492"/>
                  </a:cubicBezTo>
                  <a:cubicBezTo>
                    <a:pt x="753" y="1492"/>
                    <a:pt x="764" y="1488"/>
                    <a:pt x="764" y="1488"/>
                  </a:cubicBezTo>
                  <a:cubicBezTo>
                    <a:pt x="791" y="1470"/>
                    <a:pt x="901" y="1401"/>
                    <a:pt x="992" y="1363"/>
                  </a:cubicBezTo>
                  <a:cubicBezTo>
                    <a:pt x="1097" y="1319"/>
                    <a:pt x="1277" y="1275"/>
                    <a:pt x="1277" y="1275"/>
                  </a:cubicBezTo>
                  <a:cubicBezTo>
                    <a:pt x="1277" y="1275"/>
                    <a:pt x="1277" y="1275"/>
                    <a:pt x="1277" y="1275"/>
                  </a:cubicBezTo>
                  <a:cubicBezTo>
                    <a:pt x="1277" y="1275"/>
                    <a:pt x="1277" y="1275"/>
                    <a:pt x="1277" y="1275"/>
                  </a:cubicBezTo>
                  <a:cubicBezTo>
                    <a:pt x="1277" y="1275"/>
                    <a:pt x="1277" y="1275"/>
                    <a:pt x="1277" y="1275"/>
                  </a:cubicBezTo>
                  <a:cubicBezTo>
                    <a:pt x="1278" y="1274"/>
                    <a:pt x="1278" y="1274"/>
                    <a:pt x="1278" y="1274"/>
                  </a:cubicBezTo>
                  <a:cubicBezTo>
                    <a:pt x="1287" y="1254"/>
                    <a:pt x="1287" y="1254"/>
                    <a:pt x="1287" y="1254"/>
                  </a:cubicBezTo>
                  <a:cubicBezTo>
                    <a:pt x="1296" y="1213"/>
                    <a:pt x="1324" y="1097"/>
                    <a:pt x="1359" y="1011"/>
                  </a:cubicBezTo>
                  <a:cubicBezTo>
                    <a:pt x="1401" y="909"/>
                    <a:pt x="1492" y="758"/>
                    <a:pt x="1498" y="748"/>
                  </a:cubicBezTo>
                  <a:close/>
                </a:path>
              </a:pathLst>
            </a:custGeom>
            <a:solidFill>
              <a:srgbClr val="D34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87744DAA-7A78-4065-81C2-254FDE47C6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16313" y="852488"/>
              <a:ext cx="5153025" cy="5146675"/>
            </a:xfrm>
            <a:custGeom>
              <a:avLst/>
              <a:gdLst>
                <a:gd name="T0" fmla="*/ 1559 w 1562"/>
                <a:gd name="T1" fmla="*/ 778 h 1562"/>
                <a:gd name="T2" fmla="*/ 1238 w 1562"/>
                <a:gd name="T3" fmla="*/ 774 h 1562"/>
                <a:gd name="T4" fmla="*/ 797 w 1562"/>
                <a:gd name="T5" fmla="*/ 778 h 1562"/>
                <a:gd name="T6" fmla="*/ 795 w 1562"/>
                <a:gd name="T7" fmla="*/ 772 h 1562"/>
                <a:gd name="T8" fmla="*/ 1332 w 1562"/>
                <a:gd name="T9" fmla="*/ 232 h 1562"/>
                <a:gd name="T10" fmla="*/ 1329 w 1562"/>
                <a:gd name="T11" fmla="*/ 229 h 1562"/>
                <a:gd name="T12" fmla="*/ 1100 w 1562"/>
                <a:gd name="T13" fmla="*/ 453 h 1562"/>
                <a:gd name="T14" fmla="*/ 789 w 1562"/>
                <a:gd name="T15" fmla="*/ 769 h 1562"/>
                <a:gd name="T16" fmla="*/ 785 w 1562"/>
                <a:gd name="T17" fmla="*/ 766 h 1562"/>
                <a:gd name="T18" fmla="*/ 783 w 1562"/>
                <a:gd name="T19" fmla="*/ 3 h 1562"/>
                <a:gd name="T20" fmla="*/ 778 w 1562"/>
                <a:gd name="T21" fmla="*/ 3 h 1562"/>
                <a:gd name="T22" fmla="*/ 774 w 1562"/>
                <a:gd name="T23" fmla="*/ 323 h 1562"/>
                <a:gd name="T24" fmla="*/ 778 w 1562"/>
                <a:gd name="T25" fmla="*/ 766 h 1562"/>
                <a:gd name="T26" fmla="*/ 773 w 1562"/>
                <a:gd name="T27" fmla="*/ 767 h 1562"/>
                <a:gd name="T28" fmla="*/ 232 w 1562"/>
                <a:gd name="T29" fmla="*/ 230 h 1562"/>
                <a:gd name="T30" fmla="*/ 229 w 1562"/>
                <a:gd name="T31" fmla="*/ 233 h 1562"/>
                <a:gd name="T32" fmla="*/ 453 w 1562"/>
                <a:gd name="T33" fmla="*/ 462 h 1562"/>
                <a:gd name="T34" fmla="*/ 767 w 1562"/>
                <a:gd name="T35" fmla="*/ 771 h 1562"/>
                <a:gd name="T36" fmla="*/ 764 w 1562"/>
                <a:gd name="T37" fmla="*/ 777 h 1562"/>
                <a:gd name="T38" fmla="*/ 3 w 1562"/>
                <a:gd name="T39" fmla="*/ 779 h 1562"/>
                <a:gd name="T40" fmla="*/ 3 w 1562"/>
                <a:gd name="T41" fmla="*/ 784 h 1562"/>
                <a:gd name="T42" fmla="*/ 324 w 1562"/>
                <a:gd name="T43" fmla="*/ 788 h 1562"/>
                <a:gd name="T44" fmla="*/ 764 w 1562"/>
                <a:gd name="T45" fmla="*/ 784 h 1562"/>
                <a:gd name="T46" fmla="*/ 766 w 1562"/>
                <a:gd name="T47" fmla="*/ 790 h 1562"/>
                <a:gd name="T48" fmla="*/ 230 w 1562"/>
                <a:gd name="T49" fmla="*/ 1329 h 1562"/>
                <a:gd name="T50" fmla="*/ 233 w 1562"/>
                <a:gd name="T51" fmla="*/ 1333 h 1562"/>
                <a:gd name="T52" fmla="*/ 462 w 1562"/>
                <a:gd name="T53" fmla="*/ 1109 h 1562"/>
                <a:gd name="T54" fmla="*/ 771 w 1562"/>
                <a:gd name="T55" fmla="*/ 795 h 1562"/>
                <a:gd name="T56" fmla="*/ 777 w 1562"/>
                <a:gd name="T57" fmla="*/ 798 h 1562"/>
                <a:gd name="T58" fmla="*/ 779 w 1562"/>
                <a:gd name="T59" fmla="*/ 1558 h 1562"/>
                <a:gd name="T60" fmla="*/ 784 w 1562"/>
                <a:gd name="T61" fmla="*/ 1558 h 1562"/>
                <a:gd name="T62" fmla="*/ 788 w 1562"/>
                <a:gd name="T63" fmla="*/ 1238 h 1562"/>
                <a:gd name="T64" fmla="*/ 784 w 1562"/>
                <a:gd name="T65" fmla="*/ 798 h 1562"/>
                <a:gd name="T66" fmla="*/ 790 w 1562"/>
                <a:gd name="T67" fmla="*/ 795 h 1562"/>
                <a:gd name="T68" fmla="*/ 1330 w 1562"/>
                <a:gd name="T69" fmla="*/ 1332 h 1562"/>
                <a:gd name="T70" fmla="*/ 1333 w 1562"/>
                <a:gd name="T71" fmla="*/ 1328 h 1562"/>
                <a:gd name="T72" fmla="*/ 1109 w 1562"/>
                <a:gd name="T73" fmla="*/ 1099 h 1562"/>
                <a:gd name="T74" fmla="*/ 794 w 1562"/>
                <a:gd name="T75" fmla="*/ 790 h 1562"/>
                <a:gd name="T76" fmla="*/ 796 w 1562"/>
                <a:gd name="T77" fmla="*/ 784 h 1562"/>
                <a:gd name="T78" fmla="*/ 1559 w 1562"/>
                <a:gd name="T79" fmla="*/ 783 h 1562"/>
                <a:gd name="T80" fmla="*/ 1559 w 1562"/>
                <a:gd name="T81" fmla="*/ 778 h 1562"/>
                <a:gd name="T82" fmla="*/ 783 w 1562"/>
                <a:gd name="T83" fmla="*/ 791 h 1562"/>
                <a:gd name="T84" fmla="*/ 778 w 1562"/>
                <a:gd name="T85" fmla="*/ 792 h 1562"/>
                <a:gd name="T86" fmla="*/ 775 w 1562"/>
                <a:gd name="T87" fmla="*/ 790 h 1562"/>
                <a:gd name="T88" fmla="*/ 771 w 1562"/>
                <a:gd name="T89" fmla="*/ 786 h 1562"/>
                <a:gd name="T90" fmla="*/ 770 w 1562"/>
                <a:gd name="T91" fmla="*/ 783 h 1562"/>
                <a:gd name="T92" fmla="*/ 770 w 1562"/>
                <a:gd name="T93" fmla="*/ 777 h 1562"/>
                <a:gd name="T94" fmla="*/ 772 w 1562"/>
                <a:gd name="T95" fmla="*/ 775 h 1562"/>
                <a:gd name="T96" fmla="*/ 776 w 1562"/>
                <a:gd name="T97" fmla="*/ 772 h 1562"/>
                <a:gd name="T98" fmla="*/ 780 w 1562"/>
                <a:gd name="T99" fmla="*/ 771 h 1562"/>
                <a:gd name="T100" fmla="*/ 783 w 1562"/>
                <a:gd name="T101" fmla="*/ 771 h 1562"/>
                <a:gd name="T102" fmla="*/ 786 w 1562"/>
                <a:gd name="T103" fmla="*/ 772 h 1562"/>
                <a:gd name="T104" fmla="*/ 787 w 1562"/>
                <a:gd name="T105" fmla="*/ 774 h 1562"/>
                <a:gd name="T106" fmla="*/ 788 w 1562"/>
                <a:gd name="T107" fmla="*/ 787 h 1562"/>
                <a:gd name="T108" fmla="*/ 786 w 1562"/>
                <a:gd name="T109" fmla="*/ 789 h 1562"/>
                <a:gd name="T110" fmla="*/ 783 w 1562"/>
                <a:gd name="T111" fmla="*/ 791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62" h="1562">
                  <a:moveTo>
                    <a:pt x="1559" y="778"/>
                  </a:moveTo>
                  <a:cubicBezTo>
                    <a:pt x="1452" y="774"/>
                    <a:pt x="1345" y="774"/>
                    <a:pt x="1238" y="774"/>
                  </a:cubicBezTo>
                  <a:cubicBezTo>
                    <a:pt x="1091" y="773"/>
                    <a:pt x="944" y="771"/>
                    <a:pt x="797" y="778"/>
                  </a:cubicBezTo>
                  <a:cubicBezTo>
                    <a:pt x="796" y="776"/>
                    <a:pt x="796" y="774"/>
                    <a:pt x="795" y="772"/>
                  </a:cubicBezTo>
                  <a:cubicBezTo>
                    <a:pt x="979" y="597"/>
                    <a:pt x="1153" y="412"/>
                    <a:pt x="1332" y="232"/>
                  </a:cubicBezTo>
                  <a:cubicBezTo>
                    <a:pt x="1334" y="230"/>
                    <a:pt x="1331" y="227"/>
                    <a:pt x="1329" y="229"/>
                  </a:cubicBezTo>
                  <a:cubicBezTo>
                    <a:pt x="1250" y="301"/>
                    <a:pt x="1175" y="377"/>
                    <a:pt x="1100" y="453"/>
                  </a:cubicBezTo>
                  <a:cubicBezTo>
                    <a:pt x="995" y="557"/>
                    <a:pt x="889" y="660"/>
                    <a:pt x="789" y="769"/>
                  </a:cubicBezTo>
                  <a:cubicBezTo>
                    <a:pt x="788" y="767"/>
                    <a:pt x="786" y="767"/>
                    <a:pt x="785" y="766"/>
                  </a:cubicBezTo>
                  <a:cubicBezTo>
                    <a:pt x="791" y="512"/>
                    <a:pt x="783" y="257"/>
                    <a:pt x="783" y="3"/>
                  </a:cubicBezTo>
                  <a:cubicBezTo>
                    <a:pt x="783" y="0"/>
                    <a:pt x="778" y="0"/>
                    <a:pt x="778" y="3"/>
                  </a:cubicBezTo>
                  <a:cubicBezTo>
                    <a:pt x="774" y="110"/>
                    <a:pt x="774" y="217"/>
                    <a:pt x="774" y="323"/>
                  </a:cubicBezTo>
                  <a:cubicBezTo>
                    <a:pt x="774" y="471"/>
                    <a:pt x="772" y="619"/>
                    <a:pt x="778" y="766"/>
                  </a:cubicBezTo>
                  <a:cubicBezTo>
                    <a:pt x="776" y="766"/>
                    <a:pt x="774" y="767"/>
                    <a:pt x="773" y="767"/>
                  </a:cubicBezTo>
                  <a:cubicBezTo>
                    <a:pt x="598" y="583"/>
                    <a:pt x="412" y="409"/>
                    <a:pt x="232" y="230"/>
                  </a:cubicBezTo>
                  <a:cubicBezTo>
                    <a:pt x="230" y="227"/>
                    <a:pt x="227" y="231"/>
                    <a:pt x="229" y="233"/>
                  </a:cubicBezTo>
                  <a:cubicBezTo>
                    <a:pt x="302" y="311"/>
                    <a:pt x="378" y="387"/>
                    <a:pt x="453" y="462"/>
                  </a:cubicBezTo>
                  <a:cubicBezTo>
                    <a:pt x="556" y="566"/>
                    <a:pt x="659" y="672"/>
                    <a:pt x="767" y="771"/>
                  </a:cubicBezTo>
                  <a:cubicBezTo>
                    <a:pt x="765" y="773"/>
                    <a:pt x="764" y="775"/>
                    <a:pt x="764" y="777"/>
                  </a:cubicBezTo>
                  <a:cubicBezTo>
                    <a:pt x="511" y="771"/>
                    <a:pt x="257" y="779"/>
                    <a:pt x="3" y="779"/>
                  </a:cubicBezTo>
                  <a:cubicBezTo>
                    <a:pt x="0" y="779"/>
                    <a:pt x="0" y="784"/>
                    <a:pt x="3" y="784"/>
                  </a:cubicBezTo>
                  <a:cubicBezTo>
                    <a:pt x="110" y="788"/>
                    <a:pt x="217" y="787"/>
                    <a:pt x="324" y="788"/>
                  </a:cubicBezTo>
                  <a:cubicBezTo>
                    <a:pt x="470" y="788"/>
                    <a:pt x="617" y="790"/>
                    <a:pt x="764" y="784"/>
                  </a:cubicBezTo>
                  <a:cubicBezTo>
                    <a:pt x="764" y="786"/>
                    <a:pt x="765" y="788"/>
                    <a:pt x="766" y="790"/>
                  </a:cubicBezTo>
                  <a:cubicBezTo>
                    <a:pt x="583" y="965"/>
                    <a:pt x="409" y="1150"/>
                    <a:pt x="230" y="1329"/>
                  </a:cubicBezTo>
                  <a:cubicBezTo>
                    <a:pt x="228" y="1332"/>
                    <a:pt x="231" y="1335"/>
                    <a:pt x="233" y="1333"/>
                  </a:cubicBezTo>
                  <a:cubicBezTo>
                    <a:pt x="312" y="1260"/>
                    <a:pt x="387" y="1184"/>
                    <a:pt x="462" y="1109"/>
                  </a:cubicBezTo>
                  <a:cubicBezTo>
                    <a:pt x="566" y="1006"/>
                    <a:pt x="672" y="903"/>
                    <a:pt x="771" y="795"/>
                  </a:cubicBezTo>
                  <a:cubicBezTo>
                    <a:pt x="773" y="797"/>
                    <a:pt x="775" y="798"/>
                    <a:pt x="777" y="798"/>
                  </a:cubicBezTo>
                  <a:cubicBezTo>
                    <a:pt x="771" y="1051"/>
                    <a:pt x="779" y="1305"/>
                    <a:pt x="779" y="1558"/>
                  </a:cubicBezTo>
                  <a:cubicBezTo>
                    <a:pt x="779" y="1562"/>
                    <a:pt x="784" y="1561"/>
                    <a:pt x="784" y="1558"/>
                  </a:cubicBezTo>
                  <a:cubicBezTo>
                    <a:pt x="788" y="1452"/>
                    <a:pt x="788" y="1345"/>
                    <a:pt x="788" y="1238"/>
                  </a:cubicBezTo>
                  <a:cubicBezTo>
                    <a:pt x="788" y="1091"/>
                    <a:pt x="790" y="944"/>
                    <a:pt x="784" y="798"/>
                  </a:cubicBezTo>
                  <a:cubicBezTo>
                    <a:pt x="786" y="798"/>
                    <a:pt x="788" y="797"/>
                    <a:pt x="790" y="795"/>
                  </a:cubicBezTo>
                  <a:cubicBezTo>
                    <a:pt x="965" y="979"/>
                    <a:pt x="1150" y="1153"/>
                    <a:pt x="1330" y="1332"/>
                  </a:cubicBezTo>
                  <a:cubicBezTo>
                    <a:pt x="1332" y="1334"/>
                    <a:pt x="1335" y="1331"/>
                    <a:pt x="1333" y="1328"/>
                  </a:cubicBezTo>
                  <a:cubicBezTo>
                    <a:pt x="1260" y="1250"/>
                    <a:pt x="1184" y="1175"/>
                    <a:pt x="1109" y="1099"/>
                  </a:cubicBezTo>
                  <a:cubicBezTo>
                    <a:pt x="1006" y="995"/>
                    <a:pt x="903" y="889"/>
                    <a:pt x="794" y="790"/>
                  </a:cubicBezTo>
                  <a:cubicBezTo>
                    <a:pt x="795" y="788"/>
                    <a:pt x="796" y="786"/>
                    <a:pt x="796" y="784"/>
                  </a:cubicBezTo>
                  <a:cubicBezTo>
                    <a:pt x="1050" y="791"/>
                    <a:pt x="1305" y="783"/>
                    <a:pt x="1559" y="783"/>
                  </a:cubicBezTo>
                  <a:cubicBezTo>
                    <a:pt x="1562" y="783"/>
                    <a:pt x="1562" y="778"/>
                    <a:pt x="1559" y="778"/>
                  </a:cubicBezTo>
                  <a:close/>
                  <a:moveTo>
                    <a:pt x="783" y="791"/>
                  </a:moveTo>
                  <a:cubicBezTo>
                    <a:pt x="782" y="790"/>
                    <a:pt x="779" y="790"/>
                    <a:pt x="778" y="792"/>
                  </a:cubicBezTo>
                  <a:cubicBezTo>
                    <a:pt x="777" y="791"/>
                    <a:pt x="776" y="791"/>
                    <a:pt x="775" y="790"/>
                  </a:cubicBezTo>
                  <a:cubicBezTo>
                    <a:pt x="776" y="788"/>
                    <a:pt x="773" y="785"/>
                    <a:pt x="771" y="786"/>
                  </a:cubicBezTo>
                  <a:cubicBezTo>
                    <a:pt x="770" y="785"/>
                    <a:pt x="770" y="784"/>
                    <a:pt x="770" y="783"/>
                  </a:cubicBezTo>
                  <a:cubicBezTo>
                    <a:pt x="772" y="782"/>
                    <a:pt x="772" y="779"/>
                    <a:pt x="770" y="777"/>
                  </a:cubicBezTo>
                  <a:cubicBezTo>
                    <a:pt x="770" y="776"/>
                    <a:pt x="771" y="776"/>
                    <a:pt x="772" y="775"/>
                  </a:cubicBezTo>
                  <a:cubicBezTo>
                    <a:pt x="774" y="775"/>
                    <a:pt x="775" y="774"/>
                    <a:pt x="776" y="772"/>
                  </a:cubicBezTo>
                  <a:cubicBezTo>
                    <a:pt x="777" y="771"/>
                    <a:pt x="779" y="771"/>
                    <a:pt x="780" y="771"/>
                  </a:cubicBezTo>
                  <a:cubicBezTo>
                    <a:pt x="781" y="771"/>
                    <a:pt x="782" y="772"/>
                    <a:pt x="783" y="771"/>
                  </a:cubicBezTo>
                  <a:cubicBezTo>
                    <a:pt x="784" y="771"/>
                    <a:pt x="785" y="772"/>
                    <a:pt x="786" y="772"/>
                  </a:cubicBezTo>
                  <a:cubicBezTo>
                    <a:pt x="786" y="773"/>
                    <a:pt x="786" y="773"/>
                    <a:pt x="787" y="774"/>
                  </a:cubicBezTo>
                  <a:cubicBezTo>
                    <a:pt x="790" y="778"/>
                    <a:pt x="790" y="783"/>
                    <a:pt x="788" y="787"/>
                  </a:cubicBezTo>
                  <a:cubicBezTo>
                    <a:pt x="787" y="788"/>
                    <a:pt x="787" y="788"/>
                    <a:pt x="786" y="789"/>
                  </a:cubicBezTo>
                  <a:cubicBezTo>
                    <a:pt x="785" y="790"/>
                    <a:pt x="784" y="791"/>
                    <a:pt x="783" y="791"/>
                  </a:cubicBezTo>
                  <a:close/>
                </a:path>
              </a:pathLst>
            </a:custGeom>
            <a:solidFill>
              <a:srgbClr val="C1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1/8/Fri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1/8/Fri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>
            <a:extLst>
              <a:ext uri="{FF2B5EF4-FFF2-40B4-BE49-F238E27FC236}">
                <a16:creationId xmlns:a16="http://schemas.microsoft.com/office/drawing/2014/main" id="{50D14B6C-FA53-412E-BF53-FE0753BB7430}"/>
              </a:ext>
            </a:extLst>
          </p:cNvPr>
          <p:cNvGrpSpPr/>
          <p:nvPr userDrawn="1"/>
        </p:nvGrpSpPr>
        <p:grpSpPr>
          <a:xfrm>
            <a:off x="0" y="3175"/>
            <a:ext cx="12169775" cy="6854825"/>
            <a:chOff x="22225" y="3175"/>
            <a:chExt cx="12144375" cy="6859588"/>
          </a:xfrm>
        </p:grpSpPr>
        <p:grpSp>
          <p:nvGrpSpPr>
            <p:cNvPr id="8" name="Group 205">
              <a:extLst>
                <a:ext uri="{FF2B5EF4-FFF2-40B4-BE49-F238E27FC236}">
                  <a16:creationId xmlns:a16="http://schemas.microsoft.com/office/drawing/2014/main" id="{E5C4FF9D-8CBB-4FBE-893E-61C8CF0F95AD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31750" y="3175"/>
              <a:ext cx="12134850" cy="6859588"/>
              <a:chOff x="20" y="2"/>
              <a:chExt cx="7644" cy="4321"/>
            </a:xfrm>
          </p:grpSpPr>
          <p:sp>
            <p:nvSpPr>
              <p:cNvPr id="172" name="Freeform 5">
                <a:extLst>
                  <a:ext uri="{FF2B5EF4-FFF2-40B4-BE49-F238E27FC236}">
                    <a16:creationId xmlns:a16="http://schemas.microsoft.com/office/drawing/2014/main" id="{A7C3C988-7C2D-4B28-B781-50211DEB5A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0" y="3342"/>
                <a:ext cx="763" cy="216"/>
              </a:xfrm>
              <a:custGeom>
                <a:avLst/>
                <a:gdLst>
                  <a:gd name="T0" fmla="*/ 4 w 512"/>
                  <a:gd name="T1" fmla="*/ 90 h 145"/>
                  <a:gd name="T2" fmla="*/ 262 w 512"/>
                  <a:gd name="T3" fmla="*/ 67 h 145"/>
                  <a:gd name="T4" fmla="*/ 511 w 512"/>
                  <a:gd name="T5" fmla="*/ 145 h 145"/>
                  <a:gd name="T6" fmla="*/ 512 w 512"/>
                  <a:gd name="T7" fmla="*/ 144 h 145"/>
                  <a:gd name="T8" fmla="*/ 2 w 512"/>
                  <a:gd name="T9" fmla="*/ 85 h 145"/>
                  <a:gd name="T10" fmla="*/ 4 w 512"/>
                  <a:gd name="T11" fmla="*/ 9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2" h="145">
                    <a:moveTo>
                      <a:pt x="4" y="90"/>
                    </a:moveTo>
                    <a:cubicBezTo>
                      <a:pt x="91" y="57"/>
                      <a:pt x="170" y="55"/>
                      <a:pt x="262" y="67"/>
                    </a:cubicBezTo>
                    <a:cubicBezTo>
                      <a:pt x="347" y="79"/>
                      <a:pt x="434" y="108"/>
                      <a:pt x="511" y="145"/>
                    </a:cubicBezTo>
                    <a:cubicBezTo>
                      <a:pt x="512" y="145"/>
                      <a:pt x="512" y="144"/>
                      <a:pt x="512" y="144"/>
                    </a:cubicBezTo>
                    <a:cubicBezTo>
                      <a:pt x="359" y="35"/>
                      <a:pt x="176" y="0"/>
                      <a:pt x="2" y="85"/>
                    </a:cubicBezTo>
                    <a:cubicBezTo>
                      <a:pt x="0" y="87"/>
                      <a:pt x="1" y="91"/>
                      <a:pt x="4" y="9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3" name="Freeform 6">
                <a:extLst>
                  <a:ext uri="{FF2B5EF4-FFF2-40B4-BE49-F238E27FC236}">
                    <a16:creationId xmlns:a16="http://schemas.microsoft.com/office/drawing/2014/main" id="{7DFC2FB3-F2A9-440E-AAFB-A0B71103E0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22" y="3788"/>
                <a:ext cx="83" cy="148"/>
              </a:xfrm>
              <a:custGeom>
                <a:avLst/>
                <a:gdLst>
                  <a:gd name="T0" fmla="*/ 54 w 56"/>
                  <a:gd name="T1" fmla="*/ 0 h 99"/>
                  <a:gd name="T2" fmla="*/ 1 w 56"/>
                  <a:gd name="T3" fmla="*/ 94 h 99"/>
                  <a:gd name="T4" fmla="*/ 7 w 56"/>
                  <a:gd name="T5" fmla="*/ 96 h 99"/>
                  <a:gd name="T6" fmla="*/ 27 w 56"/>
                  <a:gd name="T7" fmla="*/ 47 h 99"/>
                  <a:gd name="T8" fmla="*/ 55 w 56"/>
                  <a:gd name="T9" fmla="*/ 1 h 99"/>
                  <a:gd name="T10" fmla="*/ 54 w 56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6" h="99">
                    <a:moveTo>
                      <a:pt x="54" y="0"/>
                    </a:moveTo>
                    <a:cubicBezTo>
                      <a:pt x="30" y="24"/>
                      <a:pt x="8" y="60"/>
                      <a:pt x="1" y="94"/>
                    </a:cubicBezTo>
                    <a:cubicBezTo>
                      <a:pt x="0" y="97"/>
                      <a:pt x="5" y="99"/>
                      <a:pt x="7" y="96"/>
                    </a:cubicBezTo>
                    <a:cubicBezTo>
                      <a:pt x="14" y="80"/>
                      <a:pt x="19" y="63"/>
                      <a:pt x="27" y="47"/>
                    </a:cubicBezTo>
                    <a:cubicBezTo>
                      <a:pt x="36" y="31"/>
                      <a:pt x="45" y="16"/>
                      <a:pt x="55" y="1"/>
                    </a:cubicBezTo>
                    <a:cubicBezTo>
                      <a:pt x="56" y="0"/>
                      <a:pt x="55" y="0"/>
                      <a:pt x="54" y="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4" name="Freeform 7">
                <a:extLst>
                  <a:ext uri="{FF2B5EF4-FFF2-40B4-BE49-F238E27FC236}">
                    <a16:creationId xmlns:a16="http://schemas.microsoft.com/office/drawing/2014/main" id="{455EB11F-520E-44E8-8A61-1B245DD66C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3" y="3357"/>
                <a:ext cx="879" cy="387"/>
              </a:xfrm>
              <a:custGeom>
                <a:avLst/>
                <a:gdLst>
                  <a:gd name="T0" fmla="*/ 319 w 590"/>
                  <a:gd name="T1" fmla="*/ 75 h 260"/>
                  <a:gd name="T2" fmla="*/ 460 w 590"/>
                  <a:gd name="T3" fmla="*/ 152 h 260"/>
                  <a:gd name="T4" fmla="*/ 583 w 590"/>
                  <a:gd name="T5" fmla="*/ 258 h 260"/>
                  <a:gd name="T6" fmla="*/ 588 w 590"/>
                  <a:gd name="T7" fmla="*/ 253 h 260"/>
                  <a:gd name="T8" fmla="*/ 331 w 590"/>
                  <a:gd name="T9" fmla="*/ 61 h 260"/>
                  <a:gd name="T10" fmla="*/ 0 w 590"/>
                  <a:gd name="T11" fmla="*/ 20 h 260"/>
                  <a:gd name="T12" fmla="*/ 0 w 590"/>
                  <a:gd name="T13" fmla="*/ 21 h 260"/>
                  <a:gd name="T14" fmla="*/ 319 w 590"/>
                  <a:gd name="T15" fmla="*/ 75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0" h="260">
                    <a:moveTo>
                      <a:pt x="319" y="75"/>
                    </a:moveTo>
                    <a:cubicBezTo>
                      <a:pt x="369" y="95"/>
                      <a:pt x="416" y="121"/>
                      <a:pt x="460" y="152"/>
                    </a:cubicBezTo>
                    <a:cubicBezTo>
                      <a:pt x="505" y="184"/>
                      <a:pt x="540" y="225"/>
                      <a:pt x="583" y="258"/>
                    </a:cubicBezTo>
                    <a:cubicBezTo>
                      <a:pt x="586" y="260"/>
                      <a:pt x="590" y="256"/>
                      <a:pt x="588" y="253"/>
                    </a:cubicBezTo>
                    <a:cubicBezTo>
                      <a:pt x="539" y="163"/>
                      <a:pt x="422" y="98"/>
                      <a:pt x="331" y="61"/>
                    </a:cubicBezTo>
                    <a:cubicBezTo>
                      <a:pt x="228" y="18"/>
                      <a:pt x="110" y="0"/>
                      <a:pt x="0" y="20"/>
                    </a:cubicBezTo>
                    <a:cubicBezTo>
                      <a:pt x="0" y="20"/>
                      <a:pt x="0" y="21"/>
                      <a:pt x="0" y="21"/>
                    </a:cubicBezTo>
                    <a:cubicBezTo>
                      <a:pt x="110" y="21"/>
                      <a:pt x="216" y="34"/>
                      <a:pt x="319" y="7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5" name="Freeform 8">
                <a:extLst>
                  <a:ext uri="{FF2B5EF4-FFF2-40B4-BE49-F238E27FC236}">
                    <a16:creationId xmlns:a16="http://schemas.microsoft.com/office/drawing/2014/main" id="{E4BE55D6-9FEE-4D78-805B-9ED8CADA87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11" y="3723"/>
                <a:ext cx="319" cy="299"/>
              </a:xfrm>
              <a:custGeom>
                <a:avLst/>
                <a:gdLst>
                  <a:gd name="T0" fmla="*/ 10 w 214"/>
                  <a:gd name="T1" fmla="*/ 198 h 201"/>
                  <a:gd name="T2" fmla="*/ 19 w 214"/>
                  <a:gd name="T3" fmla="*/ 200 h 201"/>
                  <a:gd name="T4" fmla="*/ 25 w 214"/>
                  <a:gd name="T5" fmla="*/ 195 h 201"/>
                  <a:gd name="T6" fmla="*/ 71 w 214"/>
                  <a:gd name="T7" fmla="*/ 148 h 201"/>
                  <a:gd name="T8" fmla="*/ 119 w 214"/>
                  <a:gd name="T9" fmla="*/ 100 h 201"/>
                  <a:gd name="T10" fmla="*/ 214 w 214"/>
                  <a:gd name="T11" fmla="*/ 2 h 201"/>
                  <a:gd name="T12" fmla="*/ 212 w 214"/>
                  <a:gd name="T13" fmla="*/ 0 h 201"/>
                  <a:gd name="T14" fmla="*/ 6 w 214"/>
                  <a:gd name="T15" fmla="*/ 179 h 201"/>
                  <a:gd name="T16" fmla="*/ 10 w 214"/>
                  <a:gd name="T17" fmla="*/ 198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4" h="201">
                    <a:moveTo>
                      <a:pt x="10" y="198"/>
                    </a:moveTo>
                    <a:cubicBezTo>
                      <a:pt x="13" y="198"/>
                      <a:pt x="16" y="199"/>
                      <a:pt x="19" y="200"/>
                    </a:cubicBezTo>
                    <a:cubicBezTo>
                      <a:pt x="21" y="201"/>
                      <a:pt x="25" y="198"/>
                      <a:pt x="25" y="195"/>
                    </a:cubicBezTo>
                    <a:cubicBezTo>
                      <a:pt x="24" y="182"/>
                      <a:pt x="62" y="157"/>
                      <a:pt x="71" y="148"/>
                    </a:cubicBezTo>
                    <a:cubicBezTo>
                      <a:pt x="87" y="132"/>
                      <a:pt x="103" y="116"/>
                      <a:pt x="119" y="100"/>
                    </a:cubicBezTo>
                    <a:cubicBezTo>
                      <a:pt x="151" y="68"/>
                      <a:pt x="182" y="34"/>
                      <a:pt x="214" y="2"/>
                    </a:cubicBezTo>
                    <a:cubicBezTo>
                      <a:pt x="214" y="1"/>
                      <a:pt x="213" y="0"/>
                      <a:pt x="212" y="0"/>
                    </a:cubicBezTo>
                    <a:cubicBezTo>
                      <a:pt x="141" y="58"/>
                      <a:pt x="70" y="114"/>
                      <a:pt x="6" y="179"/>
                    </a:cubicBezTo>
                    <a:cubicBezTo>
                      <a:pt x="0" y="185"/>
                      <a:pt x="3" y="195"/>
                      <a:pt x="10" y="19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6" name="Freeform 9">
                <a:extLst>
                  <a:ext uri="{FF2B5EF4-FFF2-40B4-BE49-F238E27FC236}">
                    <a16:creationId xmlns:a16="http://schemas.microsoft.com/office/drawing/2014/main" id="{386C6861-090A-41B0-982D-802C3032F8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7" y="4045"/>
                <a:ext cx="242" cy="78"/>
              </a:xfrm>
              <a:custGeom>
                <a:avLst/>
                <a:gdLst>
                  <a:gd name="T0" fmla="*/ 4 w 162"/>
                  <a:gd name="T1" fmla="*/ 5 h 53"/>
                  <a:gd name="T2" fmla="*/ 3 w 162"/>
                  <a:gd name="T3" fmla="*/ 11 h 53"/>
                  <a:gd name="T4" fmla="*/ 83 w 162"/>
                  <a:gd name="T5" fmla="*/ 26 h 53"/>
                  <a:gd name="T6" fmla="*/ 161 w 162"/>
                  <a:gd name="T7" fmla="*/ 53 h 53"/>
                  <a:gd name="T8" fmla="*/ 161 w 162"/>
                  <a:gd name="T9" fmla="*/ 52 h 53"/>
                  <a:gd name="T10" fmla="*/ 4 w 162"/>
                  <a:gd name="T11" fmla="*/ 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2" h="53">
                    <a:moveTo>
                      <a:pt x="4" y="5"/>
                    </a:moveTo>
                    <a:cubicBezTo>
                      <a:pt x="1" y="6"/>
                      <a:pt x="0" y="10"/>
                      <a:pt x="3" y="11"/>
                    </a:cubicBezTo>
                    <a:cubicBezTo>
                      <a:pt x="28" y="21"/>
                      <a:pt x="57" y="21"/>
                      <a:pt x="83" y="26"/>
                    </a:cubicBezTo>
                    <a:cubicBezTo>
                      <a:pt x="111" y="31"/>
                      <a:pt x="137" y="38"/>
                      <a:pt x="161" y="53"/>
                    </a:cubicBezTo>
                    <a:cubicBezTo>
                      <a:pt x="161" y="53"/>
                      <a:pt x="162" y="53"/>
                      <a:pt x="161" y="52"/>
                    </a:cubicBezTo>
                    <a:cubicBezTo>
                      <a:pt x="126" y="15"/>
                      <a:pt x="54" y="0"/>
                      <a:pt x="4" y="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7" name="Freeform 10">
                <a:extLst>
                  <a:ext uri="{FF2B5EF4-FFF2-40B4-BE49-F238E27FC236}">
                    <a16:creationId xmlns:a16="http://schemas.microsoft.com/office/drawing/2014/main" id="{52E1E557-17AA-4370-98F6-5A39EA3AF4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02" y="3982"/>
                <a:ext cx="748" cy="244"/>
              </a:xfrm>
              <a:custGeom>
                <a:avLst/>
                <a:gdLst>
                  <a:gd name="T0" fmla="*/ 241 w 502"/>
                  <a:gd name="T1" fmla="*/ 22 h 164"/>
                  <a:gd name="T2" fmla="*/ 7 w 502"/>
                  <a:gd name="T3" fmla="*/ 144 h 164"/>
                  <a:gd name="T4" fmla="*/ 19 w 502"/>
                  <a:gd name="T5" fmla="*/ 160 h 164"/>
                  <a:gd name="T6" fmla="*/ 120 w 502"/>
                  <a:gd name="T7" fmla="*/ 100 h 164"/>
                  <a:gd name="T8" fmla="*/ 248 w 502"/>
                  <a:gd name="T9" fmla="*/ 48 h 164"/>
                  <a:gd name="T10" fmla="*/ 501 w 502"/>
                  <a:gd name="T11" fmla="*/ 17 h 164"/>
                  <a:gd name="T12" fmla="*/ 501 w 502"/>
                  <a:gd name="T13" fmla="*/ 16 h 164"/>
                  <a:gd name="T14" fmla="*/ 241 w 502"/>
                  <a:gd name="T15" fmla="*/ 2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2" h="164">
                    <a:moveTo>
                      <a:pt x="241" y="22"/>
                    </a:moveTo>
                    <a:cubicBezTo>
                      <a:pt x="164" y="41"/>
                      <a:pt x="58" y="79"/>
                      <a:pt x="7" y="144"/>
                    </a:cubicBezTo>
                    <a:cubicBezTo>
                      <a:pt x="0" y="153"/>
                      <a:pt x="9" y="164"/>
                      <a:pt x="19" y="160"/>
                    </a:cubicBezTo>
                    <a:cubicBezTo>
                      <a:pt x="55" y="144"/>
                      <a:pt x="86" y="118"/>
                      <a:pt x="120" y="100"/>
                    </a:cubicBezTo>
                    <a:cubicBezTo>
                      <a:pt x="161" y="79"/>
                      <a:pt x="204" y="62"/>
                      <a:pt x="248" y="48"/>
                    </a:cubicBezTo>
                    <a:cubicBezTo>
                      <a:pt x="331" y="24"/>
                      <a:pt x="415" y="11"/>
                      <a:pt x="501" y="17"/>
                    </a:cubicBezTo>
                    <a:cubicBezTo>
                      <a:pt x="502" y="17"/>
                      <a:pt x="502" y="16"/>
                      <a:pt x="501" y="16"/>
                    </a:cubicBezTo>
                    <a:cubicBezTo>
                      <a:pt x="415" y="1"/>
                      <a:pt x="326" y="0"/>
                      <a:pt x="241" y="2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8" name="Freeform 11">
                <a:extLst>
                  <a:ext uri="{FF2B5EF4-FFF2-40B4-BE49-F238E27FC236}">
                    <a16:creationId xmlns:a16="http://schemas.microsoft.com/office/drawing/2014/main" id="{A1E7525A-ABD7-4EC3-9656-15D7C8E056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54" y="3805"/>
                <a:ext cx="449" cy="175"/>
              </a:xfrm>
              <a:custGeom>
                <a:avLst/>
                <a:gdLst>
                  <a:gd name="T0" fmla="*/ 3 w 301"/>
                  <a:gd name="T1" fmla="*/ 24 h 118"/>
                  <a:gd name="T2" fmla="*/ 5 w 301"/>
                  <a:gd name="T3" fmla="*/ 29 h 118"/>
                  <a:gd name="T4" fmla="*/ 300 w 301"/>
                  <a:gd name="T5" fmla="*/ 117 h 118"/>
                  <a:gd name="T6" fmla="*/ 301 w 301"/>
                  <a:gd name="T7" fmla="*/ 117 h 118"/>
                  <a:gd name="T8" fmla="*/ 177 w 301"/>
                  <a:gd name="T9" fmla="*/ 33 h 118"/>
                  <a:gd name="T10" fmla="*/ 3 w 301"/>
                  <a:gd name="T11" fmla="*/ 24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1" h="118">
                    <a:moveTo>
                      <a:pt x="3" y="24"/>
                    </a:moveTo>
                    <a:cubicBezTo>
                      <a:pt x="0" y="25"/>
                      <a:pt x="2" y="30"/>
                      <a:pt x="5" y="29"/>
                    </a:cubicBezTo>
                    <a:cubicBezTo>
                      <a:pt x="100" y="7"/>
                      <a:pt x="234" y="47"/>
                      <a:pt x="300" y="117"/>
                    </a:cubicBezTo>
                    <a:cubicBezTo>
                      <a:pt x="301" y="118"/>
                      <a:pt x="301" y="117"/>
                      <a:pt x="301" y="117"/>
                    </a:cubicBezTo>
                    <a:cubicBezTo>
                      <a:pt x="276" y="69"/>
                      <a:pt x="226" y="48"/>
                      <a:pt x="177" y="33"/>
                    </a:cubicBezTo>
                    <a:cubicBezTo>
                      <a:pt x="122" y="17"/>
                      <a:pt x="58" y="0"/>
                      <a:pt x="3" y="24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9" name="Freeform 12">
                <a:extLst>
                  <a:ext uri="{FF2B5EF4-FFF2-40B4-BE49-F238E27FC236}">
                    <a16:creationId xmlns:a16="http://schemas.microsoft.com/office/drawing/2014/main" id="{228766A1-22B8-4838-A679-0D4333507B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15" y="3726"/>
                <a:ext cx="1002" cy="430"/>
              </a:xfrm>
              <a:custGeom>
                <a:avLst/>
                <a:gdLst>
                  <a:gd name="T0" fmla="*/ 298 w 672"/>
                  <a:gd name="T1" fmla="*/ 66 h 289"/>
                  <a:gd name="T2" fmla="*/ 2 w 672"/>
                  <a:gd name="T3" fmla="*/ 278 h 289"/>
                  <a:gd name="T4" fmla="*/ 10 w 672"/>
                  <a:gd name="T5" fmla="*/ 285 h 289"/>
                  <a:gd name="T6" fmla="*/ 142 w 672"/>
                  <a:gd name="T7" fmla="*/ 177 h 289"/>
                  <a:gd name="T8" fmla="*/ 312 w 672"/>
                  <a:gd name="T9" fmla="*/ 87 h 289"/>
                  <a:gd name="T10" fmla="*/ 671 w 672"/>
                  <a:gd name="T11" fmla="*/ 33 h 289"/>
                  <a:gd name="T12" fmla="*/ 671 w 672"/>
                  <a:gd name="T13" fmla="*/ 31 h 289"/>
                  <a:gd name="T14" fmla="*/ 298 w 672"/>
                  <a:gd name="T15" fmla="*/ 66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2" h="289">
                    <a:moveTo>
                      <a:pt x="298" y="66"/>
                    </a:moveTo>
                    <a:cubicBezTo>
                      <a:pt x="190" y="107"/>
                      <a:pt x="64" y="176"/>
                      <a:pt x="2" y="278"/>
                    </a:cubicBezTo>
                    <a:cubicBezTo>
                      <a:pt x="0" y="282"/>
                      <a:pt x="5" y="289"/>
                      <a:pt x="10" y="285"/>
                    </a:cubicBezTo>
                    <a:cubicBezTo>
                      <a:pt x="55" y="250"/>
                      <a:pt x="95" y="210"/>
                      <a:pt x="142" y="177"/>
                    </a:cubicBezTo>
                    <a:cubicBezTo>
                      <a:pt x="194" y="140"/>
                      <a:pt x="252" y="109"/>
                      <a:pt x="312" y="87"/>
                    </a:cubicBezTo>
                    <a:cubicBezTo>
                      <a:pt x="428" y="43"/>
                      <a:pt x="548" y="33"/>
                      <a:pt x="671" y="33"/>
                    </a:cubicBezTo>
                    <a:cubicBezTo>
                      <a:pt x="672" y="33"/>
                      <a:pt x="672" y="31"/>
                      <a:pt x="671" y="31"/>
                    </a:cubicBezTo>
                    <a:cubicBezTo>
                      <a:pt x="549" y="0"/>
                      <a:pt x="414" y="21"/>
                      <a:pt x="298" y="6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0" name="Freeform 13">
                <a:extLst>
                  <a:ext uri="{FF2B5EF4-FFF2-40B4-BE49-F238E27FC236}">
                    <a16:creationId xmlns:a16="http://schemas.microsoft.com/office/drawing/2014/main" id="{7DE7ADB8-5DF7-4BC6-9785-E7F8FDD624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02" y="3507"/>
                <a:ext cx="363" cy="249"/>
              </a:xfrm>
              <a:custGeom>
                <a:avLst/>
                <a:gdLst>
                  <a:gd name="T0" fmla="*/ 6 w 243"/>
                  <a:gd name="T1" fmla="*/ 165 h 167"/>
                  <a:gd name="T2" fmla="*/ 123 w 243"/>
                  <a:gd name="T3" fmla="*/ 62 h 167"/>
                  <a:gd name="T4" fmla="*/ 243 w 243"/>
                  <a:gd name="T5" fmla="*/ 1 h 167"/>
                  <a:gd name="T6" fmla="*/ 243 w 243"/>
                  <a:gd name="T7" fmla="*/ 1 h 167"/>
                  <a:gd name="T8" fmla="*/ 111 w 243"/>
                  <a:gd name="T9" fmla="*/ 58 h 167"/>
                  <a:gd name="T10" fmla="*/ 1 w 243"/>
                  <a:gd name="T11" fmla="*/ 162 h 167"/>
                  <a:gd name="T12" fmla="*/ 6 w 243"/>
                  <a:gd name="T13" fmla="*/ 165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3" h="167">
                    <a:moveTo>
                      <a:pt x="6" y="165"/>
                    </a:moveTo>
                    <a:cubicBezTo>
                      <a:pt x="38" y="123"/>
                      <a:pt x="79" y="90"/>
                      <a:pt x="123" y="62"/>
                    </a:cubicBezTo>
                    <a:cubicBezTo>
                      <a:pt x="158" y="40"/>
                      <a:pt x="201" y="8"/>
                      <a:pt x="243" y="1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197" y="0"/>
                      <a:pt x="149" y="34"/>
                      <a:pt x="111" y="58"/>
                    </a:cubicBezTo>
                    <a:cubicBezTo>
                      <a:pt x="67" y="85"/>
                      <a:pt x="30" y="118"/>
                      <a:pt x="1" y="162"/>
                    </a:cubicBezTo>
                    <a:cubicBezTo>
                      <a:pt x="0" y="165"/>
                      <a:pt x="4" y="167"/>
                      <a:pt x="6" y="16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1" name="Freeform 14">
                <a:extLst>
                  <a:ext uri="{FF2B5EF4-FFF2-40B4-BE49-F238E27FC236}">
                    <a16:creationId xmlns:a16="http://schemas.microsoft.com/office/drawing/2014/main" id="{1913F95C-EB95-413D-B96D-FC2802E88A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3" y="3645"/>
                <a:ext cx="575" cy="157"/>
              </a:xfrm>
              <a:custGeom>
                <a:avLst/>
                <a:gdLst>
                  <a:gd name="T0" fmla="*/ 2 w 386"/>
                  <a:gd name="T1" fmla="*/ 99 h 105"/>
                  <a:gd name="T2" fmla="*/ 4 w 386"/>
                  <a:gd name="T3" fmla="*/ 104 h 105"/>
                  <a:gd name="T4" fmla="*/ 384 w 386"/>
                  <a:gd name="T5" fmla="*/ 39 h 105"/>
                  <a:gd name="T6" fmla="*/ 385 w 386"/>
                  <a:gd name="T7" fmla="*/ 37 h 105"/>
                  <a:gd name="T8" fmla="*/ 2 w 386"/>
                  <a:gd name="T9" fmla="*/ 99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6" h="105">
                    <a:moveTo>
                      <a:pt x="2" y="99"/>
                    </a:moveTo>
                    <a:cubicBezTo>
                      <a:pt x="0" y="101"/>
                      <a:pt x="2" y="105"/>
                      <a:pt x="4" y="104"/>
                    </a:cubicBezTo>
                    <a:cubicBezTo>
                      <a:pt x="132" y="68"/>
                      <a:pt x="248" y="12"/>
                      <a:pt x="384" y="39"/>
                    </a:cubicBezTo>
                    <a:cubicBezTo>
                      <a:pt x="385" y="39"/>
                      <a:pt x="386" y="37"/>
                      <a:pt x="385" y="37"/>
                    </a:cubicBezTo>
                    <a:cubicBezTo>
                      <a:pt x="257" y="0"/>
                      <a:pt x="116" y="33"/>
                      <a:pt x="2" y="9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2" name="Freeform 15">
                <a:extLst>
                  <a:ext uri="{FF2B5EF4-FFF2-40B4-BE49-F238E27FC236}">
                    <a16:creationId xmlns:a16="http://schemas.microsoft.com/office/drawing/2014/main" id="{B357178E-5746-4B13-9D2F-F0BBC83999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14" y="3851"/>
                <a:ext cx="106" cy="62"/>
              </a:xfrm>
              <a:custGeom>
                <a:avLst/>
                <a:gdLst>
                  <a:gd name="T0" fmla="*/ 2 w 71"/>
                  <a:gd name="T1" fmla="*/ 36 h 42"/>
                  <a:gd name="T2" fmla="*/ 5 w 71"/>
                  <a:gd name="T3" fmla="*/ 40 h 42"/>
                  <a:gd name="T4" fmla="*/ 35 w 71"/>
                  <a:gd name="T5" fmla="*/ 20 h 42"/>
                  <a:gd name="T6" fmla="*/ 70 w 71"/>
                  <a:gd name="T7" fmla="*/ 2 h 42"/>
                  <a:gd name="T8" fmla="*/ 70 w 71"/>
                  <a:gd name="T9" fmla="*/ 1 h 42"/>
                  <a:gd name="T10" fmla="*/ 2 w 71"/>
                  <a:gd name="T11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42">
                    <a:moveTo>
                      <a:pt x="2" y="36"/>
                    </a:moveTo>
                    <a:cubicBezTo>
                      <a:pt x="0" y="38"/>
                      <a:pt x="3" y="42"/>
                      <a:pt x="5" y="40"/>
                    </a:cubicBezTo>
                    <a:cubicBezTo>
                      <a:pt x="16" y="34"/>
                      <a:pt x="25" y="26"/>
                      <a:pt x="35" y="20"/>
                    </a:cubicBezTo>
                    <a:cubicBezTo>
                      <a:pt x="46" y="13"/>
                      <a:pt x="58" y="7"/>
                      <a:pt x="70" y="2"/>
                    </a:cubicBezTo>
                    <a:cubicBezTo>
                      <a:pt x="71" y="2"/>
                      <a:pt x="71" y="0"/>
                      <a:pt x="70" y="1"/>
                    </a:cubicBezTo>
                    <a:cubicBezTo>
                      <a:pt x="47" y="8"/>
                      <a:pt x="18" y="18"/>
                      <a:pt x="2" y="3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3" name="Freeform 16">
                <a:extLst>
                  <a:ext uri="{FF2B5EF4-FFF2-40B4-BE49-F238E27FC236}">
                    <a16:creationId xmlns:a16="http://schemas.microsoft.com/office/drawing/2014/main" id="{0B4FF716-4569-4D72-98C6-10E3E69F6D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8" y="3733"/>
                <a:ext cx="58" cy="58"/>
              </a:xfrm>
              <a:custGeom>
                <a:avLst/>
                <a:gdLst>
                  <a:gd name="T0" fmla="*/ 3 w 39"/>
                  <a:gd name="T1" fmla="*/ 38 h 39"/>
                  <a:gd name="T2" fmla="*/ 20 w 39"/>
                  <a:gd name="T3" fmla="*/ 21 h 39"/>
                  <a:gd name="T4" fmla="*/ 38 w 39"/>
                  <a:gd name="T5" fmla="*/ 1 h 39"/>
                  <a:gd name="T6" fmla="*/ 37 w 39"/>
                  <a:gd name="T7" fmla="*/ 0 h 39"/>
                  <a:gd name="T8" fmla="*/ 18 w 39"/>
                  <a:gd name="T9" fmla="*/ 18 h 39"/>
                  <a:gd name="T10" fmla="*/ 1 w 39"/>
                  <a:gd name="T11" fmla="*/ 36 h 39"/>
                  <a:gd name="T12" fmla="*/ 3 w 39"/>
                  <a:gd name="T13" fmla="*/ 3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39">
                    <a:moveTo>
                      <a:pt x="3" y="38"/>
                    </a:moveTo>
                    <a:cubicBezTo>
                      <a:pt x="9" y="33"/>
                      <a:pt x="15" y="27"/>
                      <a:pt x="20" y="21"/>
                    </a:cubicBezTo>
                    <a:cubicBezTo>
                      <a:pt x="26" y="15"/>
                      <a:pt x="32" y="8"/>
                      <a:pt x="38" y="1"/>
                    </a:cubicBezTo>
                    <a:cubicBezTo>
                      <a:pt x="39" y="1"/>
                      <a:pt x="38" y="0"/>
                      <a:pt x="37" y="0"/>
                    </a:cubicBezTo>
                    <a:cubicBezTo>
                      <a:pt x="31" y="6"/>
                      <a:pt x="24" y="12"/>
                      <a:pt x="18" y="18"/>
                    </a:cubicBezTo>
                    <a:cubicBezTo>
                      <a:pt x="12" y="24"/>
                      <a:pt x="5" y="29"/>
                      <a:pt x="1" y="36"/>
                    </a:cubicBezTo>
                    <a:cubicBezTo>
                      <a:pt x="0" y="37"/>
                      <a:pt x="2" y="39"/>
                      <a:pt x="3" y="3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4" name="Freeform 17">
                <a:extLst>
                  <a:ext uri="{FF2B5EF4-FFF2-40B4-BE49-F238E27FC236}">
                    <a16:creationId xmlns:a16="http://schemas.microsoft.com/office/drawing/2014/main" id="{63439D97-3280-48EE-A2ED-5D7E25766D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05" y="3395"/>
                <a:ext cx="544" cy="325"/>
              </a:xfrm>
              <a:custGeom>
                <a:avLst/>
                <a:gdLst>
                  <a:gd name="T0" fmla="*/ 364 w 365"/>
                  <a:gd name="T1" fmla="*/ 1 h 218"/>
                  <a:gd name="T2" fmla="*/ 364 w 365"/>
                  <a:gd name="T3" fmla="*/ 0 h 218"/>
                  <a:gd name="T4" fmla="*/ 3 w 365"/>
                  <a:gd name="T5" fmla="*/ 211 h 218"/>
                  <a:gd name="T6" fmla="*/ 9 w 365"/>
                  <a:gd name="T7" fmla="*/ 216 h 218"/>
                  <a:gd name="T8" fmla="*/ 174 w 365"/>
                  <a:gd name="T9" fmla="*/ 88 h 218"/>
                  <a:gd name="T10" fmla="*/ 364 w 365"/>
                  <a:gd name="T11" fmla="*/ 1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5" h="218">
                    <a:moveTo>
                      <a:pt x="364" y="1"/>
                    </a:moveTo>
                    <a:cubicBezTo>
                      <a:pt x="365" y="1"/>
                      <a:pt x="364" y="0"/>
                      <a:pt x="364" y="0"/>
                    </a:cubicBezTo>
                    <a:cubicBezTo>
                      <a:pt x="229" y="24"/>
                      <a:pt x="81" y="95"/>
                      <a:pt x="3" y="211"/>
                    </a:cubicBezTo>
                    <a:cubicBezTo>
                      <a:pt x="0" y="215"/>
                      <a:pt x="6" y="218"/>
                      <a:pt x="9" y="216"/>
                    </a:cubicBezTo>
                    <a:cubicBezTo>
                      <a:pt x="64" y="172"/>
                      <a:pt x="115" y="126"/>
                      <a:pt x="174" y="88"/>
                    </a:cubicBezTo>
                    <a:cubicBezTo>
                      <a:pt x="232" y="49"/>
                      <a:pt x="297" y="23"/>
                      <a:pt x="364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5" name="Freeform 18">
                <a:extLst>
                  <a:ext uri="{FF2B5EF4-FFF2-40B4-BE49-F238E27FC236}">
                    <a16:creationId xmlns:a16="http://schemas.microsoft.com/office/drawing/2014/main" id="{B6509B56-3ACE-4797-BA9E-2ABC448B59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83" y="3558"/>
                <a:ext cx="675" cy="312"/>
              </a:xfrm>
              <a:custGeom>
                <a:avLst/>
                <a:gdLst>
                  <a:gd name="T0" fmla="*/ 2 w 453"/>
                  <a:gd name="T1" fmla="*/ 200 h 210"/>
                  <a:gd name="T2" fmla="*/ 9 w 453"/>
                  <a:gd name="T3" fmla="*/ 207 h 210"/>
                  <a:gd name="T4" fmla="*/ 210 w 453"/>
                  <a:gd name="T5" fmla="*/ 81 h 210"/>
                  <a:gd name="T6" fmla="*/ 452 w 453"/>
                  <a:gd name="T7" fmla="*/ 19 h 210"/>
                  <a:gd name="T8" fmla="*/ 451 w 453"/>
                  <a:gd name="T9" fmla="*/ 18 h 210"/>
                  <a:gd name="T10" fmla="*/ 2 w 453"/>
                  <a:gd name="T11" fmla="*/ 20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3" h="210">
                    <a:moveTo>
                      <a:pt x="2" y="200"/>
                    </a:moveTo>
                    <a:cubicBezTo>
                      <a:pt x="0" y="205"/>
                      <a:pt x="5" y="210"/>
                      <a:pt x="9" y="207"/>
                    </a:cubicBezTo>
                    <a:cubicBezTo>
                      <a:pt x="78" y="167"/>
                      <a:pt x="136" y="115"/>
                      <a:pt x="210" y="81"/>
                    </a:cubicBezTo>
                    <a:cubicBezTo>
                      <a:pt x="289" y="45"/>
                      <a:pt x="367" y="33"/>
                      <a:pt x="452" y="19"/>
                    </a:cubicBezTo>
                    <a:cubicBezTo>
                      <a:pt x="453" y="19"/>
                      <a:pt x="452" y="18"/>
                      <a:pt x="451" y="18"/>
                    </a:cubicBezTo>
                    <a:cubicBezTo>
                      <a:pt x="304" y="0"/>
                      <a:pt x="86" y="71"/>
                      <a:pt x="2" y="20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6" name="Freeform 19">
                <a:extLst>
                  <a:ext uri="{FF2B5EF4-FFF2-40B4-BE49-F238E27FC236}">
                    <a16:creationId xmlns:a16="http://schemas.microsoft.com/office/drawing/2014/main" id="{E34F172C-8E6C-43E9-B154-C7BFA6FCCA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4" y="3474"/>
                <a:ext cx="811" cy="445"/>
              </a:xfrm>
              <a:custGeom>
                <a:avLst/>
                <a:gdLst>
                  <a:gd name="T0" fmla="*/ 542 w 544"/>
                  <a:gd name="T1" fmla="*/ 0 h 299"/>
                  <a:gd name="T2" fmla="*/ 232 w 544"/>
                  <a:gd name="T3" fmla="*/ 81 h 299"/>
                  <a:gd name="T4" fmla="*/ 98 w 544"/>
                  <a:gd name="T5" fmla="*/ 173 h 299"/>
                  <a:gd name="T6" fmla="*/ 2 w 544"/>
                  <a:gd name="T7" fmla="*/ 286 h 299"/>
                  <a:gd name="T8" fmla="*/ 14 w 544"/>
                  <a:gd name="T9" fmla="*/ 295 h 299"/>
                  <a:gd name="T10" fmla="*/ 107 w 544"/>
                  <a:gd name="T11" fmla="*/ 205 h 299"/>
                  <a:gd name="T12" fmla="*/ 239 w 544"/>
                  <a:gd name="T13" fmla="*/ 108 h 299"/>
                  <a:gd name="T14" fmla="*/ 542 w 544"/>
                  <a:gd name="T15" fmla="*/ 2 h 299"/>
                  <a:gd name="T16" fmla="*/ 542 w 544"/>
                  <a:gd name="T17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4" h="299">
                    <a:moveTo>
                      <a:pt x="542" y="0"/>
                    </a:moveTo>
                    <a:cubicBezTo>
                      <a:pt x="435" y="6"/>
                      <a:pt x="328" y="30"/>
                      <a:pt x="232" y="81"/>
                    </a:cubicBezTo>
                    <a:cubicBezTo>
                      <a:pt x="184" y="106"/>
                      <a:pt x="139" y="138"/>
                      <a:pt x="98" y="173"/>
                    </a:cubicBezTo>
                    <a:cubicBezTo>
                      <a:pt x="64" y="202"/>
                      <a:pt x="13" y="241"/>
                      <a:pt x="2" y="286"/>
                    </a:cubicBezTo>
                    <a:cubicBezTo>
                      <a:pt x="0" y="293"/>
                      <a:pt x="8" y="299"/>
                      <a:pt x="14" y="295"/>
                    </a:cubicBezTo>
                    <a:cubicBezTo>
                      <a:pt x="51" y="276"/>
                      <a:pt x="77" y="233"/>
                      <a:pt x="107" y="205"/>
                    </a:cubicBezTo>
                    <a:cubicBezTo>
                      <a:pt x="147" y="168"/>
                      <a:pt x="192" y="136"/>
                      <a:pt x="239" y="108"/>
                    </a:cubicBezTo>
                    <a:cubicBezTo>
                      <a:pt x="333" y="54"/>
                      <a:pt x="434" y="15"/>
                      <a:pt x="542" y="2"/>
                    </a:cubicBezTo>
                    <a:cubicBezTo>
                      <a:pt x="544" y="2"/>
                      <a:pt x="544" y="0"/>
                      <a:pt x="542" y="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7" name="Freeform 20">
                <a:extLst>
                  <a:ext uri="{FF2B5EF4-FFF2-40B4-BE49-F238E27FC236}">
                    <a16:creationId xmlns:a16="http://schemas.microsoft.com/office/drawing/2014/main" id="{C4ACBAA0-54DD-403F-934F-3A92190B12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5" y="3592"/>
                <a:ext cx="200" cy="95"/>
              </a:xfrm>
              <a:custGeom>
                <a:avLst/>
                <a:gdLst>
                  <a:gd name="T0" fmla="*/ 134 w 134"/>
                  <a:gd name="T1" fmla="*/ 1 h 64"/>
                  <a:gd name="T2" fmla="*/ 134 w 134"/>
                  <a:gd name="T3" fmla="*/ 0 h 64"/>
                  <a:gd name="T4" fmla="*/ 2 w 134"/>
                  <a:gd name="T5" fmla="*/ 55 h 64"/>
                  <a:gd name="T6" fmla="*/ 8 w 134"/>
                  <a:gd name="T7" fmla="*/ 62 h 64"/>
                  <a:gd name="T8" fmla="*/ 62 w 134"/>
                  <a:gd name="T9" fmla="*/ 29 h 64"/>
                  <a:gd name="T10" fmla="*/ 134 w 134"/>
                  <a:gd name="T11" fmla="*/ 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4" h="64">
                    <a:moveTo>
                      <a:pt x="134" y="1"/>
                    </a:moveTo>
                    <a:cubicBezTo>
                      <a:pt x="134" y="0"/>
                      <a:pt x="134" y="0"/>
                      <a:pt x="134" y="0"/>
                    </a:cubicBezTo>
                    <a:cubicBezTo>
                      <a:pt x="90" y="2"/>
                      <a:pt x="26" y="14"/>
                      <a:pt x="2" y="55"/>
                    </a:cubicBezTo>
                    <a:cubicBezTo>
                      <a:pt x="0" y="59"/>
                      <a:pt x="4" y="64"/>
                      <a:pt x="8" y="62"/>
                    </a:cubicBezTo>
                    <a:cubicBezTo>
                      <a:pt x="28" y="55"/>
                      <a:pt x="43" y="40"/>
                      <a:pt x="62" y="29"/>
                    </a:cubicBezTo>
                    <a:cubicBezTo>
                      <a:pt x="84" y="17"/>
                      <a:pt x="109" y="7"/>
                      <a:pt x="134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8" name="Freeform 21">
                <a:extLst>
                  <a:ext uri="{FF2B5EF4-FFF2-40B4-BE49-F238E27FC236}">
                    <a16:creationId xmlns:a16="http://schemas.microsoft.com/office/drawing/2014/main" id="{5D97F165-2A2C-49A5-9812-706734B64D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67" y="3830"/>
                <a:ext cx="77" cy="147"/>
              </a:xfrm>
              <a:custGeom>
                <a:avLst/>
                <a:gdLst>
                  <a:gd name="T0" fmla="*/ 0 w 51"/>
                  <a:gd name="T1" fmla="*/ 1 h 99"/>
                  <a:gd name="T2" fmla="*/ 47 w 51"/>
                  <a:gd name="T3" fmla="*/ 97 h 99"/>
                  <a:gd name="T4" fmla="*/ 51 w 51"/>
                  <a:gd name="T5" fmla="*/ 96 h 99"/>
                  <a:gd name="T6" fmla="*/ 1 w 51"/>
                  <a:gd name="T7" fmla="*/ 1 h 99"/>
                  <a:gd name="T8" fmla="*/ 0 w 51"/>
                  <a:gd name="T9" fmla="*/ 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99">
                    <a:moveTo>
                      <a:pt x="0" y="1"/>
                    </a:moveTo>
                    <a:cubicBezTo>
                      <a:pt x="14" y="33"/>
                      <a:pt x="27" y="69"/>
                      <a:pt x="47" y="97"/>
                    </a:cubicBezTo>
                    <a:cubicBezTo>
                      <a:pt x="48" y="99"/>
                      <a:pt x="51" y="98"/>
                      <a:pt x="51" y="96"/>
                    </a:cubicBezTo>
                    <a:cubicBezTo>
                      <a:pt x="40" y="63"/>
                      <a:pt x="18" y="31"/>
                      <a:pt x="1" y="1"/>
                    </a:cubicBezTo>
                    <a:cubicBezTo>
                      <a:pt x="1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9" name="Freeform 22">
                <a:extLst>
                  <a:ext uri="{FF2B5EF4-FFF2-40B4-BE49-F238E27FC236}">
                    <a16:creationId xmlns:a16="http://schemas.microsoft.com/office/drawing/2014/main" id="{CF9C9389-69BC-467E-ACB6-C3EDE8B250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" y="4196"/>
                <a:ext cx="80" cy="73"/>
              </a:xfrm>
              <a:custGeom>
                <a:avLst/>
                <a:gdLst>
                  <a:gd name="T0" fmla="*/ 53 w 54"/>
                  <a:gd name="T1" fmla="*/ 44 h 49"/>
                  <a:gd name="T2" fmla="*/ 27 w 54"/>
                  <a:gd name="T3" fmla="*/ 22 h 49"/>
                  <a:gd name="T4" fmla="*/ 1 w 54"/>
                  <a:gd name="T5" fmla="*/ 0 h 49"/>
                  <a:gd name="T6" fmla="*/ 1 w 54"/>
                  <a:gd name="T7" fmla="*/ 1 h 49"/>
                  <a:gd name="T8" fmla="*/ 25 w 54"/>
                  <a:gd name="T9" fmla="*/ 27 h 49"/>
                  <a:gd name="T10" fmla="*/ 50 w 54"/>
                  <a:gd name="T11" fmla="*/ 47 h 49"/>
                  <a:gd name="T12" fmla="*/ 53 w 54"/>
                  <a:gd name="T13" fmla="*/ 4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49">
                    <a:moveTo>
                      <a:pt x="53" y="44"/>
                    </a:moveTo>
                    <a:cubicBezTo>
                      <a:pt x="46" y="35"/>
                      <a:pt x="35" y="29"/>
                      <a:pt x="27" y="22"/>
                    </a:cubicBezTo>
                    <a:cubicBezTo>
                      <a:pt x="18" y="15"/>
                      <a:pt x="10" y="7"/>
                      <a:pt x="1" y="0"/>
                    </a:cubicBezTo>
                    <a:cubicBezTo>
                      <a:pt x="1" y="0"/>
                      <a:pt x="0" y="0"/>
                      <a:pt x="1" y="1"/>
                    </a:cubicBezTo>
                    <a:cubicBezTo>
                      <a:pt x="8" y="10"/>
                      <a:pt x="16" y="18"/>
                      <a:pt x="25" y="27"/>
                    </a:cubicBezTo>
                    <a:cubicBezTo>
                      <a:pt x="33" y="34"/>
                      <a:pt x="40" y="43"/>
                      <a:pt x="50" y="47"/>
                    </a:cubicBezTo>
                    <a:cubicBezTo>
                      <a:pt x="52" y="49"/>
                      <a:pt x="54" y="46"/>
                      <a:pt x="53" y="44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0" name="Freeform 23">
                <a:extLst>
                  <a:ext uri="{FF2B5EF4-FFF2-40B4-BE49-F238E27FC236}">
                    <a16:creationId xmlns:a16="http://schemas.microsoft.com/office/drawing/2014/main" id="{04BD3D0B-995F-47B0-9DBF-034A60FD6E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5" y="2593"/>
                <a:ext cx="452" cy="796"/>
              </a:xfrm>
              <a:custGeom>
                <a:avLst/>
                <a:gdLst>
                  <a:gd name="T0" fmla="*/ 301 w 303"/>
                  <a:gd name="T1" fmla="*/ 534 h 535"/>
                  <a:gd name="T2" fmla="*/ 10 w 303"/>
                  <a:gd name="T3" fmla="*/ 3 h 535"/>
                  <a:gd name="T4" fmla="*/ 4 w 303"/>
                  <a:gd name="T5" fmla="*/ 10 h 535"/>
                  <a:gd name="T6" fmla="*/ 207 w 303"/>
                  <a:gd name="T7" fmla="*/ 232 h 535"/>
                  <a:gd name="T8" fmla="*/ 299 w 303"/>
                  <a:gd name="T9" fmla="*/ 534 h 535"/>
                  <a:gd name="T10" fmla="*/ 301 w 303"/>
                  <a:gd name="T11" fmla="*/ 534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3" h="535">
                    <a:moveTo>
                      <a:pt x="301" y="534"/>
                    </a:moveTo>
                    <a:cubicBezTo>
                      <a:pt x="303" y="329"/>
                      <a:pt x="194" y="105"/>
                      <a:pt x="10" y="3"/>
                    </a:cubicBezTo>
                    <a:cubicBezTo>
                      <a:pt x="5" y="0"/>
                      <a:pt x="0" y="7"/>
                      <a:pt x="4" y="10"/>
                    </a:cubicBezTo>
                    <a:cubicBezTo>
                      <a:pt x="84" y="75"/>
                      <a:pt x="156" y="141"/>
                      <a:pt x="207" y="232"/>
                    </a:cubicBezTo>
                    <a:cubicBezTo>
                      <a:pt x="257" y="324"/>
                      <a:pt x="291" y="430"/>
                      <a:pt x="299" y="534"/>
                    </a:cubicBezTo>
                    <a:cubicBezTo>
                      <a:pt x="300" y="535"/>
                      <a:pt x="301" y="535"/>
                      <a:pt x="301" y="534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1" name="Freeform 24">
                <a:extLst>
                  <a:ext uri="{FF2B5EF4-FFF2-40B4-BE49-F238E27FC236}">
                    <a16:creationId xmlns:a16="http://schemas.microsoft.com/office/drawing/2014/main" id="{AB355CB7-F71F-4ACA-9111-E463B1846A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99" y="3048"/>
                <a:ext cx="88" cy="556"/>
              </a:xfrm>
              <a:custGeom>
                <a:avLst/>
                <a:gdLst>
                  <a:gd name="T0" fmla="*/ 5 w 59"/>
                  <a:gd name="T1" fmla="*/ 370 h 373"/>
                  <a:gd name="T2" fmla="*/ 7 w 59"/>
                  <a:gd name="T3" fmla="*/ 1 h 373"/>
                  <a:gd name="T4" fmla="*/ 5 w 59"/>
                  <a:gd name="T5" fmla="*/ 2 h 373"/>
                  <a:gd name="T6" fmla="*/ 0 w 59"/>
                  <a:gd name="T7" fmla="*/ 368 h 373"/>
                  <a:gd name="T8" fmla="*/ 5 w 59"/>
                  <a:gd name="T9" fmla="*/ 37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373">
                    <a:moveTo>
                      <a:pt x="5" y="370"/>
                    </a:moveTo>
                    <a:cubicBezTo>
                      <a:pt x="59" y="252"/>
                      <a:pt x="47" y="121"/>
                      <a:pt x="7" y="1"/>
                    </a:cubicBezTo>
                    <a:cubicBezTo>
                      <a:pt x="6" y="0"/>
                      <a:pt x="5" y="1"/>
                      <a:pt x="5" y="2"/>
                    </a:cubicBezTo>
                    <a:cubicBezTo>
                      <a:pt x="36" y="124"/>
                      <a:pt x="23" y="245"/>
                      <a:pt x="0" y="368"/>
                    </a:cubicBezTo>
                    <a:cubicBezTo>
                      <a:pt x="0" y="371"/>
                      <a:pt x="4" y="373"/>
                      <a:pt x="5" y="37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2" name="Freeform 25">
                <a:extLst>
                  <a:ext uri="{FF2B5EF4-FFF2-40B4-BE49-F238E27FC236}">
                    <a16:creationId xmlns:a16="http://schemas.microsoft.com/office/drawing/2014/main" id="{49D40C7A-3850-4DC5-B6B9-C9F225F39B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1205"/>
                <a:ext cx="1297" cy="1443"/>
              </a:xfrm>
              <a:custGeom>
                <a:avLst/>
                <a:gdLst>
                  <a:gd name="T0" fmla="*/ 538 w 870"/>
                  <a:gd name="T1" fmla="*/ 129 h 969"/>
                  <a:gd name="T2" fmla="*/ 122 w 870"/>
                  <a:gd name="T3" fmla="*/ 8 h 969"/>
                  <a:gd name="T4" fmla="*/ 122 w 870"/>
                  <a:gd name="T5" fmla="*/ 10 h 969"/>
                  <a:gd name="T6" fmla="*/ 554 w 870"/>
                  <a:gd name="T7" fmla="*/ 171 h 969"/>
                  <a:gd name="T8" fmla="*/ 720 w 870"/>
                  <a:gd name="T9" fmla="*/ 616 h 969"/>
                  <a:gd name="T10" fmla="*/ 334 w 870"/>
                  <a:gd name="T11" fmla="*/ 885 h 969"/>
                  <a:gd name="T12" fmla="*/ 0 w 870"/>
                  <a:gd name="T13" fmla="*/ 875 h 969"/>
                  <a:gd name="T14" fmla="*/ 0 w 870"/>
                  <a:gd name="T15" fmla="*/ 914 h 969"/>
                  <a:gd name="T16" fmla="*/ 636 w 870"/>
                  <a:gd name="T17" fmla="*/ 789 h 969"/>
                  <a:gd name="T18" fmla="*/ 538 w 870"/>
                  <a:gd name="T19" fmla="*/ 129 h 9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0" h="969">
                    <a:moveTo>
                      <a:pt x="538" y="129"/>
                    </a:moveTo>
                    <a:cubicBezTo>
                      <a:pt x="417" y="39"/>
                      <a:pt x="271" y="0"/>
                      <a:pt x="122" y="8"/>
                    </a:cubicBezTo>
                    <a:cubicBezTo>
                      <a:pt x="121" y="8"/>
                      <a:pt x="121" y="10"/>
                      <a:pt x="122" y="10"/>
                    </a:cubicBezTo>
                    <a:cubicBezTo>
                      <a:pt x="279" y="5"/>
                      <a:pt x="437" y="67"/>
                      <a:pt x="554" y="171"/>
                    </a:cubicBezTo>
                    <a:cubicBezTo>
                      <a:pt x="672" y="277"/>
                      <a:pt x="771" y="454"/>
                      <a:pt x="720" y="616"/>
                    </a:cubicBezTo>
                    <a:cubicBezTo>
                      <a:pt x="670" y="775"/>
                      <a:pt x="484" y="855"/>
                      <a:pt x="334" y="885"/>
                    </a:cubicBezTo>
                    <a:cubicBezTo>
                      <a:pt x="221" y="907"/>
                      <a:pt x="109" y="901"/>
                      <a:pt x="0" y="875"/>
                    </a:cubicBezTo>
                    <a:cubicBezTo>
                      <a:pt x="0" y="914"/>
                      <a:pt x="0" y="914"/>
                      <a:pt x="0" y="914"/>
                    </a:cubicBezTo>
                    <a:cubicBezTo>
                      <a:pt x="215" y="969"/>
                      <a:pt x="468" y="926"/>
                      <a:pt x="636" y="789"/>
                    </a:cubicBezTo>
                    <a:cubicBezTo>
                      <a:pt x="870" y="599"/>
                      <a:pt x="745" y="283"/>
                      <a:pt x="538" y="12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3" name="Freeform 26">
                <a:extLst>
                  <a:ext uri="{FF2B5EF4-FFF2-40B4-BE49-F238E27FC236}">
                    <a16:creationId xmlns:a16="http://schemas.microsoft.com/office/drawing/2014/main" id="{EFDFE077-50B4-4B87-8C5C-855F2EBF60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52" y="2329"/>
                <a:ext cx="277" cy="195"/>
              </a:xfrm>
              <a:custGeom>
                <a:avLst/>
                <a:gdLst>
                  <a:gd name="T0" fmla="*/ 185 w 186"/>
                  <a:gd name="T1" fmla="*/ 3 h 131"/>
                  <a:gd name="T2" fmla="*/ 183 w 186"/>
                  <a:gd name="T3" fmla="*/ 1 h 131"/>
                  <a:gd name="T4" fmla="*/ 2 w 186"/>
                  <a:gd name="T5" fmla="*/ 127 h 131"/>
                  <a:gd name="T6" fmla="*/ 3 w 186"/>
                  <a:gd name="T7" fmla="*/ 130 h 131"/>
                  <a:gd name="T8" fmla="*/ 185 w 186"/>
                  <a:gd name="T9" fmla="*/ 3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6" h="131">
                    <a:moveTo>
                      <a:pt x="185" y="3"/>
                    </a:moveTo>
                    <a:cubicBezTo>
                      <a:pt x="186" y="2"/>
                      <a:pt x="184" y="0"/>
                      <a:pt x="183" y="1"/>
                    </a:cubicBezTo>
                    <a:cubicBezTo>
                      <a:pt x="138" y="58"/>
                      <a:pt x="71" y="105"/>
                      <a:pt x="2" y="127"/>
                    </a:cubicBezTo>
                    <a:cubicBezTo>
                      <a:pt x="0" y="127"/>
                      <a:pt x="1" y="131"/>
                      <a:pt x="3" y="130"/>
                    </a:cubicBezTo>
                    <a:cubicBezTo>
                      <a:pt x="82" y="110"/>
                      <a:pt x="140" y="70"/>
                      <a:pt x="185" y="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4" name="Freeform 27">
                <a:extLst>
                  <a:ext uri="{FF2B5EF4-FFF2-40B4-BE49-F238E27FC236}">
                    <a16:creationId xmlns:a16="http://schemas.microsoft.com/office/drawing/2014/main" id="{FE9818E9-A064-4370-A0CD-D59D61D146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2627"/>
                <a:ext cx="1094" cy="1541"/>
              </a:xfrm>
              <a:custGeom>
                <a:avLst/>
                <a:gdLst>
                  <a:gd name="T0" fmla="*/ 672 w 734"/>
                  <a:gd name="T1" fmla="*/ 713 h 1035"/>
                  <a:gd name="T2" fmla="*/ 670 w 734"/>
                  <a:gd name="T3" fmla="*/ 285 h 1035"/>
                  <a:gd name="T4" fmla="*/ 420 w 734"/>
                  <a:gd name="T5" fmla="*/ 0 h 1035"/>
                  <a:gd name="T6" fmla="*/ 419 w 734"/>
                  <a:gd name="T7" fmla="*/ 3 h 1035"/>
                  <a:gd name="T8" fmla="*/ 642 w 734"/>
                  <a:gd name="T9" fmla="*/ 293 h 1035"/>
                  <a:gd name="T10" fmla="*/ 634 w 734"/>
                  <a:gd name="T11" fmla="*/ 700 h 1035"/>
                  <a:gd name="T12" fmla="*/ 0 w 734"/>
                  <a:gd name="T13" fmla="*/ 976 h 1035"/>
                  <a:gd name="T14" fmla="*/ 0 w 734"/>
                  <a:gd name="T15" fmla="*/ 1015 h 1035"/>
                  <a:gd name="T16" fmla="*/ 352 w 734"/>
                  <a:gd name="T17" fmla="*/ 971 h 1035"/>
                  <a:gd name="T18" fmla="*/ 672 w 734"/>
                  <a:gd name="T19" fmla="*/ 713 h 10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4" h="1035">
                    <a:moveTo>
                      <a:pt x="672" y="713"/>
                    </a:moveTo>
                    <a:cubicBezTo>
                      <a:pt x="734" y="579"/>
                      <a:pt x="722" y="421"/>
                      <a:pt x="670" y="285"/>
                    </a:cubicBezTo>
                    <a:cubicBezTo>
                      <a:pt x="626" y="170"/>
                      <a:pt x="541" y="44"/>
                      <a:pt x="420" y="0"/>
                    </a:cubicBezTo>
                    <a:cubicBezTo>
                      <a:pt x="419" y="0"/>
                      <a:pt x="417" y="2"/>
                      <a:pt x="419" y="3"/>
                    </a:cubicBezTo>
                    <a:cubicBezTo>
                      <a:pt x="516" y="86"/>
                      <a:pt x="598" y="169"/>
                      <a:pt x="642" y="293"/>
                    </a:cubicBezTo>
                    <a:cubicBezTo>
                      <a:pt x="687" y="419"/>
                      <a:pt x="692" y="578"/>
                      <a:pt x="634" y="700"/>
                    </a:cubicBezTo>
                    <a:cubicBezTo>
                      <a:pt x="530" y="918"/>
                      <a:pt x="235" y="999"/>
                      <a:pt x="0" y="976"/>
                    </a:cubicBezTo>
                    <a:cubicBezTo>
                      <a:pt x="0" y="1015"/>
                      <a:pt x="0" y="1015"/>
                      <a:pt x="0" y="1015"/>
                    </a:cubicBezTo>
                    <a:cubicBezTo>
                      <a:pt x="117" y="1035"/>
                      <a:pt x="241" y="1010"/>
                      <a:pt x="352" y="971"/>
                    </a:cubicBezTo>
                    <a:cubicBezTo>
                      <a:pt x="484" y="925"/>
                      <a:pt x="612" y="844"/>
                      <a:pt x="672" y="71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5" name="Freeform 28">
                <a:extLst>
                  <a:ext uri="{FF2B5EF4-FFF2-40B4-BE49-F238E27FC236}">
                    <a16:creationId xmlns:a16="http://schemas.microsoft.com/office/drawing/2014/main" id="{AFEAB66E-C1A9-492B-8F2D-F1FA1F16CE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5" y="3852"/>
                <a:ext cx="348" cy="146"/>
              </a:xfrm>
              <a:custGeom>
                <a:avLst/>
                <a:gdLst>
                  <a:gd name="T0" fmla="*/ 231 w 233"/>
                  <a:gd name="T1" fmla="*/ 1 h 98"/>
                  <a:gd name="T2" fmla="*/ 4 w 233"/>
                  <a:gd name="T3" fmla="*/ 91 h 98"/>
                  <a:gd name="T4" fmla="*/ 5 w 233"/>
                  <a:gd name="T5" fmla="*/ 98 h 98"/>
                  <a:gd name="T6" fmla="*/ 232 w 233"/>
                  <a:gd name="T7" fmla="*/ 2 h 98"/>
                  <a:gd name="T8" fmla="*/ 231 w 233"/>
                  <a:gd name="T9" fmla="*/ 1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3" h="98">
                    <a:moveTo>
                      <a:pt x="231" y="1"/>
                    </a:moveTo>
                    <a:cubicBezTo>
                      <a:pt x="166" y="61"/>
                      <a:pt x="85" y="68"/>
                      <a:pt x="4" y="91"/>
                    </a:cubicBezTo>
                    <a:cubicBezTo>
                      <a:pt x="0" y="92"/>
                      <a:pt x="1" y="98"/>
                      <a:pt x="5" y="98"/>
                    </a:cubicBezTo>
                    <a:cubicBezTo>
                      <a:pt x="89" y="93"/>
                      <a:pt x="176" y="66"/>
                      <a:pt x="232" y="2"/>
                    </a:cubicBezTo>
                    <a:cubicBezTo>
                      <a:pt x="233" y="1"/>
                      <a:pt x="232" y="0"/>
                      <a:pt x="231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6" name="Freeform 29">
                <a:extLst>
                  <a:ext uri="{FF2B5EF4-FFF2-40B4-BE49-F238E27FC236}">
                    <a16:creationId xmlns:a16="http://schemas.microsoft.com/office/drawing/2014/main" id="{3DFCC725-3BBD-4A51-A226-40A13A2889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" y="2618"/>
                <a:ext cx="284" cy="259"/>
              </a:xfrm>
              <a:custGeom>
                <a:avLst/>
                <a:gdLst>
                  <a:gd name="T0" fmla="*/ 186 w 190"/>
                  <a:gd name="T1" fmla="*/ 173 h 174"/>
                  <a:gd name="T2" fmla="*/ 188 w 190"/>
                  <a:gd name="T3" fmla="*/ 171 h 174"/>
                  <a:gd name="T4" fmla="*/ 8 w 190"/>
                  <a:gd name="T5" fmla="*/ 1 h 174"/>
                  <a:gd name="T6" fmla="*/ 3 w 190"/>
                  <a:gd name="T7" fmla="*/ 9 h 174"/>
                  <a:gd name="T8" fmla="*/ 97 w 190"/>
                  <a:gd name="T9" fmla="*/ 87 h 174"/>
                  <a:gd name="T10" fmla="*/ 186 w 190"/>
                  <a:gd name="T11" fmla="*/ 173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174">
                    <a:moveTo>
                      <a:pt x="186" y="173"/>
                    </a:moveTo>
                    <a:cubicBezTo>
                      <a:pt x="188" y="174"/>
                      <a:pt x="190" y="172"/>
                      <a:pt x="188" y="171"/>
                    </a:cubicBezTo>
                    <a:cubicBezTo>
                      <a:pt x="138" y="110"/>
                      <a:pt x="89" y="23"/>
                      <a:pt x="8" y="1"/>
                    </a:cubicBezTo>
                    <a:cubicBezTo>
                      <a:pt x="3" y="0"/>
                      <a:pt x="0" y="6"/>
                      <a:pt x="3" y="9"/>
                    </a:cubicBezTo>
                    <a:cubicBezTo>
                      <a:pt x="32" y="37"/>
                      <a:pt x="67" y="59"/>
                      <a:pt x="97" y="87"/>
                    </a:cubicBezTo>
                    <a:cubicBezTo>
                      <a:pt x="127" y="115"/>
                      <a:pt x="159" y="142"/>
                      <a:pt x="186" y="17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7" name="Freeform 30">
                <a:extLst>
                  <a:ext uri="{FF2B5EF4-FFF2-40B4-BE49-F238E27FC236}">
                    <a16:creationId xmlns:a16="http://schemas.microsoft.com/office/drawing/2014/main" id="{E0A1C752-F558-4D34-8EE8-908B948664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" y="2718"/>
                <a:ext cx="59" cy="113"/>
              </a:xfrm>
              <a:custGeom>
                <a:avLst/>
                <a:gdLst>
                  <a:gd name="T0" fmla="*/ 1 w 39"/>
                  <a:gd name="T1" fmla="*/ 5 h 76"/>
                  <a:gd name="T2" fmla="*/ 36 w 39"/>
                  <a:gd name="T3" fmla="*/ 75 h 76"/>
                  <a:gd name="T4" fmla="*/ 38 w 39"/>
                  <a:gd name="T5" fmla="*/ 74 h 76"/>
                  <a:gd name="T6" fmla="*/ 6 w 39"/>
                  <a:gd name="T7" fmla="*/ 2 h 76"/>
                  <a:gd name="T8" fmla="*/ 1 w 39"/>
                  <a:gd name="T9" fmla="*/ 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76">
                    <a:moveTo>
                      <a:pt x="1" y="5"/>
                    </a:moveTo>
                    <a:cubicBezTo>
                      <a:pt x="11" y="29"/>
                      <a:pt x="25" y="52"/>
                      <a:pt x="36" y="75"/>
                    </a:cubicBezTo>
                    <a:cubicBezTo>
                      <a:pt x="37" y="76"/>
                      <a:pt x="39" y="75"/>
                      <a:pt x="38" y="74"/>
                    </a:cubicBezTo>
                    <a:cubicBezTo>
                      <a:pt x="27" y="50"/>
                      <a:pt x="19" y="25"/>
                      <a:pt x="6" y="2"/>
                    </a:cubicBezTo>
                    <a:cubicBezTo>
                      <a:pt x="5" y="0"/>
                      <a:pt x="0" y="2"/>
                      <a:pt x="1" y="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8" name="Freeform 31">
                <a:extLst>
                  <a:ext uri="{FF2B5EF4-FFF2-40B4-BE49-F238E27FC236}">
                    <a16:creationId xmlns:a16="http://schemas.microsoft.com/office/drawing/2014/main" id="{475A2E3D-0744-4E1D-AA39-8791D54212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3" y="2809"/>
                <a:ext cx="291" cy="994"/>
              </a:xfrm>
              <a:custGeom>
                <a:avLst/>
                <a:gdLst>
                  <a:gd name="T0" fmla="*/ 4 w 195"/>
                  <a:gd name="T1" fmla="*/ 656 h 668"/>
                  <a:gd name="T2" fmla="*/ 13 w 195"/>
                  <a:gd name="T3" fmla="*/ 663 h 668"/>
                  <a:gd name="T4" fmla="*/ 35 w 195"/>
                  <a:gd name="T5" fmla="*/ 1 h 668"/>
                  <a:gd name="T6" fmla="*/ 33 w 195"/>
                  <a:gd name="T7" fmla="*/ 1 h 668"/>
                  <a:gd name="T8" fmla="*/ 4 w 195"/>
                  <a:gd name="T9" fmla="*/ 656 h 6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5" h="668">
                    <a:moveTo>
                      <a:pt x="4" y="656"/>
                    </a:moveTo>
                    <a:cubicBezTo>
                      <a:pt x="0" y="662"/>
                      <a:pt x="8" y="668"/>
                      <a:pt x="13" y="663"/>
                    </a:cubicBezTo>
                    <a:cubicBezTo>
                      <a:pt x="195" y="477"/>
                      <a:pt x="189" y="203"/>
                      <a:pt x="35" y="1"/>
                    </a:cubicBezTo>
                    <a:cubicBezTo>
                      <a:pt x="34" y="0"/>
                      <a:pt x="33" y="1"/>
                      <a:pt x="33" y="1"/>
                    </a:cubicBezTo>
                    <a:cubicBezTo>
                      <a:pt x="159" y="202"/>
                      <a:pt x="134" y="464"/>
                      <a:pt x="4" y="65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9" name="Freeform 32">
                <a:extLst>
                  <a:ext uri="{FF2B5EF4-FFF2-40B4-BE49-F238E27FC236}">
                    <a16:creationId xmlns:a16="http://schemas.microsoft.com/office/drawing/2014/main" id="{63E7EE4B-EF09-4F0C-B42F-AE674724ED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" y="3698"/>
                <a:ext cx="358" cy="236"/>
              </a:xfrm>
              <a:custGeom>
                <a:avLst/>
                <a:gdLst>
                  <a:gd name="T0" fmla="*/ 6 w 240"/>
                  <a:gd name="T1" fmla="*/ 158 h 159"/>
                  <a:gd name="T2" fmla="*/ 239 w 240"/>
                  <a:gd name="T3" fmla="*/ 2 h 159"/>
                  <a:gd name="T4" fmla="*/ 238 w 240"/>
                  <a:gd name="T5" fmla="*/ 1 h 159"/>
                  <a:gd name="T6" fmla="*/ 4 w 240"/>
                  <a:gd name="T7" fmla="*/ 152 h 159"/>
                  <a:gd name="T8" fmla="*/ 6 w 240"/>
                  <a:gd name="T9" fmla="*/ 158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159">
                    <a:moveTo>
                      <a:pt x="6" y="158"/>
                    </a:moveTo>
                    <a:cubicBezTo>
                      <a:pt x="98" y="145"/>
                      <a:pt x="195" y="85"/>
                      <a:pt x="239" y="2"/>
                    </a:cubicBezTo>
                    <a:cubicBezTo>
                      <a:pt x="240" y="1"/>
                      <a:pt x="238" y="0"/>
                      <a:pt x="238" y="1"/>
                    </a:cubicBezTo>
                    <a:cubicBezTo>
                      <a:pt x="184" y="73"/>
                      <a:pt x="90" y="128"/>
                      <a:pt x="4" y="152"/>
                    </a:cubicBezTo>
                    <a:cubicBezTo>
                      <a:pt x="0" y="153"/>
                      <a:pt x="2" y="159"/>
                      <a:pt x="6" y="15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0" name="Freeform 33">
                <a:extLst>
                  <a:ext uri="{FF2B5EF4-FFF2-40B4-BE49-F238E27FC236}">
                    <a16:creationId xmlns:a16="http://schemas.microsoft.com/office/drawing/2014/main" id="{0405BC8C-19B3-4E69-8317-CDE1BDFA1E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3" y="3519"/>
                <a:ext cx="598" cy="658"/>
              </a:xfrm>
              <a:custGeom>
                <a:avLst/>
                <a:gdLst>
                  <a:gd name="T0" fmla="*/ 399 w 401"/>
                  <a:gd name="T1" fmla="*/ 1 h 442"/>
                  <a:gd name="T2" fmla="*/ 4 w 401"/>
                  <a:gd name="T3" fmla="*/ 434 h 442"/>
                  <a:gd name="T4" fmla="*/ 6 w 401"/>
                  <a:gd name="T5" fmla="*/ 441 h 442"/>
                  <a:gd name="T6" fmla="*/ 401 w 401"/>
                  <a:gd name="T7" fmla="*/ 1 h 442"/>
                  <a:gd name="T8" fmla="*/ 399 w 401"/>
                  <a:gd name="T9" fmla="*/ 1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1" h="442">
                    <a:moveTo>
                      <a:pt x="399" y="1"/>
                    </a:moveTo>
                    <a:cubicBezTo>
                      <a:pt x="354" y="215"/>
                      <a:pt x="204" y="360"/>
                      <a:pt x="4" y="434"/>
                    </a:cubicBezTo>
                    <a:cubicBezTo>
                      <a:pt x="0" y="436"/>
                      <a:pt x="1" y="442"/>
                      <a:pt x="6" y="441"/>
                    </a:cubicBezTo>
                    <a:cubicBezTo>
                      <a:pt x="211" y="401"/>
                      <a:pt x="372" y="202"/>
                      <a:pt x="401" y="1"/>
                    </a:cubicBezTo>
                    <a:cubicBezTo>
                      <a:pt x="401" y="0"/>
                      <a:pt x="400" y="0"/>
                      <a:pt x="399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1" name="Freeform 34">
                <a:extLst>
                  <a:ext uri="{FF2B5EF4-FFF2-40B4-BE49-F238E27FC236}">
                    <a16:creationId xmlns:a16="http://schemas.microsoft.com/office/drawing/2014/main" id="{ADC0648B-B116-4F1C-971E-93F8655A6D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0" y="3656"/>
                <a:ext cx="161" cy="149"/>
              </a:xfrm>
              <a:custGeom>
                <a:avLst/>
                <a:gdLst>
                  <a:gd name="T0" fmla="*/ 106 w 108"/>
                  <a:gd name="T1" fmla="*/ 1 h 100"/>
                  <a:gd name="T2" fmla="*/ 2 w 108"/>
                  <a:gd name="T3" fmla="*/ 94 h 100"/>
                  <a:gd name="T4" fmla="*/ 6 w 108"/>
                  <a:gd name="T5" fmla="*/ 98 h 100"/>
                  <a:gd name="T6" fmla="*/ 107 w 108"/>
                  <a:gd name="T7" fmla="*/ 2 h 100"/>
                  <a:gd name="T8" fmla="*/ 106 w 108"/>
                  <a:gd name="T9" fmla="*/ 1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100">
                    <a:moveTo>
                      <a:pt x="106" y="1"/>
                    </a:moveTo>
                    <a:cubicBezTo>
                      <a:pt x="65" y="24"/>
                      <a:pt x="28" y="55"/>
                      <a:pt x="2" y="94"/>
                    </a:cubicBezTo>
                    <a:cubicBezTo>
                      <a:pt x="0" y="97"/>
                      <a:pt x="4" y="100"/>
                      <a:pt x="6" y="98"/>
                    </a:cubicBezTo>
                    <a:cubicBezTo>
                      <a:pt x="37" y="62"/>
                      <a:pt x="68" y="29"/>
                      <a:pt x="107" y="2"/>
                    </a:cubicBezTo>
                    <a:cubicBezTo>
                      <a:pt x="108" y="2"/>
                      <a:pt x="107" y="0"/>
                      <a:pt x="106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2" name="Freeform 35">
                <a:extLst>
                  <a:ext uri="{FF2B5EF4-FFF2-40B4-BE49-F238E27FC236}">
                    <a16:creationId xmlns:a16="http://schemas.microsoft.com/office/drawing/2014/main" id="{1A51D6E9-3263-4C5C-8643-B89BB9076E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61" y="3446"/>
                <a:ext cx="340" cy="232"/>
              </a:xfrm>
              <a:custGeom>
                <a:avLst/>
                <a:gdLst>
                  <a:gd name="T0" fmla="*/ 1 w 228"/>
                  <a:gd name="T1" fmla="*/ 0 h 156"/>
                  <a:gd name="T2" fmla="*/ 1 w 228"/>
                  <a:gd name="T3" fmla="*/ 1 h 156"/>
                  <a:gd name="T4" fmla="*/ 222 w 228"/>
                  <a:gd name="T5" fmla="*/ 154 h 156"/>
                  <a:gd name="T6" fmla="*/ 227 w 228"/>
                  <a:gd name="T7" fmla="*/ 150 h 156"/>
                  <a:gd name="T8" fmla="*/ 1 w 228"/>
                  <a:gd name="T9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156">
                    <a:moveTo>
                      <a:pt x="1" y="0"/>
                    </a:moveTo>
                    <a:cubicBezTo>
                      <a:pt x="0" y="0"/>
                      <a:pt x="0" y="1"/>
                      <a:pt x="1" y="1"/>
                    </a:cubicBezTo>
                    <a:cubicBezTo>
                      <a:pt x="88" y="37"/>
                      <a:pt x="158" y="83"/>
                      <a:pt x="222" y="154"/>
                    </a:cubicBezTo>
                    <a:cubicBezTo>
                      <a:pt x="224" y="156"/>
                      <a:pt x="228" y="153"/>
                      <a:pt x="227" y="150"/>
                    </a:cubicBezTo>
                    <a:cubicBezTo>
                      <a:pt x="175" y="76"/>
                      <a:pt x="91" y="17"/>
                      <a:pt x="1" y="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3" name="Freeform 36">
                <a:extLst>
                  <a:ext uri="{FF2B5EF4-FFF2-40B4-BE49-F238E27FC236}">
                    <a16:creationId xmlns:a16="http://schemas.microsoft.com/office/drawing/2014/main" id="{9B8E1B29-9C68-49A2-A776-BE43D12CE5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54" y="1564"/>
                <a:ext cx="899" cy="1082"/>
              </a:xfrm>
              <a:custGeom>
                <a:avLst/>
                <a:gdLst>
                  <a:gd name="T0" fmla="*/ 119 w 603"/>
                  <a:gd name="T1" fmla="*/ 1 h 727"/>
                  <a:gd name="T2" fmla="*/ 188 w 603"/>
                  <a:gd name="T3" fmla="*/ 568 h 727"/>
                  <a:gd name="T4" fmla="*/ 462 w 603"/>
                  <a:gd name="T5" fmla="*/ 711 h 727"/>
                  <a:gd name="T6" fmla="*/ 603 w 603"/>
                  <a:gd name="T7" fmla="*/ 727 h 727"/>
                  <a:gd name="T8" fmla="*/ 603 w 603"/>
                  <a:gd name="T9" fmla="*/ 691 h 727"/>
                  <a:gd name="T10" fmla="*/ 526 w 603"/>
                  <a:gd name="T11" fmla="*/ 684 h 727"/>
                  <a:gd name="T12" fmla="*/ 239 w 603"/>
                  <a:gd name="T13" fmla="*/ 560 h 727"/>
                  <a:gd name="T14" fmla="*/ 120 w 603"/>
                  <a:gd name="T15" fmla="*/ 2 h 727"/>
                  <a:gd name="T16" fmla="*/ 119 w 603"/>
                  <a:gd name="T17" fmla="*/ 1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3" h="727">
                    <a:moveTo>
                      <a:pt x="119" y="1"/>
                    </a:moveTo>
                    <a:cubicBezTo>
                      <a:pt x="0" y="179"/>
                      <a:pt x="35" y="420"/>
                      <a:pt x="188" y="568"/>
                    </a:cubicBezTo>
                    <a:cubicBezTo>
                      <a:pt x="263" y="641"/>
                      <a:pt x="360" y="690"/>
                      <a:pt x="462" y="711"/>
                    </a:cubicBezTo>
                    <a:cubicBezTo>
                      <a:pt x="509" y="721"/>
                      <a:pt x="556" y="726"/>
                      <a:pt x="603" y="727"/>
                    </a:cubicBezTo>
                    <a:cubicBezTo>
                      <a:pt x="603" y="691"/>
                      <a:pt x="603" y="691"/>
                      <a:pt x="603" y="691"/>
                    </a:cubicBezTo>
                    <a:cubicBezTo>
                      <a:pt x="577" y="690"/>
                      <a:pt x="551" y="688"/>
                      <a:pt x="526" y="684"/>
                    </a:cubicBezTo>
                    <a:cubicBezTo>
                      <a:pt x="421" y="670"/>
                      <a:pt x="320" y="628"/>
                      <a:pt x="239" y="560"/>
                    </a:cubicBezTo>
                    <a:cubicBezTo>
                      <a:pt x="77" y="424"/>
                      <a:pt x="11" y="192"/>
                      <a:pt x="120" y="2"/>
                    </a:cubicBezTo>
                    <a:cubicBezTo>
                      <a:pt x="120" y="1"/>
                      <a:pt x="120" y="0"/>
                      <a:pt x="119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4" name="Freeform 37">
                <a:extLst>
                  <a:ext uri="{FF2B5EF4-FFF2-40B4-BE49-F238E27FC236}">
                    <a16:creationId xmlns:a16="http://schemas.microsoft.com/office/drawing/2014/main" id="{D3C7A30A-6F30-401F-9D8A-0680A9A9AD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6" y="1596"/>
                <a:ext cx="192" cy="812"/>
              </a:xfrm>
              <a:custGeom>
                <a:avLst/>
                <a:gdLst>
                  <a:gd name="T0" fmla="*/ 69 w 129"/>
                  <a:gd name="T1" fmla="*/ 1 h 545"/>
                  <a:gd name="T2" fmla="*/ 5 w 129"/>
                  <a:gd name="T3" fmla="*/ 271 h 545"/>
                  <a:gd name="T4" fmla="*/ 109 w 129"/>
                  <a:gd name="T5" fmla="*/ 539 h 545"/>
                  <a:gd name="T6" fmla="*/ 123 w 129"/>
                  <a:gd name="T7" fmla="*/ 528 h 545"/>
                  <a:gd name="T8" fmla="*/ 35 w 129"/>
                  <a:gd name="T9" fmla="*/ 271 h 545"/>
                  <a:gd name="T10" fmla="*/ 72 w 129"/>
                  <a:gd name="T11" fmla="*/ 3 h 545"/>
                  <a:gd name="T12" fmla="*/ 69 w 129"/>
                  <a:gd name="T13" fmla="*/ 1 h 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9" h="545">
                    <a:moveTo>
                      <a:pt x="69" y="1"/>
                    </a:moveTo>
                    <a:cubicBezTo>
                      <a:pt x="0" y="71"/>
                      <a:pt x="0" y="178"/>
                      <a:pt x="5" y="271"/>
                    </a:cubicBezTo>
                    <a:cubicBezTo>
                      <a:pt x="10" y="369"/>
                      <a:pt x="34" y="471"/>
                      <a:pt x="109" y="539"/>
                    </a:cubicBezTo>
                    <a:cubicBezTo>
                      <a:pt x="116" y="545"/>
                      <a:pt x="129" y="537"/>
                      <a:pt x="123" y="528"/>
                    </a:cubicBezTo>
                    <a:cubicBezTo>
                      <a:pt x="72" y="450"/>
                      <a:pt x="44" y="364"/>
                      <a:pt x="35" y="271"/>
                    </a:cubicBezTo>
                    <a:cubicBezTo>
                      <a:pt x="26" y="183"/>
                      <a:pt x="20" y="79"/>
                      <a:pt x="72" y="3"/>
                    </a:cubicBezTo>
                    <a:cubicBezTo>
                      <a:pt x="73" y="1"/>
                      <a:pt x="71" y="0"/>
                      <a:pt x="69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5" name="Freeform 38">
                <a:extLst>
                  <a:ext uri="{FF2B5EF4-FFF2-40B4-BE49-F238E27FC236}">
                    <a16:creationId xmlns:a16="http://schemas.microsoft.com/office/drawing/2014/main" id="{AA691D5C-5B9A-4561-80F3-AF8712CBCA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8" y="1756"/>
                <a:ext cx="85" cy="262"/>
              </a:xfrm>
              <a:custGeom>
                <a:avLst/>
                <a:gdLst>
                  <a:gd name="T0" fmla="*/ 56 w 57"/>
                  <a:gd name="T1" fmla="*/ 170 h 176"/>
                  <a:gd name="T2" fmla="*/ 6 w 57"/>
                  <a:gd name="T3" fmla="*/ 3 h 176"/>
                  <a:gd name="T4" fmla="*/ 1 w 57"/>
                  <a:gd name="T5" fmla="*/ 3 h 176"/>
                  <a:gd name="T6" fmla="*/ 50 w 57"/>
                  <a:gd name="T7" fmla="*/ 173 h 176"/>
                  <a:gd name="T8" fmla="*/ 56 w 57"/>
                  <a:gd name="T9" fmla="*/ 17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176">
                    <a:moveTo>
                      <a:pt x="56" y="170"/>
                    </a:moveTo>
                    <a:cubicBezTo>
                      <a:pt x="31" y="117"/>
                      <a:pt x="13" y="61"/>
                      <a:pt x="6" y="3"/>
                    </a:cubicBezTo>
                    <a:cubicBezTo>
                      <a:pt x="5" y="1"/>
                      <a:pt x="1" y="0"/>
                      <a:pt x="1" y="3"/>
                    </a:cubicBezTo>
                    <a:cubicBezTo>
                      <a:pt x="0" y="65"/>
                      <a:pt x="15" y="122"/>
                      <a:pt x="50" y="173"/>
                    </a:cubicBezTo>
                    <a:cubicBezTo>
                      <a:pt x="53" y="176"/>
                      <a:pt x="57" y="174"/>
                      <a:pt x="56" y="17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6" name="Freeform 39">
                <a:extLst>
                  <a:ext uri="{FF2B5EF4-FFF2-40B4-BE49-F238E27FC236}">
                    <a16:creationId xmlns:a16="http://schemas.microsoft.com/office/drawing/2014/main" id="{A104B9BC-62C3-463D-AAC2-0DE1784391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73" y="2549"/>
                <a:ext cx="485" cy="1294"/>
              </a:xfrm>
              <a:custGeom>
                <a:avLst/>
                <a:gdLst>
                  <a:gd name="T0" fmla="*/ 263 w 325"/>
                  <a:gd name="T1" fmla="*/ 868 h 869"/>
                  <a:gd name="T2" fmla="*/ 265 w 325"/>
                  <a:gd name="T3" fmla="*/ 866 h 869"/>
                  <a:gd name="T4" fmla="*/ 105 w 325"/>
                  <a:gd name="T5" fmla="*/ 696 h 869"/>
                  <a:gd name="T6" fmla="*/ 46 w 325"/>
                  <a:gd name="T7" fmla="*/ 465 h 869"/>
                  <a:gd name="T8" fmla="*/ 308 w 325"/>
                  <a:gd name="T9" fmla="*/ 40 h 869"/>
                  <a:gd name="T10" fmla="*/ 291 w 325"/>
                  <a:gd name="T11" fmla="*/ 11 h 869"/>
                  <a:gd name="T12" fmla="*/ 5 w 325"/>
                  <a:gd name="T13" fmla="*/ 465 h 869"/>
                  <a:gd name="T14" fmla="*/ 263 w 325"/>
                  <a:gd name="T15" fmla="*/ 868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5" h="869">
                    <a:moveTo>
                      <a:pt x="263" y="868"/>
                    </a:moveTo>
                    <a:cubicBezTo>
                      <a:pt x="264" y="869"/>
                      <a:pt x="266" y="867"/>
                      <a:pt x="265" y="866"/>
                    </a:cubicBezTo>
                    <a:cubicBezTo>
                      <a:pt x="206" y="814"/>
                      <a:pt x="145" y="764"/>
                      <a:pt x="105" y="696"/>
                    </a:cubicBezTo>
                    <a:cubicBezTo>
                      <a:pt x="64" y="627"/>
                      <a:pt x="43" y="546"/>
                      <a:pt x="46" y="465"/>
                    </a:cubicBezTo>
                    <a:cubicBezTo>
                      <a:pt x="52" y="286"/>
                      <a:pt x="168" y="140"/>
                      <a:pt x="308" y="40"/>
                    </a:cubicBezTo>
                    <a:cubicBezTo>
                      <a:pt x="325" y="27"/>
                      <a:pt x="310" y="0"/>
                      <a:pt x="291" y="11"/>
                    </a:cubicBezTo>
                    <a:cubicBezTo>
                      <a:pt x="130" y="101"/>
                      <a:pt x="11" y="278"/>
                      <a:pt x="5" y="465"/>
                    </a:cubicBezTo>
                    <a:cubicBezTo>
                      <a:pt x="0" y="621"/>
                      <a:pt x="89" y="843"/>
                      <a:pt x="263" y="86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7" name="Freeform 40">
                <a:extLst>
                  <a:ext uri="{FF2B5EF4-FFF2-40B4-BE49-F238E27FC236}">
                    <a16:creationId xmlns:a16="http://schemas.microsoft.com/office/drawing/2014/main" id="{DF7CAB23-29D4-4C11-8E7F-908B71F4E1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41" y="1656"/>
                <a:ext cx="65" cy="441"/>
              </a:xfrm>
              <a:custGeom>
                <a:avLst/>
                <a:gdLst>
                  <a:gd name="T0" fmla="*/ 39 w 43"/>
                  <a:gd name="T1" fmla="*/ 2 h 296"/>
                  <a:gd name="T2" fmla="*/ 21 w 43"/>
                  <a:gd name="T3" fmla="*/ 292 h 296"/>
                  <a:gd name="T4" fmla="*/ 26 w 43"/>
                  <a:gd name="T5" fmla="*/ 291 h 296"/>
                  <a:gd name="T6" fmla="*/ 43 w 43"/>
                  <a:gd name="T7" fmla="*/ 3 h 296"/>
                  <a:gd name="T8" fmla="*/ 39 w 43"/>
                  <a:gd name="T9" fmla="*/ 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96">
                    <a:moveTo>
                      <a:pt x="39" y="2"/>
                    </a:moveTo>
                    <a:cubicBezTo>
                      <a:pt x="4" y="98"/>
                      <a:pt x="0" y="193"/>
                      <a:pt x="21" y="292"/>
                    </a:cubicBezTo>
                    <a:cubicBezTo>
                      <a:pt x="22" y="296"/>
                      <a:pt x="26" y="294"/>
                      <a:pt x="26" y="291"/>
                    </a:cubicBezTo>
                    <a:cubicBezTo>
                      <a:pt x="11" y="195"/>
                      <a:pt x="19" y="97"/>
                      <a:pt x="43" y="3"/>
                    </a:cubicBezTo>
                    <a:cubicBezTo>
                      <a:pt x="43" y="1"/>
                      <a:pt x="40" y="0"/>
                      <a:pt x="39" y="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8" name="Freeform 41">
                <a:extLst>
                  <a:ext uri="{FF2B5EF4-FFF2-40B4-BE49-F238E27FC236}">
                    <a16:creationId xmlns:a16="http://schemas.microsoft.com/office/drawing/2014/main" id="{31CBA771-D51E-47B7-BF86-760764C5C1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2" y="3059"/>
                <a:ext cx="98" cy="345"/>
              </a:xfrm>
              <a:custGeom>
                <a:avLst/>
                <a:gdLst>
                  <a:gd name="T0" fmla="*/ 23 w 66"/>
                  <a:gd name="T1" fmla="*/ 1 h 232"/>
                  <a:gd name="T2" fmla="*/ 52 w 66"/>
                  <a:gd name="T3" fmla="*/ 226 h 232"/>
                  <a:gd name="T4" fmla="*/ 64 w 66"/>
                  <a:gd name="T5" fmla="*/ 219 h 232"/>
                  <a:gd name="T6" fmla="*/ 29 w 66"/>
                  <a:gd name="T7" fmla="*/ 119 h 232"/>
                  <a:gd name="T8" fmla="*/ 24 w 66"/>
                  <a:gd name="T9" fmla="*/ 1 h 232"/>
                  <a:gd name="T10" fmla="*/ 23 w 66"/>
                  <a:gd name="T11" fmla="*/ 1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" h="232">
                    <a:moveTo>
                      <a:pt x="23" y="1"/>
                    </a:moveTo>
                    <a:cubicBezTo>
                      <a:pt x="3" y="70"/>
                      <a:pt x="0" y="170"/>
                      <a:pt x="52" y="226"/>
                    </a:cubicBezTo>
                    <a:cubicBezTo>
                      <a:pt x="57" y="232"/>
                      <a:pt x="66" y="226"/>
                      <a:pt x="64" y="219"/>
                    </a:cubicBezTo>
                    <a:cubicBezTo>
                      <a:pt x="55" y="185"/>
                      <a:pt x="37" y="154"/>
                      <a:pt x="29" y="119"/>
                    </a:cubicBezTo>
                    <a:cubicBezTo>
                      <a:pt x="20" y="79"/>
                      <a:pt x="20" y="41"/>
                      <a:pt x="24" y="1"/>
                    </a:cubicBezTo>
                    <a:cubicBezTo>
                      <a:pt x="24" y="0"/>
                      <a:pt x="23" y="0"/>
                      <a:pt x="23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9" name="Freeform 42">
                <a:extLst>
                  <a:ext uri="{FF2B5EF4-FFF2-40B4-BE49-F238E27FC236}">
                    <a16:creationId xmlns:a16="http://schemas.microsoft.com/office/drawing/2014/main" id="{52BD60A7-0604-4175-9E16-07859D66F0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68" y="2652"/>
                <a:ext cx="361" cy="640"/>
              </a:xfrm>
              <a:custGeom>
                <a:avLst/>
                <a:gdLst>
                  <a:gd name="T0" fmla="*/ 240 w 242"/>
                  <a:gd name="T1" fmla="*/ 4 h 430"/>
                  <a:gd name="T2" fmla="*/ 238 w 242"/>
                  <a:gd name="T3" fmla="*/ 1 h 430"/>
                  <a:gd name="T4" fmla="*/ 58 w 242"/>
                  <a:gd name="T5" fmla="*/ 162 h 430"/>
                  <a:gd name="T6" fmla="*/ 31 w 242"/>
                  <a:gd name="T7" fmla="*/ 422 h 430"/>
                  <a:gd name="T8" fmla="*/ 47 w 242"/>
                  <a:gd name="T9" fmla="*/ 420 h 430"/>
                  <a:gd name="T10" fmla="*/ 97 w 242"/>
                  <a:gd name="T11" fmla="*/ 176 h 430"/>
                  <a:gd name="T12" fmla="*/ 240 w 242"/>
                  <a:gd name="T13" fmla="*/ 4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2" h="430">
                    <a:moveTo>
                      <a:pt x="240" y="4"/>
                    </a:moveTo>
                    <a:cubicBezTo>
                      <a:pt x="242" y="2"/>
                      <a:pt x="241" y="0"/>
                      <a:pt x="238" y="1"/>
                    </a:cubicBezTo>
                    <a:cubicBezTo>
                      <a:pt x="157" y="38"/>
                      <a:pt x="100" y="80"/>
                      <a:pt x="58" y="162"/>
                    </a:cubicBezTo>
                    <a:cubicBezTo>
                      <a:pt x="17" y="243"/>
                      <a:pt x="0" y="335"/>
                      <a:pt x="31" y="422"/>
                    </a:cubicBezTo>
                    <a:cubicBezTo>
                      <a:pt x="34" y="430"/>
                      <a:pt x="46" y="429"/>
                      <a:pt x="47" y="420"/>
                    </a:cubicBezTo>
                    <a:cubicBezTo>
                      <a:pt x="51" y="337"/>
                      <a:pt x="57" y="251"/>
                      <a:pt x="97" y="176"/>
                    </a:cubicBezTo>
                    <a:cubicBezTo>
                      <a:pt x="129" y="114"/>
                      <a:pt x="184" y="45"/>
                      <a:pt x="240" y="4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0" name="Freeform 43">
                <a:extLst>
                  <a:ext uri="{FF2B5EF4-FFF2-40B4-BE49-F238E27FC236}">
                    <a16:creationId xmlns:a16="http://schemas.microsoft.com/office/drawing/2014/main" id="{CE4140BB-4623-4DE0-8F55-80C4CB3244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5" y="2984"/>
                <a:ext cx="162" cy="669"/>
              </a:xfrm>
              <a:custGeom>
                <a:avLst/>
                <a:gdLst>
                  <a:gd name="T0" fmla="*/ 54 w 109"/>
                  <a:gd name="T1" fmla="*/ 1 h 449"/>
                  <a:gd name="T2" fmla="*/ 5 w 109"/>
                  <a:gd name="T3" fmla="*/ 246 h 449"/>
                  <a:gd name="T4" fmla="*/ 32 w 109"/>
                  <a:gd name="T5" fmla="*/ 364 h 449"/>
                  <a:gd name="T6" fmla="*/ 99 w 109"/>
                  <a:gd name="T7" fmla="*/ 446 h 449"/>
                  <a:gd name="T8" fmla="*/ 106 w 109"/>
                  <a:gd name="T9" fmla="*/ 440 h 449"/>
                  <a:gd name="T10" fmla="*/ 55 w 109"/>
                  <a:gd name="T11" fmla="*/ 2 h 449"/>
                  <a:gd name="T12" fmla="*/ 54 w 109"/>
                  <a:gd name="T13" fmla="*/ 1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449">
                    <a:moveTo>
                      <a:pt x="54" y="1"/>
                    </a:moveTo>
                    <a:cubicBezTo>
                      <a:pt x="20" y="78"/>
                      <a:pt x="0" y="162"/>
                      <a:pt x="5" y="246"/>
                    </a:cubicBezTo>
                    <a:cubicBezTo>
                      <a:pt x="8" y="287"/>
                      <a:pt x="16" y="326"/>
                      <a:pt x="32" y="364"/>
                    </a:cubicBezTo>
                    <a:cubicBezTo>
                      <a:pt x="47" y="399"/>
                      <a:pt x="72" y="420"/>
                      <a:pt x="99" y="446"/>
                    </a:cubicBezTo>
                    <a:cubicBezTo>
                      <a:pt x="103" y="449"/>
                      <a:pt x="109" y="445"/>
                      <a:pt x="106" y="440"/>
                    </a:cubicBezTo>
                    <a:cubicBezTo>
                      <a:pt x="20" y="310"/>
                      <a:pt x="14" y="148"/>
                      <a:pt x="55" y="2"/>
                    </a:cubicBezTo>
                    <a:cubicBezTo>
                      <a:pt x="56" y="1"/>
                      <a:pt x="54" y="0"/>
                      <a:pt x="54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1" name="Freeform 44">
                <a:extLst>
                  <a:ext uri="{FF2B5EF4-FFF2-40B4-BE49-F238E27FC236}">
                    <a16:creationId xmlns:a16="http://schemas.microsoft.com/office/drawing/2014/main" id="{C2A974B4-63B9-4530-A99D-AB4A15242E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3" y="2499"/>
                <a:ext cx="250" cy="280"/>
              </a:xfrm>
              <a:custGeom>
                <a:avLst/>
                <a:gdLst>
                  <a:gd name="T0" fmla="*/ 1 w 168"/>
                  <a:gd name="T1" fmla="*/ 187 h 188"/>
                  <a:gd name="T2" fmla="*/ 82 w 168"/>
                  <a:gd name="T3" fmla="*/ 88 h 188"/>
                  <a:gd name="T4" fmla="*/ 165 w 168"/>
                  <a:gd name="T5" fmla="*/ 7 h 188"/>
                  <a:gd name="T6" fmla="*/ 161 w 168"/>
                  <a:gd name="T7" fmla="*/ 2 h 188"/>
                  <a:gd name="T8" fmla="*/ 0 w 168"/>
                  <a:gd name="T9" fmla="*/ 186 h 188"/>
                  <a:gd name="T10" fmla="*/ 1 w 168"/>
                  <a:gd name="T11" fmla="*/ 187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8" h="188">
                    <a:moveTo>
                      <a:pt x="1" y="187"/>
                    </a:moveTo>
                    <a:cubicBezTo>
                      <a:pt x="26" y="153"/>
                      <a:pt x="53" y="119"/>
                      <a:pt x="82" y="88"/>
                    </a:cubicBezTo>
                    <a:cubicBezTo>
                      <a:pt x="109" y="61"/>
                      <a:pt x="140" y="36"/>
                      <a:pt x="165" y="7"/>
                    </a:cubicBezTo>
                    <a:cubicBezTo>
                      <a:pt x="168" y="4"/>
                      <a:pt x="164" y="0"/>
                      <a:pt x="161" y="2"/>
                    </a:cubicBezTo>
                    <a:cubicBezTo>
                      <a:pt x="94" y="41"/>
                      <a:pt x="39" y="121"/>
                      <a:pt x="0" y="186"/>
                    </a:cubicBezTo>
                    <a:cubicBezTo>
                      <a:pt x="0" y="187"/>
                      <a:pt x="1" y="188"/>
                      <a:pt x="1" y="18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2" name="Freeform 45">
                <a:extLst>
                  <a:ext uri="{FF2B5EF4-FFF2-40B4-BE49-F238E27FC236}">
                    <a16:creationId xmlns:a16="http://schemas.microsoft.com/office/drawing/2014/main" id="{028F0648-FF3C-47AA-B88A-3E8CD02B65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89" y="3686"/>
                <a:ext cx="125" cy="56"/>
              </a:xfrm>
              <a:custGeom>
                <a:avLst/>
                <a:gdLst>
                  <a:gd name="T0" fmla="*/ 1 w 84"/>
                  <a:gd name="T1" fmla="*/ 2 h 38"/>
                  <a:gd name="T2" fmla="*/ 79 w 84"/>
                  <a:gd name="T3" fmla="*/ 37 h 38"/>
                  <a:gd name="T4" fmla="*/ 81 w 84"/>
                  <a:gd name="T5" fmla="*/ 32 h 38"/>
                  <a:gd name="T6" fmla="*/ 2 w 84"/>
                  <a:gd name="T7" fmla="*/ 0 h 38"/>
                  <a:gd name="T8" fmla="*/ 1 w 84"/>
                  <a:gd name="T9" fmla="*/ 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38">
                    <a:moveTo>
                      <a:pt x="1" y="2"/>
                    </a:moveTo>
                    <a:cubicBezTo>
                      <a:pt x="26" y="14"/>
                      <a:pt x="52" y="30"/>
                      <a:pt x="79" y="37"/>
                    </a:cubicBezTo>
                    <a:cubicBezTo>
                      <a:pt x="82" y="38"/>
                      <a:pt x="84" y="33"/>
                      <a:pt x="81" y="32"/>
                    </a:cubicBezTo>
                    <a:cubicBezTo>
                      <a:pt x="57" y="17"/>
                      <a:pt x="27" y="10"/>
                      <a:pt x="2" y="0"/>
                    </a:cubicBezTo>
                    <a:cubicBezTo>
                      <a:pt x="1" y="0"/>
                      <a:pt x="0" y="1"/>
                      <a:pt x="1" y="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3" name="Freeform 46">
                <a:extLst>
                  <a:ext uri="{FF2B5EF4-FFF2-40B4-BE49-F238E27FC236}">
                    <a16:creationId xmlns:a16="http://schemas.microsoft.com/office/drawing/2014/main" id="{6BFAA525-A680-4EA6-AEAD-132AF1B32A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25" y="1791"/>
                <a:ext cx="628" cy="624"/>
              </a:xfrm>
              <a:custGeom>
                <a:avLst/>
                <a:gdLst>
                  <a:gd name="T0" fmla="*/ 16 w 421"/>
                  <a:gd name="T1" fmla="*/ 3 h 419"/>
                  <a:gd name="T2" fmla="*/ 164 w 421"/>
                  <a:gd name="T3" fmla="*/ 326 h 419"/>
                  <a:gd name="T4" fmla="*/ 336 w 421"/>
                  <a:gd name="T5" fmla="*/ 405 h 419"/>
                  <a:gd name="T6" fmla="*/ 421 w 421"/>
                  <a:gd name="T7" fmla="*/ 419 h 419"/>
                  <a:gd name="T8" fmla="*/ 421 w 421"/>
                  <a:gd name="T9" fmla="*/ 393 h 419"/>
                  <a:gd name="T10" fmla="*/ 360 w 421"/>
                  <a:gd name="T11" fmla="*/ 381 h 419"/>
                  <a:gd name="T12" fmla="*/ 200 w 421"/>
                  <a:gd name="T13" fmla="*/ 306 h 419"/>
                  <a:gd name="T14" fmla="*/ 19 w 421"/>
                  <a:gd name="T15" fmla="*/ 3 h 419"/>
                  <a:gd name="T16" fmla="*/ 16 w 421"/>
                  <a:gd name="T17" fmla="*/ 3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1" h="419">
                    <a:moveTo>
                      <a:pt x="16" y="3"/>
                    </a:moveTo>
                    <a:cubicBezTo>
                      <a:pt x="0" y="130"/>
                      <a:pt x="64" y="249"/>
                      <a:pt x="164" y="326"/>
                    </a:cubicBezTo>
                    <a:cubicBezTo>
                      <a:pt x="216" y="366"/>
                      <a:pt x="272" y="392"/>
                      <a:pt x="336" y="405"/>
                    </a:cubicBezTo>
                    <a:cubicBezTo>
                      <a:pt x="363" y="410"/>
                      <a:pt x="392" y="416"/>
                      <a:pt x="421" y="419"/>
                    </a:cubicBezTo>
                    <a:cubicBezTo>
                      <a:pt x="421" y="393"/>
                      <a:pt x="421" y="393"/>
                      <a:pt x="421" y="393"/>
                    </a:cubicBezTo>
                    <a:cubicBezTo>
                      <a:pt x="400" y="391"/>
                      <a:pt x="380" y="387"/>
                      <a:pt x="360" y="381"/>
                    </a:cubicBezTo>
                    <a:cubicBezTo>
                      <a:pt x="305" y="364"/>
                      <a:pt x="248" y="338"/>
                      <a:pt x="200" y="306"/>
                    </a:cubicBezTo>
                    <a:cubicBezTo>
                      <a:pt x="99" y="237"/>
                      <a:pt x="32" y="124"/>
                      <a:pt x="19" y="3"/>
                    </a:cubicBezTo>
                    <a:cubicBezTo>
                      <a:pt x="19" y="0"/>
                      <a:pt x="16" y="0"/>
                      <a:pt x="16" y="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4" name="Freeform 47">
                <a:extLst>
                  <a:ext uri="{FF2B5EF4-FFF2-40B4-BE49-F238E27FC236}">
                    <a16:creationId xmlns:a16="http://schemas.microsoft.com/office/drawing/2014/main" id="{A9ABCC6A-F202-4596-B909-180270E85A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5" y="2707"/>
                <a:ext cx="598" cy="949"/>
              </a:xfrm>
              <a:custGeom>
                <a:avLst/>
                <a:gdLst>
                  <a:gd name="T0" fmla="*/ 401 w 401"/>
                  <a:gd name="T1" fmla="*/ 602 h 637"/>
                  <a:gd name="T2" fmla="*/ 146 w 401"/>
                  <a:gd name="T3" fmla="*/ 475 h 637"/>
                  <a:gd name="T4" fmla="*/ 149 w 401"/>
                  <a:gd name="T5" fmla="*/ 3 h 637"/>
                  <a:gd name="T6" fmla="*/ 147 w 401"/>
                  <a:gd name="T7" fmla="*/ 1 h 637"/>
                  <a:gd name="T8" fmla="*/ 117 w 401"/>
                  <a:gd name="T9" fmla="*/ 497 h 637"/>
                  <a:gd name="T10" fmla="*/ 401 w 401"/>
                  <a:gd name="T11" fmla="*/ 637 h 637"/>
                  <a:gd name="T12" fmla="*/ 401 w 401"/>
                  <a:gd name="T13" fmla="*/ 602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1" h="637">
                    <a:moveTo>
                      <a:pt x="401" y="602"/>
                    </a:moveTo>
                    <a:cubicBezTo>
                      <a:pt x="303" y="593"/>
                      <a:pt x="208" y="550"/>
                      <a:pt x="146" y="475"/>
                    </a:cubicBezTo>
                    <a:cubicBezTo>
                      <a:pt x="37" y="344"/>
                      <a:pt x="49" y="134"/>
                      <a:pt x="149" y="3"/>
                    </a:cubicBezTo>
                    <a:cubicBezTo>
                      <a:pt x="150" y="2"/>
                      <a:pt x="148" y="0"/>
                      <a:pt x="147" y="1"/>
                    </a:cubicBezTo>
                    <a:cubicBezTo>
                      <a:pt x="12" y="133"/>
                      <a:pt x="0" y="349"/>
                      <a:pt x="117" y="497"/>
                    </a:cubicBezTo>
                    <a:cubicBezTo>
                      <a:pt x="187" y="585"/>
                      <a:pt x="293" y="634"/>
                      <a:pt x="401" y="637"/>
                    </a:cubicBezTo>
                    <a:lnTo>
                      <a:pt x="401" y="602"/>
                    </a:ln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5" name="Freeform 48">
                <a:extLst>
                  <a:ext uri="{FF2B5EF4-FFF2-40B4-BE49-F238E27FC236}">
                    <a16:creationId xmlns:a16="http://schemas.microsoft.com/office/drawing/2014/main" id="{D610D98A-CAFE-4BC1-9418-BC28DF3400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8" y="4217"/>
                <a:ext cx="449" cy="85"/>
              </a:xfrm>
              <a:custGeom>
                <a:avLst/>
                <a:gdLst>
                  <a:gd name="T0" fmla="*/ 168 w 301"/>
                  <a:gd name="T1" fmla="*/ 7 h 57"/>
                  <a:gd name="T2" fmla="*/ 0 w 301"/>
                  <a:gd name="T3" fmla="*/ 57 h 57"/>
                  <a:gd name="T4" fmla="*/ 20 w 301"/>
                  <a:gd name="T5" fmla="*/ 57 h 57"/>
                  <a:gd name="T6" fmla="*/ 179 w 301"/>
                  <a:gd name="T7" fmla="*/ 36 h 57"/>
                  <a:gd name="T8" fmla="*/ 238 w 301"/>
                  <a:gd name="T9" fmla="*/ 57 h 57"/>
                  <a:gd name="T10" fmla="*/ 301 w 301"/>
                  <a:gd name="T11" fmla="*/ 57 h 57"/>
                  <a:gd name="T12" fmla="*/ 168 w 301"/>
                  <a:gd name="T13" fmla="*/ 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1" h="57">
                    <a:moveTo>
                      <a:pt x="168" y="7"/>
                    </a:moveTo>
                    <a:cubicBezTo>
                      <a:pt x="100" y="0"/>
                      <a:pt x="46" y="21"/>
                      <a:pt x="0" y="57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66" y="32"/>
                      <a:pt x="118" y="23"/>
                      <a:pt x="179" y="36"/>
                    </a:cubicBezTo>
                    <a:cubicBezTo>
                      <a:pt x="201" y="41"/>
                      <a:pt x="220" y="48"/>
                      <a:pt x="238" y="57"/>
                    </a:cubicBezTo>
                    <a:cubicBezTo>
                      <a:pt x="301" y="57"/>
                      <a:pt x="301" y="57"/>
                      <a:pt x="301" y="57"/>
                    </a:cubicBezTo>
                    <a:cubicBezTo>
                      <a:pt x="259" y="30"/>
                      <a:pt x="210" y="12"/>
                      <a:pt x="168" y="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6" name="Freeform 49">
                <a:extLst>
                  <a:ext uri="{FF2B5EF4-FFF2-40B4-BE49-F238E27FC236}">
                    <a16:creationId xmlns:a16="http://schemas.microsoft.com/office/drawing/2014/main" id="{1D2F5F0E-DED9-4930-A0CA-813E52E837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8" y="3888"/>
                <a:ext cx="547" cy="414"/>
              </a:xfrm>
              <a:custGeom>
                <a:avLst/>
                <a:gdLst>
                  <a:gd name="T0" fmla="*/ 110 w 367"/>
                  <a:gd name="T1" fmla="*/ 100 h 278"/>
                  <a:gd name="T2" fmla="*/ 365 w 367"/>
                  <a:gd name="T3" fmla="*/ 30 h 278"/>
                  <a:gd name="T4" fmla="*/ 366 w 367"/>
                  <a:gd name="T5" fmla="*/ 29 h 278"/>
                  <a:gd name="T6" fmla="*/ 94 w 367"/>
                  <a:gd name="T7" fmla="*/ 93 h 278"/>
                  <a:gd name="T8" fmla="*/ 23 w 367"/>
                  <a:gd name="T9" fmla="*/ 206 h 278"/>
                  <a:gd name="T10" fmla="*/ 0 w 367"/>
                  <a:gd name="T11" fmla="*/ 278 h 278"/>
                  <a:gd name="T12" fmla="*/ 17 w 367"/>
                  <a:gd name="T13" fmla="*/ 278 h 278"/>
                  <a:gd name="T14" fmla="*/ 110 w 367"/>
                  <a:gd name="T15" fmla="*/ 10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7" h="278">
                    <a:moveTo>
                      <a:pt x="110" y="100"/>
                    </a:moveTo>
                    <a:cubicBezTo>
                      <a:pt x="185" y="41"/>
                      <a:pt x="271" y="20"/>
                      <a:pt x="365" y="30"/>
                    </a:cubicBezTo>
                    <a:cubicBezTo>
                      <a:pt x="366" y="31"/>
                      <a:pt x="367" y="29"/>
                      <a:pt x="366" y="29"/>
                    </a:cubicBezTo>
                    <a:cubicBezTo>
                      <a:pt x="272" y="0"/>
                      <a:pt x="168" y="33"/>
                      <a:pt x="94" y="93"/>
                    </a:cubicBezTo>
                    <a:cubicBezTo>
                      <a:pt x="58" y="123"/>
                      <a:pt x="38" y="162"/>
                      <a:pt x="23" y="206"/>
                    </a:cubicBezTo>
                    <a:cubicBezTo>
                      <a:pt x="14" y="230"/>
                      <a:pt x="6" y="254"/>
                      <a:pt x="0" y="278"/>
                    </a:cubicBezTo>
                    <a:cubicBezTo>
                      <a:pt x="17" y="278"/>
                      <a:pt x="17" y="278"/>
                      <a:pt x="17" y="278"/>
                    </a:cubicBezTo>
                    <a:cubicBezTo>
                      <a:pt x="30" y="209"/>
                      <a:pt x="60" y="139"/>
                      <a:pt x="110" y="10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7" name="Freeform 50">
                <a:extLst>
                  <a:ext uri="{FF2B5EF4-FFF2-40B4-BE49-F238E27FC236}">
                    <a16:creationId xmlns:a16="http://schemas.microsoft.com/office/drawing/2014/main" id="{B48597DC-1176-41D2-8C19-DEE09DC7CC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74" y="4040"/>
                <a:ext cx="116" cy="262"/>
              </a:xfrm>
              <a:custGeom>
                <a:avLst/>
                <a:gdLst>
                  <a:gd name="T0" fmla="*/ 76 w 78"/>
                  <a:gd name="T1" fmla="*/ 1 h 176"/>
                  <a:gd name="T2" fmla="*/ 0 w 78"/>
                  <a:gd name="T3" fmla="*/ 176 h 176"/>
                  <a:gd name="T4" fmla="*/ 12 w 78"/>
                  <a:gd name="T5" fmla="*/ 176 h 176"/>
                  <a:gd name="T6" fmla="*/ 78 w 78"/>
                  <a:gd name="T7" fmla="*/ 2 h 176"/>
                  <a:gd name="T8" fmla="*/ 76 w 78"/>
                  <a:gd name="T9" fmla="*/ 1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176">
                    <a:moveTo>
                      <a:pt x="76" y="1"/>
                    </a:moveTo>
                    <a:cubicBezTo>
                      <a:pt x="37" y="54"/>
                      <a:pt x="11" y="113"/>
                      <a:pt x="0" y="176"/>
                    </a:cubicBezTo>
                    <a:cubicBezTo>
                      <a:pt x="12" y="176"/>
                      <a:pt x="12" y="176"/>
                      <a:pt x="12" y="176"/>
                    </a:cubicBezTo>
                    <a:cubicBezTo>
                      <a:pt x="24" y="115"/>
                      <a:pt x="45" y="57"/>
                      <a:pt x="78" y="2"/>
                    </a:cubicBezTo>
                    <a:cubicBezTo>
                      <a:pt x="78" y="1"/>
                      <a:pt x="77" y="0"/>
                      <a:pt x="76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8" name="Freeform 51">
                <a:extLst>
                  <a:ext uri="{FF2B5EF4-FFF2-40B4-BE49-F238E27FC236}">
                    <a16:creationId xmlns:a16="http://schemas.microsoft.com/office/drawing/2014/main" id="{B5819CA3-10F8-4AB4-882A-F60D43B1C8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13" y="3167"/>
                <a:ext cx="120" cy="397"/>
              </a:xfrm>
              <a:custGeom>
                <a:avLst/>
                <a:gdLst>
                  <a:gd name="T0" fmla="*/ 14 w 80"/>
                  <a:gd name="T1" fmla="*/ 1 h 266"/>
                  <a:gd name="T2" fmla="*/ 68 w 80"/>
                  <a:gd name="T3" fmla="*/ 262 h 266"/>
                  <a:gd name="T4" fmla="*/ 78 w 80"/>
                  <a:gd name="T5" fmla="*/ 256 h 266"/>
                  <a:gd name="T6" fmla="*/ 31 w 80"/>
                  <a:gd name="T7" fmla="*/ 140 h 266"/>
                  <a:gd name="T8" fmla="*/ 15 w 80"/>
                  <a:gd name="T9" fmla="*/ 1 h 266"/>
                  <a:gd name="T10" fmla="*/ 14 w 80"/>
                  <a:gd name="T11" fmla="*/ 1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266">
                    <a:moveTo>
                      <a:pt x="14" y="1"/>
                    </a:moveTo>
                    <a:cubicBezTo>
                      <a:pt x="0" y="83"/>
                      <a:pt x="0" y="200"/>
                      <a:pt x="68" y="262"/>
                    </a:cubicBezTo>
                    <a:cubicBezTo>
                      <a:pt x="72" y="266"/>
                      <a:pt x="80" y="262"/>
                      <a:pt x="78" y="256"/>
                    </a:cubicBezTo>
                    <a:cubicBezTo>
                      <a:pt x="66" y="216"/>
                      <a:pt x="42" y="181"/>
                      <a:pt x="31" y="140"/>
                    </a:cubicBezTo>
                    <a:cubicBezTo>
                      <a:pt x="18" y="95"/>
                      <a:pt x="11" y="48"/>
                      <a:pt x="15" y="1"/>
                    </a:cubicBezTo>
                    <a:cubicBezTo>
                      <a:pt x="15" y="1"/>
                      <a:pt x="14" y="0"/>
                      <a:pt x="14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9" name="Freeform 52">
                <a:extLst>
                  <a:ext uri="{FF2B5EF4-FFF2-40B4-BE49-F238E27FC236}">
                    <a16:creationId xmlns:a16="http://schemas.microsoft.com/office/drawing/2014/main" id="{5B2F6373-1CC8-4DA0-931B-B40607D995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76" y="4156"/>
                <a:ext cx="299" cy="146"/>
              </a:xfrm>
              <a:custGeom>
                <a:avLst/>
                <a:gdLst>
                  <a:gd name="T0" fmla="*/ 200 w 201"/>
                  <a:gd name="T1" fmla="*/ 0 h 98"/>
                  <a:gd name="T2" fmla="*/ 0 w 201"/>
                  <a:gd name="T3" fmla="*/ 98 h 98"/>
                  <a:gd name="T4" fmla="*/ 40 w 201"/>
                  <a:gd name="T5" fmla="*/ 98 h 98"/>
                  <a:gd name="T6" fmla="*/ 200 w 201"/>
                  <a:gd name="T7" fmla="*/ 2 h 98"/>
                  <a:gd name="T8" fmla="*/ 200 w 201"/>
                  <a:gd name="T9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98">
                    <a:moveTo>
                      <a:pt x="200" y="0"/>
                    </a:moveTo>
                    <a:cubicBezTo>
                      <a:pt x="130" y="19"/>
                      <a:pt x="59" y="52"/>
                      <a:pt x="0" y="98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87" y="58"/>
                      <a:pt x="138" y="25"/>
                      <a:pt x="200" y="2"/>
                    </a:cubicBezTo>
                    <a:cubicBezTo>
                      <a:pt x="201" y="1"/>
                      <a:pt x="201" y="0"/>
                      <a:pt x="200" y="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0" name="Freeform 53">
                <a:extLst>
                  <a:ext uri="{FF2B5EF4-FFF2-40B4-BE49-F238E27FC236}">
                    <a16:creationId xmlns:a16="http://schemas.microsoft.com/office/drawing/2014/main" id="{90BD2ED5-D6AA-445C-9CDD-F781457FA7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5" y="4250"/>
                <a:ext cx="275" cy="52"/>
              </a:xfrm>
              <a:custGeom>
                <a:avLst/>
                <a:gdLst>
                  <a:gd name="T0" fmla="*/ 4 w 185"/>
                  <a:gd name="T1" fmla="*/ 13 h 35"/>
                  <a:gd name="T2" fmla="*/ 5 w 185"/>
                  <a:gd name="T3" fmla="*/ 19 h 35"/>
                  <a:gd name="T4" fmla="*/ 163 w 185"/>
                  <a:gd name="T5" fmla="*/ 35 h 35"/>
                  <a:gd name="T6" fmla="*/ 185 w 185"/>
                  <a:gd name="T7" fmla="*/ 35 h 35"/>
                  <a:gd name="T8" fmla="*/ 4 w 185"/>
                  <a:gd name="T9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35">
                    <a:moveTo>
                      <a:pt x="4" y="13"/>
                    </a:moveTo>
                    <a:cubicBezTo>
                      <a:pt x="0" y="13"/>
                      <a:pt x="1" y="19"/>
                      <a:pt x="5" y="19"/>
                    </a:cubicBezTo>
                    <a:cubicBezTo>
                      <a:pt x="57" y="23"/>
                      <a:pt x="115" y="16"/>
                      <a:pt x="163" y="35"/>
                    </a:cubicBezTo>
                    <a:cubicBezTo>
                      <a:pt x="185" y="35"/>
                      <a:pt x="185" y="35"/>
                      <a:pt x="185" y="35"/>
                    </a:cubicBezTo>
                    <a:cubicBezTo>
                      <a:pt x="136" y="0"/>
                      <a:pt x="58" y="2"/>
                      <a:pt x="4" y="1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1" name="Freeform 54">
                <a:extLst>
                  <a:ext uri="{FF2B5EF4-FFF2-40B4-BE49-F238E27FC236}">
                    <a16:creationId xmlns:a16="http://schemas.microsoft.com/office/drawing/2014/main" id="{AB9AA4B6-4BF7-4DC6-9813-D4FE3DA9C6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5" y="4199"/>
                <a:ext cx="140" cy="103"/>
              </a:xfrm>
              <a:custGeom>
                <a:avLst/>
                <a:gdLst>
                  <a:gd name="T0" fmla="*/ 2 w 94"/>
                  <a:gd name="T1" fmla="*/ 1 h 69"/>
                  <a:gd name="T2" fmla="*/ 1 w 94"/>
                  <a:gd name="T3" fmla="*/ 2 h 69"/>
                  <a:gd name="T4" fmla="*/ 62 w 94"/>
                  <a:gd name="T5" fmla="*/ 60 h 69"/>
                  <a:gd name="T6" fmla="*/ 70 w 94"/>
                  <a:gd name="T7" fmla="*/ 69 h 69"/>
                  <a:gd name="T8" fmla="*/ 94 w 94"/>
                  <a:gd name="T9" fmla="*/ 69 h 69"/>
                  <a:gd name="T10" fmla="*/ 74 w 94"/>
                  <a:gd name="T11" fmla="*/ 52 h 69"/>
                  <a:gd name="T12" fmla="*/ 2 w 94"/>
                  <a:gd name="T13" fmla="*/ 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" h="69">
                    <a:moveTo>
                      <a:pt x="2" y="1"/>
                    </a:moveTo>
                    <a:cubicBezTo>
                      <a:pt x="2" y="0"/>
                      <a:pt x="0" y="2"/>
                      <a:pt x="1" y="2"/>
                    </a:cubicBezTo>
                    <a:cubicBezTo>
                      <a:pt x="22" y="21"/>
                      <a:pt x="42" y="41"/>
                      <a:pt x="62" y="60"/>
                    </a:cubicBezTo>
                    <a:cubicBezTo>
                      <a:pt x="65" y="63"/>
                      <a:pt x="68" y="66"/>
                      <a:pt x="70" y="69"/>
                    </a:cubicBezTo>
                    <a:cubicBezTo>
                      <a:pt x="94" y="69"/>
                      <a:pt x="94" y="69"/>
                      <a:pt x="94" y="69"/>
                    </a:cubicBezTo>
                    <a:cubicBezTo>
                      <a:pt x="88" y="63"/>
                      <a:pt x="81" y="57"/>
                      <a:pt x="74" y="52"/>
                    </a:cubicBezTo>
                    <a:cubicBezTo>
                      <a:pt x="51" y="34"/>
                      <a:pt x="26" y="18"/>
                      <a:pt x="2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2" name="Freeform 55">
                <a:extLst>
                  <a:ext uri="{FF2B5EF4-FFF2-40B4-BE49-F238E27FC236}">
                    <a16:creationId xmlns:a16="http://schemas.microsoft.com/office/drawing/2014/main" id="{B7028DBD-22B7-4AE5-AC92-8D520A7E70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6" y="4210"/>
                <a:ext cx="382" cy="92"/>
              </a:xfrm>
              <a:custGeom>
                <a:avLst/>
                <a:gdLst>
                  <a:gd name="T0" fmla="*/ 3 w 256"/>
                  <a:gd name="T1" fmla="*/ 35 h 62"/>
                  <a:gd name="T2" fmla="*/ 5 w 256"/>
                  <a:gd name="T3" fmla="*/ 40 h 62"/>
                  <a:gd name="T4" fmla="*/ 232 w 256"/>
                  <a:gd name="T5" fmla="*/ 62 h 62"/>
                  <a:gd name="T6" fmla="*/ 256 w 256"/>
                  <a:gd name="T7" fmla="*/ 62 h 62"/>
                  <a:gd name="T8" fmla="*/ 3 w 256"/>
                  <a:gd name="T9" fmla="*/ 35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6" h="62">
                    <a:moveTo>
                      <a:pt x="3" y="35"/>
                    </a:moveTo>
                    <a:cubicBezTo>
                      <a:pt x="0" y="36"/>
                      <a:pt x="1" y="41"/>
                      <a:pt x="5" y="40"/>
                    </a:cubicBezTo>
                    <a:cubicBezTo>
                      <a:pt x="81" y="20"/>
                      <a:pt x="162" y="29"/>
                      <a:pt x="232" y="62"/>
                    </a:cubicBezTo>
                    <a:cubicBezTo>
                      <a:pt x="256" y="62"/>
                      <a:pt x="256" y="62"/>
                      <a:pt x="256" y="62"/>
                    </a:cubicBezTo>
                    <a:cubicBezTo>
                      <a:pt x="183" y="11"/>
                      <a:pt x="89" y="0"/>
                      <a:pt x="3" y="3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3" name="Freeform 56">
                <a:extLst>
                  <a:ext uri="{FF2B5EF4-FFF2-40B4-BE49-F238E27FC236}">
                    <a16:creationId xmlns:a16="http://schemas.microsoft.com/office/drawing/2014/main" id="{084DD42C-E4A8-4B85-8D52-6443F8E542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3" y="4109"/>
                <a:ext cx="905" cy="193"/>
              </a:xfrm>
              <a:custGeom>
                <a:avLst/>
                <a:gdLst>
                  <a:gd name="T0" fmla="*/ 533 w 607"/>
                  <a:gd name="T1" fmla="*/ 60 h 130"/>
                  <a:gd name="T2" fmla="*/ 340 w 607"/>
                  <a:gd name="T3" fmla="*/ 5 h 130"/>
                  <a:gd name="T4" fmla="*/ 132 w 607"/>
                  <a:gd name="T5" fmla="*/ 35 h 130"/>
                  <a:gd name="T6" fmla="*/ 0 w 607"/>
                  <a:gd name="T7" fmla="*/ 130 h 130"/>
                  <a:gd name="T8" fmla="*/ 48 w 607"/>
                  <a:gd name="T9" fmla="*/ 130 h 130"/>
                  <a:gd name="T10" fmla="*/ 71 w 607"/>
                  <a:gd name="T11" fmla="*/ 112 h 130"/>
                  <a:gd name="T12" fmla="*/ 143 w 607"/>
                  <a:gd name="T13" fmla="*/ 74 h 130"/>
                  <a:gd name="T14" fmla="*/ 318 w 607"/>
                  <a:gd name="T15" fmla="*/ 45 h 130"/>
                  <a:gd name="T16" fmla="*/ 579 w 607"/>
                  <a:gd name="T17" fmla="*/ 130 h 130"/>
                  <a:gd name="T18" fmla="*/ 607 w 607"/>
                  <a:gd name="T19" fmla="*/ 130 h 130"/>
                  <a:gd name="T20" fmla="*/ 533 w 607"/>
                  <a:gd name="T21" fmla="*/ 6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07" h="130">
                    <a:moveTo>
                      <a:pt x="533" y="60"/>
                    </a:moveTo>
                    <a:cubicBezTo>
                      <a:pt x="475" y="26"/>
                      <a:pt x="406" y="10"/>
                      <a:pt x="340" y="5"/>
                    </a:cubicBezTo>
                    <a:cubicBezTo>
                      <a:pt x="270" y="0"/>
                      <a:pt x="197" y="9"/>
                      <a:pt x="132" y="35"/>
                    </a:cubicBezTo>
                    <a:cubicBezTo>
                      <a:pt x="89" y="53"/>
                      <a:pt x="27" y="85"/>
                      <a:pt x="0" y="130"/>
                    </a:cubicBezTo>
                    <a:cubicBezTo>
                      <a:pt x="48" y="130"/>
                      <a:pt x="48" y="130"/>
                      <a:pt x="48" y="130"/>
                    </a:cubicBezTo>
                    <a:cubicBezTo>
                      <a:pt x="56" y="124"/>
                      <a:pt x="63" y="117"/>
                      <a:pt x="71" y="112"/>
                    </a:cubicBezTo>
                    <a:cubicBezTo>
                      <a:pt x="94" y="96"/>
                      <a:pt x="118" y="84"/>
                      <a:pt x="143" y="74"/>
                    </a:cubicBezTo>
                    <a:cubicBezTo>
                      <a:pt x="199" y="52"/>
                      <a:pt x="258" y="43"/>
                      <a:pt x="318" y="45"/>
                    </a:cubicBezTo>
                    <a:cubicBezTo>
                      <a:pt x="398" y="47"/>
                      <a:pt x="507" y="73"/>
                      <a:pt x="579" y="130"/>
                    </a:cubicBezTo>
                    <a:cubicBezTo>
                      <a:pt x="607" y="130"/>
                      <a:pt x="607" y="130"/>
                      <a:pt x="607" y="130"/>
                    </a:cubicBezTo>
                    <a:cubicBezTo>
                      <a:pt x="588" y="102"/>
                      <a:pt x="564" y="77"/>
                      <a:pt x="533" y="6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4" name="Freeform 57">
                <a:extLst>
                  <a:ext uri="{FF2B5EF4-FFF2-40B4-BE49-F238E27FC236}">
                    <a16:creationId xmlns:a16="http://schemas.microsoft.com/office/drawing/2014/main" id="{6DEF1977-C16F-4F3D-AD15-2DE483687F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094" y="4201"/>
                <a:ext cx="57" cy="101"/>
              </a:xfrm>
              <a:custGeom>
                <a:avLst/>
                <a:gdLst>
                  <a:gd name="T0" fmla="*/ 2 w 38"/>
                  <a:gd name="T1" fmla="*/ 1 h 68"/>
                  <a:gd name="T2" fmla="*/ 0 w 38"/>
                  <a:gd name="T3" fmla="*/ 3 h 68"/>
                  <a:gd name="T4" fmla="*/ 28 w 38"/>
                  <a:gd name="T5" fmla="*/ 68 h 68"/>
                  <a:gd name="T6" fmla="*/ 38 w 38"/>
                  <a:gd name="T7" fmla="*/ 68 h 68"/>
                  <a:gd name="T8" fmla="*/ 2 w 38"/>
                  <a:gd name="T9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68">
                    <a:moveTo>
                      <a:pt x="2" y="1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12" y="24"/>
                      <a:pt x="22" y="45"/>
                      <a:pt x="28" y="68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0" y="44"/>
                      <a:pt x="19" y="22"/>
                      <a:pt x="2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5" name="Freeform 58">
                <a:extLst>
                  <a:ext uri="{FF2B5EF4-FFF2-40B4-BE49-F238E27FC236}">
                    <a16:creationId xmlns:a16="http://schemas.microsoft.com/office/drawing/2014/main" id="{2EF61324-8BFD-4209-AB6D-1290043627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06" y="4187"/>
                <a:ext cx="182" cy="115"/>
              </a:xfrm>
              <a:custGeom>
                <a:avLst/>
                <a:gdLst>
                  <a:gd name="T0" fmla="*/ 1 w 122"/>
                  <a:gd name="T1" fmla="*/ 2 h 77"/>
                  <a:gd name="T2" fmla="*/ 99 w 122"/>
                  <a:gd name="T3" fmla="*/ 77 h 77"/>
                  <a:gd name="T4" fmla="*/ 122 w 122"/>
                  <a:gd name="T5" fmla="*/ 77 h 77"/>
                  <a:gd name="T6" fmla="*/ 2 w 122"/>
                  <a:gd name="T7" fmla="*/ 0 h 77"/>
                  <a:gd name="T8" fmla="*/ 1 w 122"/>
                  <a:gd name="T9" fmla="*/ 2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77">
                    <a:moveTo>
                      <a:pt x="1" y="2"/>
                    </a:moveTo>
                    <a:cubicBezTo>
                      <a:pt x="38" y="22"/>
                      <a:pt x="71" y="47"/>
                      <a:pt x="99" y="77"/>
                    </a:cubicBezTo>
                    <a:cubicBezTo>
                      <a:pt x="122" y="77"/>
                      <a:pt x="122" y="77"/>
                      <a:pt x="122" y="77"/>
                    </a:cubicBezTo>
                    <a:cubicBezTo>
                      <a:pt x="89" y="43"/>
                      <a:pt x="47" y="16"/>
                      <a:pt x="2" y="0"/>
                    </a:cubicBezTo>
                    <a:cubicBezTo>
                      <a:pt x="1" y="0"/>
                      <a:pt x="0" y="1"/>
                      <a:pt x="1" y="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6" name="Freeform 59">
                <a:extLst>
                  <a:ext uri="{FF2B5EF4-FFF2-40B4-BE49-F238E27FC236}">
                    <a16:creationId xmlns:a16="http://schemas.microsoft.com/office/drawing/2014/main" id="{97B2F6B1-B742-4C0C-8F22-C47A0C4F01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9" y="3833"/>
                <a:ext cx="1376" cy="469"/>
              </a:xfrm>
              <a:custGeom>
                <a:avLst/>
                <a:gdLst>
                  <a:gd name="T0" fmla="*/ 415 w 923"/>
                  <a:gd name="T1" fmla="*/ 21 h 315"/>
                  <a:gd name="T2" fmla="*/ 0 w 923"/>
                  <a:gd name="T3" fmla="*/ 315 h 315"/>
                  <a:gd name="T4" fmla="*/ 40 w 923"/>
                  <a:gd name="T5" fmla="*/ 315 h 315"/>
                  <a:gd name="T6" fmla="*/ 423 w 923"/>
                  <a:gd name="T7" fmla="*/ 56 h 315"/>
                  <a:gd name="T8" fmla="*/ 743 w 923"/>
                  <a:gd name="T9" fmla="*/ 141 h 315"/>
                  <a:gd name="T10" fmla="*/ 902 w 923"/>
                  <a:gd name="T11" fmla="*/ 315 h 315"/>
                  <a:gd name="T12" fmla="*/ 923 w 923"/>
                  <a:gd name="T13" fmla="*/ 315 h 315"/>
                  <a:gd name="T14" fmla="*/ 415 w 923"/>
                  <a:gd name="T15" fmla="*/ 21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23" h="315">
                    <a:moveTo>
                      <a:pt x="415" y="21"/>
                    </a:moveTo>
                    <a:cubicBezTo>
                      <a:pt x="238" y="39"/>
                      <a:pt x="75" y="156"/>
                      <a:pt x="0" y="315"/>
                    </a:cubicBezTo>
                    <a:cubicBezTo>
                      <a:pt x="40" y="315"/>
                      <a:pt x="40" y="315"/>
                      <a:pt x="40" y="315"/>
                    </a:cubicBezTo>
                    <a:cubicBezTo>
                      <a:pt x="115" y="174"/>
                      <a:pt x="248" y="72"/>
                      <a:pt x="423" y="56"/>
                    </a:cubicBezTo>
                    <a:cubicBezTo>
                      <a:pt x="536" y="46"/>
                      <a:pt x="651" y="76"/>
                      <a:pt x="743" y="141"/>
                    </a:cubicBezTo>
                    <a:cubicBezTo>
                      <a:pt x="812" y="190"/>
                      <a:pt x="862" y="247"/>
                      <a:pt x="902" y="315"/>
                    </a:cubicBezTo>
                    <a:cubicBezTo>
                      <a:pt x="923" y="315"/>
                      <a:pt x="923" y="315"/>
                      <a:pt x="923" y="315"/>
                    </a:cubicBezTo>
                    <a:cubicBezTo>
                      <a:pt x="844" y="120"/>
                      <a:pt x="624" y="0"/>
                      <a:pt x="415" y="2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7" name="Freeform 60">
                <a:extLst>
                  <a:ext uri="{FF2B5EF4-FFF2-40B4-BE49-F238E27FC236}">
                    <a16:creationId xmlns:a16="http://schemas.microsoft.com/office/drawing/2014/main" id="{4F01DBD1-B7FF-45B8-AA19-06DFD3183C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" y="3922"/>
                <a:ext cx="660" cy="380"/>
              </a:xfrm>
              <a:custGeom>
                <a:avLst/>
                <a:gdLst>
                  <a:gd name="T0" fmla="*/ 150 w 443"/>
                  <a:gd name="T1" fmla="*/ 121 h 255"/>
                  <a:gd name="T2" fmla="*/ 442 w 443"/>
                  <a:gd name="T3" fmla="*/ 35 h 255"/>
                  <a:gd name="T4" fmla="*/ 442 w 443"/>
                  <a:gd name="T5" fmla="*/ 34 h 255"/>
                  <a:gd name="T6" fmla="*/ 0 w 443"/>
                  <a:gd name="T7" fmla="*/ 255 h 255"/>
                  <a:gd name="T8" fmla="*/ 31 w 443"/>
                  <a:gd name="T9" fmla="*/ 255 h 255"/>
                  <a:gd name="T10" fmla="*/ 150 w 443"/>
                  <a:gd name="T11" fmla="*/ 121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3" h="255">
                    <a:moveTo>
                      <a:pt x="150" y="121"/>
                    </a:moveTo>
                    <a:cubicBezTo>
                      <a:pt x="237" y="58"/>
                      <a:pt x="337" y="38"/>
                      <a:pt x="442" y="35"/>
                    </a:cubicBezTo>
                    <a:cubicBezTo>
                      <a:pt x="443" y="35"/>
                      <a:pt x="443" y="34"/>
                      <a:pt x="442" y="34"/>
                    </a:cubicBezTo>
                    <a:cubicBezTo>
                      <a:pt x="273" y="0"/>
                      <a:pt x="80" y="100"/>
                      <a:pt x="0" y="255"/>
                    </a:cubicBezTo>
                    <a:cubicBezTo>
                      <a:pt x="31" y="255"/>
                      <a:pt x="31" y="255"/>
                      <a:pt x="31" y="255"/>
                    </a:cubicBezTo>
                    <a:cubicBezTo>
                      <a:pt x="61" y="204"/>
                      <a:pt x="98" y="158"/>
                      <a:pt x="150" y="12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8" name="Freeform 61">
                <a:extLst>
                  <a:ext uri="{FF2B5EF4-FFF2-40B4-BE49-F238E27FC236}">
                    <a16:creationId xmlns:a16="http://schemas.microsoft.com/office/drawing/2014/main" id="{6E543100-BBC3-418C-BD72-1FFCC5633F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28" y="3989"/>
                <a:ext cx="942" cy="313"/>
              </a:xfrm>
              <a:custGeom>
                <a:avLst/>
                <a:gdLst>
                  <a:gd name="T0" fmla="*/ 255 w 632"/>
                  <a:gd name="T1" fmla="*/ 49 h 210"/>
                  <a:gd name="T2" fmla="*/ 0 w 632"/>
                  <a:gd name="T3" fmla="*/ 210 h 210"/>
                  <a:gd name="T4" fmla="*/ 38 w 632"/>
                  <a:gd name="T5" fmla="*/ 210 h 210"/>
                  <a:gd name="T6" fmla="*/ 237 w 632"/>
                  <a:gd name="T7" fmla="*/ 86 h 210"/>
                  <a:gd name="T8" fmla="*/ 619 w 632"/>
                  <a:gd name="T9" fmla="*/ 210 h 210"/>
                  <a:gd name="T10" fmla="*/ 632 w 632"/>
                  <a:gd name="T11" fmla="*/ 210 h 210"/>
                  <a:gd name="T12" fmla="*/ 255 w 632"/>
                  <a:gd name="T13" fmla="*/ 4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2" h="210">
                    <a:moveTo>
                      <a:pt x="255" y="49"/>
                    </a:moveTo>
                    <a:cubicBezTo>
                      <a:pt x="170" y="76"/>
                      <a:pt x="72" y="134"/>
                      <a:pt x="0" y="210"/>
                    </a:cubicBezTo>
                    <a:cubicBezTo>
                      <a:pt x="38" y="210"/>
                      <a:pt x="38" y="210"/>
                      <a:pt x="38" y="210"/>
                    </a:cubicBezTo>
                    <a:cubicBezTo>
                      <a:pt x="94" y="154"/>
                      <a:pt x="163" y="109"/>
                      <a:pt x="237" y="86"/>
                    </a:cubicBezTo>
                    <a:cubicBezTo>
                      <a:pt x="375" y="42"/>
                      <a:pt x="537" y="93"/>
                      <a:pt x="619" y="210"/>
                    </a:cubicBezTo>
                    <a:cubicBezTo>
                      <a:pt x="632" y="210"/>
                      <a:pt x="632" y="210"/>
                      <a:pt x="632" y="210"/>
                    </a:cubicBezTo>
                    <a:cubicBezTo>
                      <a:pt x="562" y="75"/>
                      <a:pt x="411" y="0"/>
                      <a:pt x="255" y="4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9" name="Freeform 62">
                <a:extLst>
                  <a:ext uri="{FF2B5EF4-FFF2-40B4-BE49-F238E27FC236}">
                    <a16:creationId xmlns:a16="http://schemas.microsoft.com/office/drawing/2014/main" id="{B9DAA0B8-D02D-48CD-85DF-7103669D42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34" y="4174"/>
                <a:ext cx="112" cy="128"/>
              </a:xfrm>
              <a:custGeom>
                <a:avLst/>
                <a:gdLst>
                  <a:gd name="T0" fmla="*/ 2 w 75"/>
                  <a:gd name="T1" fmla="*/ 1 h 86"/>
                  <a:gd name="T2" fmla="*/ 1 w 75"/>
                  <a:gd name="T3" fmla="*/ 2 h 86"/>
                  <a:gd name="T4" fmla="*/ 64 w 75"/>
                  <a:gd name="T5" fmla="*/ 86 h 86"/>
                  <a:gd name="T6" fmla="*/ 75 w 75"/>
                  <a:gd name="T7" fmla="*/ 86 h 86"/>
                  <a:gd name="T8" fmla="*/ 2 w 75"/>
                  <a:gd name="T9" fmla="*/ 1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6">
                    <a:moveTo>
                      <a:pt x="2" y="1"/>
                    </a:moveTo>
                    <a:cubicBezTo>
                      <a:pt x="1" y="0"/>
                      <a:pt x="0" y="1"/>
                      <a:pt x="1" y="2"/>
                    </a:cubicBezTo>
                    <a:cubicBezTo>
                      <a:pt x="25" y="27"/>
                      <a:pt x="46" y="55"/>
                      <a:pt x="64" y="86"/>
                    </a:cubicBezTo>
                    <a:cubicBezTo>
                      <a:pt x="75" y="86"/>
                      <a:pt x="75" y="86"/>
                      <a:pt x="75" y="86"/>
                    </a:cubicBezTo>
                    <a:cubicBezTo>
                      <a:pt x="53" y="55"/>
                      <a:pt x="28" y="27"/>
                      <a:pt x="2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0" name="Freeform 63">
                <a:extLst>
                  <a:ext uri="{FF2B5EF4-FFF2-40B4-BE49-F238E27FC236}">
                    <a16:creationId xmlns:a16="http://schemas.microsoft.com/office/drawing/2014/main" id="{8B9E2A1E-FD9A-4072-B5BE-934146A003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3" y="3230"/>
                <a:ext cx="663" cy="179"/>
              </a:xfrm>
              <a:custGeom>
                <a:avLst/>
                <a:gdLst>
                  <a:gd name="T0" fmla="*/ 5 w 445"/>
                  <a:gd name="T1" fmla="*/ 119 h 120"/>
                  <a:gd name="T2" fmla="*/ 444 w 445"/>
                  <a:gd name="T3" fmla="*/ 42 h 120"/>
                  <a:gd name="T4" fmla="*/ 444 w 445"/>
                  <a:gd name="T5" fmla="*/ 41 h 120"/>
                  <a:gd name="T6" fmla="*/ 3 w 445"/>
                  <a:gd name="T7" fmla="*/ 114 h 120"/>
                  <a:gd name="T8" fmla="*/ 5 w 445"/>
                  <a:gd name="T9" fmla="*/ 11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5" h="120">
                    <a:moveTo>
                      <a:pt x="5" y="119"/>
                    </a:moveTo>
                    <a:cubicBezTo>
                      <a:pt x="147" y="70"/>
                      <a:pt x="291" y="18"/>
                      <a:pt x="444" y="42"/>
                    </a:cubicBezTo>
                    <a:cubicBezTo>
                      <a:pt x="445" y="42"/>
                      <a:pt x="445" y="41"/>
                      <a:pt x="444" y="41"/>
                    </a:cubicBezTo>
                    <a:cubicBezTo>
                      <a:pt x="291" y="0"/>
                      <a:pt x="142" y="49"/>
                      <a:pt x="3" y="114"/>
                    </a:cubicBezTo>
                    <a:cubicBezTo>
                      <a:pt x="0" y="116"/>
                      <a:pt x="2" y="120"/>
                      <a:pt x="5" y="11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1" name="Freeform 64">
                <a:extLst>
                  <a:ext uri="{FF2B5EF4-FFF2-40B4-BE49-F238E27FC236}">
                    <a16:creationId xmlns:a16="http://schemas.microsoft.com/office/drawing/2014/main" id="{45E7A5DF-5806-48A4-A4B3-A41BB15667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86" y="3126"/>
                <a:ext cx="367" cy="415"/>
              </a:xfrm>
              <a:custGeom>
                <a:avLst/>
                <a:gdLst>
                  <a:gd name="T0" fmla="*/ 1 w 246"/>
                  <a:gd name="T1" fmla="*/ 1 h 279"/>
                  <a:gd name="T2" fmla="*/ 0 w 246"/>
                  <a:gd name="T3" fmla="*/ 1 h 279"/>
                  <a:gd name="T4" fmla="*/ 246 w 246"/>
                  <a:gd name="T5" fmla="*/ 279 h 279"/>
                  <a:gd name="T6" fmla="*/ 246 w 246"/>
                  <a:gd name="T7" fmla="*/ 241 h 279"/>
                  <a:gd name="T8" fmla="*/ 125 w 246"/>
                  <a:gd name="T9" fmla="*/ 188 h 279"/>
                  <a:gd name="T10" fmla="*/ 1 w 246"/>
                  <a:gd name="T11" fmla="*/ 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6" h="279">
                    <a:moveTo>
                      <a:pt x="1" y="1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20" y="146"/>
                      <a:pt x="111" y="269"/>
                      <a:pt x="246" y="279"/>
                    </a:cubicBezTo>
                    <a:cubicBezTo>
                      <a:pt x="246" y="241"/>
                      <a:pt x="246" y="241"/>
                      <a:pt x="246" y="241"/>
                    </a:cubicBezTo>
                    <a:cubicBezTo>
                      <a:pt x="203" y="233"/>
                      <a:pt x="163" y="220"/>
                      <a:pt x="125" y="188"/>
                    </a:cubicBezTo>
                    <a:cubicBezTo>
                      <a:pt x="66" y="139"/>
                      <a:pt x="22" y="75"/>
                      <a:pt x="1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2" name="Freeform 65">
                <a:extLst>
                  <a:ext uri="{FF2B5EF4-FFF2-40B4-BE49-F238E27FC236}">
                    <a16:creationId xmlns:a16="http://schemas.microsoft.com/office/drawing/2014/main" id="{B96328CA-888E-44EF-BCBB-97C42A7C08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72" y="2722"/>
                <a:ext cx="281" cy="655"/>
              </a:xfrm>
              <a:custGeom>
                <a:avLst/>
                <a:gdLst>
                  <a:gd name="T0" fmla="*/ 108 w 188"/>
                  <a:gd name="T1" fmla="*/ 3 h 440"/>
                  <a:gd name="T2" fmla="*/ 28 w 188"/>
                  <a:gd name="T3" fmla="*/ 256 h 440"/>
                  <a:gd name="T4" fmla="*/ 188 w 188"/>
                  <a:gd name="T5" fmla="*/ 440 h 440"/>
                  <a:gd name="T6" fmla="*/ 188 w 188"/>
                  <a:gd name="T7" fmla="*/ 415 h 440"/>
                  <a:gd name="T8" fmla="*/ 67 w 188"/>
                  <a:gd name="T9" fmla="*/ 245 h 440"/>
                  <a:gd name="T10" fmla="*/ 113 w 188"/>
                  <a:gd name="T11" fmla="*/ 9 h 440"/>
                  <a:gd name="T12" fmla="*/ 108 w 188"/>
                  <a:gd name="T13" fmla="*/ 3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8" h="440">
                    <a:moveTo>
                      <a:pt x="108" y="3"/>
                    </a:moveTo>
                    <a:cubicBezTo>
                      <a:pt x="29" y="63"/>
                      <a:pt x="0" y="160"/>
                      <a:pt x="28" y="256"/>
                    </a:cubicBezTo>
                    <a:cubicBezTo>
                      <a:pt x="52" y="337"/>
                      <a:pt x="109" y="414"/>
                      <a:pt x="188" y="440"/>
                    </a:cubicBezTo>
                    <a:cubicBezTo>
                      <a:pt x="188" y="415"/>
                      <a:pt x="188" y="415"/>
                      <a:pt x="188" y="415"/>
                    </a:cubicBezTo>
                    <a:cubicBezTo>
                      <a:pt x="132" y="373"/>
                      <a:pt x="85" y="305"/>
                      <a:pt x="67" y="245"/>
                    </a:cubicBezTo>
                    <a:cubicBezTo>
                      <a:pt x="44" y="166"/>
                      <a:pt x="61" y="74"/>
                      <a:pt x="113" y="9"/>
                    </a:cubicBezTo>
                    <a:cubicBezTo>
                      <a:pt x="116" y="6"/>
                      <a:pt x="112" y="0"/>
                      <a:pt x="108" y="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3" name="Freeform 66">
                <a:extLst>
                  <a:ext uri="{FF2B5EF4-FFF2-40B4-BE49-F238E27FC236}">
                    <a16:creationId xmlns:a16="http://schemas.microsoft.com/office/drawing/2014/main" id="{2417BD15-2F6A-43C2-82BB-AF8324D968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62" y="2920"/>
                <a:ext cx="91" cy="235"/>
              </a:xfrm>
              <a:custGeom>
                <a:avLst/>
                <a:gdLst>
                  <a:gd name="T0" fmla="*/ 7 w 61"/>
                  <a:gd name="T1" fmla="*/ 6 h 158"/>
                  <a:gd name="T2" fmla="*/ 61 w 61"/>
                  <a:gd name="T3" fmla="*/ 158 h 158"/>
                  <a:gd name="T4" fmla="*/ 61 w 61"/>
                  <a:gd name="T5" fmla="*/ 118 h 158"/>
                  <a:gd name="T6" fmla="*/ 15 w 61"/>
                  <a:gd name="T7" fmla="*/ 5 h 158"/>
                  <a:gd name="T8" fmla="*/ 7 w 61"/>
                  <a:gd name="T9" fmla="*/ 6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158">
                    <a:moveTo>
                      <a:pt x="7" y="6"/>
                    </a:moveTo>
                    <a:cubicBezTo>
                      <a:pt x="0" y="68"/>
                      <a:pt x="21" y="119"/>
                      <a:pt x="61" y="158"/>
                    </a:cubicBezTo>
                    <a:cubicBezTo>
                      <a:pt x="61" y="118"/>
                      <a:pt x="61" y="118"/>
                      <a:pt x="61" y="118"/>
                    </a:cubicBezTo>
                    <a:cubicBezTo>
                      <a:pt x="42" y="82"/>
                      <a:pt x="26" y="42"/>
                      <a:pt x="15" y="5"/>
                    </a:cubicBezTo>
                    <a:cubicBezTo>
                      <a:pt x="14" y="0"/>
                      <a:pt x="8" y="2"/>
                      <a:pt x="7" y="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4" name="Freeform 67">
                <a:extLst>
                  <a:ext uri="{FF2B5EF4-FFF2-40B4-BE49-F238E27FC236}">
                    <a16:creationId xmlns:a16="http://schemas.microsoft.com/office/drawing/2014/main" id="{6A66ECC4-40A0-4065-8290-5D8CBD034E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17" y="2264"/>
                <a:ext cx="536" cy="272"/>
              </a:xfrm>
              <a:custGeom>
                <a:avLst/>
                <a:gdLst>
                  <a:gd name="T0" fmla="*/ 2 w 359"/>
                  <a:gd name="T1" fmla="*/ 1 h 183"/>
                  <a:gd name="T2" fmla="*/ 1 w 359"/>
                  <a:gd name="T3" fmla="*/ 2 h 183"/>
                  <a:gd name="T4" fmla="*/ 260 w 359"/>
                  <a:gd name="T5" fmla="*/ 166 h 183"/>
                  <a:gd name="T6" fmla="*/ 359 w 359"/>
                  <a:gd name="T7" fmla="*/ 183 h 183"/>
                  <a:gd name="T8" fmla="*/ 359 w 359"/>
                  <a:gd name="T9" fmla="*/ 170 h 183"/>
                  <a:gd name="T10" fmla="*/ 263 w 359"/>
                  <a:gd name="T11" fmla="*/ 154 h 183"/>
                  <a:gd name="T12" fmla="*/ 2 w 359"/>
                  <a:gd name="T13" fmla="*/ 1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9" h="183">
                    <a:moveTo>
                      <a:pt x="2" y="1"/>
                    </a:moveTo>
                    <a:cubicBezTo>
                      <a:pt x="1" y="0"/>
                      <a:pt x="0" y="2"/>
                      <a:pt x="1" y="2"/>
                    </a:cubicBezTo>
                    <a:cubicBezTo>
                      <a:pt x="77" y="69"/>
                      <a:pt x="162" y="139"/>
                      <a:pt x="260" y="166"/>
                    </a:cubicBezTo>
                    <a:cubicBezTo>
                      <a:pt x="293" y="175"/>
                      <a:pt x="326" y="180"/>
                      <a:pt x="359" y="183"/>
                    </a:cubicBezTo>
                    <a:cubicBezTo>
                      <a:pt x="359" y="170"/>
                      <a:pt x="359" y="170"/>
                      <a:pt x="359" y="170"/>
                    </a:cubicBezTo>
                    <a:cubicBezTo>
                      <a:pt x="327" y="167"/>
                      <a:pt x="295" y="163"/>
                      <a:pt x="263" y="154"/>
                    </a:cubicBezTo>
                    <a:cubicBezTo>
                      <a:pt x="164" y="127"/>
                      <a:pt x="88" y="54"/>
                      <a:pt x="2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5" name="Freeform 68">
                <a:extLst>
                  <a:ext uri="{FF2B5EF4-FFF2-40B4-BE49-F238E27FC236}">
                    <a16:creationId xmlns:a16="http://schemas.microsoft.com/office/drawing/2014/main" id="{1FBE4809-2551-4774-870F-CB07F73687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55" y="3377"/>
                <a:ext cx="404" cy="338"/>
              </a:xfrm>
              <a:custGeom>
                <a:avLst/>
                <a:gdLst>
                  <a:gd name="T0" fmla="*/ 266 w 271"/>
                  <a:gd name="T1" fmla="*/ 193 h 227"/>
                  <a:gd name="T2" fmla="*/ 265 w 271"/>
                  <a:gd name="T3" fmla="*/ 184 h 227"/>
                  <a:gd name="T4" fmla="*/ 100 w 271"/>
                  <a:gd name="T5" fmla="*/ 116 h 227"/>
                  <a:gd name="T6" fmla="*/ 2 w 271"/>
                  <a:gd name="T7" fmla="*/ 1 h 227"/>
                  <a:gd name="T8" fmla="*/ 0 w 271"/>
                  <a:gd name="T9" fmla="*/ 2 h 227"/>
                  <a:gd name="T10" fmla="*/ 266 w 271"/>
                  <a:gd name="T11" fmla="*/ 193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1" h="227">
                    <a:moveTo>
                      <a:pt x="266" y="193"/>
                    </a:moveTo>
                    <a:cubicBezTo>
                      <a:pt x="271" y="192"/>
                      <a:pt x="270" y="183"/>
                      <a:pt x="265" y="184"/>
                    </a:cubicBezTo>
                    <a:cubicBezTo>
                      <a:pt x="199" y="189"/>
                      <a:pt x="147" y="158"/>
                      <a:pt x="100" y="116"/>
                    </a:cubicBezTo>
                    <a:cubicBezTo>
                      <a:pt x="63" y="82"/>
                      <a:pt x="23" y="48"/>
                      <a:pt x="2" y="1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34" y="128"/>
                      <a:pt x="126" y="227"/>
                      <a:pt x="266" y="19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6" name="Freeform 69">
                <a:extLst>
                  <a:ext uri="{FF2B5EF4-FFF2-40B4-BE49-F238E27FC236}">
                    <a16:creationId xmlns:a16="http://schemas.microsoft.com/office/drawing/2014/main" id="{70E355AF-508E-496E-A483-F1D7929443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05" y="2776"/>
                <a:ext cx="48" cy="58"/>
              </a:xfrm>
              <a:custGeom>
                <a:avLst/>
                <a:gdLst>
                  <a:gd name="T0" fmla="*/ 2 w 32"/>
                  <a:gd name="T1" fmla="*/ 38 h 39"/>
                  <a:gd name="T2" fmla="*/ 32 w 32"/>
                  <a:gd name="T3" fmla="*/ 5 h 39"/>
                  <a:gd name="T4" fmla="*/ 32 w 32"/>
                  <a:gd name="T5" fmla="*/ 0 h 39"/>
                  <a:gd name="T6" fmla="*/ 1 w 32"/>
                  <a:gd name="T7" fmla="*/ 37 h 39"/>
                  <a:gd name="T8" fmla="*/ 2 w 32"/>
                  <a:gd name="T9" fmla="*/ 3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9">
                    <a:moveTo>
                      <a:pt x="2" y="38"/>
                    </a:moveTo>
                    <a:cubicBezTo>
                      <a:pt x="12" y="27"/>
                      <a:pt x="23" y="17"/>
                      <a:pt x="32" y="5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1" y="11"/>
                      <a:pt x="11" y="25"/>
                      <a:pt x="1" y="37"/>
                    </a:cubicBezTo>
                    <a:cubicBezTo>
                      <a:pt x="0" y="38"/>
                      <a:pt x="1" y="39"/>
                      <a:pt x="2" y="3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7" name="Freeform 70">
                <a:extLst>
                  <a:ext uri="{FF2B5EF4-FFF2-40B4-BE49-F238E27FC236}">
                    <a16:creationId xmlns:a16="http://schemas.microsoft.com/office/drawing/2014/main" id="{82413807-D56A-4967-98E6-CD03A1E91D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29" y="3672"/>
                <a:ext cx="221" cy="112"/>
              </a:xfrm>
              <a:custGeom>
                <a:avLst/>
                <a:gdLst>
                  <a:gd name="T0" fmla="*/ 142 w 148"/>
                  <a:gd name="T1" fmla="*/ 75 h 75"/>
                  <a:gd name="T2" fmla="*/ 144 w 148"/>
                  <a:gd name="T3" fmla="*/ 66 h 75"/>
                  <a:gd name="T4" fmla="*/ 71 w 148"/>
                  <a:gd name="T5" fmla="*/ 37 h 75"/>
                  <a:gd name="T6" fmla="*/ 1 w 148"/>
                  <a:gd name="T7" fmla="*/ 1 h 75"/>
                  <a:gd name="T8" fmla="*/ 0 w 148"/>
                  <a:gd name="T9" fmla="*/ 2 h 75"/>
                  <a:gd name="T10" fmla="*/ 71 w 148"/>
                  <a:gd name="T11" fmla="*/ 47 h 75"/>
                  <a:gd name="T12" fmla="*/ 142 w 148"/>
                  <a:gd name="T13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" h="75">
                    <a:moveTo>
                      <a:pt x="142" y="75"/>
                    </a:moveTo>
                    <a:cubicBezTo>
                      <a:pt x="147" y="75"/>
                      <a:pt x="148" y="68"/>
                      <a:pt x="144" y="66"/>
                    </a:cubicBezTo>
                    <a:cubicBezTo>
                      <a:pt x="122" y="53"/>
                      <a:pt x="95" y="48"/>
                      <a:pt x="71" y="37"/>
                    </a:cubicBezTo>
                    <a:cubicBezTo>
                      <a:pt x="47" y="27"/>
                      <a:pt x="25" y="12"/>
                      <a:pt x="1" y="1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20" y="21"/>
                      <a:pt x="46" y="35"/>
                      <a:pt x="71" y="47"/>
                    </a:cubicBezTo>
                    <a:cubicBezTo>
                      <a:pt x="93" y="59"/>
                      <a:pt x="116" y="73"/>
                      <a:pt x="142" y="7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8" name="Freeform 71">
                <a:extLst>
                  <a:ext uri="{FF2B5EF4-FFF2-40B4-BE49-F238E27FC236}">
                    <a16:creationId xmlns:a16="http://schemas.microsoft.com/office/drawing/2014/main" id="{F482CF54-8DF8-4FA4-9B83-7ADA58C7A0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13" y="3896"/>
                <a:ext cx="301" cy="427"/>
              </a:xfrm>
              <a:custGeom>
                <a:avLst/>
                <a:gdLst>
                  <a:gd name="T0" fmla="*/ 201 w 202"/>
                  <a:gd name="T1" fmla="*/ 2 h 287"/>
                  <a:gd name="T2" fmla="*/ 200 w 202"/>
                  <a:gd name="T3" fmla="*/ 1 h 287"/>
                  <a:gd name="T4" fmla="*/ 17 w 202"/>
                  <a:gd name="T5" fmla="*/ 276 h 287"/>
                  <a:gd name="T6" fmla="*/ 34 w 202"/>
                  <a:gd name="T7" fmla="*/ 274 h 287"/>
                  <a:gd name="T8" fmla="*/ 201 w 202"/>
                  <a:gd name="T9" fmla="*/ 2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2" h="287">
                    <a:moveTo>
                      <a:pt x="201" y="2"/>
                    </a:moveTo>
                    <a:cubicBezTo>
                      <a:pt x="202" y="1"/>
                      <a:pt x="201" y="0"/>
                      <a:pt x="200" y="1"/>
                    </a:cubicBezTo>
                    <a:cubicBezTo>
                      <a:pt x="121" y="56"/>
                      <a:pt x="0" y="168"/>
                      <a:pt x="17" y="276"/>
                    </a:cubicBezTo>
                    <a:cubicBezTo>
                      <a:pt x="19" y="287"/>
                      <a:pt x="33" y="283"/>
                      <a:pt x="34" y="274"/>
                    </a:cubicBezTo>
                    <a:cubicBezTo>
                      <a:pt x="47" y="171"/>
                      <a:pt x="128" y="70"/>
                      <a:pt x="201" y="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9" name="Freeform 72">
                <a:extLst>
                  <a:ext uri="{FF2B5EF4-FFF2-40B4-BE49-F238E27FC236}">
                    <a16:creationId xmlns:a16="http://schemas.microsoft.com/office/drawing/2014/main" id="{649B42AF-096C-4D9F-A689-8F68CBE2A0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72" y="3315"/>
                <a:ext cx="316" cy="147"/>
              </a:xfrm>
              <a:custGeom>
                <a:avLst/>
                <a:gdLst>
                  <a:gd name="T0" fmla="*/ 1 w 212"/>
                  <a:gd name="T1" fmla="*/ 2 h 99"/>
                  <a:gd name="T2" fmla="*/ 205 w 212"/>
                  <a:gd name="T3" fmla="*/ 97 h 99"/>
                  <a:gd name="T4" fmla="*/ 209 w 212"/>
                  <a:gd name="T5" fmla="*/ 92 h 99"/>
                  <a:gd name="T6" fmla="*/ 2 w 212"/>
                  <a:gd name="T7" fmla="*/ 0 h 99"/>
                  <a:gd name="T8" fmla="*/ 1 w 212"/>
                  <a:gd name="T9" fmla="*/ 2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99">
                    <a:moveTo>
                      <a:pt x="1" y="2"/>
                    </a:moveTo>
                    <a:cubicBezTo>
                      <a:pt x="77" y="23"/>
                      <a:pt x="137" y="59"/>
                      <a:pt x="205" y="97"/>
                    </a:cubicBezTo>
                    <a:cubicBezTo>
                      <a:pt x="208" y="99"/>
                      <a:pt x="212" y="95"/>
                      <a:pt x="209" y="92"/>
                    </a:cubicBezTo>
                    <a:cubicBezTo>
                      <a:pt x="155" y="40"/>
                      <a:pt x="73" y="13"/>
                      <a:pt x="2" y="0"/>
                    </a:cubicBezTo>
                    <a:cubicBezTo>
                      <a:pt x="0" y="0"/>
                      <a:pt x="0" y="2"/>
                      <a:pt x="1" y="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0" name="Freeform 73">
                <a:extLst>
                  <a:ext uri="{FF2B5EF4-FFF2-40B4-BE49-F238E27FC236}">
                    <a16:creationId xmlns:a16="http://schemas.microsoft.com/office/drawing/2014/main" id="{E9CB41D9-6699-47DF-AEED-9B91DA4EAD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29" y="1885"/>
                <a:ext cx="424" cy="376"/>
              </a:xfrm>
              <a:custGeom>
                <a:avLst/>
                <a:gdLst>
                  <a:gd name="T0" fmla="*/ 2 w 284"/>
                  <a:gd name="T1" fmla="*/ 1 h 252"/>
                  <a:gd name="T2" fmla="*/ 0 w 284"/>
                  <a:gd name="T3" fmla="*/ 2 h 252"/>
                  <a:gd name="T4" fmla="*/ 284 w 284"/>
                  <a:gd name="T5" fmla="*/ 252 h 252"/>
                  <a:gd name="T6" fmla="*/ 284 w 284"/>
                  <a:gd name="T7" fmla="*/ 219 h 252"/>
                  <a:gd name="T8" fmla="*/ 163 w 284"/>
                  <a:gd name="T9" fmla="*/ 159 h 252"/>
                  <a:gd name="T10" fmla="*/ 2 w 284"/>
                  <a:gd name="T11" fmla="*/ 1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252">
                    <a:moveTo>
                      <a:pt x="2" y="1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36" y="117"/>
                      <a:pt x="159" y="222"/>
                      <a:pt x="284" y="252"/>
                    </a:cubicBezTo>
                    <a:cubicBezTo>
                      <a:pt x="284" y="219"/>
                      <a:pt x="284" y="219"/>
                      <a:pt x="284" y="219"/>
                    </a:cubicBezTo>
                    <a:cubicBezTo>
                      <a:pt x="243" y="203"/>
                      <a:pt x="203" y="185"/>
                      <a:pt x="163" y="159"/>
                    </a:cubicBezTo>
                    <a:cubicBezTo>
                      <a:pt x="97" y="115"/>
                      <a:pt x="53" y="60"/>
                      <a:pt x="2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1" name="Freeform 74">
                <a:extLst>
                  <a:ext uri="{FF2B5EF4-FFF2-40B4-BE49-F238E27FC236}">
                    <a16:creationId xmlns:a16="http://schemas.microsoft.com/office/drawing/2014/main" id="{5C0A1924-82BE-4E55-AE0E-FE975EB0E6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50" y="2788"/>
                <a:ext cx="97" cy="238"/>
              </a:xfrm>
              <a:custGeom>
                <a:avLst/>
                <a:gdLst>
                  <a:gd name="T0" fmla="*/ 12 w 65"/>
                  <a:gd name="T1" fmla="*/ 153 h 160"/>
                  <a:gd name="T2" fmla="*/ 26 w 65"/>
                  <a:gd name="T3" fmla="*/ 153 h 160"/>
                  <a:gd name="T4" fmla="*/ 38 w 65"/>
                  <a:gd name="T5" fmla="*/ 75 h 160"/>
                  <a:gd name="T6" fmla="*/ 65 w 65"/>
                  <a:gd name="T7" fmla="*/ 1 h 160"/>
                  <a:gd name="T8" fmla="*/ 64 w 65"/>
                  <a:gd name="T9" fmla="*/ 0 h 160"/>
                  <a:gd name="T10" fmla="*/ 12 w 65"/>
                  <a:gd name="T11" fmla="*/ 15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160">
                    <a:moveTo>
                      <a:pt x="12" y="153"/>
                    </a:moveTo>
                    <a:cubicBezTo>
                      <a:pt x="14" y="160"/>
                      <a:pt x="24" y="159"/>
                      <a:pt x="26" y="153"/>
                    </a:cubicBezTo>
                    <a:cubicBezTo>
                      <a:pt x="35" y="129"/>
                      <a:pt x="32" y="100"/>
                      <a:pt x="38" y="75"/>
                    </a:cubicBezTo>
                    <a:cubicBezTo>
                      <a:pt x="45" y="49"/>
                      <a:pt x="55" y="25"/>
                      <a:pt x="65" y="1"/>
                    </a:cubicBezTo>
                    <a:cubicBezTo>
                      <a:pt x="65" y="0"/>
                      <a:pt x="64" y="0"/>
                      <a:pt x="64" y="0"/>
                    </a:cubicBezTo>
                    <a:cubicBezTo>
                      <a:pt x="34" y="35"/>
                      <a:pt x="0" y="107"/>
                      <a:pt x="12" y="15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2" name="Freeform 75">
                <a:extLst>
                  <a:ext uri="{FF2B5EF4-FFF2-40B4-BE49-F238E27FC236}">
                    <a16:creationId xmlns:a16="http://schemas.microsoft.com/office/drawing/2014/main" id="{896EDE36-905C-4E5C-AD60-66F54549FA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72" y="3771"/>
                <a:ext cx="673" cy="251"/>
              </a:xfrm>
              <a:custGeom>
                <a:avLst/>
                <a:gdLst>
                  <a:gd name="T0" fmla="*/ 4 w 451"/>
                  <a:gd name="T1" fmla="*/ 12 h 169"/>
                  <a:gd name="T2" fmla="*/ 4 w 451"/>
                  <a:gd name="T3" fmla="*/ 18 h 169"/>
                  <a:gd name="T4" fmla="*/ 450 w 451"/>
                  <a:gd name="T5" fmla="*/ 169 h 169"/>
                  <a:gd name="T6" fmla="*/ 451 w 451"/>
                  <a:gd name="T7" fmla="*/ 169 h 169"/>
                  <a:gd name="T8" fmla="*/ 4 w 451"/>
                  <a:gd name="T9" fmla="*/ 12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1" h="169">
                    <a:moveTo>
                      <a:pt x="4" y="12"/>
                    </a:moveTo>
                    <a:cubicBezTo>
                      <a:pt x="0" y="12"/>
                      <a:pt x="0" y="18"/>
                      <a:pt x="4" y="18"/>
                    </a:cubicBezTo>
                    <a:cubicBezTo>
                      <a:pt x="173" y="16"/>
                      <a:pt x="319" y="62"/>
                      <a:pt x="450" y="169"/>
                    </a:cubicBezTo>
                    <a:cubicBezTo>
                      <a:pt x="450" y="169"/>
                      <a:pt x="451" y="169"/>
                      <a:pt x="451" y="169"/>
                    </a:cubicBezTo>
                    <a:cubicBezTo>
                      <a:pt x="354" y="26"/>
                      <a:pt x="161" y="0"/>
                      <a:pt x="4" y="1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3" name="Freeform 76">
                <a:extLst>
                  <a:ext uri="{FF2B5EF4-FFF2-40B4-BE49-F238E27FC236}">
                    <a16:creationId xmlns:a16="http://schemas.microsoft.com/office/drawing/2014/main" id="{B00A06DB-EA4D-43C9-8BFD-85AF076CCD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58" y="3823"/>
                <a:ext cx="108" cy="40"/>
              </a:xfrm>
              <a:custGeom>
                <a:avLst/>
                <a:gdLst>
                  <a:gd name="T0" fmla="*/ 12 w 73"/>
                  <a:gd name="T1" fmla="*/ 15 h 27"/>
                  <a:gd name="T2" fmla="*/ 9 w 73"/>
                  <a:gd name="T3" fmla="*/ 13 h 27"/>
                  <a:gd name="T4" fmla="*/ 8 w 73"/>
                  <a:gd name="T5" fmla="*/ 25 h 27"/>
                  <a:gd name="T6" fmla="*/ 34 w 73"/>
                  <a:gd name="T7" fmla="*/ 17 h 27"/>
                  <a:gd name="T8" fmla="*/ 71 w 73"/>
                  <a:gd name="T9" fmla="*/ 3 h 27"/>
                  <a:gd name="T10" fmla="*/ 70 w 73"/>
                  <a:gd name="T11" fmla="*/ 1 h 27"/>
                  <a:gd name="T12" fmla="*/ 40 w 73"/>
                  <a:gd name="T13" fmla="*/ 10 h 27"/>
                  <a:gd name="T14" fmla="*/ 12 w 73"/>
                  <a:gd name="T15" fmla="*/ 18 h 27"/>
                  <a:gd name="T16" fmla="*/ 12 w 73"/>
                  <a:gd name="T17" fmla="*/ 17 h 27"/>
                  <a:gd name="T18" fmla="*/ 12 w 73"/>
                  <a:gd name="T19" fmla="*/ 1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" h="27">
                    <a:moveTo>
                      <a:pt x="12" y="15"/>
                    </a:moveTo>
                    <a:cubicBezTo>
                      <a:pt x="12" y="14"/>
                      <a:pt x="11" y="13"/>
                      <a:pt x="9" y="13"/>
                    </a:cubicBezTo>
                    <a:cubicBezTo>
                      <a:pt x="1" y="13"/>
                      <a:pt x="0" y="22"/>
                      <a:pt x="8" y="25"/>
                    </a:cubicBezTo>
                    <a:cubicBezTo>
                      <a:pt x="15" y="27"/>
                      <a:pt x="27" y="19"/>
                      <a:pt x="34" y="17"/>
                    </a:cubicBezTo>
                    <a:cubicBezTo>
                      <a:pt x="46" y="12"/>
                      <a:pt x="59" y="8"/>
                      <a:pt x="71" y="3"/>
                    </a:cubicBezTo>
                    <a:cubicBezTo>
                      <a:pt x="73" y="3"/>
                      <a:pt x="72" y="0"/>
                      <a:pt x="70" y="1"/>
                    </a:cubicBezTo>
                    <a:cubicBezTo>
                      <a:pt x="60" y="4"/>
                      <a:pt x="50" y="7"/>
                      <a:pt x="40" y="10"/>
                    </a:cubicBezTo>
                    <a:cubicBezTo>
                      <a:pt x="37" y="10"/>
                      <a:pt x="21" y="15"/>
                      <a:pt x="12" y="18"/>
                    </a:cubicBezTo>
                    <a:cubicBezTo>
                      <a:pt x="12" y="17"/>
                      <a:pt x="13" y="17"/>
                      <a:pt x="12" y="17"/>
                    </a:cubicBezTo>
                    <a:cubicBezTo>
                      <a:pt x="12" y="16"/>
                      <a:pt x="12" y="16"/>
                      <a:pt x="12" y="1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4" name="Freeform 77">
                <a:extLst>
                  <a:ext uri="{FF2B5EF4-FFF2-40B4-BE49-F238E27FC236}">
                    <a16:creationId xmlns:a16="http://schemas.microsoft.com/office/drawing/2014/main" id="{B35FD8AB-4B39-4D31-9727-1E086E2BC3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03" y="3961"/>
                <a:ext cx="191" cy="341"/>
              </a:xfrm>
              <a:custGeom>
                <a:avLst/>
                <a:gdLst>
                  <a:gd name="T0" fmla="*/ 119 w 128"/>
                  <a:gd name="T1" fmla="*/ 208 h 229"/>
                  <a:gd name="T2" fmla="*/ 1 w 128"/>
                  <a:gd name="T3" fmla="*/ 0 h 229"/>
                  <a:gd name="T4" fmla="*/ 0 w 128"/>
                  <a:gd name="T5" fmla="*/ 1 h 229"/>
                  <a:gd name="T6" fmla="*/ 92 w 128"/>
                  <a:gd name="T7" fmla="*/ 227 h 229"/>
                  <a:gd name="T8" fmla="*/ 92 w 128"/>
                  <a:gd name="T9" fmla="*/ 229 h 229"/>
                  <a:gd name="T10" fmla="*/ 128 w 128"/>
                  <a:gd name="T11" fmla="*/ 229 h 229"/>
                  <a:gd name="T12" fmla="*/ 119 w 128"/>
                  <a:gd name="T13" fmla="*/ 208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229">
                    <a:moveTo>
                      <a:pt x="119" y="208"/>
                    </a:moveTo>
                    <a:cubicBezTo>
                      <a:pt x="87" y="135"/>
                      <a:pt x="46" y="65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39" y="74"/>
                      <a:pt x="69" y="147"/>
                      <a:pt x="92" y="227"/>
                    </a:cubicBezTo>
                    <a:cubicBezTo>
                      <a:pt x="92" y="227"/>
                      <a:pt x="92" y="228"/>
                      <a:pt x="92" y="229"/>
                    </a:cubicBezTo>
                    <a:cubicBezTo>
                      <a:pt x="128" y="229"/>
                      <a:pt x="128" y="229"/>
                      <a:pt x="128" y="229"/>
                    </a:cubicBezTo>
                    <a:cubicBezTo>
                      <a:pt x="125" y="222"/>
                      <a:pt x="122" y="215"/>
                      <a:pt x="119" y="20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5" name="Freeform 78">
                <a:extLst>
                  <a:ext uri="{FF2B5EF4-FFF2-40B4-BE49-F238E27FC236}">
                    <a16:creationId xmlns:a16="http://schemas.microsoft.com/office/drawing/2014/main" id="{F930A54D-9B85-436C-915C-EFBB564C00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1" y="3450"/>
                <a:ext cx="1627" cy="852"/>
              </a:xfrm>
              <a:custGeom>
                <a:avLst/>
                <a:gdLst>
                  <a:gd name="T0" fmla="*/ 996 w 1091"/>
                  <a:gd name="T1" fmla="*/ 325 h 572"/>
                  <a:gd name="T2" fmla="*/ 708 w 1091"/>
                  <a:gd name="T3" fmla="*/ 48 h 572"/>
                  <a:gd name="T4" fmla="*/ 284 w 1091"/>
                  <a:gd name="T5" fmla="*/ 94 h 572"/>
                  <a:gd name="T6" fmla="*/ 0 w 1091"/>
                  <a:gd name="T7" fmla="*/ 395 h 572"/>
                  <a:gd name="T8" fmla="*/ 1 w 1091"/>
                  <a:gd name="T9" fmla="*/ 395 h 572"/>
                  <a:gd name="T10" fmla="*/ 301 w 1091"/>
                  <a:gd name="T11" fmla="*/ 108 h 572"/>
                  <a:gd name="T12" fmla="*/ 734 w 1091"/>
                  <a:gd name="T13" fmla="*/ 98 h 572"/>
                  <a:gd name="T14" fmla="*/ 1041 w 1091"/>
                  <a:gd name="T15" fmla="*/ 572 h 572"/>
                  <a:gd name="T16" fmla="*/ 1091 w 1091"/>
                  <a:gd name="T17" fmla="*/ 572 h 572"/>
                  <a:gd name="T18" fmla="*/ 996 w 1091"/>
                  <a:gd name="T19" fmla="*/ 325 h 5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1" h="572">
                    <a:moveTo>
                      <a:pt x="996" y="325"/>
                    </a:moveTo>
                    <a:cubicBezTo>
                      <a:pt x="935" y="202"/>
                      <a:pt x="841" y="93"/>
                      <a:pt x="708" y="48"/>
                    </a:cubicBezTo>
                    <a:cubicBezTo>
                      <a:pt x="566" y="0"/>
                      <a:pt x="414" y="24"/>
                      <a:pt x="284" y="94"/>
                    </a:cubicBezTo>
                    <a:cubicBezTo>
                      <a:pt x="169" y="155"/>
                      <a:pt x="28" y="261"/>
                      <a:pt x="0" y="395"/>
                    </a:cubicBezTo>
                    <a:cubicBezTo>
                      <a:pt x="0" y="395"/>
                      <a:pt x="1" y="395"/>
                      <a:pt x="1" y="395"/>
                    </a:cubicBezTo>
                    <a:cubicBezTo>
                      <a:pt x="38" y="266"/>
                      <a:pt x="186" y="162"/>
                      <a:pt x="301" y="108"/>
                    </a:cubicBezTo>
                    <a:cubicBezTo>
                      <a:pt x="435" y="44"/>
                      <a:pt x="599" y="30"/>
                      <a:pt x="734" y="98"/>
                    </a:cubicBezTo>
                    <a:cubicBezTo>
                      <a:pt x="920" y="191"/>
                      <a:pt x="987" y="383"/>
                      <a:pt x="1041" y="572"/>
                    </a:cubicBezTo>
                    <a:cubicBezTo>
                      <a:pt x="1091" y="572"/>
                      <a:pt x="1091" y="572"/>
                      <a:pt x="1091" y="572"/>
                    </a:cubicBezTo>
                    <a:cubicBezTo>
                      <a:pt x="1067" y="486"/>
                      <a:pt x="1034" y="401"/>
                      <a:pt x="996" y="32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6" name="Freeform 79">
                <a:extLst>
                  <a:ext uri="{FF2B5EF4-FFF2-40B4-BE49-F238E27FC236}">
                    <a16:creationId xmlns:a16="http://schemas.microsoft.com/office/drawing/2014/main" id="{6684F42D-FB78-430C-B278-4EA81E3DC2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30" y="3619"/>
                <a:ext cx="556" cy="333"/>
              </a:xfrm>
              <a:custGeom>
                <a:avLst/>
                <a:gdLst>
                  <a:gd name="T0" fmla="*/ 209 w 373"/>
                  <a:gd name="T1" fmla="*/ 84 h 224"/>
                  <a:gd name="T2" fmla="*/ 372 w 373"/>
                  <a:gd name="T3" fmla="*/ 223 h 224"/>
                  <a:gd name="T4" fmla="*/ 373 w 373"/>
                  <a:gd name="T5" fmla="*/ 223 h 224"/>
                  <a:gd name="T6" fmla="*/ 233 w 373"/>
                  <a:gd name="T7" fmla="*/ 77 h 224"/>
                  <a:gd name="T8" fmla="*/ 5 w 373"/>
                  <a:gd name="T9" fmla="*/ 7 h 224"/>
                  <a:gd name="T10" fmla="*/ 5 w 373"/>
                  <a:gd name="T11" fmla="*/ 16 h 224"/>
                  <a:gd name="T12" fmla="*/ 209 w 373"/>
                  <a:gd name="T13" fmla="*/ 84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3" h="224">
                    <a:moveTo>
                      <a:pt x="209" y="84"/>
                    </a:moveTo>
                    <a:cubicBezTo>
                      <a:pt x="265" y="118"/>
                      <a:pt x="347" y="161"/>
                      <a:pt x="372" y="223"/>
                    </a:cubicBezTo>
                    <a:cubicBezTo>
                      <a:pt x="372" y="224"/>
                      <a:pt x="373" y="224"/>
                      <a:pt x="373" y="223"/>
                    </a:cubicBezTo>
                    <a:cubicBezTo>
                      <a:pt x="354" y="159"/>
                      <a:pt x="286" y="113"/>
                      <a:pt x="233" y="77"/>
                    </a:cubicBezTo>
                    <a:cubicBezTo>
                      <a:pt x="164" y="29"/>
                      <a:pt x="90" y="0"/>
                      <a:pt x="5" y="7"/>
                    </a:cubicBezTo>
                    <a:cubicBezTo>
                      <a:pt x="0" y="8"/>
                      <a:pt x="0" y="15"/>
                      <a:pt x="5" y="16"/>
                    </a:cubicBezTo>
                    <a:cubicBezTo>
                      <a:pt x="78" y="19"/>
                      <a:pt x="148" y="46"/>
                      <a:pt x="209" y="84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7" name="Freeform 80">
                <a:extLst>
                  <a:ext uri="{FF2B5EF4-FFF2-40B4-BE49-F238E27FC236}">
                    <a16:creationId xmlns:a16="http://schemas.microsoft.com/office/drawing/2014/main" id="{14C21FC0-D532-446E-8412-B8AD59A640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89" y="3632"/>
                <a:ext cx="575" cy="466"/>
              </a:xfrm>
              <a:custGeom>
                <a:avLst/>
                <a:gdLst>
                  <a:gd name="T0" fmla="*/ 384 w 386"/>
                  <a:gd name="T1" fmla="*/ 0 h 313"/>
                  <a:gd name="T2" fmla="*/ 157 w 386"/>
                  <a:gd name="T3" fmla="*/ 108 h 313"/>
                  <a:gd name="T4" fmla="*/ 1 w 386"/>
                  <a:gd name="T5" fmla="*/ 303 h 313"/>
                  <a:gd name="T6" fmla="*/ 11 w 386"/>
                  <a:gd name="T7" fmla="*/ 309 h 313"/>
                  <a:gd name="T8" fmla="*/ 88 w 386"/>
                  <a:gd name="T9" fmla="*/ 213 h 313"/>
                  <a:gd name="T10" fmla="*/ 164 w 386"/>
                  <a:gd name="T11" fmla="*/ 136 h 313"/>
                  <a:gd name="T12" fmla="*/ 385 w 386"/>
                  <a:gd name="T13" fmla="*/ 2 h 313"/>
                  <a:gd name="T14" fmla="*/ 384 w 386"/>
                  <a:gd name="T15" fmla="*/ 0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6" h="313">
                    <a:moveTo>
                      <a:pt x="384" y="0"/>
                    </a:moveTo>
                    <a:cubicBezTo>
                      <a:pt x="303" y="23"/>
                      <a:pt x="224" y="55"/>
                      <a:pt x="157" y="108"/>
                    </a:cubicBezTo>
                    <a:cubicBezTo>
                      <a:pt x="100" y="153"/>
                      <a:pt x="15" y="228"/>
                      <a:pt x="1" y="303"/>
                    </a:cubicBezTo>
                    <a:cubicBezTo>
                      <a:pt x="0" y="309"/>
                      <a:pt x="6" y="313"/>
                      <a:pt x="11" y="309"/>
                    </a:cubicBezTo>
                    <a:cubicBezTo>
                      <a:pt x="42" y="283"/>
                      <a:pt x="61" y="244"/>
                      <a:pt x="88" y="213"/>
                    </a:cubicBezTo>
                    <a:cubicBezTo>
                      <a:pt x="111" y="185"/>
                      <a:pt x="137" y="160"/>
                      <a:pt x="164" y="136"/>
                    </a:cubicBezTo>
                    <a:cubicBezTo>
                      <a:pt x="230" y="79"/>
                      <a:pt x="303" y="31"/>
                      <a:pt x="385" y="2"/>
                    </a:cubicBezTo>
                    <a:cubicBezTo>
                      <a:pt x="386" y="1"/>
                      <a:pt x="385" y="0"/>
                      <a:pt x="384" y="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8" name="Freeform 81">
                <a:extLst>
                  <a:ext uri="{FF2B5EF4-FFF2-40B4-BE49-F238E27FC236}">
                    <a16:creationId xmlns:a16="http://schemas.microsoft.com/office/drawing/2014/main" id="{EB58E799-44C3-4422-8C5E-B77609BD65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78" y="3596"/>
                <a:ext cx="167" cy="30"/>
              </a:xfrm>
              <a:custGeom>
                <a:avLst/>
                <a:gdLst>
                  <a:gd name="T0" fmla="*/ 110 w 112"/>
                  <a:gd name="T1" fmla="*/ 6 h 20"/>
                  <a:gd name="T2" fmla="*/ 110 w 112"/>
                  <a:gd name="T3" fmla="*/ 4 h 20"/>
                  <a:gd name="T4" fmla="*/ 4 w 112"/>
                  <a:gd name="T5" fmla="*/ 13 h 20"/>
                  <a:gd name="T6" fmla="*/ 5 w 112"/>
                  <a:gd name="T7" fmla="*/ 20 h 20"/>
                  <a:gd name="T8" fmla="*/ 110 w 112"/>
                  <a:gd name="T9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20">
                    <a:moveTo>
                      <a:pt x="110" y="6"/>
                    </a:moveTo>
                    <a:cubicBezTo>
                      <a:pt x="112" y="6"/>
                      <a:pt x="112" y="4"/>
                      <a:pt x="110" y="4"/>
                    </a:cubicBezTo>
                    <a:cubicBezTo>
                      <a:pt x="76" y="2"/>
                      <a:pt x="36" y="0"/>
                      <a:pt x="4" y="13"/>
                    </a:cubicBezTo>
                    <a:cubicBezTo>
                      <a:pt x="0" y="14"/>
                      <a:pt x="0" y="20"/>
                      <a:pt x="5" y="20"/>
                    </a:cubicBezTo>
                    <a:cubicBezTo>
                      <a:pt x="40" y="19"/>
                      <a:pt x="75" y="9"/>
                      <a:pt x="110" y="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9" name="Freeform 82">
                <a:extLst>
                  <a:ext uri="{FF2B5EF4-FFF2-40B4-BE49-F238E27FC236}">
                    <a16:creationId xmlns:a16="http://schemas.microsoft.com/office/drawing/2014/main" id="{9040DB66-1343-4A6A-BD11-394689B428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0" y="3940"/>
                <a:ext cx="78" cy="99"/>
              </a:xfrm>
              <a:custGeom>
                <a:avLst/>
                <a:gdLst>
                  <a:gd name="T0" fmla="*/ 5 w 52"/>
                  <a:gd name="T1" fmla="*/ 63 h 66"/>
                  <a:gd name="T2" fmla="*/ 51 w 52"/>
                  <a:gd name="T3" fmla="*/ 2 h 66"/>
                  <a:gd name="T4" fmla="*/ 50 w 52"/>
                  <a:gd name="T5" fmla="*/ 0 h 66"/>
                  <a:gd name="T6" fmla="*/ 1 w 52"/>
                  <a:gd name="T7" fmla="*/ 61 h 66"/>
                  <a:gd name="T8" fmla="*/ 5 w 52"/>
                  <a:gd name="T9" fmla="*/ 63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66">
                    <a:moveTo>
                      <a:pt x="5" y="63"/>
                    </a:moveTo>
                    <a:cubicBezTo>
                      <a:pt x="19" y="41"/>
                      <a:pt x="31" y="19"/>
                      <a:pt x="51" y="2"/>
                    </a:cubicBezTo>
                    <a:cubicBezTo>
                      <a:pt x="52" y="1"/>
                      <a:pt x="51" y="0"/>
                      <a:pt x="50" y="0"/>
                    </a:cubicBezTo>
                    <a:cubicBezTo>
                      <a:pt x="30" y="16"/>
                      <a:pt x="9" y="37"/>
                      <a:pt x="1" y="61"/>
                    </a:cubicBezTo>
                    <a:cubicBezTo>
                      <a:pt x="0" y="64"/>
                      <a:pt x="4" y="66"/>
                      <a:pt x="5" y="6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0" name="Freeform 83">
                <a:extLst>
                  <a:ext uri="{FF2B5EF4-FFF2-40B4-BE49-F238E27FC236}">
                    <a16:creationId xmlns:a16="http://schemas.microsoft.com/office/drawing/2014/main" id="{357D5C13-4C12-4FED-80A9-FCF82A12F0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23" y="3648"/>
                <a:ext cx="1031" cy="268"/>
              </a:xfrm>
              <a:custGeom>
                <a:avLst/>
                <a:gdLst>
                  <a:gd name="T0" fmla="*/ 2 w 691"/>
                  <a:gd name="T1" fmla="*/ 158 h 180"/>
                  <a:gd name="T2" fmla="*/ 681 w 691"/>
                  <a:gd name="T3" fmla="*/ 176 h 180"/>
                  <a:gd name="T4" fmla="*/ 687 w 691"/>
                  <a:gd name="T5" fmla="*/ 169 h 180"/>
                  <a:gd name="T6" fmla="*/ 346 w 691"/>
                  <a:gd name="T7" fmla="*/ 7 h 180"/>
                  <a:gd name="T8" fmla="*/ 1 w 691"/>
                  <a:gd name="T9" fmla="*/ 157 h 180"/>
                  <a:gd name="T10" fmla="*/ 2 w 691"/>
                  <a:gd name="T11" fmla="*/ 158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1" h="180">
                    <a:moveTo>
                      <a:pt x="2" y="158"/>
                    </a:moveTo>
                    <a:cubicBezTo>
                      <a:pt x="204" y="0"/>
                      <a:pt x="483" y="18"/>
                      <a:pt x="681" y="176"/>
                    </a:cubicBezTo>
                    <a:cubicBezTo>
                      <a:pt x="686" y="180"/>
                      <a:pt x="691" y="174"/>
                      <a:pt x="687" y="169"/>
                    </a:cubicBezTo>
                    <a:cubicBezTo>
                      <a:pt x="601" y="65"/>
                      <a:pt x="482" y="8"/>
                      <a:pt x="346" y="7"/>
                    </a:cubicBezTo>
                    <a:cubicBezTo>
                      <a:pt x="218" y="6"/>
                      <a:pt x="90" y="66"/>
                      <a:pt x="1" y="157"/>
                    </a:cubicBezTo>
                    <a:cubicBezTo>
                      <a:pt x="0" y="158"/>
                      <a:pt x="1" y="158"/>
                      <a:pt x="2" y="15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1" name="Freeform 84">
                <a:extLst>
                  <a:ext uri="{FF2B5EF4-FFF2-40B4-BE49-F238E27FC236}">
                    <a16:creationId xmlns:a16="http://schemas.microsoft.com/office/drawing/2014/main" id="{8D4C5A26-58FB-43DB-8E0B-B0579B29AA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39" y="4246"/>
                <a:ext cx="91" cy="56"/>
              </a:xfrm>
              <a:custGeom>
                <a:avLst/>
                <a:gdLst>
                  <a:gd name="T0" fmla="*/ 60 w 61"/>
                  <a:gd name="T1" fmla="*/ 2 h 38"/>
                  <a:gd name="T2" fmla="*/ 60 w 61"/>
                  <a:gd name="T3" fmla="*/ 0 h 38"/>
                  <a:gd name="T4" fmla="*/ 0 w 61"/>
                  <a:gd name="T5" fmla="*/ 38 h 38"/>
                  <a:gd name="T6" fmla="*/ 22 w 61"/>
                  <a:gd name="T7" fmla="*/ 38 h 38"/>
                  <a:gd name="T8" fmla="*/ 60 w 61"/>
                  <a:gd name="T9" fmla="*/ 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38">
                    <a:moveTo>
                      <a:pt x="60" y="2"/>
                    </a:moveTo>
                    <a:cubicBezTo>
                      <a:pt x="61" y="1"/>
                      <a:pt x="60" y="0"/>
                      <a:pt x="60" y="0"/>
                    </a:cubicBezTo>
                    <a:cubicBezTo>
                      <a:pt x="36" y="7"/>
                      <a:pt x="15" y="20"/>
                      <a:pt x="0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32" y="24"/>
                      <a:pt x="44" y="11"/>
                      <a:pt x="60" y="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2" name="Freeform 85">
                <a:extLst>
                  <a:ext uri="{FF2B5EF4-FFF2-40B4-BE49-F238E27FC236}">
                    <a16:creationId xmlns:a16="http://schemas.microsoft.com/office/drawing/2014/main" id="{668DC0C7-C005-4339-BCAC-1537E6DB77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34" y="4164"/>
                <a:ext cx="203" cy="138"/>
              </a:xfrm>
              <a:custGeom>
                <a:avLst/>
                <a:gdLst>
                  <a:gd name="T0" fmla="*/ 28 w 136"/>
                  <a:gd name="T1" fmla="*/ 80 h 93"/>
                  <a:gd name="T2" fmla="*/ 135 w 136"/>
                  <a:gd name="T3" fmla="*/ 20 h 93"/>
                  <a:gd name="T4" fmla="*/ 135 w 136"/>
                  <a:gd name="T5" fmla="*/ 18 h 93"/>
                  <a:gd name="T6" fmla="*/ 20 w 136"/>
                  <a:gd name="T7" fmla="*/ 62 h 93"/>
                  <a:gd name="T8" fmla="*/ 0 w 136"/>
                  <a:gd name="T9" fmla="*/ 93 h 93"/>
                  <a:gd name="T10" fmla="*/ 19 w 136"/>
                  <a:gd name="T11" fmla="*/ 93 h 93"/>
                  <a:gd name="T12" fmla="*/ 28 w 136"/>
                  <a:gd name="T13" fmla="*/ 8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6" h="93">
                    <a:moveTo>
                      <a:pt x="28" y="80"/>
                    </a:moveTo>
                    <a:cubicBezTo>
                      <a:pt x="53" y="44"/>
                      <a:pt x="89" y="17"/>
                      <a:pt x="135" y="20"/>
                    </a:cubicBezTo>
                    <a:cubicBezTo>
                      <a:pt x="136" y="20"/>
                      <a:pt x="136" y="18"/>
                      <a:pt x="135" y="18"/>
                    </a:cubicBezTo>
                    <a:cubicBezTo>
                      <a:pt x="92" y="0"/>
                      <a:pt x="46" y="29"/>
                      <a:pt x="20" y="62"/>
                    </a:cubicBezTo>
                    <a:cubicBezTo>
                      <a:pt x="13" y="71"/>
                      <a:pt x="6" y="81"/>
                      <a:pt x="0" y="93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22" y="88"/>
                      <a:pt x="25" y="84"/>
                      <a:pt x="28" y="8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3" name="Freeform 86">
                <a:extLst>
                  <a:ext uri="{FF2B5EF4-FFF2-40B4-BE49-F238E27FC236}">
                    <a16:creationId xmlns:a16="http://schemas.microsoft.com/office/drawing/2014/main" id="{C39A8689-7981-4DAD-84E6-98C8A27B2F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08" y="3772"/>
                <a:ext cx="113" cy="83"/>
              </a:xfrm>
              <a:custGeom>
                <a:avLst/>
                <a:gdLst>
                  <a:gd name="T0" fmla="*/ 4 w 76"/>
                  <a:gd name="T1" fmla="*/ 46 h 56"/>
                  <a:gd name="T2" fmla="*/ 10 w 76"/>
                  <a:gd name="T3" fmla="*/ 52 h 56"/>
                  <a:gd name="T4" fmla="*/ 75 w 76"/>
                  <a:gd name="T5" fmla="*/ 2 h 56"/>
                  <a:gd name="T6" fmla="*/ 74 w 76"/>
                  <a:gd name="T7" fmla="*/ 0 h 56"/>
                  <a:gd name="T8" fmla="*/ 4 w 76"/>
                  <a:gd name="T9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56">
                    <a:moveTo>
                      <a:pt x="4" y="46"/>
                    </a:moveTo>
                    <a:cubicBezTo>
                      <a:pt x="0" y="50"/>
                      <a:pt x="6" y="56"/>
                      <a:pt x="10" y="52"/>
                    </a:cubicBezTo>
                    <a:cubicBezTo>
                      <a:pt x="28" y="31"/>
                      <a:pt x="49" y="14"/>
                      <a:pt x="75" y="2"/>
                    </a:cubicBezTo>
                    <a:cubicBezTo>
                      <a:pt x="76" y="2"/>
                      <a:pt x="75" y="0"/>
                      <a:pt x="74" y="0"/>
                    </a:cubicBezTo>
                    <a:cubicBezTo>
                      <a:pt x="47" y="9"/>
                      <a:pt x="22" y="24"/>
                      <a:pt x="4" y="4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4" name="Freeform 87">
                <a:extLst>
                  <a:ext uri="{FF2B5EF4-FFF2-40B4-BE49-F238E27FC236}">
                    <a16:creationId xmlns:a16="http://schemas.microsoft.com/office/drawing/2014/main" id="{98997F0B-51E1-450D-9547-B57C008BF8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118" y="4009"/>
                <a:ext cx="117" cy="126"/>
              </a:xfrm>
              <a:custGeom>
                <a:avLst/>
                <a:gdLst>
                  <a:gd name="T0" fmla="*/ 43 w 79"/>
                  <a:gd name="T1" fmla="*/ 45 h 85"/>
                  <a:gd name="T2" fmla="*/ 74 w 79"/>
                  <a:gd name="T3" fmla="*/ 84 h 85"/>
                  <a:gd name="T4" fmla="*/ 79 w 79"/>
                  <a:gd name="T5" fmla="*/ 81 h 85"/>
                  <a:gd name="T6" fmla="*/ 49 w 79"/>
                  <a:gd name="T7" fmla="*/ 34 h 85"/>
                  <a:gd name="T8" fmla="*/ 1 w 79"/>
                  <a:gd name="T9" fmla="*/ 0 h 85"/>
                  <a:gd name="T10" fmla="*/ 0 w 79"/>
                  <a:gd name="T11" fmla="*/ 0 h 85"/>
                  <a:gd name="T12" fmla="*/ 43 w 79"/>
                  <a:gd name="T13" fmla="*/ 4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9" h="85">
                    <a:moveTo>
                      <a:pt x="43" y="45"/>
                    </a:moveTo>
                    <a:cubicBezTo>
                      <a:pt x="53" y="58"/>
                      <a:pt x="60" y="74"/>
                      <a:pt x="74" y="84"/>
                    </a:cubicBezTo>
                    <a:cubicBezTo>
                      <a:pt x="76" y="85"/>
                      <a:pt x="79" y="83"/>
                      <a:pt x="79" y="81"/>
                    </a:cubicBezTo>
                    <a:cubicBezTo>
                      <a:pt x="78" y="62"/>
                      <a:pt x="62" y="47"/>
                      <a:pt x="49" y="34"/>
                    </a:cubicBezTo>
                    <a:cubicBezTo>
                      <a:pt x="35" y="21"/>
                      <a:pt x="19" y="6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" y="16"/>
                      <a:pt x="31" y="28"/>
                      <a:pt x="43" y="4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5" name="Freeform 88">
                <a:extLst>
                  <a:ext uri="{FF2B5EF4-FFF2-40B4-BE49-F238E27FC236}">
                    <a16:creationId xmlns:a16="http://schemas.microsoft.com/office/drawing/2014/main" id="{E5048624-426D-4573-A976-0078DFBFF6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64" y="4030"/>
                <a:ext cx="289" cy="272"/>
              </a:xfrm>
              <a:custGeom>
                <a:avLst/>
                <a:gdLst>
                  <a:gd name="T0" fmla="*/ 2 w 194"/>
                  <a:gd name="T1" fmla="*/ 30 h 183"/>
                  <a:gd name="T2" fmla="*/ 2 w 194"/>
                  <a:gd name="T3" fmla="*/ 33 h 183"/>
                  <a:gd name="T4" fmla="*/ 155 w 194"/>
                  <a:gd name="T5" fmla="*/ 137 h 183"/>
                  <a:gd name="T6" fmla="*/ 167 w 194"/>
                  <a:gd name="T7" fmla="*/ 183 h 183"/>
                  <a:gd name="T8" fmla="*/ 194 w 194"/>
                  <a:gd name="T9" fmla="*/ 183 h 183"/>
                  <a:gd name="T10" fmla="*/ 2 w 194"/>
                  <a:gd name="T11" fmla="*/ 3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4" h="183">
                    <a:moveTo>
                      <a:pt x="2" y="30"/>
                    </a:moveTo>
                    <a:cubicBezTo>
                      <a:pt x="0" y="31"/>
                      <a:pt x="1" y="33"/>
                      <a:pt x="2" y="33"/>
                    </a:cubicBezTo>
                    <a:cubicBezTo>
                      <a:pt x="73" y="22"/>
                      <a:pt x="131" y="74"/>
                      <a:pt x="155" y="137"/>
                    </a:cubicBezTo>
                    <a:cubicBezTo>
                      <a:pt x="160" y="152"/>
                      <a:pt x="164" y="168"/>
                      <a:pt x="167" y="18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68" y="91"/>
                      <a:pt x="97" y="0"/>
                      <a:pt x="2" y="3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6" name="Freeform 89">
                <a:extLst>
                  <a:ext uri="{FF2B5EF4-FFF2-40B4-BE49-F238E27FC236}">
                    <a16:creationId xmlns:a16="http://schemas.microsoft.com/office/drawing/2014/main" id="{149A9C18-FB5C-4569-AE26-4EA2D94F98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97" y="3997"/>
                <a:ext cx="333" cy="305"/>
              </a:xfrm>
              <a:custGeom>
                <a:avLst/>
                <a:gdLst>
                  <a:gd name="T0" fmla="*/ 64 w 223"/>
                  <a:gd name="T1" fmla="*/ 117 h 205"/>
                  <a:gd name="T2" fmla="*/ 222 w 223"/>
                  <a:gd name="T3" fmla="*/ 2 h 205"/>
                  <a:gd name="T4" fmla="*/ 222 w 223"/>
                  <a:gd name="T5" fmla="*/ 0 h 205"/>
                  <a:gd name="T6" fmla="*/ 50 w 223"/>
                  <a:gd name="T7" fmla="*/ 100 h 205"/>
                  <a:gd name="T8" fmla="*/ 0 w 223"/>
                  <a:gd name="T9" fmla="*/ 205 h 205"/>
                  <a:gd name="T10" fmla="*/ 27 w 223"/>
                  <a:gd name="T11" fmla="*/ 205 h 205"/>
                  <a:gd name="T12" fmla="*/ 64 w 223"/>
                  <a:gd name="T13" fmla="*/ 117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3" h="205">
                    <a:moveTo>
                      <a:pt x="64" y="117"/>
                    </a:moveTo>
                    <a:cubicBezTo>
                      <a:pt x="102" y="62"/>
                      <a:pt x="159" y="22"/>
                      <a:pt x="222" y="2"/>
                    </a:cubicBezTo>
                    <a:cubicBezTo>
                      <a:pt x="223" y="1"/>
                      <a:pt x="223" y="0"/>
                      <a:pt x="222" y="0"/>
                    </a:cubicBezTo>
                    <a:cubicBezTo>
                      <a:pt x="153" y="12"/>
                      <a:pt x="93" y="43"/>
                      <a:pt x="50" y="100"/>
                    </a:cubicBezTo>
                    <a:cubicBezTo>
                      <a:pt x="28" y="129"/>
                      <a:pt x="10" y="166"/>
                      <a:pt x="0" y="205"/>
                    </a:cubicBezTo>
                    <a:cubicBezTo>
                      <a:pt x="27" y="205"/>
                      <a:pt x="27" y="205"/>
                      <a:pt x="27" y="205"/>
                    </a:cubicBezTo>
                    <a:cubicBezTo>
                      <a:pt x="34" y="175"/>
                      <a:pt x="44" y="146"/>
                      <a:pt x="64" y="11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7" name="Freeform 90">
                <a:extLst>
                  <a:ext uri="{FF2B5EF4-FFF2-40B4-BE49-F238E27FC236}">
                    <a16:creationId xmlns:a16="http://schemas.microsoft.com/office/drawing/2014/main" id="{8B13CC49-E610-4257-8D53-1FE643183A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43" y="4070"/>
                <a:ext cx="59" cy="117"/>
              </a:xfrm>
              <a:custGeom>
                <a:avLst/>
                <a:gdLst>
                  <a:gd name="T0" fmla="*/ 1 w 40"/>
                  <a:gd name="T1" fmla="*/ 75 h 79"/>
                  <a:gd name="T2" fmla="*/ 5 w 40"/>
                  <a:gd name="T3" fmla="*/ 77 h 79"/>
                  <a:gd name="T4" fmla="*/ 40 w 40"/>
                  <a:gd name="T5" fmla="*/ 1 h 79"/>
                  <a:gd name="T6" fmla="*/ 39 w 40"/>
                  <a:gd name="T7" fmla="*/ 1 h 79"/>
                  <a:gd name="T8" fmla="*/ 1 w 40"/>
                  <a:gd name="T9" fmla="*/ 75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79">
                    <a:moveTo>
                      <a:pt x="1" y="75"/>
                    </a:moveTo>
                    <a:cubicBezTo>
                      <a:pt x="0" y="77"/>
                      <a:pt x="4" y="79"/>
                      <a:pt x="5" y="77"/>
                    </a:cubicBezTo>
                    <a:cubicBezTo>
                      <a:pt x="20" y="54"/>
                      <a:pt x="29" y="26"/>
                      <a:pt x="40" y="1"/>
                    </a:cubicBezTo>
                    <a:cubicBezTo>
                      <a:pt x="40" y="1"/>
                      <a:pt x="39" y="0"/>
                      <a:pt x="39" y="1"/>
                    </a:cubicBezTo>
                    <a:cubicBezTo>
                      <a:pt x="26" y="25"/>
                      <a:pt x="10" y="49"/>
                      <a:pt x="1" y="7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8" name="Freeform 91">
                <a:extLst>
                  <a:ext uri="{FF2B5EF4-FFF2-40B4-BE49-F238E27FC236}">
                    <a16:creationId xmlns:a16="http://schemas.microsoft.com/office/drawing/2014/main" id="{BAFE6D00-0988-4FF6-8FF1-61BB86FF6C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33" y="4009"/>
                <a:ext cx="213" cy="293"/>
              </a:xfrm>
              <a:custGeom>
                <a:avLst/>
                <a:gdLst>
                  <a:gd name="T0" fmla="*/ 31 w 143"/>
                  <a:gd name="T1" fmla="*/ 127 h 197"/>
                  <a:gd name="T2" fmla="*/ 143 w 143"/>
                  <a:gd name="T3" fmla="*/ 1 h 197"/>
                  <a:gd name="T4" fmla="*/ 142 w 143"/>
                  <a:gd name="T5" fmla="*/ 1 h 197"/>
                  <a:gd name="T6" fmla="*/ 24 w 143"/>
                  <a:gd name="T7" fmla="*/ 123 h 197"/>
                  <a:gd name="T8" fmla="*/ 0 w 143"/>
                  <a:gd name="T9" fmla="*/ 197 h 197"/>
                  <a:gd name="T10" fmla="*/ 8 w 143"/>
                  <a:gd name="T11" fmla="*/ 197 h 197"/>
                  <a:gd name="T12" fmla="*/ 31 w 143"/>
                  <a:gd name="T13" fmla="*/ 12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3" h="197">
                    <a:moveTo>
                      <a:pt x="31" y="127"/>
                    </a:moveTo>
                    <a:cubicBezTo>
                      <a:pt x="56" y="76"/>
                      <a:pt x="97" y="34"/>
                      <a:pt x="143" y="1"/>
                    </a:cubicBezTo>
                    <a:cubicBezTo>
                      <a:pt x="143" y="1"/>
                      <a:pt x="143" y="0"/>
                      <a:pt x="142" y="1"/>
                    </a:cubicBezTo>
                    <a:cubicBezTo>
                      <a:pt x="93" y="32"/>
                      <a:pt x="51" y="70"/>
                      <a:pt x="24" y="123"/>
                    </a:cubicBezTo>
                    <a:cubicBezTo>
                      <a:pt x="13" y="147"/>
                      <a:pt x="5" y="172"/>
                      <a:pt x="0" y="197"/>
                    </a:cubicBezTo>
                    <a:cubicBezTo>
                      <a:pt x="8" y="197"/>
                      <a:pt x="8" y="197"/>
                      <a:pt x="8" y="197"/>
                    </a:cubicBezTo>
                    <a:cubicBezTo>
                      <a:pt x="13" y="173"/>
                      <a:pt x="20" y="149"/>
                      <a:pt x="31" y="12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9" name="Freeform 92">
                <a:extLst>
                  <a:ext uri="{FF2B5EF4-FFF2-40B4-BE49-F238E27FC236}">
                    <a16:creationId xmlns:a16="http://schemas.microsoft.com/office/drawing/2014/main" id="{C4C169CD-BDB3-448D-AE80-CB0C96C38B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74" y="3812"/>
                <a:ext cx="590" cy="490"/>
              </a:xfrm>
              <a:custGeom>
                <a:avLst/>
                <a:gdLst>
                  <a:gd name="T0" fmla="*/ 128 w 396"/>
                  <a:gd name="T1" fmla="*/ 127 h 329"/>
                  <a:gd name="T2" fmla="*/ 395 w 396"/>
                  <a:gd name="T3" fmla="*/ 2 h 329"/>
                  <a:gd name="T4" fmla="*/ 395 w 396"/>
                  <a:gd name="T5" fmla="*/ 1 h 329"/>
                  <a:gd name="T6" fmla="*/ 117 w 396"/>
                  <a:gd name="T7" fmla="*/ 105 h 329"/>
                  <a:gd name="T8" fmla="*/ 0 w 396"/>
                  <a:gd name="T9" fmla="*/ 329 h 329"/>
                  <a:gd name="T10" fmla="*/ 25 w 396"/>
                  <a:gd name="T11" fmla="*/ 329 h 329"/>
                  <a:gd name="T12" fmla="*/ 128 w 396"/>
                  <a:gd name="T13" fmla="*/ 127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6" h="329">
                    <a:moveTo>
                      <a:pt x="128" y="127"/>
                    </a:moveTo>
                    <a:cubicBezTo>
                      <a:pt x="197" y="57"/>
                      <a:pt x="296" y="10"/>
                      <a:pt x="395" y="2"/>
                    </a:cubicBezTo>
                    <a:cubicBezTo>
                      <a:pt x="395" y="2"/>
                      <a:pt x="396" y="1"/>
                      <a:pt x="395" y="1"/>
                    </a:cubicBezTo>
                    <a:cubicBezTo>
                      <a:pt x="290" y="0"/>
                      <a:pt x="194" y="31"/>
                      <a:pt x="117" y="105"/>
                    </a:cubicBezTo>
                    <a:cubicBezTo>
                      <a:pt x="59" y="161"/>
                      <a:pt x="9" y="245"/>
                      <a:pt x="0" y="329"/>
                    </a:cubicBezTo>
                    <a:cubicBezTo>
                      <a:pt x="25" y="329"/>
                      <a:pt x="25" y="329"/>
                      <a:pt x="25" y="329"/>
                    </a:cubicBezTo>
                    <a:cubicBezTo>
                      <a:pt x="45" y="254"/>
                      <a:pt x="70" y="186"/>
                      <a:pt x="128" y="12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0" name="Freeform 93">
                <a:extLst>
                  <a:ext uri="{FF2B5EF4-FFF2-40B4-BE49-F238E27FC236}">
                    <a16:creationId xmlns:a16="http://schemas.microsoft.com/office/drawing/2014/main" id="{E90E147B-CC1B-4489-B810-8A52C46E3D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73" y="3845"/>
                <a:ext cx="309" cy="153"/>
              </a:xfrm>
              <a:custGeom>
                <a:avLst/>
                <a:gdLst>
                  <a:gd name="T0" fmla="*/ 11 w 207"/>
                  <a:gd name="T1" fmla="*/ 99 h 103"/>
                  <a:gd name="T2" fmla="*/ 198 w 207"/>
                  <a:gd name="T3" fmla="*/ 7 h 103"/>
                  <a:gd name="T4" fmla="*/ 201 w 207"/>
                  <a:gd name="T5" fmla="*/ 9 h 103"/>
                  <a:gd name="T6" fmla="*/ 201 w 207"/>
                  <a:gd name="T7" fmla="*/ 0 h 103"/>
                  <a:gd name="T8" fmla="*/ 197 w 207"/>
                  <a:gd name="T9" fmla="*/ 6 h 103"/>
                  <a:gd name="T10" fmla="*/ 4 w 207"/>
                  <a:gd name="T11" fmla="*/ 93 h 103"/>
                  <a:gd name="T12" fmla="*/ 11 w 207"/>
                  <a:gd name="T13" fmla="*/ 99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7" h="103">
                    <a:moveTo>
                      <a:pt x="11" y="99"/>
                    </a:moveTo>
                    <a:cubicBezTo>
                      <a:pt x="68" y="55"/>
                      <a:pt x="127" y="24"/>
                      <a:pt x="198" y="7"/>
                    </a:cubicBezTo>
                    <a:cubicBezTo>
                      <a:pt x="198" y="8"/>
                      <a:pt x="199" y="9"/>
                      <a:pt x="201" y="9"/>
                    </a:cubicBezTo>
                    <a:cubicBezTo>
                      <a:pt x="207" y="9"/>
                      <a:pt x="207" y="0"/>
                      <a:pt x="201" y="0"/>
                    </a:cubicBezTo>
                    <a:cubicBezTo>
                      <a:pt x="198" y="0"/>
                      <a:pt x="196" y="3"/>
                      <a:pt x="197" y="6"/>
                    </a:cubicBezTo>
                    <a:cubicBezTo>
                      <a:pt x="126" y="14"/>
                      <a:pt x="57" y="43"/>
                      <a:pt x="4" y="93"/>
                    </a:cubicBezTo>
                    <a:cubicBezTo>
                      <a:pt x="0" y="97"/>
                      <a:pt x="6" y="103"/>
                      <a:pt x="11" y="9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1" name="Freeform 94">
                <a:extLst>
                  <a:ext uri="{FF2B5EF4-FFF2-40B4-BE49-F238E27FC236}">
                    <a16:creationId xmlns:a16="http://schemas.microsoft.com/office/drawing/2014/main" id="{9082C23B-B6A4-4B33-81AA-3A34E5B59D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173" y="3982"/>
                <a:ext cx="219" cy="320"/>
              </a:xfrm>
              <a:custGeom>
                <a:avLst/>
                <a:gdLst>
                  <a:gd name="T0" fmla="*/ 111 w 147"/>
                  <a:gd name="T1" fmla="*/ 133 h 215"/>
                  <a:gd name="T2" fmla="*/ 1 w 147"/>
                  <a:gd name="T3" fmla="*/ 0 h 215"/>
                  <a:gd name="T4" fmla="*/ 0 w 147"/>
                  <a:gd name="T5" fmla="*/ 1 h 215"/>
                  <a:gd name="T6" fmla="*/ 102 w 147"/>
                  <a:gd name="T7" fmla="*/ 175 h 215"/>
                  <a:gd name="T8" fmla="*/ 113 w 147"/>
                  <a:gd name="T9" fmla="*/ 215 h 215"/>
                  <a:gd name="T10" fmla="*/ 147 w 147"/>
                  <a:gd name="T11" fmla="*/ 215 h 215"/>
                  <a:gd name="T12" fmla="*/ 111 w 147"/>
                  <a:gd name="T13" fmla="*/ 13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7" h="215">
                    <a:moveTo>
                      <a:pt x="111" y="133"/>
                    </a:moveTo>
                    <a:cubicBezTo>
                      <a:pt x="88" y="88"/>
                      <a:pt x="55" y="16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59" y="27"/>
                      <a:pt x="84" y="119"/>
                      <a:pt x="102" y="175"/>
                    </a:cubicBezTo>
                    <a:cubicBezTo>
                      <a:pt x="106" y="188"/>
                      <a:pt x="110" y="202"/>
                      <a:pt x="113" y="215"/>
                    </a:cubicBezTo>
                    <a:cubicBezTo>
                      <a:pt x="147" y="215"/>
                      <a:pt x="147" y="215"/>
                      <a:pt x="147" y="215"/>
                    </a:cubicBezTo>
                    <a:cubicBezTo>
                      <a:pt x="136" y="186"/>
                      <a:pt x="123" y="159"/>
                      <a:pt x="111" y="13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2" name="Freeform 95">
                <a:extLst>
                  <a:ext uri="{FF2B5EF4-FFF2-40B4-BE49-F238E27FC236}">
                    <a16:creationId xmlns:a16="http://schemas.microsoft.com/office/drawing/2014/main" id="{51A57466-3BAD-4EDE-8D74-E8B0C068F6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2718"/>
                <a:ext cx="695" cy="1268"/>
              </a:xfrm>
              <a:custGeom>
                <a:avLst/>
                <a:gdLst>
                  <a:gd name="T0" fmla="*/ 374 w 466"/>
                  <a:gd name="T1" fmla="*/ 669 h 852"/>
                  <a:gd name="T2" fmla="*/ 459 w 466"/>
                  <a:gd name="T3" fmla="*/ 316 h 852"/>
                  <a:gd name="T4" fmla="*/ 338 w 466"/>
                  <a:gd name="T5" fmla="*/ 1 h 852"/>
                  <a:gd name="T6" fmla="*/ 336 w 466"/>
                  <a:gd name="T7" fmla="*/ 3 h 852"/>
                  <a:gd name="T8" fmla="*/ 425 w 466"/>
                  <a:gd name="T9" fmla="*/ 307 h 852"/>
                  <a:gd name="T10" fmla="*/ 351 w 466"/>
                  <a:gd name="T11" fmla="*/ 630 h 852"/>
                  <a:gd name="T12" fmla="*/ 0 w 466"/>
                  <a:gd name="T13" fmla="*/ 797 h 852"/>
                  <a:gd name="T14" fmla="*/ 0 w 466"/>
                  <a:gd name="T15" fmla="*/ 841 h 852"/>
                  <a:gd name="T16" fmla="*/ 374 w 466"/>
                  <a:gd name="T17" fmla="*/ 669 h 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6" h="852">
                    <a:moveTo>
                      <a:pt x="374" y="669"/>
                    </a:moveTo>
                    <a:cubicBezTo>
                      <a:pt x="449" y="567"/>
                      <a:pt x="466" y="439"/>
                      <a:pt x="459" y="316"/>
                    </a:cubicBezTo>
                    <a:cubicBezTo>
                      <a:pt x="453" y="199"/>
                      <a:pt x="422" y="86"/>
                      <a:pt x="338" y="1"/>
                    </a:cubicBezTo>
                    <a:cubicBezTo>
                      <a:pt x="337" y="0"/>
                      <a:pt x="335" y="2"/>
                      <a:pt x="336" y="3"/>
                    </a:cubicBezTo>
                    <a:cubicBezTo>
                      <a:pt x="403" y="90"/>
                      <a:pt x="424" y="201"/>
                      <a:pt x="425" y="307"/>
                    </a:cubicBezTo>
                    <a:cubicBezTo>
                      <a:pt x="427" y="418"/>
                      <a:pt x="414" y="536"/>
                      <a:pt x="351" y="630"/>
                    </a:cubicBezTo>
                    <a:cubicBezTo>
                      <a:pt x="268" y="755"/>
                      <a:pt x="135" y="806"/>
                      <a:pt x="0" y="797"/>
                    </a:cubicBezTo>
                    <a:cubicBezTo>
                      <a:pt x="0" y="841"/>
                      <a:pt x="0" y="841"/>
                      <a:pt x="0" y="841"/>
                    </a:cubicBezTo>
                    <a:cubicBezTo>
                      <a:pt x="140" y="852"/>
                      <a:pt x="287" y="787"/>
                      <a:pt x="374" y="66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3" name="Freeform 96">
                <a:extLst>
                  <a:ext uri="{FF2B5EF4-FFF2-40B4-BE49-F238E27FC236}">
                    <a16:creationId xmlns:a16="http://schemas.microsoft.com/office/drawing/2014/main" id="{95E39CC9-EE46-4265-9A85-A1042E6BDB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9" y="3552"/>
                <a:ext cx="1274" cy="750"/>
              </a:xfrm>
              <a:custGeom>
                <a:avLst/>
                <a:gdLst>
                  <a:gd name="T0" fmla="*/ 754 w 855"/>
                  <a:gd name="T1" fmla="*/ 344 h 504"/>
                  <a:gd name="T2" fmla="*/ 556 w 855"/>
                  <a:gd name="T3" fmla="*/ 120 h 504"/>
                  <a:gd name="T4" fmla="*/ 2 w 855"/>
                  <a:gd name="T5" fmla="*/ 109 h 504"/>
                  <a:gd name="T6" fmla="*/ 3 w 855"/>
                  <a:gd name="T7" fmla="*/ 112 h 504"/>
                  <a:gd name="T8" fmla="*/ 561 w 855"/>
                  <a:gd name="T9" fmla="*/ 168 h 504"/>
                  <a:gd name="T10" fmla="*/ 814 w 855"/>
                  <a:gd name="T11" fmla="*/ 504 h 504"/>
                  <a:gd name="T12" fmla="*/ 855 w 855"/>
                  <a:gd name="T13" fmla="*/ 504 h 504"/>
                  <a:gd name="T14" fmla="*/ 754 w 855"/>
                  <a:gd name="T15" fmla="*/ 344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55" h="504">
                    <a:moveTo>
                      <a:pt x="754" y="344"/>
                    </a:moveTo>
                    <a:cubicBezTo>
                      <a:pt x="698" y="261"/>
                      <a:pt x="638" y="180"/>
                      <a:pt x="556" y="120"/>
                    </a:cubicBezTo>
                    <a:cubicBezTo>
                      <a:pt x="393" y="0"/>
                      <a:pt x="176" y="25"/>
                      <a:pt x="2" y="109"/>
                    </a:cubicBezTo>
                    <a:cubicBezTo>
                      <a:pt x="0" y="110"/>
                      <a:pt x="1" y="113"/>
                      <a:pt x="3" y="112"/>
                    </a:cubicBezTo>
                    <a:cubicBezTo>
                      <a:pt x="188" y="52"/>
                      <a:pt x="403" y="33"/>
                      <a:pt x="561" y="168"/>
                    </a:cubicBezTo>
                    <a:cubicBezTo>
                      <a:pt x="665" y="257"/>
                      <a:pt x="745" y="380"/>
                      <a:pt x="814" y="504"/>
                    </a:cubicBezTo>
                    <a:cubicBezTo>
                      <a:pt x="855" y="504"/>
                      <a:pt x="855" y="504"/>
                      <a:pt x="855" y="504"/>
                    </a:cubicBezTo>
                    <a:cubicBezTo>
                      <a:pt x="826" y="448"/>
                      <a:pt x="789" y="396"/>
                      <a:pt x="754" y="344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4" name="Freeform 97">
                <a:extLst>
                  <a:ext uri="{FF2B5EF4-FFF2-40B4-BE49-F238E27FC236}">
                    <a16:creationId xmlns:a16="http://schemas.microsoft.com/office/drawing/2014/main" id="{65894E8F-F573-4D2E-ACEA-A302DC27CB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07" y="3486"/>
                <a:ext cx="60" cy="128"/>
              </a:xfrm>
              <a:custGeom>
                <a:avLst/>
                <a:gdLst>
                  <a:gd name="T0" fmla="*/ 0 w 40"/>
                  <a:gd name="T1" fmla="*/ 2 h 86"/>
                  <a:gd name="T2" fmla="*/ 34 w 40"/>
                  <a:gd name="T3" fmla="*/ 83 h 86"/>
                  <a:gd name="T4" fmla="*/ 39 w 40"/>
                  <a:gd name="T5" fmla="*/ 80 h 86"/>
                  <a:gd name="T6" fmla="*/ 21 w 40"/>
                  <a:gd name="T7" fmla="*/ 43 h 86"/>
                  <a:gd name="T8" fmla="*/ 2 w 40"/>
                  <a:gd name="T9" fmla="*/ 1 h 86"/>
                  <a:gd name="T10" fmla="*/ 0 w 40"/>
                  <a:gd name="T11" fmla="*/ 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86">
                    <a:moveTo>
                      <a:pt x="0" y="2"/>
                    </a:moveTo>
                    <a:cubicBezTo>
                      <a:pt x="5" y="29"/>
                      <a:pt x="16" y="62"/>
                      <a:pt x="34" y="83"/>
                    </a:cubicBezTo>
                    <a:cubicBezTo>
                      <a:pt x="36" y="86"/>
                      <a:pt x="40" y="83"/>
                      <a:pt x="39" y="80"/>
                    </a:cubicBezTo>
                    <a:cubicBezTo>
                      <a:pt x="35" y="67"/>
                      <a:pt x="28" y="55"/>
                      <a:pt x="21" y="43"/>
                    </a:cubicBezTo>
                    <a:cubicBezTo>
                      <a:pt x="15" y="29"/>
                      <a:pt x="9" y="15"/>
                      <a:pt x="2" y="1"/>
                    </a:cubicBezTo>
                    <a:cubicBezTo>
                      <a:pt x="1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5" name="Freeform 98">
                <a:extLst>
                  <a:ext uri="{FF2B5EF4-FFF2-40B4-BE49-F238E27FC236}">
                    <a16:creationId xmlns:a16="http://schemas.microsoft.com/office/drawing/2014/main" id="{F54026BF-2D2A-40FE-90AA-5F6FAEE449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65" y="4031"/>
                <a:ext cx="110" cy="130"/>
              </a:xfrm>
              <a:custGeom>
                <a:avLst/>
                <a:gdLst>
                  <a:gd name="T0" fmla="*/ 3 w 74"/>
                  <a:gd name="T1" fmla="*/ 86 h 87"/>
                  <a:gd name="T2" fmla="*/ 72 w 74"/>
                  <a:gd name="T3" fmla="*/ 5 h 87"/>
                  <a:gd name="T4" fmla="*/ 68 w 74"/>
                  <a:gd name="T5" fmla="*/ 2 h 87"/>
                  <a:gd name="T6" fmla="*/ 1 w 74"/>
                  <a:gd name="T7" fmla="*/ 85 h 87"/>
                  <a:gd name="T8" fmla="*/ 3 w 74"/>
                  <a:gd name="T9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87">
                    <a:moveTo>
                      <a:pt x="3" y="86"/>
                    </a:moveTo>
                    <a:cubicBezTo>
                      <a:pt x="27" y="61"/>
                      <a:pt x="53" y="34"/>
                      <a:pt x="72" y="5"/>
                    </a:cubicBezTo>
                    <a:cubicBezTo>
                      <a:pt x="74" y="3"/>
                      <a:pt x="70" y="0"/>
                      <a:pt x="68" y="2"/>
                    </a:cubicBezTo>
                    <a:cubicBezTo>
                      <a:pt x="43" y="26"/>
                      <a:pt x="21" y="57"/>
                      <a:pt x="1" y="85"/>
                    </a:cubicBezTo>
                    <a:cubicBezTo>
                      <a:pt x="0" y="86"/>
                      <a:pt x="2" y="87"/>
                      <a:pt x="3" y="8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6" name="Freeform 99">
                <a:extLst>
                  <a:ext uri="{FF2B5EF4-FFF2-40B4-BE49-F238E27FC236}">
                    <a16:creationId xmlns:a16="http://schemas.microsoft.com/office/drawing/2014/main" id="{8A4AB920-B3DC-4717-8793-3C3DC4DBBD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3" y="3781"/>
                <a:ext cx="234" cy="310"/>
              </a:xfrm>
              <a:custGeom>
                <a:avLst/>
                <a:gdLst>
                  <a:gd name="T0" fmla="*/ 156 w 157"/>
                  <a:gd name="T1" fmla="*/ 203 h 208"/>
                  <a:gd name="T2" fmla="*/ 1 w 157"/>
                  <a:gd name="T3" fmla="*/ 0 h 208"/>
                  <a:gd name="T4" fmla="*/ 1 w 157"/>
                  <a:gd name="T5" fmla="*/ 1 h 208"/>
                  <a:gd name="T6" fmla="*/ 152 w 157"/>
                  <a:gd name="T7" fmla="*/ 206 h 208"/>
                  <a:gd name="T8" fmla="*/ 156 w 157"/>
                  <a:gd name="T9" fmla="*/ 203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208">
                    <a:moveTo>
                      <a:pt x="156" y="203"/>
                    </a:moveTo>
                    <a:cubicBezTo>
                      <a:pt x="132" y="123"/>
                      <a:pt x="62" y="54"/>
                      <a:pt x="1" y="0"/>
                    </a:cubicBezTo>
                    <a:cubicBezTo>
                      <a:pt x="1" y="0"/>
                      <a:pt x="0" y="0"/>
                      <a:pt x="1" y="1"/>
                    </a:cubicBezTo>
                    <a:cubicBezTo>
                      <a:pt x="60" y="64"/>
                      <a:pt x="98" y="139"/>
                      <a:pt x="152" y="206"/>
                    </a:cubicBezTo>
                    <a:cubicBezTo>
                      <a:pt x="153" y="208"/>
                      <a:pt x="157" y="205"/>
                      <a:pt x="156" y="20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7" name="Freeform 100">
                <a:extLst>
                  <a:ext uri="{FF2B5EF4-FFF2-40B4-BE49-F238E27FC236}">
                    <a16:creationId xmlns:a16="http://schemas.microsoft.com/office/drawing/2014/main" id="{37E997FE-BF3B-44F9-8EAB-6D4234289C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80" y="3492"/>
                <a:ext cx="474" cy="191"/>
              </a:xfrm>
              <a:custGeom>
                <a:avLst/>
                <a:gdLst>
                  <a:gd name="T0" fmla="*/ 313 w 318"/>
                  <a:gd name="T1" fmla="*/ 127 h 128"/>
                  <a:gd name="T2" fmla="*/ 316 w 318"/>
                  <a:gd name="T3" fmla="*/ 123 h 128"/>
                  <a:gd name="T4" fmla="*/ 1 w 318"/>
                  <a:gd name="T5" fmla="*/ 0 h 128"/>
                  <a:gd name="T6" fmla="*/ 1 w 318"/>
                  <a:gd name="T7" fmla="*/ 2 h 128"/>
                  <a:gd name="T8" fmla="*/ 313 w 318"/>
                  <a:gd name="T9" fmla="*/ 127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28">
                    <a:moveTo>
                      <a:pt x="313" y="127"/>
                    </a:moveTo>
                    <a:cubicBezTo>
                      <a:pt x="315" y="128"/>
                      <a:pt x="318" y="125"/>
                      <a:pt x="316" y="123"/>
                    </a:cubicBezTo>
                    <a:cubicBezTo>
                      <a:pt x="235" y="42"/>
                      <a:pt x="114" y="6"/>
                      <a:pt x="1" y="0"/>
                    </a:cubicBezTo>
                    <a:cubicBezTo>
                      <a:pt x="0" y="0"/>
                      <a:pt x="0" y="2"/>
                      <a:pt x="1" y="2"/>
                    </a:cubicBezTo>
                    <a:cubicBezTo>
                      <a:pt x="115" y="24"/>
                      <a:pt x="211" y="74"/>
                      <a:pt x="313" y="12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8" name="Freeform 101">
                <a:extLst>
                  <a:ext uri="{FF2B5EF4-FFF2-40B4-BE49-F238E27FC236}">
                    <a16:creationId xmlns:a16="http://schemas.microsoft.com/office/drawing/2014/main" id="{876C6F1E-1920-4A77-9C98-79E6C5209A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72" y="3328"/>
                <a:ext cx="1939" cy="974"/>
              </a:xfrm>
              <a:custGeom>
                <a:avLst/>
                <a:gdLst>
                  <a:gd name="T0" fmla="*/ 1144 w 1301"/>
                  <a:gd name="T1" fmla="*/ 359 h 654"/>
                  <a:gd name="T2" fmla="*/ 782 w 1301"/>
                  <a:gd name="T3" fmla="*/ 46 h 654"/>
                  <a:gd name="T4" fmla="*/ 325 w 1301"/>
                  <a:gd name="T5" fmla="*/ 56 h 654"/>
                  <a:gd name="T6" fmla="*/ 1 w 1301"/>
                  <a:gd name="T7" fmla="*/ 313 h 654"/>
                  <a:gd name="T8" fmla="*/ 7 w 1301"/>
                  <a:gd name="T9" fmla="*/ 316 h 654"/>
                  <a:gd name="T10" fmla="*/ 373 w 1301"/>
                  <a:gd name="T11" fmla="*/ 84 h 654"/>
                  <a:gd name="T12" fmla="*/ 793 w 1301"/>
                  <a:gd name="T13" fmla="*/ 93 h 654"/>
                  <a:gd name="T14" fmla="*/ 1128 w 1301"/>
                  <a:gd name="T15" fmla="*/ 410 h 654"/>
                  <a:gd name="T16" fmla="*/ 1238 w 1301"/>
                  <a:gd name="T17" fmla="*/ 618 h 654"/>
                  <a:gd name="T18" fmla="*/ 1252 w 1301"/>
                  <a:gd name="T19" fmla="*/ 654 h 654"/>
                  <a:gd name="T20" fmla="*/ 1301 w 1301"/>
                  <a:gd name="T21" fmla="*/ 654 h 654"/>
                  <a:gd name="T22" fmla="*/ 1144 w 1301"/>
                  <a:gd name="T23" fmla="*/ 359 h 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01" h="654">
                    <a:moveTo>
                      <a:pt x="1144" y="359"/>
                    </a:moveTo>
                    <a:cubicBezTo>
                      <a:pt x="1053" y="220"/>
                      <a:pt x="945" y="98"/>
                      <a:pt x="782" y="46"/>
                    </a:cubicBezTo>
                    <a:cubicBezTo>
                      <a:pt x="634" y="0"/>
                      <a:pt x="471" y="11"/>
                      <a:pt x="325" y="56"/>
                    </a:cubicBezTo>
                    <a:cubicBezTo>
                      <a:pt x="189" y="98"/>
                      <a:pt x="47" y="170"/>
                      <a:pt x="1" y="313"/>
                    </a:cubicBezTo>
                    <a:cubicBezTo>
                      <a:pt x="0" y="317"/>
                      <a:pt x="5" y="319"/>
                      <a:pt x="7" y="316"/>
                    </a:cubicBezTo>
                    <a:cubicBezTo>
                      <a:pt x="87" y="190"/>
                      <a:pt x="234" y="121"/>
                      <a:pt x="373" y="84"/>
                    </a:cubicBezTo>
                    <a:cubicBezTo>
                      <a:pt x="509" y="49"/>
                      <a:pt x="659" y="44"/>
                      <a:pt x="793" y="93"/>
                    </a:cubicBezTo>
                    <a:cubicBezTo>
                      <a:pt x="946" y="149"/>
                      <a:pt x="1045" y="276"/>
                      <a:pt x="1128" y="410"/>
                    </a:cubicBezTo>
                    <a:cubicBezTo>
                      <a:pt x="1170" y="477"/>
                      <a:pt x="1206" y="547"/>
                      <a:pt x="1238" y="618"/>
                    </a:cubicBezTo>
                    <a:cubicBezTo>
                      <a:pt x="1243" y="630"/>
                      <a:pt x="1248" y="642"/>
                      <a:pt x="1252" y="654"/>
                    </a:cubicBezTo>
                    <a:cubicBezTo>
                      <a:pt x="1301" y="654"/>
                      <a:pt x="1301" y="654"/>
                      <a:pt x="1301" y="654"/>
                    </a:cubicBezTo>
                    <a:cubicBezTo>
                      <a:pt x="1261" y="549"/>
                      <a:pt x="1201" y="447"/>
                      <a:pt x="1144" y="35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9" name="Freeform 102">
                <a:extLst>
                  <a:ext uri="{FF2B5EF4-FFF2-40B4-BE49-F238E27FC236}">
                    <a16:creationId xmlns:a16="http://schemas.microsoft.com/office/drawing/2014/main" id="{22320671-8C09-4596-919E-61D0F9FD10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18" y="2100"/>
                <a:ext cx="146" cy="111"/>
              </a:xfrm>
              <a:custGeom>
                <a:avLst/>
                <a:gdLst>
                  <a:gd name="T0" fmla="*/ 1 w 98"/>
                  <a:gd name="T1" fmla="*/ 0 h 75"/>
                  <a:gd name="T2" fmla="*/ 1 w 98"/>
                  <a:gd name="T3" fmla="*/ 1 h 75"/>
                  <a:gd name="T4" fmla="*/ 98 w 98"/>
                  <a:gd name="T5" fmla="*/ 75 h 75"/>
                  <a:gd name="T6" fmla="*/ 98 w 98"/>
                  <a:gd name="T7" fmla="*/ 54 h 75"/>
                  <a:gd name="T8" fmla="*/ 69 w 98"/>
                  <a:gd name="T9" fmla="*/ 41 h 75"/>
                  <a:gd name="T10" fmla="*/ 1 w 98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75">
                    <a:moveTo>
                      <a:pt x="1" y="0"/>
                    </a:moveTo>
                    <a:cubicBezTo>
                      <a:pt x="1" y="0"/>
                      <a:pt x="0" y="0"/>
                      <a:pt x="1" y="1"/>
                    </a:cubicBezTo>
                    <a:cubicBezTo>
                      <a:pt x="24" y="32"/>
                      <a:pt x="58" y="56"/>
                      <a:pt x="98" y="75"/>
                    </a:cubicBezTo>
                    <a:cubicBezTo>
                      <a:pt x="98" y="54"/>
                      <a:pt x="98" y="54"/>
                      <a:pt x="98" y="54"/>
                    </a:cubicBezTo>
                    <a:cubicBezTo>
                      <a:pt x="88" y="50"/>
                      <a:pt x="79" y="45"/>
                      <a:pt x="69" y="41"/>
                    </a:cubicBezTo>
                    <a:cubicBezTo>
                      <a:pt x="43" y="29"/>
                      <a:pt x="20" y="21"/>
                      <a:pt x="1" y="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0" name="Freeform 103">
                <a:extLst>
                  <a:ext uri="{FF2B5EF4-FFF2-40B4-BE49-F238E27FC236}">
                    <a16:creationId xmlns:a16="http://schemas.microsoft.com/office/drawing/2014/main" id="{782EBF67-9D7A-495B-8A93-6B0788D8FD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1" y="794"/>
                <a:ext cx="523" cy="1316"/>
              </a:xfrm>
              <a:custGeom>
                <a:avLst/>
                <a:gdLst>
                  <a:gd name="T0" fmla="*/ 184 w 351"/>
                  <a:gd name="T1" fmla="*/ 751 h 884"/>
                  <a:gd name="T2" fmla="*/ 70 w 351"/>
                  <a:gd name="T3" fmla="*/ 545 h 884"/>
                  <a:gd name="T4" fmla="*/ 196 w 351"/>
                  <a:gd name="T5" fmla="*/ 112 h 884"/>
                  <a:gd name="T6" fmla="*/ 351 w 351"/>
                  <a:gd name="T7" fmla="*/ 4 h 884"/>
                  <a:gd name="T8" fmla="*/ 351 w 351"/>
                  <a:gd name="T9" fmla="*/ 0 h 884"/>
                  <a:gd name="T10" fmla="*/ 66 w 351"/>
                  <a:gd name="T11" fmla="*/ 280 h 884"/>
                  <a:gd name="T12" fmla="*/ 150 w 351"/>
                  <a:gd name="T13" fmla="*/ 750 h 884"/>
                  <a:gd name="T14" fmla="*/ 351 w 351"/>
                  <a:gd name="T15" fmla="*/ 884 h 884"/>
                  <a:gd name="T16" fmla="*/ 351 w 351"/>
                  <a:gd name="T17" fmla="*/ 876 h 884"/>
                  <a:gd name="T18" fmla="*/ 184 w 351"/>
                  <a:gd name="T19" fmla="*/ 751 h 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1" h="884">
                    <a:moveTo>
                      <a:pt x="184" y="751"/>
                    </a:moveTo>
                    <a:cubicBezTo>
                      <a:pt x="129" y="690"/>
                      <a:pt x="90" y="620"/>
                      <a:pt x="70" y="545"/>
                    </a:cubicBezTo>
                    <a:cubicBezTo>
                      <a:pt x="29" y="391"/>
                      <a:pt x="75" y="232"/>
                      <a:pt x="196" y="112"/>
                    </a:cubicBezTo>
                    <a:cubicBezTo>
                      <a:pt x="240" y="69"/>
                      <a:pt x="293" y="32"/>
                      <a:pt x="351" y="4"/>
                    </a:cubicBezTo>
                    <a:cubicBezTo>
                      <a:pt x="351" y="0"/>
                      <a:pt x="351" y="0"/>
                      <a:pt x="351" y="0"/>
                    </a:cubicBezTo>
                    <a:cubicBezTo>
                      <a:pt x="220" y="60"/>
                      <a:pt x="116" y="161"/>
                      <a:pt x="66" y="280"/>
                    </a:cubicBezTo>
                    <a:cubicBezTo>
                      <a:pt x="0" y="437"/>
                      <a:pt x="33" y="617"/>
                      <a:pt x="150" y="750"/>
                    </a:cubicBezTo>
                    <a:cubicBezTo>
                      <a:pt x="202" y="809"/>
                      <a:pt x="271" y="858"/>
                      <a:pt x="351" y="884"/>
                    </a:cubicBezTo>
                    <a:cubicBezTo>
                      <a:pt x="351" y="876"/>
                      <a:pt x="351" y="876"/>
                      <a:pt x="351" y="876"/>
                    </a:cubicBezTo>
                    <a:cubicBezTo>
                      <a:pt x="284" y="848"/>
                      <a:pt x="228" y="800"/>
                      <a:pt x="184" y="75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1" name="Freeform 104">
                <a:extLst>
                  <a:ext uri="{FF2B5EF4-FFF2-40B4-BE49-F238E27FC236}">
                    <a16:creationId xmlns:a16="http://schemas.microsoft.com/office/drawing/2014/main" id="{15FD90F9-622A-45CA-8233-EA59A3A57F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49" y="1820"/>
                <a:ext cx="80" cy="104"/>
              </a:xfrm>
              <a:custGeom>
                <a:avLst/>
                <a:gdLst>
                  <a:gd name="T0" fmla="*/ 0 w 54"/>
                  <a:gd name="T1" fmla="*/ 0 h 70"/>
                  <a:gd name="T2" fmla="*/ 51 w 54"/>
                  <a:gd name="T3" fmla="*/ 69 h 70"/>
                  <a:gd name="T4" fmla="*/ 53 w 54"/>
                  <a:gd name="T5" fmla="*/ 68 h 70"/>
                  <a:gd name="T6" fmla="*/ 0 w 54"/>
                  <a:gd name="T7" fmla="*/ 0 h 70"/>
                  <a:gd name="T8" fmla="*/ 0 w 54"/>
                  <a:gd name="T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70">
                    <a:moveTo>
                      <a:pt x="0" y="0"/>
                    </a:moveTo>
                    <a:cubicBezTo>
                      <a:pt x="12" y="25"/>
                      <a:pt x="29" y="50"/>
                      <a:pt x="51" y="69"/>
                    </a:cubicBezTo>
                    <a:cubicBezTo>
                      <a:pt x="52" y="70"/>
                      <a:pt x="54" y="69"/>
                      <a:pt x="53" y="68"/>
                    </a:cubicBezTo>
                    <a:cubicBezTo>
                      <a:pt x="35" y="45"/>
                      <a:pt x="16" y="24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2" name="Freeform 105">
                <a:extLst>
                  <a:ext uri="{FF2B5EF4-FFF2-40B4-BE49-F238E27FC236}">
                    <a16:creationId xmlns:a16="http://schemas.microsoft.com/office/drawing/2014/main" id="{90076D25-A8F1-4347-AEC1-07A590BB75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38" y="1940"/>
                <a:ext cx="126" cy="85"/>
              </a:xfrm>
              <a:custGeom>
                <a:avLst/>
                <a:gdLst>
                  <a:gd name="T0" fmla="*/ 1 w 85"/>
                  <a:gd name="T1" fmla="*/ 1 h 57"/>
                  <a:gd name="T2" fmla="*/ 0 w 85"/>
                  <a:gd name="T3" fmla="*/ 2 h 57"/>
                  <a:gd name="T4" fmla="*/ 85 w 85"/>
                  <a:gd name="T5" fmla="*/ 57 h 57"/>
                  <a:gd name="T6" fmla="*/ 85 w 85"/>
                  <a:gd name="T7" fmla="*/ 45 h 57"/>
                  <a:gd name="T8" fmla="*/ 1 w 85"/>
                  <a:gd name="T9" fmla="*/ 1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57">
                    <a:moveTo>
                      <a:pt x="1" y="1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27" y="22"/>
                      <a:pt x="55" y="41"/>
                      <a:pt x="85" y="57"/>
                    </a:cubicBezTo>
                    <a:cubicBezTo>
                      <a:pt x="85" y="45"/>
                      <a:pt x="85" y="45"/>
                      <a:pt x="85" y="45"/>
                    </a:cubicBezTo>
                    <a:cubicBezTo>
                      <a:pt x="56" y="31"/>
                      <a:pt x="28" y="16"/>
                      <a:pt x="1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3" name="Freeform 106">
                <a:extLst>
                  <a:ext uri="{FF2B5EF4-FFF2-40B4-BE49-F238E27FC236}">
                    <a16:creationId xmlns:a16="http://schemas.microsoft.com/office/drawing/2014/main" id="{8B36C242-AD88-4B81-8BD6-134C9690D6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84" y="926"/>
                <a:ext cx="280" cy="1010"/>
              </a:xfrm>
              <a:custGeom>
                <a:avLst/>
                <a:gdLst>
                  <a:gd name="T0" fmla="*/ 108 w 188"/>
                  <a:gd name="T1" fmla="*/ 564 h 678"/>
                  <a:gd name="T2" fmla="*/ 24 w 188"/>
                  <a:gd name="T3" fmla="*/ 325 h 678"/>
                  <a:gd name="T4" fmla="*/ 188 w 188"/>
                  <a:gd name="T5" fmla="*/ 4 h 678"/>
                  <a:gd name="T6" fmla="*/ 188 w 188"/>
                  <a:gd name="T7" fmla="*/ 0 h 678"/>
                  <a:gd name="T8" fmla="*/ 3 w 188"/>
                  <a:gd name="T9" fmla="*/ 330 h 678"/>
                  <a:gd name="T10" fmla="*/ 98 w 188"/>
                  <a:gd name="T11" fmla="*/ 591 h 678"/>
                  <a:gd name="T12" fmla="*/ 188 w 188"/>
                  <a:gd name="T13" fmla="*/ 678 h 678"/>
                  <a:gd name="T14" fmla="*/ 188 w 188"/>
                  <a:gd name="T15" fmla="*/ 654 h 678"/>
                  <a:gd name="T16" fmla="*/ 108 w 188"/>
                  <a:gd name="T17" fmla="*/ 564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8" h="678">
                    <a:moveTo>
                      <a:pt x="108" y="564"/>
                    </a:moveTo>
                    <a:cubicBezTo>
                      <a:pt x="58" y="492"/>
                      <a:pt x="28" y="409"/>
                      <a:pt x="24" y="325"/>
                    </a:cubicBezTo>
                    <a:cubicBezTo>
                      <a:pt x="19" y="203"/>
                      <a:pt x="79" y="81"/>
                      <a:pt x="188" y="4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70" y="75"/>
                      <a:pt x="0" y="201"/>
                      <a:pt x="3" y="330"/>
                    </a:cubicBezTo>
                    <a:cubicBezTo>
                      <a:pt x="5" y="422"/>
                      <a:pt x="41" y="513"/>
                      <a:pt x="98" y="591"/>
                    </a:cubicBezTo>
                    <a:cubicBezTo>
                      <a:pt x="124" y="625"/>
                      <a:pt x="153" y="655"/>
                      <a:pt x="188" y="678"/>
                    </a:cubicBezTo>
                    <a:cubicBezTo>
                      <a:pt x="188" y="654"/>
                      <a:pt x="188" y="654"/>
                      <a:pt x="188" y="654"/>
                    </a:cubicBezTo>
                    <a:cubicBezTo>
                      <a:pt x="156" y="627"/>
                      <a:pt x="129" y="594"/>
                      <a:pt x="108" y="564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4" name="Freeform 107">
                <a:extLst>
                  <a:ext uri="{FF2B5EF4-FFF2-40B4-BE49-F238E27FC236}">
                    <a16:creationId xmlns:a16="http://schemas.microsoft.com/office/drawing/2014/main" id="{B6BF65BA-CCAB-4888-B1E4-D22100AC32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37" y="1529"/>
                <a:ext cx="162" cy="350"/>
              </a:xfrm>
              <a:custGeom>
                <a:avLst/>
                <a:gdLst>
                  <a:gd name="T0" fmla="*/ 0 w 109"/>
                  <a:gd name="T1" fmla="*/ 1 h 235"/>
                  <a:gd name="T2" fmla="*/ 102 w 109"/>
                  <a:gd name="T3" fmla="*/ 234 h 235"/>
                  <a:gd name="T4" fmla="*/ 108 w 109"/>
                  <a:gd name="T5" fmla="*/ 231 h 235"/>
                  <a:gd name="T6" fmla="*/ 49 w 109"/>
                  <a:gd name="T7" fmla="*/ 126 h 235"/>
                  <a:gd name="T8" fmla="*/ 0 w 109"/>
                  <a:gd name="T9" fmla="*/ 1 h 235"/>
                  <a:gd name="T10" fmla="*/ 0 w 109"/>
                  <a:gd name="T11" fmla="*/ 1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9" h="235">
                    <a:moveTo>
                      <a:pt x="0" y="1"/>
                    </a:moveTo>
                    <a:cubicBezTo>
                      <a:pt x="2" y="82"/>
                      <a:pt x="30" y="177"/>
                      <a:pt x="102" y="234"/>
                    </a:cubicBezTo>
                    <a:cubicBezTo>
                      <a:pt x="105" y="235"/>
                      <a:pt x="109" y="234"/>
                      <a:pt x="108" y="231"/>
                    </a:cubicBezTo>
                    <a:cubicBezTo>
                      <a:pt x="90" y="195"/>
                      <a:pt x="67" y="162"/>
                      <a:pt x="49" y="126"/>
                    </a:cubicBezTo>
                    <a:cubicBezTo>
                      <a:pt x="28" y="85"/>
                      <a:pt x="12" y="44"/>
                      <a:pt x="0" y="1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5" name="Freeform 108">
                <a:extLst>
                  <a:ext uri="{FF2B5EF4-FFF2-40B4-BE49-F238E27FC236}">
                    <a16:creationId xmlns:a16="http://schemas.microsoft.com/office/drawing/2014/main" id="{CE47CBCB-95E7-49AD-B446-EB4AB14FF0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3" y="1447"/>
                <a:ext cx="88" cy="310"/>
              </a:xfrm>
              <a:custGeom>
                <a:avLst/>
                <a:gdLst>
                  <a:gd name="T0" fmla="*/ 58 w 59"/>
                  <a:gd name="T1" fmla="*/ 205 h 208"/>
                  <a:gd name="T2" fmla="*/ 5 w 59"/>
                  <a:gd name="T3" fmla="*/ 0 h 208"/>
                  <a:gd name="T4" fmla="*/ 4 w 59"/>
                  <a:gd name="T5" fmla="*/ 0 h 208"/>
                  <a:gd name="T6" fmla="*/ 54 w 59"/>
                  <a:gd name="T7" fmla="*/ 206 h 208"/>
                  <a:gd name="T8" fmla="*/ 58 w 59"/>
                  <a:gd name="T9" fmla="*/ 205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208">
                    <a:moveTo>
                      <a:pt x="58" y="205"/>
                    </a:moveTo>
                    <a:cubicBezTo>
                      <a:pt x="32" y="136"/>
                      <a:pt x="6" y="73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0" y="69"/>
                      <a:pt x="11" y="146"/>
                      <a:pt x="54" y="206"/>
                    </a:cubicBezTo>
                    <a:cubicBezTo>
                      <a:pt x="55" y="208"/>
                      <a:pt x="59" y="207"/>
                      <a:pt x="58" y="20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6" name="Freeform 109">
                <a:extLst>
                  <a:ext uri="{FF2B5EF4-FFF2-40B4-BE49-F238E27FC236}">
                    <a16:creationId xmlns:a16="http://schemas.microsoft.com/office/drawing/2014/main" id="{AA00E3FC-90AA-4C22-926E-69407A2768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08" y="962"/>
                <a:ext cx="239" cy="338"/>
              </a:xfrm>
              <a:custGeom>
                <a:avLst/>
                <a:gdLst>
                  <a:gd name="T0" fmla="*/ 4 w 160"/>
                  <a:gd name="T1" fmla="*/ 226 h 227"/>
                  <a:gd name="T2" fmla="*/ 159 w 160"/>
                  <a:gd name="T3" fmla="*/ 3 h 227"/>
                  <a:gd name="T4" fmla="*/ 157 w 160"/>
                  <a:gd name="T5" fmla="*/ 1 h 227"/>
                  <a:gd name="T6" fmla="*/ 0 w 160"/>
                  <a:gd name="T7" fmla="*/ 225 h 227"/>
                  <a:gd name="T8" fmla="*/ 4 w 160"/>
                  <a:gd name="T9" fmla="*/ 226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227">
                    <a:moveTo>
                      <a:pt x="4" y="226"/>
                    </a:moveTo>
                    <a:cubicBezTo>
                      <a:pt x="36" y="145"/>
                      <a:pt x="91" y="65"/>
                      <a:pt x="159" y="3"/>
                    </a:cubicBezTo>
                    <a:cubicBezTo>
                      <a:pt x="160" y="2"/>
                      <a:pt x="158" y="0"/>
                      <a:pt x="157" y="1"/>
                    </a:cubicBezTo>
                    <a:cubicBezTo>
                      <a:pt x="68" y="56"/>
                      <a:pt x="15" y="132"/>
                      <a:pt x="0" y="225"/>
                    </a:cubicBezTo>
                    <a:cubicBezTo>
                      <a:pt x="0" y="227"/>
                      <a:pt x="3" y="227"/>
                      <a:pt x="4" y="22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7" name="Freeform 110">
                <a:extLst>
                  <a:ext uri="{FF2B5EF4-FFF2-40B4-BE49-F238E27FC236}">
                    <a16:creationId xmlns:a16="http://schemas.microsoft.com/office/drawing/2014/main" id="{56762C1C-60C0-4FF5-88ED-C8B54C50E9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978"/>
                <a:ext cx="225" cy="461"/>
              </a:xfrm>
              <a:custGeom>
                <a:avLst/>
                <a:gdLst>
                  <a:gd name="T0" fmla="*/ 150 w 151"/>
                  <a:gd name="T1" fmla="*/ 0 h 309"/>
                  <a:gd name="T2" fmla="*/ 30 w 151"/>
                  <a:gd name="T3" fmla="*/ 141 h 309"/>
                  <a:gd name="T4" fmla="*/ 2 w 151"/>
                  <a:gd name="T5" fmla="*/ 307 h 309"/>
                  <a:gd name="T6" fmla="*/ 6 w 151"/>
                  <a:gd name="T7" fmla="*/ 307 h 309"/>
                  <a:gd name="T8" fmla="*/ 51 w 151"/>
                  <a:gd name="T9" fmla="*/ 149 h 309"/>
                  <a:gd name="T10" fmla="*/ 150 w 151"/>
                  <a:gd name="T11" fmla="*/ 1 h 309"/>
                  <a:gd name="T12" fmla="*/ 150 w 151"/>
                  <a:gd name="T13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309">
                    <a:moveTo>
                      <a:pt x="150" y="0"/>
                    </a:moveTo>
                    <a:cubicBezTo>
                      <a:pt x="99" y="41"/>
                      <a:pt x="57" y="86"/>
                      <a:pt x="30" y="141"/>
                    </a:cubicBezTo>
                    <a:cubicBezTo>
                      <a:pt x="4" y="195"/>
                      <a:pt x="0" y="249"/>
                      <a:pt x="2" y="307"/>
                    </a:cubicBezTo>
                    <a:cubicBezTo>
                      <a:pt x="2" y="309"/>
                      <a:pt x="6" y="309"/>
                      <a:pt x="6" y="307"/>
                    </a:cubicBezTo>
                    <a:cubicBezTo>
                      <a:pt x="9" y="253"/>
                      <a:pt x="29" y="199"/>
                      <a:pt x="51" y="149"/>
                    </a:cubicBezTo>
                    <a:cubicBezTo>
                      <a:pt x="75" y="96"/>
                      <a:pt x="107" y="44"/>
                      <a:pt x="150" y="1"/>
                    </a:cubicBezTo>
                    <a:cubicBezTo>
                      <a:pt x="151" y="1"/>
                      <a:pt x="150" y="0"/>
                      <a:pt x="150" y="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8" name="Freeform 111">
                <a:extLst>
                  <a:ext uri="{FF2B5EF4-FFF2-40B4-BE49-F238E27FC236}">
                    <a16:creationId xmlns:a16="http://schemas.microsoft.com/office/drawing/2014/main" id="{833A1EEB-D57A-44F1-8637-9CF56517E2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33" y="1477"/>
                <a:ext cx="131" cy="256"/>
              </a:xfrm>
              <a:custGeom>
                <a:avLst/>
                <a:gdLst>
                  <a:gd name="T0" fmla="*/ 0 w 88"/>
                  <a:gd name="T1" fmla="*/ 1 h 172"/>
                  <a:gd name="T2" fmla="*/ 74 w 88"/>
                  <a:gd name="T3" fmla="*/ 154 h 172"/>
                  <a:gd name="T4" fmla="*/ 88 w 88"/>
                  <a:gd name="T5" fmla="*/ 172 h 172"/>
                  <a:gd name="T6" fmla="*/ 88 w 88"/>
                  <a:gd name="T7" fmla="*/ 151 h 172"/>
                  <a:gd name="T8" fmla="*/ 80 w 88"/>
                  <a:gd name="T9" fmla="*/ 141 h 172"/>
                  <a:gd name="T10" fmla="*/ 1 w 88"/>
                  <a:gd name="T11" fmla="*/ 1 h 172"/>
                  <a:gd name="T12" fmla="*/ 0 w 88"/>
                  <a:gd name="T13" fmla="*/ 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" h="172">
                    <a:moveTo>
                      <a:pt x="0" y="1"/>
                    </a:moveTo>
                    <a:cubicBezTo>
                      <a:pt x="13" y="56"/>
                      <a:pt x="38" y="107"/>
                      <a:pt x="74" y="154"/>
                    </a:cubicBezTo>
                    <a:cubicBezTo>
                      <a:pt x="78" y="160"/>
                      <a:pt x="83" y="166"/>
                      <a:pt x="88" y="172"/>
                    </a:cubicBezTo>
                    <a:cubicBezTo>
                      <a:pt x="88" y="151"/>
                      <a:pt x="88" y="151"/>
                      <a:pt x="88" y="151"/>
                    </a:cubicBezTo>
                    <a:cubicBezTo>
                      <a:pt x="85" y="147"/>
                      <a:pt x="82" y="144"/>
                      <a:pt x="80" y="141"/>
                    </a:cubicBezTo>
                    <a:cubicBezTo>
                      <a:pt x="44" y="98"/>
                      <a:pt x="18" y="50"/>
                      <a:pt x="1" y="1"/>
                    </a:cubicBezTo>
                    <a:cubicBezTo>
                      <a:pt x="1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9" name="Freeform 112">
                <a:extLst>
                  <a:ext uri="{FF2B5EF4-FFF2-40B4-BE49-F238E27FC236}">
                    <a16:creationId xmlns:a16="http://schemas.microsoft.com/office/drawing/2014/main" id="{F5840E10-A925-4FB2-93DB-440421CB7C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32" y="1066"/>
                <a:ext cx="132" cy="524"/>
              </a:xfrm>
              <a:custGeom>
                <a:avLst/>
                <a:gdLst>
                  <a:gd name="T0" fmla="*/ 89 w 89"/>
                  <a:gd name="T1" fmla="*/ 352 h 352"/>
                  <a:gd name="T2" fmla="*/ 89 w 89"/>
                  <a:gd name="T3" fmla="*/ 328 h 352"/>
                  <a:gd name="T4" fmla="*/ 23 w 89"/>
                  <a:gd name="T5" fmla="*/ 174 h 352"/>
                  <a:gd name="T6" fmla="*/ 64 w 89"/>
                  <a:gd name="T7" fmla="*/ 39 h 352"/>
                  <a:gd name="T8" fmla="*/ 89 w 89"/>
                  <a:gd name="T9" fmla="*/ 9 h 352"/>
                  <a:gd name="T10" fmla="*/ 89 w 89"/>
                  <a:gd name="T11" fmla="*/ 0 h 352"/>
                  <a:gd name="T12" fmla="*/ 15 w 89"/>
                  <a:gd name="T13" fmla="*/ 124 h 352"/>
                  <a:gd name="T14" fmla="*/ 89 w 89"/>
                  <a:gd name="T15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352">
                    <a:moveTo>
                      <a:pt x="89" y="352"/>
                    </a:moveTo>
                    <a:cubicBezTo>
                      <a:pt x="89" y="328"/>
                      <a:pt x="89" y="328"/>
                      <a:pt x="89" y="328"/>
                    </a:cubicBezTo>
                    <a:cubicBezTo>
                      <a:pt x="55" y="281"/>
                      <a:pt x="27" y="233"/>
                      <a:pt x="23" y="174"/>
                    </a:cubicBezTo>
                    <a:cubicBezTo>
                      <a:pt x="19" y="126"/>
                      <a:pt x="34" y="80"/>
                      <a:pt x="64" y="39"/>
                    </a:cubicBezTo>
                    <a:cubicBezTo>
                      <a:pt x="68" y="34"/>
                      <a:pt x="77" y="22"/>
                      <a:pt x="89" y="9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53" y="35"/>
                      <a:pt x="24" y="77"/>
                      <a:pt x="15" y="124"/>
                    </a:cubicBezTo>
                    <a:cubicBezTo>
                      <a:pt x="0" y="203"/>
                      <a:pt x="36" y="284"/>
                      <a:pt x="89" y="35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0" name="Freeform 113">
                <a:extLst>
                  <a:ext uri="{FF2B5EF4-FFF2-40B4-BE49-F238E27FC236}">
                    <a16:creationId xmlns:a16="http://schemas.microsoft.com/office/drawing/2014/main" id="{C8D763D3-7D57-420B-BF71-12AE123511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17" y="1166"/>
                <a:ext cx="47" cy="235"/>
              </a:xfrm>
              <a:custGeom>
                <a:avLst/>
                <a:gdLst>
                  <a:gd name="T0" fmla="*/ 32 w 32"/>
                  <a:gd name="T1" fmla="*/ 158 h 158"/>
                  <a:gd name="T2" fmla="*/ 32 w 32"/>
                  <a:gd name="T3" fmla="*/ 137 h 158"/>
                  <a:gd name="T4" fmla="*/ 32 w 32"/>
                  <a:gd name="T5" fmla="*/ 12 h 158"/>
                  <a:gd name="T6" fmla="*/ 32 w 32"/>
                  <a:gd name="T7" fmla="*/ 0 h 158"/>
                  <a:gd name="T8" fmla="*/ 32 w 32"/>
                  <a:gd name="T9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58">
                    <a:moveTo>
                      <a:pt x="32" y="158"/>
                    </a:moveTo>
                    <a:cubicBezTo>
                      <a:pt x="32" y="137"/>
                      <a:pt x="32" y="137"/>
                      <a:pt x="32" y="137"/>
                    </a:cubicBezTo>
                    <a:cubicBezTo>
                      <a:pt x="14" y="97"/>
                      <a:pt x="13" y="53"/>
                      <a:pt x="32" y="12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0" y="50"/>
                      <a:pt x="1" y="109"/>
                      <a:pt x="32" y="15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1" name="Freeform 114">
                <a:extLst>
                  <a:ext uri="{FF2B5EF4-FFF2-40B4-BE49-F238E27FC236}">
                    <a16:creationId xmlns:a16="http://schemas.microsoft.com/office/drawing/2014/main" id="{15F4495F-E49A-4F47-AC33-7169B064C1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5" y="1348"/>
                <a:ext cx="649" cy="947"/>
              </a:xfrm>
              <a:custGeom>
                <a:avLst/>
                <a:gdLst>
                  <a:gd name="T0" fmla="*/ 216 w 436"/>
                  <a:gd name="T1" fmla="*/ 445 h 636"/>
                  <a:gd name="T2" fmla="*/ 59 w 436"/>
                  <a:gd name="T3" fmla="*/ 2 h 636"/>
                  <a:gd name="T4" fmla="*/ 57 w 436"/>
                  <a:gd name="T5" fmla="*/ 1 h 636"/>
                  <a:gd name="T6" fmla="*/ 180 w 436"/>
                  <a:gd name="T7" fmla="*/ 442 h 636"/>
                  <a:gd name="T8" fmla="*/ 436 w 436"/>
                  <a:gd name="T9" fmla="*/ 636 h 636"/>
                  <a:gd name="T10" fmla="*/ 436 w 436"/>
                  <a:gd name="T11" fmla="*/ 619 h 636"/>
                  <a:gd name="T12" fmla="*/ 216 w 436"/>
                  <a:gd name="T13" fmla="*/ 445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6" h="636">
                    <a:moveTo>
                      <a:pt x="216" y="445"/>
                    </a:moveTo>
                    <a:cubicBezTo>
                      <a:pt x="93" y="322"/>
                      <a:pt x="15" y="164"/>
                      <a:pt x="59" y="2"/>
                    </a:cubicBezTo>
                    <a:cubicBezTo>
                      <a:pt x="59" y="1"/>
                      <a:pt x="57" y="0"/>
                      <a:pt x="57" y="1"/>
                    </a:cubicBezTo>
                    <a:cubicBezTo>
                      <a:pt x="0" y="156"/>
                      <a:pt x="67" y="319"/>
                      <a:pt x="180" y="442"/>
                    </a:cubicBezTo>
                    <a:cubicBezTo>
                      <a:pt x="250" y="519"/>
                      <a:pt x="339" y="583"/>
                      <a:pt x="436" y="636"/>
                    </a:cubicBezTo>
                    <a:cubicBezTo>
                      <a:pt x="436" y="619"/>
                      <a:pt x="436" y="619"/>
                      <a:pt x="436" y="619"/>
                    </a:cubicBezTo>
                    <a:cubicBezTo>
                      <a:pt x="355" y="568"/>
                      <a:pt x="281" y="510"/>
                      <a:pt x="216" y="44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2" name="Freeform 115">
                <a:extLst>
                  <a:ext uri="{FF2B5EF4-FFF2-40B4-BE49-F238E27FC236}">
                    <a16:creationId xmlns:a16="http://schemas.microsoft.com/office/drawing/2014/main" id="{45CD59AF-F1EC-43C1-8B51-D3BA62EA52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14" y="4216"/>
                <a:ext cx="31" cy="86"/>
              </a:xfrm>
              <a:custGeom>
                <a:avLst/>
                <a:gdLst>
                  <a:gd name="T0" fmla="*/ 2 w 21"/>
                  <a:gd name="T1" fmla="*/ 1 h 58"/>
                  <a:gd name="T2" fmla="*/ 0 w 21"/>
                  <a:gd name="T3" fmla="*/ 2 h 58"/>
                  <a:gd name="T4" fmla="*/ 14 w 21"/>
                  <a:gd name="T5" fmla="*/ 58 h 58"/>
                  <a:gd name="T6" fmla="*/ 21 w 21"/>
                  <a:gd name="T7" fmla="*/ 58 h 58"/>
                  <a:gd name="T8" fmla="*/ 2 w 21"/>
                  <a:gd name="T9" fmla="*/ 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58">
                    <a:moveTo>
                      <a:pt x="2" y="1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4" y="20"/>
                      <a:pt x="9" y="39"/>
                      <a:pt x="14" y="58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16" y="39"/>
                      <a:pt x="9" y="20"/>
                      <a:pt x="2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3" name="Freeform 116">
                <a:extLst>
                  <a:ext uri="{FF2B5EF4-FFF2-40B4-BE49-F238E27FC236}">
                    <a16:creationId xmlns:a16="http://schemas.microsoft.com/office/drawing/2014/main" id="{800DB6EA-190A-4A7A-B580-83678CF170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89" y="3371"/>
                <a:ext cx="1519" cy="931"/>
              </a:xfrm>
              <a:custGeom>
                <a:avLst/>
                <a:gdLst>
                  <a:gd name="T0" fmla="*/ 918 w 1019"/>
                  <a:gd name="T1" fmla="*/ 359 h 625"/>
                  <a:gd name="T2" fmla="*/ 646 w 1019"/>
                  <a:gd name="T3" fmla="*/ 96 h 625"/>
                  <a:gd name="T4" fmla="*/ 1 w 1019"/>
                  <a:gd name="T5" fmla="*/ 374 h 625"/>
                  <a:gd name="T6" fmla="*/ 5 w 1019"/>
                  <a:gd name="T7" fmla="*/ 377 h 625"/>
                  <a:gd name="T8" fmla="*/ 635 w 1019"/>
                  <a:gd name="T9" fmla="*/ 135 h 625"/>
                  <a:gd name="T10" fmla="*/ 895 w 1019"/>
                  <a:gd name="T11" fmla="*/ 403 h 625"/>
                  <a:gd name="T12" fmla="*/ 972 w 1019"/>
                  <a:gd name="T13" fmla="*/ 625 h 625"/>
                  <a:gd name="T14" fmla="*/ 1019 w 1019"/>
                  <a:gd name="T15" fmla="*/ 625 h 625"/>
                  <a:gd name="T16" fmla="*/ 918 w 1019"/>
                  <a:gd name="T17" fmla="*/ 359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9" h="625">
                    <a:moveTo>
                      <a:pt x="918" y="359"/>
                    </a:moveTo>
                    <a:cubicBezTo>
                      <a:pt x="855" y="247"/>
                      <a:pt x="770" y="142"/>
                      <a:pt x="646" y="96"/>
                    </a:cubicBezTo>
                    <a:cubicBezTo>
                      <a:pt x="390" y="0"/>
                      <a:pt x="131" y="156"/>
                      <a:pt x="1" y="374"/>
                    </a:cubicBezTo>
                    <a:cubicBezTo>
                      <a:pt x="0" y="377"/>
                      <a:pt x="3" y="380"/>
                      <a:pt x="5" y="377"/>
                    </a:cubicBezTo>
                    <a:cubicBezTo>
                      <a:pt x="152" y="192"/>
                      <a:pt x="393" y="41"/>
                      <a:pt x="635" y="135"/>
                    </a:cubicBezTo>
                    <a:cubicBezTo>
                      <a:pt x="756" y="182"/>
                      <a:pt x="837" y="291"/>
                      <a:pt x="895" y="403"/>
                    </a:cubicBezTo>
                    <a:cubicBezTo>
                      <a:pt x="933" y="475"/>
                      <a:pt x="955" y="549"/>
                      <a:pt x="972" y="625"/>
                    </a:cubicBezTo>
                    <a:cubicBezTo>
                      <a:pt x="1019" y="625"/>
                      <a:pt x="1019" y="625"/>
                      <a:pt x="1019" y="625"/>
                    </a:cubicBezTo>
                    <a:cubicBezTo>
                      <a:pt x="1001" y="531"/>
                      <a:pt x="963" y="439"/>
                      <a:pt x="918" y="35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4" name="Freeform 117">
                <a:extLst>
                  <a:ext uri="{FF2B5EF4-FFF2-40B4-BE49-F238E27FC236}">
                    <a16:creationId xmlns:a16="http://schemas.microsoft.com/office/drawing/2014/main" id="{D7355678-90C1-4CDC-AEC7-4208FC5238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13" y="4131"/>
                <a:ext cx="62" cy="171"/>
              </a:xfrm>
              <a:custGeom>
                <a:avLst/>
                <a:gdLst>
                  <a:gd name="T0" fmla="*/ 2 w 42"/>
                  <a:gd name="T1" fmla="*/ 1 h 115"/>
                  <a:gd name="T2" fmla="*/ 0 w 42"/>
                  <a:gd name="T3" fmla="*/ 2 h 115"/>
                  <a:gd name="T4" fmla="*/ 31 w 42"/>
                  <a:gd name="T5" fmla="*/ 115 h 115"/>
                  <a:gd name="T6" fmla="*/ 42 w 42"/>
                  <a:gd name="T7" fmla="*/ 115 h 115"/>
                  <a:gd name="T8" fmla="*/ 2 w 42"/>
                  <a:gd name="T9" fmla="*/ 1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15">
                    <a:moveTo>
                      <a:pt x="2" y="1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16" y="39"/>
                      <a:pt x="26" y="77"/>
                      <a:pt x="31" y="115"/>
                    </a:cubicBezTo>
                    <a:cubicBezTo>
                      <a:pt x="42" y="115"/>
                      <a:pt x="42" y="115"/>
                      <a:pt x="42" y="115"/>
                    </a:cubicBezTo>
                    <a:cubicBezTo>
                      <a:pt x="33" y="76"/>
                      <a:pt x="19" y="38"/>
                      <a:pt x="2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5" name="Freeform 118">
                <a:extLst>
                  <a:ext uri="{FF2B5EF4-FFF2-40B4-BE49-F238E27FC236}">
                    <a16:creationId xmlns:a16="http://schemas.microsoft.com/office/drawing/2014/main" id="{D4570403-BBC1-442B-8779-E84FA55104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27" y="3903"/>
                <a:ext cx="404" cy="153"/>
              </a:xfrm>
              <a:custGeom>
                <a:avLst/>
                <a:gdLst>
                  <a:gd name="T0" fmla="*/ 9 w 271"/>
                  <a:gd name="T1" fmla="*/ 100 h 103"/>
                  <a:gd name="T2" fmla="*/ 270 w 271"/>
                  <a:gd name="T3" fmla="*/ 2 h 103"/>
                  <a:gd name="T4" fmla="*/ 270 w 271"/>
                  <a:gd name="T5" fmla="*/ 0 h 103"/>
                  <a:gd name="T6" fmla="*/ 4 w 271"/>
                  <a:gd name="T7" fmla="*/ 94 h 103"/>
                  <a:gd name="T8" fmla="*/ 9 w 271"/>
                  <a:gd name="T9" fmla="*/ 10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1" h="103">
                    <a:moveTo>
                      <a:pt x="9" y="100"/>
                    </a:moveTo>
                    <a:cubicBezTo>
                      <a:pt x="91" y="53"/>
                      <a:pt x="177" y="23"/>
                      <a:pt x="270" y="2"/>
                    </a:cubicBezTo>
                    <a:cubicBezTo>
                      <a:pt x="271" y="2"/>
                      <a:pt x="271" y="0"/>
                      <a:pt x="270" y="0"/>
                    </a:cubicBezTo>
                    <a:cubicBezTo>
                      <a:pt x="175" y="7"/>
                      <a:pt x="73" y="23"/>
                      <a:pt x="4" y="94"/>
                    </a:cubicBezTo>
                    <a:cubicBezTo>
                      <a:pt x="0" y="97"/>
                      <a:pt x="5" y="103"/>
                      <a:pt x="9" y="10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6" name="Freeform 119">
                <a:extLst>
                  <a:ext uri="{FF2B5EF4-FFF2-40B4-BE49-F238E27FC236}">
                    <a16:creationId xmlns:a16="http://schemas.microsoft.com/office/drawing/2014/main" id="{2E348930-C85A-49D5-9074-42199B8258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2" y="4097"/>
                <a:ext cx="378" cy="68"/>
              </a:xfrm>
              <a:custGeom>
                <a:avLst/>
                <a:gdLst>
                  <a:gd name="T0" fmla="*/ 252 w 254"/>
                  <a:gd name="T1" fmla="*/ 46 h 46"/>
                  <a:gd name="T2" fmla="*/ 253 w 254"/>
                  <a:gd name="T3" fmla="*/ 45 h 46"/>
                  <a:gd name="T4" fmla="*/ 125 w 254"/>
                  <a:gd name="T5" fmla="*/ 6 h 46"/>
                  <a:gd name="T6" fmla="*/ 3 w 254"/>
                  <a:gd name="T7" fmla="*/ 18 h 46"/>
                  <a:gd name="T8" fmla="*/ 6 w 254"/>
                  <a:gd name="T9" fmla="*/ 24 h 46"/>
                  <a:gd name="T10" fmla="*/ 252 w 254"/>
                  <a:gd name="T11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4" h="46">
                    <a:moveTo>
                      <a:pt x="252" y="46"/>
                    </a:moveTo>
                    <a:cubicBezTo>
                      <a:pt x="253" y="46"/>
                      <a:pt x="254" y="45"/>
                      <a:pt x="253" y="45"/>
                    </a:cubicBezTo>
                    <a:cubicBezTo>
                      <a:pt x="218" y="15"/>
                      <a:pt x="169" y="11"/>
                      <a:pt x="125" y="6"/>
                    </a:cubicBezTo>
                    <a:cubicBezTo>
                      <a:pt x="84" y="1"/>
                      <a:pt x="42" y="0"/>
                      <a:pt x="3" y="18"/>
                    </a:cubicBezTo>
                    <a:cubicBezTo>
                      <a:pt x="0" y="19"/>
                      <a:pt x="2" y="24"/>
                      <a:pt x="6" y="24"/>
                    </a:cubicBezTo>
                    <a:cubicBezTo>
                      <a:pt x="83" y="9"/>
                      <a:pt x="180" y="10"/>
                      <a:pt x="252" y="4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7" name="Freeform 120">
                <a:extLst>
                  <a:ext uri="{FF2B5EF4-FFF2-40B4-BE49-F238E27FC236}">
                    <a16:creationId xmlns:a16="http://schemas.microsoft.com/office/drawing/2014/main" id="{BAD278AD-9979-404D-B6F4-47484D2CE3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35" y="3977"/>
                <a:ext cx="848" cy="325"/>
              </a:xfrm>
              <a:custGeom>
                <a:avLst/>
                <a:gdLst>
                  <a:gd name="T0" fmla="*/ 379 w 569"/>
                  <a:gd name="T1" fmla="*/ 43 h 218"/>
                  <a:gd name="T2" fmla="*/ 6 w 569"/>
                  <a:gd name="T3" fmla="*/ 97 h 218"/>
                  <a:gd name="T4" fmla="*/ 11 w 569"/>
                  <a:gd name="T5" fmla="*/ 109 h 218"/>
                  <a:gd name="T6" fmla="*/ 356 w 569"/>
                  <a:gd name="T7" fmla="*/ 71 h 218"/>
                  <a:gd name="T8" fmla="*/ 554 w 569"/>
                  <a:gd name="T9" fmla="*/ 218 h 218"/>
                  <a:gd name="T10" fmla="*/ 569 w 569"/>
                  <a:gd name="T11" fmla="*/ 218 h 218"/>
                  <a:gd name="T12" fmla="*/ 379 w 569"/>
                  <a:gd name="T13" fmla="*/ 4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9" h="218">
                    <a:moveTo>
                      <a:pt x="379" y="43"/>
                    </a:moveTo>
                    <a:cubicBezTo>
                      <a:pt x="258" y="0"/>
                      <a:pt x="112" y="27"/>
                      <a:pt x="6" y="97"/>
                    </a:cubicBezTo>
                    <a:cubicBezTo>
                      <a:pt x="0" y="101"/>
                      <a:pt x="4" y="111"/>
                      <a:pt x="11" y="109"/>
                    </a:cubicBezTo>
                    <a:cubicBezTo>
                      <a:pt x="124" y="71"/>
                      <a:pt x="237" y="33"/>
                      <a:pt x="356" y="71"/>
                    </a:cubicBezTo>
                    <a:cubicBezTo>
                      <a:pt x="430" y="94"/>
                      <a:pt x="506" y="151"/>
                      <a:pt x="554" y="218"/>
                    </a:cubicBezTo>
                    <a:cubicBezTo>
                      <a:pt x="569" y="218"/>
                      <a:pt x="569" y="218"/>
                      <a:pt x="569" y="218"/>
                    </a:cubicBezTo>
                    <a:cubicBezTo>
                      <a:pt x="531" y="136"/>
                      <a:pt x="472" y="76"/>
                      <a:pt x="379" y="4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8" name="Freeform 121">
                <a:extLst>
                  <a:ext uri="{FF2B5EF4-FFF2-40B4-BE49-F238E27FC236}">
                    <a16:creationId xmlns:a16="http://schemas.microsoft.com/office/drawing/2014/main" id="{DF11F461-7AFB-4BF0-9B16-709C1DA2BF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78" y="4155"/>
                <a:ext cx="613" cy="147"/>
              </a:xfrm>
              <a:custGeom>
                <a:avLst/>
                <a:gdLst>
                  <a:gd name="T0" fmla="*/ 265 w 411"/>
                  <a:gd name="T1" fmla="*/ 22 h 99"/>
                  <a:gd name="T2" fmla="*/ 2 w 411"/>
                  <a:gd name="T3" fmla="*/ 63 h 99"/>
                  <a:gd name="T4" fmla="*/ 5 w 411"/>
                  <a:gd name="T5" fmla="*/ 69 h 99"/>
                  <a:gd name="T6" fmla="*/ 104 w 411"/>
                  <a:gd name="T7" fmla="*/ 50 h 99"/>
                  <a:gd name="T8" fmla="*/ 225 w 411"/>
                  <a:gd name="T9" fmla="*/ 47 h 99"/>
                  <a:gd name="T10" fmla="*/ 389 w 411"/>
                  <a:gd name="T11" fmla="*/ 99 h 99"/>
                  <a:gd name="T12" fmla="*/ 411 w 411"/>
                  <a:gd name="T13" fmla="*/ 99 h 99"/>
                  <a:gd name="T14" fmla="*/ 265 w 411"/>
                  <a:gd name="T15" fmla="*/ 22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1" h="99">
                    <a:moveTo>
                      <a:pt x="265" y="22"/>
                    </a:moveTo>
                    <a:cubicBezTo>
                      <a:pt x="190" y="11"/>
                      <a:pt x="58" y="0"/>
                      <a:pt x="2" y="63"/>
                    </a:cubicBezTo>
                    <a:cubicBezTo>
                      <a:pt x="0" y="65"/>
                      <a:pt x="1" y="70"/>
                      <a:pt x="5" y="69"/>
                    </a:cubicBezTo>
                    <a:cubicBezTo>
                      <a:pt x="39" y="65"/>
                      <a:pt x="70" y="54"/>
                      <a:pt x="104" y="50"/>
                    </a:cubicBezTo>
                    <a:cubicBezTo>
                      <a:pt x="144" y="45"/>
                      <a:pt x="185" y="44"/>
                      <a:pt x="225" y="47"/>
                    </a:cubicBezTo>
                    <a:cubicBezTo>
                      <a:pt x="283" y="51"/>
                      <a:pt x="343" y="65"/>
                      <a:pt x="389" y="99"/>
                    </a:cubicBezTo>
                    <a:cubicBezTo>
                      <a:pt x="411" y="99"/>
                      <a:pt x="411" y="99"/>
                      <a:pt x="411" y="99"/>
                    </a:cubicBezTo>
                    <a:cubicBezTo>
                      <a:pt x="376" y="56"/>
                      <a:pt x="323" y="31"/>
                      <a:pt x="265" y="2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9" name="Freeform 122">
                <a:extLst>
                  <a:ext uri="{FF2B5EF4-FFF2-40B4-BE49-F238E27FC236}">
                    <a16:creationId xmlns:a16="http://schemas.microsoft.com/office/drawing/2014/main" id="{BBA49239-E63B-49F1-9E3E-4BF6BF279C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7" y="3650"/>
                <a:ext cx="846" cy="652"/>
              </a:xfrm>
              <a:custGeom>
                <a:avLst/>
                <a:gdLst>
                  <a:gd name="T0" fmla="*/ 398 w 567"/>
                  <a:gd name="T1" fmla="*/ 116 h 438"/>
                  <a:gd name="T2" fmla="*/ 2 w 567"/>
                  <a:gd name="T3" fmla="*/ 79 h 438"/>
                  <a:gd name="T4" fmla="*/ 4 w 567"/>
                  <a:gd name="T5" fmla="*/ 82 h 438"/>
                  <a:gd name="T6" fmla="*/ 404 w 567"/>
                  <a:gd name="T7" fmla="*/ 153 h 438"/>
                  <a:gd name="T8" fmla="*/ 545 w 567"/>
                  <a:gd name="T9" fmla="*/ 438 h 438"/>
                  <a:gd name="T10" fmla="*/ 567 w 567"/>
                  <a:gd name="T11" fmla="*/ 438 h 438"/>
                  <a:gd name="T12" fmla="*/ 398 w 567"/>
                  <a:gd name="T13" fmla="*/ 116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7" h="438">
                    <a:moveTo>
                      <a:pt x="398" y="116"/>
                    </a:moveTo>
                    <a:cubicBezTo>
                      <a:pt x="286" y="25"/>
                      <a:pt x="127" y="0"/>
                      <a:pt x="2" y="79"/>
                    </a:cubicBezTo>
                    <a:cubicBezTo>
                      <a:pt x="0" y="80"/>
                      <a:pt x="2" y="83"/>
                      <a:pt x="4" y="82"/>
                    </a:cubicBezTo>
                    <a:cubicBezTo>
                      <a:pt x="136" y="23"/>
                      <a:pt x="298" y="55"/>
                      <a:pt x="404" y="153"/>
                    </a:cubicBezTo>
                    <a:cubicBezTo>
                      <a:pt x="487" y="229"/>
                      <a:pt x="525" y="331"/>
                      <a:pt x="545" y="438"/>
                    </a:cubicBezTo>
                    <a:cubicBezTo>
                      <a:pt x="567" y="438"/>
                      <a:pt x="567" y="438"/>
                      <a:pt x="567" y="438"/>
                    </a:cubicBezTo>
                    <a:cubicBezTo>
                      <a:pt x="555" y="315"/>
                      <a:pt x="494" y="193"/>
                      <a:pt x="398" y="11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0" name="Freeform 123">
                <a:extLst>
                  <a:ext uri="{FF2B5EF4-FFF2-40B4-BE49-F238E27FC236}">
                    <a16:creationId xmlns:a16="http://schemas.microsoft.com/office/drawing/2014/main" id="{AFC76E31-63A2-45E4-BFD0-0A4EC23A71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67" y="3575"/>
                <a:ext cx="91" cy="33"/>
              </a:xfrm>
              <a:custGeom>
                <a:avLst/>
                <a:gdLst>
                  <a:gd name="T0" fmla="*/ 11 w 61"/>
                  <a:gd name="T1" fmla="*/ 19 h 22"/>
                  <a:gd name="T2" fmla="*/ 60 w 61"/>
                  <a:gd name="T3" fmla="*/ 4 h 22"/>
                  <a:gd name="T4" fmla="*/ 60 w 61"/>
                  <a:gd name="T5" fmla="*/ 3 h 22"/>
                  <a:gd name="T6" fmla="*/ 6 w 61"/>
                  <a:gd name="T7" fmla="*/ 10 h 22"/>
                  <a:gd name="T8" fmla="*/ 11 w 61"/>
                  <a:gd name="T9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22">
                    <a:moveTo>
                      <a:pt x="11" y="19"/>
                    </a:moveTo>
                    <a:cubicBezTo>
                      <a:pt x="25" y="10"/>
                      <a:pt x="43" y="4"/>
                      <a:pt x="60" y="4"/>
                    </a:cubicBezTo>
                    <a:cubicBezTo>
                      <a:pt x="61" y="4"/>
                      <a:pt x="61" y="3"/>
                      <a:pt x="60" y="3"/>
                    </a:cubicBezTo>
                    <a:cubicBezTo>
                      <a:pt x="41" y="0"/>
                      <a:pt x="23" y="2"/>
                      <a:pt x="6" y="10"/>
                    </a:cubicBezTo>
                    <a:cubicBezTo>
                      <a:pt x="0" y="13"/>
                      <a:pt x="5" y="22"/>
                      <a:pt x="11" y="1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1" name="Freeform 124">
                <a:extLst>
                  <a:ext uri="{FF2B5EF4-FFF2-40B4-BE49-F238E27FC236}">
                    <a16:creationId xmlns:a16="http://schemas.microsoft.com/office/drawing/2014/main" id="{4CBDE1EC-2C22-466C-863C-CCB5C65BC2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474" y="3861"/>
                <a:ext cx="106" cy="173"/>
              </a:xfrm>
              <a:custGeom>
                <a:avLst/>
                <a:gdLst>
                  <a:gd name="T0" fmla="*/ 70 w 71"/>
                  <a:gd name="T1" fmla="*/ 110 h 116"/>
                  <a:gd name="T2" fmla="*/ 1 w 71"/>
                  <a:gd name="T3" fmla="*/ 1 h 116"/>
                  <a:gd name="T4" fmla="*/ 1 w 71"/>
                  <a:gd name="T5" fmla="*/ 2 h 116"/>
                  <a:gd name="T6" fmla="*/ 64 w 71"/>
                  <a:gd name="T7" fmla="*/ 113 h 116"/>
                  <a:gd name="T8" fmla="*/ 70 w 71"/>
                  <a:gd name="T9" fmla="*/ 11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16">
                    <a:moveTo>
                      <a:pt x="70" y="110"/>
                    </a:moveTo>
                    <a:cubicBezTo>
                      <a:pt x="58" y="69"/>
                      <a:pt x="30" y="33"/>
                      <a:pt x="1" y="1"/>
                    </a:cubicBezTo>
                    <a:cubicBezTo>
                      <a:pt x="1" y="0"/>
                      <a:pt x="0" y="1"/>
                      <a:pt x="1" y="2"/>
                    </a:cubicBezTo>
                    <a:cubicBezTo>
                      <a:pt x="27" y="36"/>
                      <a:pt x="44" y="75"/>
                      <a:pt x="64" y="113"/>
                    </a:cubicBezTo>
                    <a:cubicBezTo>
                      <a:pt x="66" y="116"/>
                      <a:pt x="71" y="114"/>
                      <a:pt x="70" y="11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2" name="Freeform 125">
                <a:extLst>
                  <a:ext uri="{FF2B5EF4-FFF2-40B4-BE49-F238E27FC236}">
                    <a16:creationId xmlns:a16="http://schemas.microsoft.com/office/drawing/2014/main" id="{C864B5D9-164D-4BDF-B54A-358F884404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66" y="3613"/>
                <a:ext cx="396" cy="140"/>
              </a:xfrm>
              <a:custGeom>
                <a:avLst/>
                <a:gdLst>
                  <a:gd name="T0" fmla="*/ 262 w 266"/>
                  <a:gd name="T1" fmla="*/ 93 h 94"/>
                  <a:gd name="T2" fmla="*/ 264 w 266"/>
                  <a:gd name="T3" fmla="*/ 90 h 94"/>
                  <a:gd name="T4" fmla="*/ 2 w 266"/>
                  <a:gd name="T5" fmla="*/ 8 h 94"/>
                  <a:gd name="T6" fmla="*/ 2 w 266"/>
                  <a:gd name="T7" fmla="*/ 11 h 94"/>
                  <a:gd name="T8" fmla="*/ 262 w 266"/>
                  <a:gd name="T9" fmla="*/ 9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6" h="94">
                    <a:moveTo>
                      <a:pt x="262" y="93"/>
                    </a:moveTo>
                    <a:cubicBezTo>
                      <a:pt x="264" y="94"/>
                      <a:pt x="266" y="91"/>
                      <a:pt x="264" y="90"/>
                    </a:cubicBezTo>
                    <a:cubicBezTo>
                      <a:pt x="192" y="27"/>
                      <a:pt x="96" y="0"/>
                      <a:pt x="2" y="8"/>
                    </a:cubicBezTo>
                    <a:cubicBezTo>
                      <a:pt x="0" y="8"/>
                      <a:pt x="0" y="11"/>
                      <a:pt x="2" y="11"/>
                    </a:cubicBezTo>
                    <a:cubicBezTo>
                      <a:pt x="98" y="13"/>
                      <a:pt x="181" y="42"/>
                      <a:pt x="262" y="9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3" name="Freeform 126">
                <a:extLst>
                  <a:ext uri="{FF2B5EF4-FFF2-40B4-BE49-F238E27FC236}">
                    <a16:creationId xmlns:a16="http://schemas.microsoft.com/office/drawing/2014/main" id="{1E452281-5F4B-47C4-8B5D-BFCC21E835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0" y="4155"/>
                <a:ext cx="133" cy="147"/>
              </a:xfrm>
              <a:custGeom>
                <a:avLst/>
                <a:gdLst>
                  <a:gd name="T0" fmla="*/ 2 w 89"/>
                  <a:gd name="T1" fmla="*/ 0 h 99"/>
                  <a:gd name="T2" fmla="*/ 1 w 89"/>
                  <a:gd name="T3" fmla="*/ 1 h 99"/>
                  <a:gd name="T4" fmla="*/ 76 w 89"/>
                  <a:gd name="T5" fmla="*/ 99 h 99"/>
                  <a:gd name="T6" fmla="*/ 89 w 89"/>
                  <a:gd name="T7" fmla="*/ 99 h 99"/>
                  <a:gd name="T8" fmla="*/ 2 w 89"/>
                  <a:gd name="T9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99">
                    <a:moveTo>
                      <a:pt x="2" y="0"/>
                    </a:moveTo>
                    <a:cubicBezTo>
                      <a:pt x="2" y="0"/>
                      <a:pt x="0" y="1"/>
                      <a:pt x="1" y="1"/>
                    </a:cubicBezTo>
                    <a:cubicBezTo>
                      <a:pt x="32" y="31"/>
                      <a:pt x="54" y="64"/>
                      <a:pt x="76" y="99"/>
                    </a:cubicBezTo>
                    <a:cubicBezTo>
                      <a:pt x="89" y="99"/>
                      <a:pt x="89" y="99"/>
                      <a:pt x="89" y="99"/>
                    </a:cubicBezTo>
                    <a:cubicBezTo>
                      <a:pt x="67" y="61"/>
                      <a:pt x="34" y="28"/>
                      <a:pt x="2" y="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4" name="Freeform 127">
                <a:extLst>
                  <a:ext uri="{FF2B5EF4-FFF2-40B4-BE49-F238E27FC236}">
                    <a16:creationId xmlns:a16="http://schemas.microsoft.com/office/drawing/2014/main" id="{C2C420E4-4DA2-4990-96B7-C751C605EE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08" y="3794"/>
                <a:ext cx="468" cy="508"/>
              </a:xfrm>
              <a:custGeom>
                <a:avLst/>
                <a:gdLst>
                  <a:gd name="T0" fmla="*/ 219 w 314"/>
                  <a:gd name="T1" fmla="*/ 203 h 341"/>
                  <a:gd name="T2" fmla="*/ 2 w 314"/>
                  <a:gd name="T3" fmla="*/ 1 h 341"/>
                  <a:gd name="T4" fmla="*/ 1 w 314"/>
                  <a:gd name="T5" fmla="*/ 2 h 341"/>
                  <a:gd name="T6" fmla="*/ 197 w 314"/>
                  <a:gd name="T7" fmla="*/ 220 h 341"/>
                  <a:gd name="T8" fmla="*/ 265 w 314"/>
                  <a:gd name="T9" fmla="*/ 334 h 341"/>
                  <a:gd name="T10" fmla="*/ 268 w 314"/>
                  <a:gd name="T11" fmla="*/ 341 h 341"/>
                  <a:gd name="T12" fmla="*/ 314 w 314"/>
                  <a:gd name="T13" fmla="*/ 341 h 341"/>
                  <a:gd name="T14" fmla="*/ 219 w 314"/>
                  <a:gd name="T15" fmla="*/ 203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341">
                    <a:moveTo>
                      <a:pt x="219" y="203"/>
                    </a:moveTo>
                    <a:cubicBezTo>
                      <a:pt x="158" y="125"/>
                      <a:pt x="83" y="58"/>
                      <a:pt x="2" y="1"/>
                    </a:cubicBezTo>
                    <a:cubicBezTo>
                      <a:pt x="1" y="0"/>
                      <a:pt x="0" y="2"/>
                      <a:pt x="1" y="2"/>
                    </a:cubicBezTo>
                    <a:cubicBezTo>
                      <a:pt x="77" y="66"/>
                      <a:pt x="141" y="139"/>
                      <a:pt x="197" y="220"/>
                    </a:cubicBezTo>
                    <a:cubicBezTo>
                      <a:pt x="222" y="257"/>
                      <a:pt x="245" y="295"/>
                      <a:pt x="265" y="334"/>
                    </a:cubicBezTo>
                    <a:cubicBezTo>
                      <a:pt x="266" y="336"/>
                      <a:pt x="267" y="339"/>
                      <a:pt x="268" y="341"/>
                    </a:cubicBezTo>
                    <a:cubicBezTo>
                      <a:pt x="314" y="341"/>
                      <a:pt x="314" y="341"/>
                      <a:pt x="314" y="341"/>
                    </a:cubicBezTo>
                    <a:cubicBezTo>
                      <a:pt x="287" y="291"/>
                      <a:pt x="251" y="243"/>
                      <a:pt x="219" y="20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5" name="Freeform 128">
                <a:extLst>
                  <a:ext uri="{FF2B5EF4-FFF2-40B4-BE49-F238E27FC236}">
                    <a16:creationId xmlns:a16="http://schemas.microsoft.com/office/drawing/2014/main" id="{0DCB5E42-28FF-4143-A1D1-23E20F7C6A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067" y="3833"/>
                <a:ext cx="453" cy="469"/>
              </a:xfrm>
              <a:custGeom>
                <a:avLst/>
                <a:gdLst>
                  <a:gd name="T0" fmla="*/ 299 w 304"/>
                  <a:gd name="T1" fmla="*/ 300 h 315"/>
                  <a:gd name="T2" fmla="*/ 231 w 304"/>
                  <a:gd name="T3" fmla="*/ 155 h 315"/>
                  <a:gd name="T4" fmla="*/ 1 w 304"/>
                  <a:gd name="T5" fmla="*/ 7 h 315"/>
                  <a:gd name="T6" fmla="*/ 1 w 304"/>
                  <a:gd name="T7" fmla="*/ 8 h 315"/>
                  <a:gd name="T8" fmla="*/ 219 w 304"/>
                  <a:gd name="T9" fmla="*/ 200 h 315"/>
                  <a:gd name="T10" fmla="*/ 261 w 304"/>
                  <a:gd name="T11" fmla="*/ 315 h 315"/>
                  <a:gd name="T12" fmla="*/ 304 w 304"/>
                  <a:gd name="T13" fmla="*/ 315 h 315"/>
                  <a:gd name="T14" fmla="*/ 299 w 304"/>
                  <a:gd name="T15" fmla="*/ 300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4" h="315">
                    <a:moveTo>
                      <a:pt x="299" y="300"/>
                    </a:moveTo>
                    <a:cubicBezTo>
                      <a:pt x="285" y="248"/>
                      <a:pt x="264" y="198"/>
                      <a:pt x="231" y="155"/>
                    </a:cubicBezTo>
                    <a:cubicBezTo>
                      <a:pt x="173" y="80"/>
                      <a:pt x="104" y="0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106" y="7"/>
                      <a:pt x="180" y="114"/>
                      <a:pt x="219" y="200"/>
                    </a:cubicBezTo>
                    <a:cubicBezTo>
                      <a:pt x="236" y="237"/>
                      <a:pt x="251" y="275"/>
                      <a:pt x="261" y="315"/>
                    </a:cubicBezTo>
                    <a:cubicBezTo>
                      <a:pt x="304" y="315"/>
                      <a:pt x="304" y="315"/>
                      <a:pt x="304" y="315"/>
                    </a:cubicBezTo>
                    <a:cubicBezTo>
                      <a:pt x="302" y="310"/>
                      <a:pt x="301" y="305"/>
                      <a:pt x="299" y="30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6" name="Freeform 129">
                <a:extLst>
                  <a:ext uri="{FF2B5EF4-FFF2-40B4-BE49-F238E27FC236}">
                    <a16:creationId xmlns:a16="http://schemas.microsoft.com/office/drawing/2014/main" id="{E08D7DB8-20E5-4719-9FFC-0FA5523B4F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41" y="3397"/>
                <a:ext cx="1568" cy="905"/>
              </a:xfrm>
              <a:custGeom>
                <a:avLst/>
                <a:gdLst>
                  <a:gd name="T0" fmla="*/ 1018 w 1052"/>
                  <a:gd name="T1" fmla="*/ 517 h 608"/>
                  <a:gd name="T2" fmla="*/ 930 w 1052"/>
                  <a:gd name="T3" fmla="*/ 344 h 608"/>
                  <a:gd name="T4" fmla="*/ 648 w 1052"/>
                  <a:gd name="T5" fmla="*/ 91 h 608"/>
                  <a:gd name="T6" fmla="*/ 1 w 1052"/>
                  <a:gd name="T7" fmla="*/ 225 h 608"/>
                  <a:gd name="T8" fmla="*/ 4 w 1052"/>
                  <a:gd name="T9" fmla="*/ 228 h 608"/>
                  <a:gd name="T10" fmla="*/ 653 w 1052"/>
                  <a:gd name="T11" fmla="*/ 138 h 608"/>
                  <a:gd name="T12" fmla="*/ 911 w 1052"/>
                  <a:gd name="T13" fmla="*/ 391 h 608"/>
                  <a:gd name="T14" fmla="*/ 990 w 1052"/>
                  <a:gd name="T15" fmla="*/ 558 h 608"/>
                  <a:gd name="T16" fmla="*/ 1006 w 1052"/>
                  <a:gd name="T17" fmla="*/ 608 h 608"/>
                  <a:gd name="T18" fmla="*/ 1052 w 1052"/>
                  <a:gd name="T19" fmla="*/ 608 h 608"/>
                  <a:gd name="T20" fmla="*/ 1018 w 1052"/>
                  <a:gd name="T21" fmla="*/ 517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52" h="608">
                    <a:moveTo>
                      <a:pt x="1018" y="517"/>
                    </a:moveTo>
                    <a:cubicBezTo>
                      <a:pt x="994" y="457"/>
                      <a:pt x="965" y="398"/>
                      <a:pt x="930" y="344"/>
                    </a:cubicBezTo>
                    <a:cubicBezTo>
                      <a:pt x="861" y="236"/>
                      <a:pt x="766" y="143"/>
                      <a:pt x="648" y="91"/>
                    </a:cubicBezTo>
                    <a:cubicBezTo>
                      <a:pt x="439" y="0"/>
                      <a:pt x="146" y="35"/>
                      <a:pt x="1" y="225"/>
                    </a:cubicBezTo>
                    <a:cubicBezTo>
                      <a:pt x="0" y="227"/>
                      <a:pt x="2" y="229"/>
                      <a:pt x="4" y="228"/>
                    </a:cubicBezTo>
                    <a:cubicBezTo>
                      <a:pt x="191" y="93"/>
                      <a:pt x="436" y="31"/>
                      <a:pt x="653" y="138"/>
                    </a:cubicBezTo>
                    <a:cubicBezTo>
                      <a:pt x="764" y="193"/>
                      <a:pt x="849" y="286"/>
                      <a:pt x="911" y="391"/>
                    </a:cubicBezTo>
                    <a:cubicBezTo>
                      <a:pt x="943" y="444"/>
                      <a:pt x="969" y="500"/>
                      <a:pt x="990" y="558"/>
                    </a:cubicBezTo>
                    <a:cubicBezTo>
                      <a:pt x="996" y="574"/>
                      <a:pt x="1001" y="591"/>
                      <a:pt x="1006" y="608"/>
                    </a:cubicBezTo>
                    <a:cubicBezTo>
                      <a:pt x="1052" y="608"/>
                      <a:pt x="1052" y="608"/>
                      <a:pt x="1052" y="608"/>
                    </a:cubicBezTo>
                    <a:cubicBezTo>
                      <a:pt x="1042" y="577"/>
                      <a:pt x="1029" y="546"/>
                      <a:pt x="1018" y="51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7" name="Freeform 130">
                <a:extLst>
                  <a:ext uri="{FF2B5EF4-FFF2-40B4-BE49-F238E27FC236}">
                    <a16:creationId xmlns:a16="http://schemas.microsoft.com/office/drawing/2014/main" id="{40EBC87B-8CAF-49E5-93F9-B21A43BB09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47" y="4043"/>
                <a:ext cx="285" cy="259"/>
              </a:xfrm>
              <a:custGeom>
                <a:avLst/>
                <a:gdLst>
                  <a:gd name="T0" fmla="*/ 146 w 191"/>
                  <a:gd name="T1" fmla="*/ 122 h 174"/>
                  <a:gd name="T2" fmla="*/ 2 w 191"/>
                  <a:gd name="T3" fmla="*/ 0 h 174"/>
                  <a:gd name="T4" fmla="*/ 1 w 191"/>
                  <a:gd name="T5" fmla="*/ 2 h 174"/>
                  <a:gd name="T6" fmla="*/ 143 w 191"/>
                  <a:gd name="T7" fmla="*/ 157 h 174"/>
                  <a:gd name="T8" fmla="*/ 153 w 191"/>
                  <a:gd name="T9" fmla="*/ 174 h 174"/>
                  <a:gd name="T10" fmla="*/ 191 w 191"/>
                  <a:gd name="T11" fmla="*/ 174 h 174"/>
                  <a:gd name="T12" fmla="*/ 146 w 191"/>
                  <a:gd name="T13" fmla="*/ 122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74">
                    <a:moveTo>
                      <a:pt x="146" y="122"/>
                    </a:moveTo>
                    <a:cubicBezTo>
                      <a:pt x="104" y="74"/>
                      <a:pt x="57" y="33"/>
                      <a:pt x="2" y="0"/>
                    </a:cubicBezTo>
                    <a:cubicBezTo>
                      <a:pt x="1" y="0"/>
                      <a:pt x="0" y="1"/>
                      <a:pt x="1" y="2"/>
                    </a:cubicBezTo>
                    <a:cubicBezTo>
                      <a:pt x="62" y="43"/>
                      <a:pt x="106" y="94"/>
                      <a:pt x="143" y="157"/>
                    </a:cubicBezTo>
                    <a:cubicBezTo>
                      <a:pt x="146" y="163"/>
                      <a:pt x="150" y="168"/>
                      <a:pt x="153" y="174"/>
                    </a:cubicBezTo>
                    <a:cubicBezTo>
                      <a:pt x="191" y="174"/>
                      <a:pt x="191" y="174"/>
                      <a:pt x="191" y="174"/>
                    </a:cubicBezTo>
                    <a:cubicBezTo>
                      <a:pt x="175" y="155"/>
                      <a:pt x="160" y="138"/>
                      <a:pt x="146" y="12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8" name="Freeform 131">
                <a:extLst>
                  <a:ext uri="{FF2B5EF4-FFF2-40B4-BE49-F238E27FC236}">
                    <a16:creationId xmlns:a16="http://schemas.microsoft.com/office/drawing/2014/main" id="{99CECFAB-ABC2-4C94-8029-0C103EEDEF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3836"/>
                <a:ext cx="930" cy="466"/>
              </a:xfrm>
              <a:custGeom>
                <a:avLst/>
                <a:gdLst>
                  <a:gd name="T0" fmla="*/ 424 w 624"/>
                  <a:gd name="T1" fmla="*/ 90 h 313"/>
                  <a:gd name="T2" fmla="*/ 1 w 624"/>
                  <a:gd name="T3" fmla="*/ 64 h 313"/>
                  <a:gd name="T4" fmla="*/ 2 w 624"/>
                  <a:gd name="T5" fmla="*/ 66 h 313"/>
                  <a:gd name="T6" fmla="*/ 413 w 624"/>
                  <a:gd name="T7" fmla="*/ 124 h 313"/>
                  <a:gd name="T8" fmla="*/ 587 w 624"/>
                  <a:gd name="T9" fmla="*/ 313 h 313"/>
                  <a:gd name="T10" fmla="*/ 624 w 624"/>
                  <a:gd name="T11" fmla="*/ 313 h 313"/>
                  <a:gd name="T12" fmla="*/ 424 w 624"/>
                  <a:gd name="T13" fmla="*/ 90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4" h="313">
                    <a:moveTo>
                      <a:pt x="424" y="90"/>
                    </a:moveTo>
                    <a:cubicBezTo>
                      <a:pt x="292" y="0"/>
                      <a:pt x="147" y="26"/>
                      <a:pt x="1" y="64"/>
                    </a:cubicBezTo>
                    <a:cubicBezTo>
                      <a:pt x="0" y="65"/>
                      <a:pt x="1" y="66"/>
                      <a:pt x="2" y="66"/>
                    </a:cubicBezTo>
                    <a:cubicBezTo>
                      <a:pt x="145" y="44"/>
                      <a:pt x="290" y="33"/>
                      <a:pt x="413" y="124"/>
                    </a:cubicBezTo>
                    <a:cubicBezTo>
                      <a:pt x="479" y="172"/>
                      <a:pt x="540" y="240"/>
                      <a:pt x="587" y="313"/>
                    </a:cubicBezTo>
                    <a:cubicBezTo>
                      <a:pt x="624" y="313"/>
                      <a:pt x="624" y="313"/>
                      <a:pt x="624" y="313"/>
                    </a:cubicBezTo>
                    <a:cubicBezTo>
                      <a:pt x="578" y="223"/>
                      <a:pt x="502" y="142"/>
                      <a:pt x="424" y="9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9" name="Freeform 132">
                <a:extLst>
                  <a:ext uri="{FF2B5EF4-FFF2-40B4-BE49-F238E27FC236}">
                    <a16:creationId xmlns:a16="http://schemas.microsoft.com/office/drawing/2014/main" id="{59F807AE-F864-4843-8873-3CE56DAB48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07" y="3598"/>
                <a:ext cx="631" cy="704"/>
              </a:xfrm>
              <a:custGeom>
                <a:avLst/>
                <a:gdLst>
                  <a:gd name="T0" fmla="*/ 391 w 423"/>
                  <a:gd name="T1" fmla="*/ 382 h 473"/>
                  <a:gd name="T2" fmla="*/ 298 w 423"/>
                  <a:gd name="T3" fmla="*/ 217 h 473"/>
                  <a:gd name="T4" fmla="*/ 1 w 423"/>
                  <a:gd name="T5" fmla="*/ 0 h 473"/>
                  <a:gd name="T6" fmla="*/ 0 w 423"/>
                  <a:gd name="T7" fmla="*/ 1 h 473"/>
                  <a:gd name="T8" fmla="*/ 287 w 423"/>
                  <a:gd name="T9" fmla="*/ 241 h 473"/>
                  <a:gd name="T10" fmla="*/ 374 w 423"/>
                  <a:gd name="T11" fmla="*/ 403 h 473"/>
                  <a:gd name="T12" fmla="*/ 393 w 423"/>
                  <a:gd name="T13" fmla="*/ 473 h 473"/>
                  <a:gd name="T14" fmla="*/ 423 w 423"/>
                  <a:gd name="T15" fmla="*/ 473 h 473"/>
                  <a:gd name="T16" fmla="*/ 391 w 423"/>
                  <a:gd name="T17" fmla="*/ 382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3" h="473">
                    <a:moveTo>
                      <a:pt x="391" y="382"/>
                    </a:moveTo>
                    <a:cubicBezTo>
                      <a:pt x="368" y="323"/>
                      <a:pt x="336" y="268"/>
                      <a:pt x="298" y="217"/>
                    </a:cubicBezTo>
                    <a:cubicBezTo>
                      <a:pt x="223" y="119"/>
                      <a:pt x="119" y="38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114" y="60"/>
                      <a:pt x="212" y="136"/>
                      <a:pt x="287" y="241"/>
                    </a:cubicBezTo>
                    <a:cubicBezTo>
                      <a:pt x="323" y="291"/>
                      <a:pt x="352" y="345"/>
                      <a:pt x="374" y="403"/>
                    </a:cubicBezTo>
                    <a:cubicBezTo>
                      <a:pt x="383" y="426"/>
                      <a:pt x="388" y="449"/>
                      <a:pt x="393" y="473"/>
                    </a:cubicBezTo>
                    <a:cubicBezTo>
                      <a:pt x="423" y="473"/>
                      <a:pt x="423" y="473"/>
                      <a:pt x="423" y="473"/>
                    </a:cubicBezTo>
                    <a:cubicBezTo>
                      <a:pt x="414" y="441"/>
                      <a:pt x="402" y="410"/>
                      <a:pt x="391" y="38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0" name="Freeform 133">
                <a:extLst>
                  <a:ext uri="{FF2B5EF4-FFF2-40B4-BE49-F238E27FC236}">
                    <a16:creationId xmlns:a16="http://schemas.microsoft.com/office/drawing/2014/main" id="{179CE162-1A64-410F-BFB5-53FA675B04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32" y="3706"/>
                <a:ext cx="1285" cy="596"/>
              </a:xfrm>
              <a:custGeom>
                <a:avLst/>
                <a:gdLst>
                  <a:gd name="T0" fmla="*/ 529 w 862"/>
                  <a:gd name="T1" fmla="*/ 59 h 400"/>
                  <a:gd name="T2" fmla="*/ 5 w 862"/>
                  <a:gd name="T3" fmla="*/ 182 h 400"/>
                  <a:gd name="T4" fmla="*/ 11 w 862"/>
                  <a:gd name="T5" fmla="*/ 191 h 400"/>
                  <a:gd name="T6" fmla="*/ 519 w 862"/>
                  <a:gd name="T7" fmla="*/ 94 h 400"/>
                  <a:gd name="T8" fmla="*/ 844 w 862"/>
                  <a:gd name="T9" fmla="*/ 400 h 400"/>
                  <a:gd name="T10" fmla="*/ 862 w 862"/>
                  <a:gd name="T11" fmla="*/ 400 h 400"/>
                  <a:gd name="T12" fmla="*/ 529 w 862"/>
                  <a:gd name="T13" fmla="*/ 59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2" h="400">
                    <a:moveTo>
                      <a:pt x="529" y="59"/>
                    </a:moveTo>
                    <a:cubicBezTo>
                      <a:pt x="353" y="0"/>
                      <a:pt x="144" y="68"/>
                      <a:pt x="5" y="182"/>
                    </a:cubicBezTo>
                    <a:cubicBezTo>
                      <a:pt x="0" y="186"/>
                      <a:pt x="6" y="193"/>
                      <a:pt x="11" y="191"/>
                    </a:cubicBezTo>
                    <a:cubicBezTo>
                      <a:pt x="173" y="111"/>
                      <a:pt x="335" y="27"/>
                      <a:pt x="519" y="94"/>
                    </a:cubicBezTo>
                    <a:cubicBezTo>
                      <a:pt x="669" y="148"/>
                      <a:pt x="763" y="271"/>
                      <a:pt x="844" y="400"/>
                    </a:cubicBezTo>
                    <a:cubicBezTo>
                      <a:pt x="862" y="400"/>
                      <a:pt x="862" y="400"/>
                      <a:pt x="862" y="400"/>
                    </a:cubicBezTo>
                    <a:cubicBezTo>
                      <a:pt x="808" y="245"/>
                      <a:pt x="687" y="111"/>
                      <a:pt x="529" y="5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1" name="Freeform 134">
                <a:extLst>
                  <a:ext uri="{FF2B5EF4-FFF2-40B4-BE49-F238E27FC236}">
                    <a16:creationId xmlns:a16="http://schemas.microsoft.com/office/drawing/2014/main" id="{606CBB3F-D60D-48E4-B739-F18DBB03CC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17" y="4015"/>
                <a:ext cx="63" cy="71"/>
              </a:xfrm>
              <a:custGeom>
                <a:avLst/>
                <a:gdLst>
                  <a:gd name="T0" fmla="*/ 40 w 42"/>
                  <a:gd name="T1" fmla="*/ 43 h 48"/>
                  <a:gd name="T2" fmla="*/ 2 w 42"/>
                  <a:gd name="T3" fmla="*/ 1 h 48"/>
                  <a:gd name="T4" fmla="*/ 1 w 42"/>
                  <a:gd name="T5" fmla="*/ 2 h 48"/>
                  <a:gd name="T6" fmla="*/ 35 w 42"/>
                  <a:gd name="T7" fmla="*/ 45 h 48"/>
                  <a:gd name="T8" fmla="*/ 40 w 42"/>
                  <a:gd name="T9" fmla="*/ 4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8">
                    <a:moveTo>
                      <a:pt x="40" y="43"/>
                    </a:moveTo>
                    <a:cubicBezTo>
                      <a:pt x="29" y="27"/>
                      <a:pt x="16" y="14"/>
                      <a:pt x="2" y="1"/>
                    </a:cubicBezTo>
                    <a:cubicBezTo>
                      <a:pt x="1" y="0"/>
                      <a:pt x="0" y="1"/>
                      <a:pt x="1" y="2"/>
                    </a:cubicBezTo>
                    <a:cubicBezTo>
                      <a:pt x="14" y="16"/>
                      <a:pt x="24" y="31"/>
                      <a:pt x="35" y="45"/>
                    </a:cubicBezTo>
                    <a:cubicBezTo>
                      <a:pt x="37" y="48"/>
                      <a:pt x="42" y="45"/>
                      <a:pt x="40" y="4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2" name="Freeform 135">
                <a:extLst>
                  <a:ext uri="{FF2B5EF4-FFF2-40B4-BE49-F238E27FC236}">
                    <a16:creationId xmlns:a16="http://schemas.microsoft.com/office/drawing/2014/main" id="{E8F163C2-5022-406C-BEA9-870269C215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24" y="3891"/>
                <a:ext cx="551" cy="411"/>
              </a:xfrm>
              <a:custGeom>
                <a:avLst/>
                <a:gdLst>
                  <a:gd name="T0" fmla="*/ 332 w 370"/>
                  <a:gd name="T1" fmla="*/ 216 h 276"/>
                  <a:gd name="T2" fmla="*/ 229 w 370"/>
                  <a:gd name="T3" fmla="*/ 99 h 276"/>
                  <a:gd name="T4" fmla="*/ 0 w 370"/>
                  <a:gd name="T5" fmla="*/ 0 h 276"/>
                  <a:gd name="T6" fmla="*/ 0 w 370"/>
                  <a:gd name="T7" fmla="*/ 1 h 276"/>
                  <a:gd name="T8" fmla="*/ 233 w 370"/>
                  <a:gd name="T9" fmla="*/ 129 h 276"/>
                  <a:gd name="T10" fmla="*/ 320 w 370"/>
                  <a:gd name="T11" fmla="*/ 244 h 276"/>
                  <a:gd name="T12" fmla="*/ 338 w 370"/>
                  <a:gd name="T13" fmla="*/ 276 h 276"/>
                  <a:gd name="T14" fmla="*/ 370 w 370"/>
                  <a:gd name="T15" fmla="*/ 276 h 276"/>
                  <a:gd name="T16" fmla="*/ 332 w 370"/>
                  <a:gd name="T17" fmla="*/ 216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0" h="276">
                    <a:moveTo>
                      <a:pt x="332" y="216"/>
                    </a:moveTo>
                    <a:cubicBezTo>
                      <a:pt x="303" y="172"/>
                      <a:pt x="270" y="131"/>
                      <a:pt x="229" y="99"/>
                    </a:cubicBezTo>
                    <a:cubicBezTo>
                      <a:pt x="163" y="46"/>
                      <a:pt x="85" y="8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89" y="26"/>
                      <a:pt x="169" y="62"/>
                      <a:pt x="233" y="129"/>
                    </a:cubicBezTo>
                    <a:cubicBezTo>
                      <a:pt x="266" y="164"/>
                      <a:pt x="295" y="203"/>
                      <a:pt x="320" y="244"/>
                    </a:cubicBezTo>
                    <a:cubicBezTo>
                      <a:pt x="326" y="254"/>
                      <a:pt x="332" y="265"/>
                      <a:pt x="338" y="276"/>
                    </a:cubicBezTo>
                    <a:cubicBezTo>
                      <a:pt x="370" y="276"/>
                      <a:pt x="370" y="276"/>
                      <a:pt x="370" y="276"/>
                    </a:cubicBezTo>
                    <a:cubicBezTo>
                      <a:pt x="358" y="255"/>
                      <a:pt x="344" y="234"/>
                      <a:pt x="332" y="21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3" name="Freeform 136">
                <a:extLst>
                  <a:ext uri="{FF2B5EF4-FFF2-40B4-BE49-F238E27FC236}">
                    <a16:creationId xmlns:a16="http://schemas.microsoft.com/office/drawing/2014/main" id="{FCFC1C56-8040-4387-BD38-A785A60F75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3" y="3738"/>
                <a:ext cx="277" cy="195"/>
              </a:xfrm>
              <a:custGeom>
                <a:avLst/>
                <a:gdLst>
                  <a:gd name="T0" fmla="*/ 185 w 186"/>
                  <a:gd name="T1" fmla="*/ 125 h 131"/>
                  <a:gd name="T2" fmla="*/ 2 w 186"/>
                  <a:gd name="T3" fmla="*/ 0 h 131"/>
                  <a:gd name="T4" fmla="*/ 1 w 186"/>
                  <a:gd name="T5" fmla="*/ 2 h 131"/>
                  <a:gd name="T6" fmla="*/ 181 w 186"/>
                  <a:gd name="T7" fmla="*/ 129 h 131"/>
                  <a:gd name="T8" fmla="*/ 185 w 186"/>
                  <a:gd name="T9" fmla="*/ 12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6" h="131">
                    <a:moveTo>
                      <a:pt x="185" y="125"/>
                    </a:moveTo>
                    <a:cubicBezTo>
                      <a:pt x="137" y="65"/>
                      <a:pt x="69" y="32"/>
                      <a:pt x="2" y="0"/>
                    </a:cubicBezTo>
                    <a:cubicBezTo>
                      <a:pt x="1" y="0"/>
                      <a:pt x="0" y="1"/>
                      <a:pt x="1" y="2"/>
                    </a:cubicBezTo>
                    <a:cubicBezTo>
                      <a:pt x="66" y="37"/>
                      <a:pt x="120" y="88"/>
                      <a:pt x="181" y="129"/>
                    </a:cubicBezTo>
                    <a:cubicBezTo>
                      <a:pt x="184" y="131"/>
                      <a:pt x="186" y="127"/>
                      <a:pt x="185" y="12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4" name="Freeform 137">
                <a:extLst>
                  <a:ext uri="{FF2B5EF4-FFF2-40B4-BE49-F238E27FC236}">
                    <a16:creationId xmlns:a16="http://schemas.microsoft.com/office/drawing/2014/main" id="{86569F78-F9E6-45D3-A473-F5BE1B7AD7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1115"/>
                <a:ext cx="1070" cy="417"/>
              </a:xfrm>
              <a:custGeom>
                <a:avLst/>
                <a:gdLst>
                  <a:gd name="T0" fmla="*/ 342 w 718"/>
                  <a:gd name="T1" fmla="*/ 51 h 280"/>
                  <a:gd name="T2" fmla="*/ 548 w 718"/>
                  <a:gd name="T3" fmla="*/ 145 h 280"/>
                  <a:gd name="T4" fmla="*/ 716 w 718"/>
                  <a:gd name="T5" fmla="*/ 279 h 280"/>
                  <a:gd name="T6" fmla="*/ 717 w 718"/>
                  <a:gd name="T7" fmla="*/ 278 h 280"/>
                  <a:gd name="T8" fmla="*/ 571 w 718"/>
                  <a:gd name="T9" fmla="*/ 137 h 280"/>
                  <a:gd name="T10" fmla="*/ 357 w 718"/>
                  <a:gd name="T11" fmla="*/ 32 h 280"/>
                  <a:gd name="T12" fmla="*/ 0 w 718"/>
                  <a:gd name="T13" fmla="*/ 29 h 280"/>
                  <a:gd name="T14" fmla="*/ 0 w 718"/>
                  <a:gd name="T15" fmla="*/ 52 h 280"/>
                  <a:gd name="T16" fmla="*/ 342 w 718"/>
                  <a:gd name="T17" fmla="*/ 51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8" h="280">
                    <a:moveTo>
                      <a:pt x="342" y="51"/>
                    </a:moveTo>
                    <a:cubicBezTo>
                      <a:pt x="414" y="70"/>
                      <a:pt x="483" y="109"/>
                      <a:pt x="548" y="145"/>
                    </a:cubicBezTo>
                    <a:cubicBezTo>
                      <a:pt x="611" y="180"/>
                      <a:pt x="673" y="220"/>
                      <a:pt x="716" y="279"/>
                    </a:cubicBezTo>
                    <a:cubicBezTo>
                      <a:pt x="717" y="280"/>
                      <a:pt x="718" y="279"/>
                      <a:pt x="717" y="278"/>
                    </a:cubicBezTo>
                    <a:cubicBezTo>
                      <a:pt x="680" y="218"/>
                      <a:pt x="631" y="174"/>
                      <a:pt x="571" y="137"/>
                    </a:cubicBezTo>
                    <a:cubicBezTo>
                      <a:pt x="504" y="96"/>
                      <a:pt x="432" y="54"/>
                      <a:pt x="357" y="32"/>
                    </a:cubicBezTo>
                    <a:cubicBezTo>
                      <a:pt x="249" y="0"/>
                      <a:pt x="118" y="2"/>
                      <a:pt x="0" y="2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113" y="31"/>
                      <a:pt x="229" y="22"/>
                      <a:pt x="342" y="5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5" name="Freeform 138">
                <a:extLst>
                  <a:ext uri="{FF2B5EF4-FFF2-40B4-BE49-F238E27FC236}">
                    <a16:creationId xmlns:a16="http://schemas.microsoft.com/office/drawing/2014/main" id="{67155B7F-7D78-4252-979C-7CB7B4D2BA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2" y="1062"/>
                <a:ext cx="81" cy="33"/>
              </a:xfrm>
              <a:custGeom>
                <a:avLst/>
                <a:gdLst>
                  <a:gd name="T0" fmla="*/ 53 w 54"/>
                  <a:gd name="T1" fmla="*/ 1 h 22"/>
                  <a:gd name="T2" fmla="*/ 27 w 54"/>
                  <a:gd name="T3" fmla="*/ 12 h 22"/>
                  <a:gd name="T4" fmla="*/ 2 w 54"/>
                  <a:gd name="T5" fmla="*/ 14 h 22"/>
                  <a:gd name="T6" fmla="*/ 2 w 54"/>
                  <a:gd name="T7" fmla="*/ 18 h 22"/>
                  <a:gd name="T8" fmla="*/ 54 w 54"/>
                  <a:gd name="T9" fmla="*/ 3 h 22"/>
                  <a:gd name="T10" fmla="*/ 53 w 54"/>
                  <a:gd name="T11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22">
                    <a:moveTo>
                      <a:pt x="53" y="1"/>
                    </a:moveTo>
                    <a:cubicBezTo>
                      <a:pt x="45" y="6"/>
                      <a:pt x="36" y="10"/>
                      <a:pt x="27" y="12"/>
                    </a:cubicBezTo>
                    <a:cubicBezTo>
                      <a:pt x="19" y="14"/>
                      <a:pt x="10" y="13"/>
                      <a:pt x="2" y="14"/>
                    </a:cubicBezTo>
                    <a:cubicBezTo>
                      <a:pt x="0" y="15"/>
                      <a:pt x="0" y="18"/>
                      <a:pt x="2" y="18"/>
                    </a:cubicBezTo>
                    <a:cubicBezTo>
                      <a:pt x="19" y="22"/>
                      <a:pt x="40" y="12"/>
                      <a:pt x="54" y="3"/>
                    </a:cubicBezTo>
                    <a:cubicBezTo>
                      <a:pt x="54" y="2"/>
                      <a:pt x="54" y="0"/>
                      <a:pt x="53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6" name="Freeform 139">
                <a:extLst>
                  <a:ext uri="{FF2B5EF4-FFF2-40B4-BE49-F238E27FC236}">
                    <a16:creationId xmlns:a16="http://schemas.microsoft.com/office/drawing/2014/main" id="{14955FCA-E75D-4825-97ED-6B32503729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6" y="1768"/>
                <a:ext cx="328" cy="501"/>
              </a:xfrm>
              <a:custGeom>
                <a:avLst/>
                <a:gdLst>
                  <a:gd name="T0" fmla="*/ 2 w 220"/>
                  <a:gd name="T1" fmla="*/ 332 h 337"/>
                  <a:gd name="T2" fmla="*/ 4 w 220"/>
                  <a:gd name="T3" fmla="*/ 336 h 337"/>
                  <a:gd name="T4" fmla="*/ 136 w 220"/>
                  <a:gd name="T5" fmla="*/ 0 h 337"/>
                  <a:gd name="T6" fmla="*/ 135 w 220"/>
                  <a:gd name="T7" fmla="*/ 1 h 337"/>
                  <a:gd name="T8" fmla="*/ 2 w 220"/>
                  <a:gd name="T9" fmla="*/ 332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337">
                    <a:moveTo>
                      <a:pt x="2" y="332"/>
                    </a:moveTo>
                    <a:cubicBezTo>
                      <a:pt x="0" y="333"/>
                      <a:pt x="1" y="337"/>
                      <a:pt x="4" y="336"/>
                    </a:cubicBezTo>
                    <a:cubicBezTo>
                      <a:pt x="162" y="295"/>
                      <a:pt x="220" y="137"/>
                      <a:pt x="136" y="0"/>
                    </a:cubicBezTo>
                    <a:cubicBezTo>
                      <a:pt x="135" y="0"/>
                      <a:pt x="135" y="0"/>
                      <a:pt x="135" y="1"/>
                    </a:cubicBezTo>
                    <a:cubicBezTo>
                      <a:pt x="199" y="125"/>
                      <a:pt x="132" y="286"/>
                      <a:pt x="2" y="33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7" name="Freeform 140">
                <a:extLst>
                  <a:ext uri="{FF2B5EF4-FFF2-40B4-BE49-F238E27FC236}">
                    <a16:creationId xmlns:a16="http://schemas.microsoft.com/office/drawing/2014/main" id="{09740A60-A0AD-4CF7-BD27-465D94031D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1579"/>
                <a:ext cx="312" cy="671"/>
              </a:xfrm>
              <a:custGeom>
                <a:avLst/>
                <a:gdLst>
                  <a:gd name="T0" fmla="*/ 130 w 209"/>
                  <a:gd name="T1" fmla="*/ 68 h 451"/>
                  <a:gd name="T2" fmla="*/ 0 w 209"/>
                  <a:gd name="T3" fmla="*/ 0 h 451"/>
                  <a:gd name="T4" fmla="*/ 0 w 209"/>
                  <a:gd name="T5" fmla="*/ 9 h 451"/>
                  <a:gd name="T6" fmla="*/ 171 w 209"/>
                  <a:gd name="T7" fmla="*/ 233 h 451"/>
                  <a:gd name="T8" fmla="*/ 79 w 209"/>
                  <a:gd name="T9" fmla="*/ 404 h 451"/>
                  <a:gd name="T10" fmla="*/ 0 w 209"/>
                  <a:gd name="T11" fmla="*/ 415 h 451"/>
                  <a:gd name="T12" fmla="*/ 0 w 209"/>
                  <a:gd name="T13" fmla="*/ 448 h 451"/>
                  <a:gd name="T14" fmla="*/ 202 w 209"/>
                  <a:gd name="T15" fmla="*/ 275 h 451"/>
                  <a:gd name="T16" fmla="*/ 130 w 209"/>
                  <a:gd name="T17" fmla="*/ 68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9" h="451">
                    <a:moveTo>
                      <a:pt x="130" y="68"/>
                    </a:moveTo>
                    <a:cubicBezTo>
                      <a:pt x="92" y="36"/>
                      <a:pt x="47" y="15"/>
                      <a:pt x="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95" y="47"/>
                      <a:pt x="169" y="117"/>
                      <a:pt x="171" y="233"/>
                    </a:cubicBezTo>
                    <a:cubicBezTo>
                      <a:pt x="171" y="304"/>
                      <a:pt x="151" y="376"/>
                      <a:pt x="79" y="404"/>
                    </a:cubicBezTo>
                    <a:cubicBezTo>
                      <a:pt x="53" y="414"/>
                      <a:pt x="27" y="416"/>
                      <a:pt x="0" y="415"/>
                    </a:cubicBezTo>
                    <a:cubicBezTo>
                      <a:pt x="0" y="448"/>
                      <a:pt x="0" y="448"/>
                      <a:pt x="0" y="448"/>
                    </a:cubicBezTo>
                    <a:cubicBezTo>
                      <a:pt x="100" y="451"/>
                      <a:pt x="190" y="395"/>
                      <a:pt x="202" y="275"/>
                    </a:cubicBezTo>
                    <a:cubicBezTo>
                      <a:pt x="209" y="196"/>
                      <a:pt x="192" y="121"/>
                      <a:pt x="130" y="6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8" name="Freeform 141">
                <a:extLst>
                  <a:ext uri="{FF2B5EF4-FFF2-40B4-BE49-F238E27FC236}">
                    <a16:creationId xmlns:a16="http://schemas.microsoft.com/office/drawing/2014/main" id="{196EEFB5-F7FE-4C63-8A94-4AE9D6FB81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" y="1471"/>
                <a:ext cx="250" cy="782"/>
              </a:xfrm>
              <a:custGeom>
                <a:avLst/>
                <a:gdLst>
                  <a:gd name="T0" fmla="*/ 42 w 168"/>
                  <a:gd name="T1" fmla="*/ 520 h 525"/>
                  <a:gd name="T2" fmla="*/ 43 w 168"/>
                  <a:gd name="T3" fmla="*/ 524 h 525"/>
                  <a:gd name="T4" fmla="*/ 162 w 168"/>
                  <a:gd name="T5" fmla="*/ 274 h 525"/>
                  <a:gd name="T6" fmla="*/ 1 w 168"/>
                  <a:gd name="T7" fmla="*/ 0 h 525"/>
                  <a:gd name="T8" fmla="*/ 1 w 168"/>
                  <a:gd name="T9" fmla="*/ 1 h 525"/>
                  <a:gd name="T10" fmla="*/ 138 w 168"/>
                  <a:gd name="T11" fmla="*/ 247 h 525"/>
                  <a:gd name="T12" fmla="*/ 42 w 168"/>
                  <a:gd name="T13" fmla="*/ 520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8" h="525">
                    <a:moveTo>
                      <a:pt x="42" y="520"/>
                    </a:moveTo>
                    <a:cubicBezTo>
                      <a:pt x="40" y="521"/>
                      <a:pt x="40" y="525"/>
                      <a:pt x="43" y="524"/>
                    </a:cubicBezTo>
                    <a:cubicBezTo>
                      <a:pt x="148" y="493"/>
                      <a:pt x="168" y="369"/>
                      <a:pt x="162" y="274"/>
                    </a:cubicBezTo>
                    <a:cubicBezTo>
                      <a:pt x="154" y="163"/>
                      <a:pt x="104" y="52"/>
                      <a:pt x="1" y="0"/>
                    </a:cubicBezTo>
                    <a:cubicBezTo>
                      <a:pt x="1" y="0"/>
                      <a:pt x="0" y="1"/>
                      <a:pt x="1" y="1"/>
                    </a:cubicBezTo>
                    <a:cubicBezTo>
                      <a:pt x="86" y="59"/>
                      <a:pt x="126" y="147"/>
                      <a:pt x="138" y="247"/>
                    </a:cubicBezTo>
                    <a:cubicBezTo>
                      <a:pt x="150" y="345"/>
                      <a:pt x="152" y="478"/>
                      <a:pt x="42" y="52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9" name="Freeform 142">
                <a:extLst>
                  <a:ext uri="{FF2B5EF4-FFF2-40B4-BE49-F238E27FC236}">
                    <a16:creationId xmlns:a16="http://schemas.microsoft.com/office/drawing/2014/main" id="{EB489530-3108-4D58-A9F0-1A4FE07BF2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5" y="1437"/>
                <a:ext cx="277" cy="366"/>
              </a:xfrm>
              <a:custGeom>
                <a:avLst/>
                <a:gdLst>
                  <a:gd name="T0" fmla="*/ 3 w 186"/>
                  <a:gd name="T1" fmla="*/ 1 h 246"/>
                  <a:gd name="T2" fmla="*/ 1 w 186"/>
                  <a:gd name="T3" fmla="*/ 3 h 246"/>
                  <a:gd name="T4" fmla="*/ 183 w 186"/>
                  <a:gd name="T5" fmla="*/ 245 h 246"/>
                  <a:gd name="T6" fmla="*/ 185 w 186"/>
                  <a:gd name="T7" fmla="*/ 244 h 246"/>
                  <a:gd name="T8" fmla="*/ 130 w 186"/>
                  <a:gd name="T9" fmla="*/ 116 h 246"/>
                  <a:gd name="T10" fmla="*/ 3 w 186"/>
                  <a:gd name="T11" fmla="*/ 1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6" h="246">
                    <a:moveTo>
                      <a:pt x="3" y="1"/>
                    </a:moveTo>
                    <a:cubicBezTo>
                      <a:pt x="2" y="0"/>
                      <a:pt x="0" y="2"/>
                      <a:pt x="1" y="3"/>
                    </a:cubicBezTo>
                    <a:cubicBezTo>
                      <a:pt x="69" y="68"/>
                      <a:pt x="150" y="155"/>
                      <a:pt x="183" y="245"/>
                    </a:cubicBezTo>
                    <a:cubicBezTo>
                      <a:pt x="184" y="246"/>
                      <a:pt x="186" y="246"/>
                      <a:pt x="185" y="244"/>
                    </a:cubicBezTo>
                    <a:cubicBezTo>
                      <a:pt x="174" y="196"/>
                      <a:pt x="161" y="155"/>
                      <a:pt x="130" y="116"/>
                    </a:cubicBezTo>
                    <a:cubicBezTo>
                      <a:pt x="94" y="71"/>
                      <a:pt x="46" y="39"/>
                      <a:pt x="3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" name="Freeform 143">
                <a:extLst>
                  <a:ext uri="{FF2B5EF4-FFF2-40B4-BE49-F238E27FC236}">
                    <a16:creationId xmlns:a16="http://schemas.microsoft.com/office/drawing/2014/main" id="{043B11CD-407F-4E0A-A82C-9967AD15F8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99" y="1876"/>
                <a:ext cx="35" cy="194"/>
              </a:xfrm>
              <a:custGeom>
                <a:avLst/>
                <a:gdLst>
                  <a:gd name="T0" fmla="*/ 0 w 23"/>
                  <a:gd name="T1" fmla="*/ 119 h 130"/>
                  <a:gd name="T2" fmla="*/ 1 w 23"/>
                  <a:gd name="T3" fmla="*/ 125 h 130"/>
                  <a:gd name="T4" fmla="*/ 11 w 23"/>
                  <a:gd name="T5" fmla="*/ 125 h 130"/>
                  <a:gd name="T6" fmla="*/ 13 w 23"/>
                  <a:gd name="T7" fmla="*/ 1 h 130"/>
                  <a:gd name="T8" fmla="*/ 12 w 23"/>
                  <a:gd name="T9" fmla="*/ 1 h 130"/>
                  <a:gd name="T10" fmla="*/ 3 w 23"/>
                  <a:gd name="T11" fmla="*/ 115 h 130"/>
                  <a:gd name="T12" fmla="*/ 0 w 23"/>
                  <a:gd name="T13" fmla="*/ 119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130">
                    <a:moveTo>
                      <a:pt x="0" y="119"/>
                    </a:moveTo>
                    <a:cubicBezTo>
                      <a:pt x="0" y="121"/>
                      <a:pt x="1" y="123"/>
                      <a:pt x="1" y="125"/>
                    </a:cubicBezTo>
                    <a:cubicBezTo>
                      <a:pt x="2" y="130"/>
                      <a:pt x="9" y="129"/>
                      <a:pt x="11" y="125"/>
                    </a:cubicBezTo>
                    <a:cubicBezTo>
                      <a:pt x="23" y="85"/>
                      <a:pt x="21" y="41"/>
                      <a:pt x="13" y="1"/>
                    </a:cubicBezTo>
                    <a:cubicBezTo>
                      <a:pt x="13" y="0"/>
                      <a:pt x="12" y="0"/>
                      <a:pt x="12" y="1"/>
                    </a:cubicBezTo>
                    <a:cubicBezTo>
                      <a:pt x="17" y="40"/>
                      <a:pt x="12" y="77"/>
                      <a:pt x="3" y="115"/>
                    </a:cubicBezTo>
                    <a:cubicBezTo>
                      <a:pt x="1" y="115"/>
                      <a:pt x="0" y="117"/>
                      <a:pt x="0" y="11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" name="Freeform 144">
                <a:extLst>
                  <a:ext uri="{FF2B5EF4-FFF2-40B4-BE49-F238E27FC236}">
                    <a16:creationId xmlns:a16="http://schemas.microsoft.com/office/drawing/2014/main" id="{814C4AA7-E7C4-474C-B67F-397F5C3453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5" y="1596"/>
                <a:ext cx="111" cy="639"/>
              </a:xfrm>
              <a:custGeom>
                <a:avLst/>
                <a:gdLst>
                  <a:gd name="T0" fmla="*/ 34 w 75"/>
                  <a:gd name="T1" fmla="*/ 422 h 429"/>
                  <a:gd name="T2" fmla="*/ 40 w 75"/>
                  <a:gd name="T3" fmla="*/ 425 h 429"/>
                  <a:gd name="T4" fmla="*/ 71 w 75"/>
                  <a:gd name="T5" fmla="*/ 203 h 429"/>
                  <a:gd name="T6" fmla="*/ 2 w 75"/>
                  <a:gd name="T7" fmla="*/ 1 h 429"/>
                  <a:gd name="T8" fmla="*/ 1 w 75"/>
                  <a:gd name="T9" fmla="*/ 2 h 429"/>
                  <a:gd name="T10" fmla="*/ 55 w 75"/>
                  <a:gd name="T11" fmla="*/ 212 h 429"/>
                  <a:gd name="T12" fmla="*/ 34 w 75"/>
                  <a:gd name="T13" fmla="*/ 422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429">
                    <a:moveTo>
                      <a:pt x="34" y="422"/>
                    </a:moveTo>
                    <a:cubicBezTo>
                      <a:pt x="33" y="425"/>
                      <a:pt x="38" y="429"/>
                      <a:pt x="40" y="425"/>
                    </a:cubicBezTo>
                    <a:cubicBezTo>
                      <a:pt x="70" y="358"/>
                      <a:pt x="75" y="274"/>
                      <a:pt x="71" y="203"/>
                    </a:cubicBezTo>
                    <a:cubicBezTo>
                      <a:pt x="68" y="129"/>
                      <a:pt x="38" y="64"/>
                      <a:pt x="2" y="1"/>
                    </a:cubicBezTo>
                    <a:cubicBezTo>
                      <a:pt x="1" y="0"/>
                      <a:pt x="0" y="1"/>
                      <a:pt x="1" y="2"/>
                    </a:cubicBezTo>
                    <a:cubicBezTo>
                      <a:pt x="34" y="69"/>
                      <a:pt x="61" y="136"/>
                      <a:pt x="55" y="212"/>
                    </a:cubicBezTo>
                    <a:cubicBezTo>
                      <a:pt x="50" y="281"/>
                      <a:pt x="46" y="355"/>
                      <a:pt x="34" y="42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" name="Freeform 145">
                <a:extLst>
                  <a:ext uri="{FF2B5EF4-FFF2-40B4-BE49-F238E27FC236}">
                    <a16:creationId xmlns:a16="http://schemas.microsoft.com/office/drawing/2014/main" id="{B102B5B2-0291-4CA2-8AB7-177DA33AAF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12" y="2880"/>
                <a:ext cx="149" cy="575"/>
              </a:xfrm>
              <a:custGeom>
                <a:avLst/>
                <a:gdLst>
                  <a:gd name="T0" fmla="*/ 9 w 100"/>
                  <a:gd name="T1" fmla="*/ 382 h 386"/>
                  <a:gd name="T2" fmla="*/ 51 w 100"/>
                  <a:gd name="T3" fmla="*/ 1 h 386"/>
                  <a:gd name="T4" fmla="*/ 50 w 100"/>
                  <a:gd name="T5" fmla="*/ 1 h 386"/>
                  <a:gd name="T6" fmla="*/ 2 w 100"/>
                  <a:gd name="T7" fmla="*/ 377 h 386"/>
                  <a:gd name="T8" fmla="*/ 9 w 100"/>
                  <a:gd name="T9" fmla="*/ 382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386">
                    <a:moveTo>
                      <a:pt x="9" y="382"/>
                    </a:moveTo>
                    <a:cubicBezTo>
                      <a:pt x="100" y="277"/>
                      <a:pt x="99" y="123"/>
                      <a:pt x="51" y="1"/>
                    </a:cubicBezTo>
                    <a:cubicBezTo>
                      <a:pt x="51" y="0"/>
                      <a:pt x="50" y="0"/>
                      <a:pt x="50" y="1"/>
                    </a:cubicBezTo>
                    <a:cubicBezTo>
                      <a:pt x="87" y="133"/>
                      <a:pt x="54" y="256"/>
                      <a:pt x="2" y="377"/>
                    </a:cubicBezTo>
                    <a:cubicBezTo>
                      <a:pt x="0" y="381"/>
                      <a:pt x="5" y="386"/>
                      <a:pt x="9" y="38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3" name="Freeform 146">
                <a:extLst>
                  <a:ext uri="{FF2B5EF4-FFF2-40B4-BE49-F238E27FC236}">
                    <a16:creationId xmlns:a16="http://schemas.microsoft.com/office/drawing/2014/main" id="{426EEFDA-5F19-4584-AE9B-50EB9B4466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3499"/>
                <a:ext cx="109" cy="60"/>
              </a:xfrm>
              <a:custGeom>
                <a:avLst/>
                <a:gdLst>
                  <a:gd name="T0" fmla="*/ 4 w 73"/>
                  <a:gd name="T1" fmla="*/ 39 h 40"/>
                  <a:gd name="T2" fmla="*/ 72 w 73"/>
                  <a:gd name="T3" fmla="*/ 2 h 40"/>
                  <a:gd name="T4" fmla="*/ 71 w 73"/>
                  <a:gd name="T5" fmla="*/ 0 h 40"/>
                  <a:gd name="T6" fmla="*/ 1 w 73"/>
                  <a:gd name="T7" fmla="*/ 33 h 40"/>
                  <a:gd name="T8" fmla="*/ 0 w 73"/>
                  <a:gd name="T9" fmla="*/ 36 h 40"/>
                  <a:gd name="T10" fmla="*/ 0 w 73"/>
                  <a:gd name="T11" fmla="*/ 36 h 40"/>
                  <a:gd name="T12" fmla="*/ 4 w 73"/>
                  <a:gd name="T13" fmla="*/ 3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40">
                    <a:moveTo>
                      <a:pt x="4" y="39"/>
                    </a:moveTo>
                    <a:cubicBezTo>
                      <a:pt x="28" y="32"/>
                      <a:pt x="50" y="14"/>
                      <a:pt x="72" y="2"/>
                    </a:cubicBezTo>
                    <a:cubicBezTo>
                      <a:pt x="73" y="1"/>
                      <a:pt x="72" y="0"/>
                      <a:pt x="71" y="0"/>
                    </a:cubicBezTo>
                    <a:cubicBezTo>
                      <a:pt x="49" y="11"/>
                      <a:pt x="21" y="18"/>
                      <a:pt x="1" y="33"/>
                    </a:cubicBezTo>
                    <a:cubicBezTo>
                      <a:pt x="0" y="34"/>
                      <a:pt x="0" y="35"/>
                      <a:pt x="0" y="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8"/>
                      <a:pt x="2" y="40"/>
                      <a:pt x="4" y="3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4" name="Freeform 147">
                <a:extLst>
                  <a:ext uri="{FF2B5EF4-FFF2-40B4-BE49-F238E27FC236}">
                    <a16:creationId xmlns:a16="http://schemas.microsoft.com/office/drawing/2014/main" id="{032A06D8-3FE4-46C4-ADAA-34C313EFEC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1762"/>
                <a:ext cx="122" cy="341"/>
              </a:xfrm>
              <a:custGeom>
                <a:avLst/>
                <a:gdLst>
                  <a:gd name="T0" fmla="*/ 81 w 82"/>
                  <a:gd name="T1" fmla="*/ 129 h 229"/>
                  <a:gd name="T2" fmla="*/ 0 w 82"/>
                  <a:gd name="T3" fmla="*/ 0 h 229"/>
                  <a:gd name="T4" fmla="*/ 0 w 82"/>
                  <a:gd name="T5" fmla="*/ 7 h 229"/>
                  <a:gd name="T6" fmla="*/ 58 w 82"/>
                  <a:gd name="T7" fmla="*/ 107 h 229"/>
                  <a:gd name="T8" fmla="*/ 0 w 82"/>
                  <a:gd name="T9" fmla="*/ 206 h 229"/>
                  <a:gd name="T10" fmla="*/ 0 w 82"/>
                  <a:gd name="T11" fmla="*/ 229 h 229"/>
                  <a:gd name="T12" fmla="*/ 81 w 82"/>
                  <a:gd name="T13" fmla="*/ 12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229">
                    <a:moveTo>
                      <a:pt x="81" y="129"/>
                    </a:moveTo>
                    <a:cubicBezTo>
                      <a:pt x="82" y="69"/>
                      <a:pt x="47" y="27"/>
                      <a:pt x="0" y="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32" y="31"/>
                      <a:pt x="56" y="65"/>
                      <a:pt x="58" y="107"/>
                    </a:cubicBezTo>
                    <a:cubicBezTo>
                      <a:pt x="61" y="151"/>
                      <a:pt x="36" y="187"/>
                      <a:pt x="0" y="206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47" y="222"/>
                      <a:pt x="80" y="179"/>
                      <a:pt x="81" y="12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5" name="Freeform 148">
                <a:extLst>
                  <a:ext uri="{FF2B5EF4-FFF2-40B4-BE49-F238E27FC236}">
                    <a16:creationId xmlns:a16="http://schemas.microsoft.com/office/drawing/2014/main" id="{4C66A412-C304-4E7C-A782-8D7EB9298D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3492"/>
                <a:ext cx="227" cy="174"/>
              </a:xfrm>
              <a:custGeom>
                <a:avLst/>
                <a:gdLst>
                  <a:gd name="T0" fmla="*/ 151 w 152"/>
                  <a:gd name="T1" fmla="*/ 3 h 117"/>
                  <a:gd name="T2" fmla="*/ 149 w 152"/>
                  <a:gd name="T3" fmla="*/ 1 h 117"/>
                  <a:gd name="T4" fmla="*/ 43 w 152"/>
                  <a:gd name="T5" fmla="*/ 70 h 117"/>
                  <a:gd name="T6" fmla="*/ 0 w 152"/>
                  <a:gd name="T7" fmla="*/ 86 h 117"/>
                  <a:gd name="T8" fmla="*/ 0 w 152"/>
                  <a:gd name="T9" fmla="*/ 117 h 117"/>
                  <a:gd name="T10" fmla="*/ 151 w 152"/>
                  <a:gd name="T11" fmla="*/ 3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2" h="117">
                    <a:moveTo>
                      <a:pt x="151" y="3"/>
                    </a:moveTo>
                    <a:cubicBezTo>
                      <a:pt x="152" y="2"/>
                      <a:pt x="151" y="0"/>
                      <a:pt x="149" y="1"/>
                    </a:cubicBezTo>
                    <a:cubicBezTo>
                      <a:pt x="118" y="29"/>
                      <a:pt x="81" y="52"/>
                      <a:pt x="43" y="70"/>
                    </a:cubicBezTo>
                    <a:cubicBezTo>
                      <a:pt x="29" y="77"/>
                      <a:pt x="14" y="82"/>
                      <a:pt x="0" y="86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59" y="96"/>
                      <a:pt x="111" y="46"/>
                      <a:pt x="151" y="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6" name="Freeform 149">
                <a:extLst>
                  <a:ext uri="{FF2B5EF4-FFF2-40B4-BE49-F238E27FC236}">
                    <a16:creationId xmlns:a16="http://schemas.microsoft.com/office/drawing/2014/main" id="{F8ED4F48-7E46-4CBC-B06E-85ECDF5BAB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" y="3153"/>
                <a:ext cx="30" cy="90"/>
              </a:xfrm>
              <a:custGeom>
                <a:avLst/>
                <a:gdLst>
                  <a:gd name="T0" fmla="*/ 14 w 20"/>
                  <a:gd name="T1" fmla="*/ 2 h 61"/>
                  <a:gd name="T2" fmla="*/ 10 w 20"/>
                  <a:gd name="T3" fmla="*/ 32 h 61"/>
                  <a:gd name="T4" fmla="*/ 1 w 20"/>
                  <a:gd name="T5" fmla="*/ 57 h 61"/>
                  <a:gd name="T6" fmla="*/ 5 w 20"/>
                  <a:gd name="T7" fmla="*/ 59 h 61"/>
                  <a:gd name="T8" fmla="*/ 16 w 20"/>
                  <a:gd name="T9" fmla="*/ 2 h 61"/>
                  <a:gd name="T10" fmla="*/ 14 w 20"/>
                  <a:gd name="T11" fmla="*/ 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61">
                    <a:moveTo>
                      <a:pt x="14" y="2"/>
                    </a:moveTo>
                    <a:cubicBezTo>
                      <a:pt x="13" y="12"/>
                      <a:pt x="13" y="22"/>
                      <a:pt x="10" y="32"/>
                    </a:cubicBezTo>
                    <a:cubicBezTo>
                      <a:pt x="7" y="40"/>
                      <a:pt x="3" y="48"/>
                      <a:pt x="1" y="57"/>
                    </a:cubicBezTo>
                    <a:cubicBezTo>
                      <a:pt x="0" y="59"/>
                      <a:pt x="3" y="61"/>
                      <a:pt x="5" y="59"/>
                    </a:cubicBezTo>
                    <a:cubicBezTo>
                      <a:pt x="17" y="45"/>
                      <a:pt x="20" y="20"/>
                      <a:pt x="16" y="2"/>
                    </a:cubicBezTo>
                    <a:cubicBezTo>
                      <a:pt x="16" y="0"/>
                      <a:pt x="14" y="1"/>
                      <a:pt x="14" y="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7" name="Freeform 150">
                <a:extLst>
                  <a:ext uri="{FF2B5EF4-FFF2-40B4-BE49-F238E27FC236}">
                    <a16:creationId xmlns:a16="http://schemas.microsoft.com/office/drawing/2014/main" id="{E62D6DCE-7430-412B-BB04-71AC2568C4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5" y="3501"/>
                <a:ext cx="201" cy="156"/>
              </a:xfrm>
              <a:custGeom>
                <a:avLst/>
                <a:gdLst>
                  <a:gd name="T0" fmla="*/ 7 w 135"/>
                  <a:gd name="T1" fmla="*/ 104 h 105"/>
                  <a:gd name="T2" fmla="*/ 134 w 135"/>
                  <a:gd name="T3" fmla="*/ 2 h 105"/>
                  <a:gd name="T4" fmla="*/ 133 w 135"/>
                  <a:gd name="T5" fmla="*/ 1 h 105"/>
                  <a:gd name="T6" fmla="*/ 4 w 135"/>
                  <a:gd name="T7" fmla="*/ 96 h 105"/>
                  <a:gd name="T8" fmla="*/ 7 w 135"/>
                  <a:gd name="T9" fmla="*/ 104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105">
                    <a:moveTo>
                      <a:pt x="7" y="104"/>
                    </a:moveTo>
                    <a:cubicBezTo>
                      <a:pt x="59" y="87"/>
                      <a:pt x="105" y="46"/>
                      <a:pt x="134" y="2"/>
                    </a:cubicBezTo>
                    <a:cubicBezTo>
                      <a:pt x="135" y="1"/>
                      <a:pt x="133" y="0"/>
                      <a:pt x="133" y="1"/>
                    </a:cubicBezTo>
                    <a:cubicBezTo>
                      <a:pt x="93" y="38"/>
                      <a:pt x="49" y="66"/>
                      <a:pt x="4" y="96"/>
                    </a:cubicBezTo>
                    <a:cubicBezTo>
                      <a:pt x="0" y="99"/>
                      <a:pt x="2" y="105"/>
                      <a:pt x="7" y="104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8" name="Freeform 151">
                <a:extLst>
                  <a:ext uri="{FF2B5EF4-FFF2-40B4-BE49-F238E27FC236}">
                    <a16:creationId xmlns:a16="http://schemas.microsoft.com/office/drawing/2014/main" id="{0ADB806F-55B0-42AD-B184-B95A45B633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2700"/>
                <a:ext cx="371" cy="378"/>
              </a:xfrm>
              <a:custGeom>
                <a:avLst/>
                <a:gdLst>
                  <a:gd name="T0" fmla="*/ 144 w 249"/>
                  <a:gd name="T1" fmla="*/ 57 h 254"/>
                  <a:gd name="T2" fmla="*/ 0 w 249"/>
                  <a:gd name="T3" fmla="*/ 0 h 254"/>
                  <a:gd name="T4" fmla="*/ 0 w 249"/>
                  <a:gd name="T5" fmla="*/ 32 h 254"/>
                  <a:gd name="T6" fmla="*/ 113 w 249"/>
                  <a:gd name="T7" fmla="*/ 77 h 254"/>
                  <a:gd name="T8" fmla="*/ 235 w 249"/>
                  <a:gd name="T9" fmla="*/ 252 h 254"/>
                  <a:gd name="T10" fmla="*/ 237 w 249"/>
                  <a:gd name="T11" fmla="*/ 253 h 254"/>
                  <a:gd name="T12" fmla="*/ 144 w 249"/>
                  <a:gd name="T13" fmla="*/ 57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9" h="254">
                    <a:moveTo>
                      <a:pt x="144" y="57"/>
                    </a:moveTo>
                    <a:cubicBezTo>
                      <a:pt x="108" y="35"/>
                      <a:pt x="53" y="10"/>
                      <a:pt x="0" y="0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42" y="44"/>
                      <a:pt x="83" y="62"/>
                      <a:pt x="113" y="77"/>
                    </a:cubicBezTo>
                    <a:cubicBezTo>
                      <a:pt x="178" y="110"/>
                      <a:pt x="242" y="174"/>
                      <a:pt x="235" y="252"/>
                    </a:cubicBezTo>
                    <a:cubicBezTo>
                      <a:pt x="235" y="253"/>
                      <a:pt x="237" y="254"/>
                      <a:pt x="237" y="253"/>
                    </a:cubicBezTo>
                    <a:cubicBezTo>
                      <a:pt x="249" y="171"/>
                      <a:pt x="214" y="100"/>
                      <a:pt x="144" y="5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9" name="Freeform 152">
                <a:extLst>
                  <a:ext uri="{FF2B5EF4-FFF2-40B4-BE49-F238E27FC236}">
                    <a16:creationId xmlns:a16="http://schemas.microsoft.com/office/drawing/2014/main" id="{4D9ED8D6-C4DB-4DA9-AE20-FF7DBEC02A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9" y="3422"/>
                <a:ext cx="69" cy="75"/>
              </a:xfrm>
              <a:custGeom>
                <a:avLst/>
                <a:gdLst>
                  <a:gd name="T0" fmla="*/ 7 w 46"/>
                  <a:gd name="T1" fmla="*/ 47 h 50"/>
                  <a:gd name="T2" fmla="*/ 33 w 46"/>
                  <a:gd name="T3" fmla="*/ 28 h 50"/>
                  <a:gd name="T4" fmla="*/ 45 w 46"/>
                  <a:gd name="T5" fmla="*/ 2 h 50"/>
                  <a:gd name="T6" fmla="*/ 44 w 46"/>
                  <a:gd name="T7" fmla="*/ 1 h 50"/>
                  <a:gd name="T8" fmla="*/ 18 w 46"/>
                  <a:gd name="T9" fmla="*/ 29 h 50"/>
                  <a:gd name="T10" fmla="*/ 1 w 46"/>
                  <a:gd name="T11" fmla="*/ 45 h 50"/>
                  <a:gd name="T12" fmla="*/ 7 w 46"/>
                  <a:gd name="T13" fmla="*/ 4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50">
                    <a:moveTo>
                      <a:pt x="7" y="47"/>
                    </a:moveTo>
                    <a:cubicBezTo>
                      <a:pt x="13" y="38"/>
                      <a:pt x="25" y="36"/>
                      <a:pt x="33" y="28"/>
                    </a:cubicBezTo>
                    <a:cubicBezTo>
                      <a:pt x="39" y="20"/>
                      <a:pt x="43" y="11"/>
                      <a:pt x="45" y="2"/>
                    </a:cubicBezTo>
                    <a:cubicBezTo>
                      <a:pt x="46" y="0"/>
                      <a:pt x="44" y="0"/>
                      <a:pt x="44" y="1"/>
                    </a:cubicBezTo>
                    <a:cubicBezTo>
                      <a:pt x="39" y="13"/>
                      <a:pt x="30" y="23"/>
                      <a:pt x="18" y="29"/>
                    </a:cubicBezTo>
                    <a:cubicBezTo>
                      <a:pt x="10" y="33"/>
                      <a:pt x="0" y="35"/>
                      <a:pt x="1" y="45"/>
                    </a:cubicBezTo>
                    <a:cubicBezTo>
                      <a:pt x="1" y="49"/>
                      <a:pt x="5" y="50"/>
                      <a:pt x="7" y="4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0" name="Freeform 153">
                <a:extLst>
                  <a:ext uri="{FF2B5EF4-FFF2-40B4-BE49-F238E27FC236}">
                    <a16:creationId xmlns:a16="http://schemas.microsoft.com/office/drawing/2014/main" id="{A05DE631-A2D2-4696-AFDC-6EA4FAA269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6" y="3053"/>
                <a:ext cx="44" cy="167"/>
              </a:xfrm>
              <a:custGeom>
                <a:avLst/>
                <a:gdLst>
                  <a:gd name="T0" fmla="*/ 7 w 30"/>
                  <a:gd name="T1" fmla="*/ 109 h 112"/>
                  <a:gd name="T2" fmla="*/ 22 w 30"/>
                  <a:gd name="T3" fmla="*/ 1 h 112"/>
                  <a:gd name="T4" fmla="*/ 20 w 30"/>
                  <a:gd name="T5" fmla="*/ 1 h 112"/>
                  <a:gd name="T6" fmla="*/ 1 w 30"/>
                  <a:gd name="T7" fmla="*/ 107 h 112"/>
                  <a:gd name="T8" fmla="*/ 7 w 30"/>
                  <a:gd name="T9" fmla="*/ 10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12">
                    <a:moveTo>
                      <a:pt x="7" y="109"/>
                    </a:moveTo>
                    <a:cubicBezTo>
                      <a:pt x="30" y="79"/>
                      <a:pt x="29" y="36"/>
                      <a:pt x="22" y="1"/>
                    </a:cubicBezTo>
                    <a:cubicBezTo>
                      <a:pt x="21" y="0"/>
                      <a:pt x="20" y="1"/>
                      <a:pt x="20" y="1"/>
                    </a:cubicBezTo>
                    <a:cubicBezTo>
                      <a:pt x="24" y="40"/>
                      <a:pt x="11" y="71"/>
                      <a:pt x="1" y="107"/>
                    </a:cubicBezTo>
                    <a:cubicBezTo>
                      <a:pt x="0" y="110"/>
                      <a:pt x="5" y="112"/>
                      <a:pt x="7" y="10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1" name="Freeform 154">
                <a:extLst>
                  <a:ext uri="{FF2B5EF4-FFF2-40B4-BE49-F238E27FC236}">
                    <a16:creationId xmlns:a16="http://schemas.microsoft.com/office/drawing/2014/main" id="{14DC83FE-895F-4C45-BB19-AD8850738E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2785"/>
                <a:ext cx="273" cy="301"/>
              </a:xfrm>
              <a:custGeom>
                <a:avLst/>
                <a:gdLst>
                  <a:gd name="T0" fmla="*/ 183 w 183"/>
                  <a:gd name="T1" fmla="*/ 200 h 202"/>
                  <a:gd name="T2" fmla="*/ 0 w 183"/>
                  <a:gd name="T3" fmla="*/ 0 h 202"/>
                  <a:gd name="T4" fmla="*/ 0 w 183"/>
                  <a:gd name="T5" fmla="*/ 17 h 202"/>
                  <a:gd name="T6" fmla="*/ 181 w 183"/>
                  <a:gd name="T7" fmla="*/ 200 h 202"/>
                  <a:gd name="T8" fmla="*/ 183 w 183"/>
                  <a:gd name="T9" fmla="*/ 20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" h="202">
                    <a:moveTo>
                      <a:pt x="183" y="200"/>
                    </a:moveTo>
                    <a:cubicBezTo>
                      <a:pt x="161" y="106"/>
                      <a:pt x="91" y="27"/>
                      <a:pt x="0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82" y="51"/>
                      <a:pt x="148" y="114"/>
                      <a:pt x="181" y="200"/>
                    </a:cubicBezTo>
                    <a:cubicBezTo>
                      <a:pt x="181" y="202"/>
                      <a:pt x="183" y="201"/>
                      <a:pt x="183" y="20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2" name="Freeform 155">
                <a:extLst>
                  <a:ext uri="{FF2B5EF4-FFF2-40B4-BE49-F238E27FC236}">
                    <a16:creationId xmlns:a16="http://schemas.microsoft.com/office/drawing/2014/main" id="{E5384F14-CE1E-4A2A-A39C-84B7CBC2ED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5" y="2704"/>
                <a:ext cx="85" cy="157"/>
              </a:xfrm>
              <a:custGeom>
                <a:avLst/>
                <a:gdLst>
                  <a:gd name="T0" fmla="*/ 2 w 57"/>
                  <a:gd name="T1" fmla="*/ 1 h 105"/>
                  <a:gd name="T2" fmla="*/ 0 w 57"/>
                  <a:gd name="T3" fmla="*/ 1 h 105"/>
                  <a:gd name="T4" fmla="*/ 49 w 57"/>
                  <a:gd name="T5" fmla="*/ 102 h 105"/>
                  <a:gd name="T6" fmla="*/ 55 w 57"/>
                  <a:gd name="T7" fmla="*/ 99 h 105"/>
                  <a:gd name="T8" fmla="*/ 2 w 57"/>
                  <a:gd name="T9" fmla="*/ 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105">
                    <a:moveTo>
                      <a:pt x="2" y="1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16" y="35"/>
                      <a:pt x="29" y="71"/>
                      <a:pt x="49" y="102"/>
                    </a:cubicBezTo>
                    <a:cubicBezTo>
                      <a:pt x="51" y="105"/>
                      <a:pt x="57" y="103"/>
                      <a:pt x="55" y="99"/>
                    </a:cubicBezTo>
                    <a:cubicBezTo>
                      <a:pt x="41" y="65"/>
                      <a:pt x="20" y="33"/>
                      <a:pt x="2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3" name="Freeform 156">
                <a:extLst>
                  <a:ext uri="{FF2B5EF4-FFF2-40B4-BE49-F238E27FC236}">
                    <a16:creationId xmlns:a16="http://schemas.microsoft.com/office/drawing/2014/main" id="{8F48A729-36C5-4EA5-897F-C37F307DE2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38" y="3395"/>
                <a:ext cx="571" cy="188"/>
              </a:xfrm>
              <a:custGeom>
                <a:avLst/>
                <a:gdLst>
                  <a:gd name="T0" fmla="*/ 11 w 383"/>
                  <a:gd name="T1" fmla="*/ 123 h 126"/>
                  <a:gd name="T2" fmla="*/ 381 w 383"/>
                  <a:gd name="T3" fmla="*/ 13 h 126"/>
                  <a:gd name="T4" fmla="*/ 381 w 383"/>
                  <a:gd name="T5" fmla="*/ 10 h 126"/>
                  <a:gd name="T6" fmla="*/ 6 w 383"/>
                  <a:gd name="T7" fmla="*/ 112 h 126"/>
                  <a:gd name="T8" fmla="*/ 11 w 383"/>
                  <a:gd name="T9" fmla="*/ 12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3" h="126">
                    <a:moveTo>
                      <a:pt x="11" y="123"/>
                    </a:moveTo>
                    <a:cubicBezTo>
                      <a:pt x="128" y="78"/>
                      <a:pt x="254" y="22"/>
                      <a:pt x="381" y="13"/>
                    </a:cubicBezTo>
                    <a:cubicBezTo>
                      <a:pt x="383" y="13"/>
                      <a:pt x="383" y="10"/>
                      <a:pt x="381" y="10"/>
                    </a:cubicBezTo>
                    <a:cubicBezTo>
                      <a:pt x="253" y="0"/>
                      <a:pt x="113" y="46"/>
                      <a:pt x="6" y="112"/>
                    </a:cubicBezTo>
                    <a:cubicBezTo>
                      <a:pt x="0" y="116"/>
                      <a:pt x="4" y="126"/>
                      <a:pt x="11" y="12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4" name="Freeform 157">
                <a:extLst>
                  <a:ext uri="{FF2B5EF4-FFF2-40B4-BE49-F238E27FC236}">
                    <a16:creationId xmlns:a16="http://schemas.microsoft.com/office/drawing/2014/main" id="{90540048-9A6A-4955-8BD5-D3E1AE3185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18" y="2677"/>
                <a:ext cx="255" cy="443"/>
              </a:xfrm>
              <a:custGeom>
                <a:avLst/>
                <a:gdLst>
                  <a:gd name="T0" fmla="*/ 1 w 171"/>
                  <a:gd name="T1" fmla="*/ 0 h 297"/>
                  <a:gd name="T2" fmla="*/ 0 w 171"/>
                  <a:gd name="T3" fmla="*/ 1 h 297"/>
                  <a:gd name="T4" fmla="*/ 162 w 171"/>
                  <a:gd name="T5" fmla="*/ 293 h 297"/>
                  <a:gd name="T6" fmla="*/ 170 w 171"/>
                  <a:gd name="T7" fmla="*/ 292 h 297"/>
                  <a:gd name="T8" fmla="*/ 1 w 171"/>
                  <a:gd name="T9" fmla="*/ 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297">
                    <a:moveTo>
                      <a:pt x="1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86" y="85"/>
                      <a:pt x="121" y="184"/>
                      <a:pt x="162" y="293"/>
                    </a:cubicBezTo>
                    <a:cubicBezTo>
                      <a:pt x="163" y="297"/>
                      <a:pt x="170" y="297"/>
                      <a:pt x="170" y="292"/>
                    </a:cubicBezTo>
                    <a:cubicBezTo>
                      <a:pt x="171" y="175"/>
                      <a:pt x="90" y="68"/>
                      <a:pt x="1" y="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5" name="Freeform 158">
                <a:extLst>
                  <a:ext uri="{FF2B5EF4-FFF2-40B4-BE49-F238E27FC236}">
                    <a16:creationId xmlns:a16="http://schemas.microsoft.com/office/drawing/2014/main" id="{58B1D2BE-B717-4B30-8AD0-46A77254BE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3248"/>
                <a:ext cx="326" cy="265"/>
              </a:xfrm>
              <a:custGeom>
                <a:avLst/>
                <a:gdLst>
                  <a:gd name="T0" fmla="*/ 218 w 219"/>
                  <a:gd name="T1" fmla="*/ 2 h 178"/>
                  <a:gd name="T2" fmla="*/ 217 w 219"/>
                  <a:gd name="T3" fmla="*/ 1 h 178"/>
                  <a:gd name="T4" fmla="*/ 26 w 219"/>
                  <a:gd name="T5" fmla="*/ 134 h 178"/>
                  <a:gd name="T6" fmla="*/ 0 w 219"/>
                  <a:gd name="T7" fmla="*/ 142 h 178"/>
                  <a:gd name="T8" fmla="*/ 0 w 219"/>
                  <a:gd name="T9" fmla="*/ 178 h 178"/>
                  <a:gd name="T10" fmla="*/ 218 w 219"/>
                  <a:gd name="T11" fmla="*/ 2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9" h="178">
                    <a:moveTo>
                      <a:pt x="218" y="2"/>
                    </a:moveTo>
                    <a:cubicBezTo>
                      <a:pt x="219" y="1"/>
                      <a:pt x="217" y="0"/>
                      <a:pt x="217" y="1"/>
                    </a:cubicBezTo>
                    <a:cubicBezTo>
                      <a:pt x="171" y="64"/>
                      <a:pt x="99" y="110"/>
                      <a:pt x="26" y="134"/>
                    </a:cubicBezTo>
                    <a:cubicBezTo>
                      <a:pt x="17" y="137"/>
                      <a:pt x="9" y="140"/>
                      <a:pt x="0" y="142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90" y="146"/>
                      <a:pt x="170" y="76"/>
                      <a:pt x="218" y="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6" name="Freeform 159">
                <a:extLst>
                  <a:ext uri="{FF2B5EF4-FFF2-40B4-BE49-F238E27FC236}">
                    <a16:creationId xmlns:a16="http://schemas.microsoft.com/office/drawing/2014/main" id="{2D552905-3107-4D3D-9C76-07E6895069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" y="1701"/>
                <a:ext cx="207" cy="446"/>
              </a:xfrm>
              <a:custGeom>
                <a:avLst/>
                <a:gdLst>
                  <a:gd name="T0" fmla="*/ 8 w 139"/>
                  <a:gd name="T1" fmla="*/ 298 h 300"/>
                  <a:gd name="T2" fmla="*/ 17 w 139"/>
                  <a:gd name="T3" fmla="*/ 0 h 300"/>
                  <a:gd name="T4" fmla="*/ 16 w 139"/>
                  <a:gd name="T5" fmla="*/ 2 h 300"/>
                  <a:gd name="T6" fmla="*/ 69 w 139"/>
                  <a:gd name="T7" fmla="*/ 149 h 300"/>
                  <a:gd name="T8" fmla="*/ 5 w 139"/>
                  <a:gd name="T9" fmla="*/ 290 h 300"/>
                  <a:gd name="T10" fmla="*/ 8 w 139"/>
                  <a:gd name="T11" fmla="*/ 298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9" h="300">
                    <a:moveTo>
                      <a:pt x="8" y="298"/>
                    </a:moveTo>
                    <a:cubicBezTo>
                      <a:pt x="139" y="264"/>
                      <a:pt x="105" y="63"/>
                      <a:pt x="17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60" y="39"/>
                      <a:pt x="75" y="93"/>
                      <a:pt x="69" y="149"/>
                    </a:cubicBezTo>
                    <a:cubicBezTo>
                      <a:pt x="65" y="197"/>
                      <a:pt x="50" y="264"/>
                      <a:pt x="5" y="290"/>
                    </a:cubicBezTo>
                    <a:cubicBezTo>
                      <a:pt x="0" y="292"/>
                      <a:pt x="3" y="300"/>
                      <a:pt x="8" y="29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7" name="Freeform 160">
                <a:extLst>
                  <a:ext uri="{FF2B5EF4-FFF2-40B4-BE49-F238E27FC236}">
                    <a16:creationId xmlns:a16="http://schemas.microsoft.com/office/drawing/2014/main" id="{0F889477-EC62-4535-9183-8839077BF4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5" y="3246"/>
                <a:ext cx="460" cy="592"/>
              </a:xfrm>
              <a:custGeom>
                <a:avLst/>
                <a:gdLst>
                  <a:gd name="T0" fmla="*/ 4 w 309"/>
                  <a:gd name="T1" fmla="*/ 396 h 397"/>
                  <a:gd name="T2" fmla="*/ 223 w 309"/>
                  <a:gd name="T3" fmla="*/ 270 h 397"/>
                  <a:gd name="T4" fmla="*/ 308 w 309"/>
                  <a:gd name="T5" fmla="*/ 1 h 397"/>
                  <a:gd name="T6" fmla="*/ 307 w 309"/>
                  <a:gd name="T7" fmla="*/ 1 h 397"/>
                  <a:gd name="T8" fmla="*/ 3 w 309"/>
                  <a:gd name="T9" fmla="*/ 392 h 397"/>
                  <a:gd name="T10" fmla="*/ 4 w 309"/>
                  <a:gd name="T11" fmla="*/ 396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9" h="397">
                    <a:moveTo>
                      <a:pt x="4" y="396"/>
                    </a:moveTo>
                    <a:cubicBezTo>
                      <a:pt x="88" y="383"/>
                      <a:pt x="169" y="337"/>
                      <a:pt x="223" y="270"/>
                    </a:cubicBezTo>
                    <a:cubicBezTo>
                      <a:pt x="285" y="192"/>
                      <a:pt x="299" y="98"/>
                      <a:pt x="308" y="1"/>
                    </a:cubicBezTo>
                    <a:cubicBezTo>
                      <a:pt x="309" y="0"/>
                      <a:pt x="307" y="0"/>
                      <a:pt x="307" y="1"/>
                    </a:cubicBezTo>
                    <a:cubicBezTo>
                      <a:pt x="285" y="168"/>
                      <a:pt x="172" y="349"/>
                      <a:pt x="3" y="392"/>
                    </a:cubicBezTo>
                    <a:cubicBezTo>
                      <a:pt x="0" y="393"/>
                      <a:pt x="1" y="397"/>
                      <a:pt x="4" y="39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8" name="Freeform 161">
                <a:extLst>
                  <a:ext uri="{FF2B5EF4-FFF2-40B4-BE49-F238E27FC236}">
                    <a16:creationId xmlns:a16="http://schemas.microsoft.com/office/drawing/2014/main" id="{6D1FEFE9-D132-47AD-97C7-A9012EFCAD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3063"/>
                <a:ext cx="555" cy="733"/>
              </a:xfrm>
              <a:custGeom>
                <a:avLst/>
                <a:gdLst>
                  <a:gd name="T0" fmla="*/ 173 w 372"/>
                  <a:gd name="T1" fmla="*/ 426 h 492"/>
                  <a:gd name="T2" fmla="*/ 335 w 372"/>
                  <a:gd name="T3" fmla="*/ 2 h 492"/>
                  <a:gd name="T4" fmla="*/ 333 w 372"/>
                  <a:gd name="T5" fmla="*/ 2 h 492"/>
                  <a:gd name="T6" fmla="*/ 147 w 372"/>
                  <a:gd name="T7" fmla="*/ 396 h 492"/>
                  <a:gd name="T8" fmla="*/ 0 w 372"/>
                  <a:gd name="T9" fmla="*/ 450 h 492"/>
                  <a:gd name="T10" fmla="*/ 0 w 372"/>
                  <a:gd name="T11" fmla="*/ 492 h 492"/>
                  <a:gd name="T12" fmla="*/ 173 w 372"/>
                  <a:gd name="T13" fmla="*/ 426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2" h="492">
                    <a:moveTo>
                      <a:pt x="173" y="426"/>
                    </a:moveTo>
                    <a:cubicBezTo>
                      <a:pt x="316" y="331"/>
                      <a:pt x="372" y="165"/>
                      <a:pt x="335" y="2"/>
                    </a:cubicBezTo>
                    <a:cubicBezTo>
                      <a:pt x="334" y="0"/>
                      <a:pt x="333" y="1"/>
                      <a:pt x="333" y="2"/>
                    </a:cubicBezTo>
                    <a:cubicBezTo>
                      <a:pt x="354" y="150"/>
                      <a:pt x="271" y="316"/>
                      <a:pt x="147" y="396"/>
                    </a:cubicBezTo>
                    <a:cubicBezTo>
                      <a:pt x="100" y="425"/>
                      <a:pt x="51" y="443"/>
                      <a:pt x="0" y="450"/>
                    </a:cubicBezTo>
                    <a:cubicBezTo>
                      <a:pt x="0" y="492"/>
                      <a:pt x="0" y="492"/>
                      <a:pt x="0" y="492"/>
                    </a:cubicBezTo>
                    <a:cubicBezTo>
                      <a:pt x="62" y="483"/>
                      <a:pt x="122" y="461"/>
                      <a:pt x="173" y="42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9" name="Freeform 162">
                <a:extLst>
                  <a:ext uri="{FF2B5EF4-FFF2-40B4-BE49-F238E27FC236}">
                    <a16:creationId xmlns:a16="http://schemas.microsoft.com/office/drawing/2014/main" id="{43033DCB-5877-43F0-AC7A-A4DED59F4E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3038"/>
                <a:ext cx="27" cy="144"/>
              </a:xfrm>
              <a:custGeom>
                <a:avLst/>
                <a:gdLst>
                  <a:gd name="T0" fmla="*/ 14 w 18"/>
                  <a:gd name="T1" fmla="*/ 37 h 97"/>
                  <a:gd name="T2" fmla="*/ 0 w 18"/>
                  <a:gd name="T3" fmla="*/ 0 h 97"/>
                  <a:gd name="T4" fmla="*/ 0 w 18"/>
                  <a:gd name="T5" fmla="*/ 97 h 97"/>
                  <a:gd name="T6" fmla="*/ 14 w 18"/>
                  <a:gd name="T7" fmla="*/ 3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97">
                    <a:moveTo>
                      <a:pt x="14" y="37"/>
                    </a:moveTo>
                    <a:cubicBezTo>
                      <a:pt x="12" y="23"/>
                      <a:pt x="7" y="11"/>
                      <a:pt x="0" y="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13" y="81"/>
                      <a:pt x="18" y="59"/>
                      <a:pt x="14" y="3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0" name="Freeform 163">
                <a:extLst>
                  <a:ext uri="{FF2B5EF4-FFF2-40B4-BE49-F238E27FC236}">
                    <a16:creationId xmlns:a16="http://schemas.microsoft.com/office/drawing/2014/main" id="{275EEDB4-5FF3-4868-AF41-46820AF48B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1322"/>
                <a:ext cx="642" cy="559"/>
              </a:xfrm>
              <a:custGeom>
                <a:avLst/>
                <a:gdLst>
                  <a:gd name="T0" fmla="*/ 431 w 431"/>
                  <a:gd name="T1" fmla="*/ 374 h 375"/>
                  <a:gd name="T2" fmla="*/ 256 w 431"/>
                  <a:gd name="T3" fmla="*/ 87 h 375"/>
                  <a:gd name="T4" fmla="*/ 0 w 431"/>
                  <a:gd name="T5" fmla="*/ 0 h 375"/>
                  <a:gd name="T6" fmla="*/ 0 w 431"/>
                  <a:gd name="T7" fmla="*/ 14 h 375"/>
                  <a:gd name="T8" fmla="*/ 230 w 431"/>
                  <a:gd name="T9" fmla="*/ 99 h 375"/>
                  <a:gd name="T10" fmla="*/ 429 w 431"/>
                  <a:gd name="T11" fmla="*/ 374 h 375"/>
                  <a:gd name="T12" fmla="*/ 431 w 431"/>
                  <a:gd name="T13" fmla="*/ 374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1" h="375">
                    <a:moveTo>
                      <a:pt x="431" y="374"/>
                    </a:moveTo>
                    <a:cubicBezTo>
                      <a:pt x="425" y="248"/>
                      <a:pt x="361" y="154"/>
                      <a:pt x="256" y="87"/>
                    </a:cubicBezTo>
                    <a:cubicBezTo>
                      <a:pt x="181" y="40"/>
                      <a:pt x="90" y="5"/>
                      <a:pt x="0" y="0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82" y="23"/>
                      <a:pt x="159" y="54"/>
                      <a:pt x="230" y="99"/>
                    </a:cubicBezTo>
                    <a:cubicBezTo>
                      <a:pt x="325" y="159"/>
                      <a:pt x="415" y="260"/>
                      <a:pt x="429" y="374"/>
                    </a:cubicBezTo>
                    <a:cubicBezTo>
                      <a:pt x="429" y="375"/>
                      <a:pt x="431" y="375"/>
                      <a:pt x="431" y="374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1" name="Freeform 164">
                <a:extLst>
                  <a:ext uri="{FF2B5EF4-FFF2-40B4-BE49-F238E27FC236}">
                    <a16:creationId xmlns:a16="http://schemas.microsoft.com/office/drawing/2014/main" id="{8CCB6164-B759-4D58-AFB2-8108EFF99E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1419"/>
                <a:ext cx="402" cy="450"/>
              </a:xfrm>
              <a:custGeom>
                <a:avLst/>
                <a:gdLst>
                  <a:gd name="T0" fmla="*/ 109 w 270"/>
                  <a:gd name="T1" fmla="*/ 82 h 302"/>
                  <a:gd name="T2" fmla="*/ 269 w 270"/>
                  <a:gd name="T3" fmla="*/ 301 h 302"/>
                  <a:gd name="T4" fmla="*/ 270 w 270"/>
                  <a:gd name="T5" fmla="*/ 300 h 302"/>
                  <a:gd name="T6" fmla="*/ 0 w 270"/>
                  <a:gd name="T7" fmla="*/ 0 h 302"/>
                  <a:gd name="T8" fmla="*/ 0 w 270"/>
                  <a:gd name="T9" fmla="*/ 37 h 302"/>
                  <a:gd name="T10" fmla="*/ 109 w 270"/>
                  <a:gd name="T11" fmla="*/ 8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0" h="302">
                    <a:moveTo>
                      <a:pt x="109" y="82"/>
                    </a:moveTo>
                    <a:cubicBezTo>
                      <a:pt x="185" y="130"/>
                      <a:pt x="252" y="211"/>
                      <a:pt x="269" y="301"/>
                    </a:cubicBezTo>
                    <a:cubicBezTo>
                      <a:pt x="269" y="302"/>
                      <a:pt x="270" y="301"/>
                      <a:pt x="270" y="300"/>
                    </a:cubicBezTo>
                    <a:cubicBezTo>
                      <a:pt x="261" y="146"/>
                      <a:pt x="141" y="37"/>
                      <a:pt x="0" y="0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38" y="46"/>
                      <a:pt x="74" y="60"/>
                      <a:pt x="109" y="8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2" name="Freeform 165">
                <a:extLst>
                  <a:ext uri="{FF2B5EF4-FFF2-40B4-BE49-F238E27FC236}">
                    <a16:creationId xmlns:a16="http://schemas.microsoft.com/office/drawing/2014/main" id="{43FF720B-60B4-4176-B676-7EA835F321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3114"/>
                <a:ext cx="88" cy="165"/>
              </a:xfrm>
              <a:custGeom>
                <a:avLst/>
                <a:gdLst>
                  <a:gd name="T0" fmla="*/ 57 w 59"/>
                  <a:gd name="T1" fmla="*/ 1 h 111"/>
                  <a:gd name="T2" fmla="*/ 0 w 59"/>
                  <a:gd name="T3" fmla="*/ 81 h 111"/>
                  <a:gd name="T4" fmla="*/ 0 w 59"/>
                  <a:gd name="T5" fmla="*/ 111 h 111"/>
                  <a:gd name="T6" fmla="*/ 59 w 59"/>
                  <a:gd name="T7" fmla="*/ 1 h 111"/>
                  <a:gd name="T8" fmla="*/ 57 w 59"/>
                  <a:gd name="T9" fmla="*/ 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11">
                    <a:moveTo>
                      <a:pt x="57" y="1"/>
                    </a:moveTo>
                    <a:cubicBezTo>
                      <a:pt x="46" y="33"/>
                      <a:pt x="26" y="60"/>
                      <a:pt x="0" y="81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32" y="82"/>
                      <a:pt x="55" y="44"/>
                      <a:pt x="59" y="1"/>
                    </a:cubicBezTo>
                    <a:cubicBezTo>
                      <a:pt x="59" y="0"/>
                      <a:pt x="57" y="0"/>
                      <a:pt x="57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3" name="Freeform 166">
                <a:extLst>
                  <a:ext uri="{FF2B5EF4-FFF2-40B4-BE49-F238E27FC236}">
                    <a16:creationId xmlns:a16="http://schemas.microsoft.com/office/drawing/2014/main" id="{4D27C0CA-DE2B-439A-9D67-5AB3013C7D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2929"/>
                <a:ext cx="83" cy="118"/>
              </a:xfrm>
              <a:custGeom>
                <a:avLst/>
                <a:gdLst>
                  <a:gd name="T0" fmla="*/ 0 w 56"/>
                  <a:gd name="T1" fmla="*/ 0 h 79"/>
                  <a:gd name="T2" fmla="*/ 0 w 56"/>
                  <a:gd name="T3" fmla="*/ 22 h 79"/>
                  <a:gd name="T4" fmla="*/ 53 w 56"/>
                  <a:gd name="T5" fmla="*/ 78 h 79"/>
                  <a:gd name="T6" fmla="*/ 55 w 56"/>
                  <a:gd name="T7" fmla="*/ 77 h 79"/>
                  <a:gd name="T8" fmla="*/ 0 w 56"/>
                  <a:gd name="T9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79">
                    <a:moveTo>
                      <a:pt x="0" y="0"/>
                    </a:moveTo>
                    <a:cubicBezTo>
                      <a:pt x="0" y="22"/>
                      <a:pt x="0" y="22"/>
                      <a:pt x="0" y="22"/>
                    </a:cubicBezTo>
                    <a:cubicBezTo>
                      <a:pt x="19" y="39"/>
                      <a:pt x="37" y="58"/>
                      <a:pt x="53" y="78"/>
                    </a:cubicBezTo>
                    <a:cubicBezTo>
                      <a:pt x="54" y="79"/>
                      <a:pt x="56" y="78"/>
                      <a:pt x="55" y="77"/>
                    </a:cubicBezTo>
                    <a:cubicBezTo>
                      <a:pt x="44" y="51"/>
                      <a:pt x="24" y="22"/>
                      <a:pt x="0" y="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4" name="Freeform 167">
                <a:extLst>
                  <a:ext uri="{FF2B5EF4-FFF2-40B4-BE49-F238E27FC236}">
                    <a16:creationId xmlns:a16="http://schemas.microsoft.com/office/drawing/2014/main" id="{79DDF677-F95B-4C8C-9FAC-74873ABC4D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3266"/>
                <a:ext cx="94" cy="92"/>
              </a:xfrm>
              <a:custGeom>
                <a:avLst/>
                <a:gdLst>
                  <a:gd name="T0" fmla="*/ 63 w 63"/>
                  <a:gd name="T1" fmla="*/ 1 h 62"/>
                  <a:gd name="T2" fmla="*/ 61 w 63"/>
                  <a:gd name="T3" fmla="*/ 0 h 62"/>
                  <a:gd name="T4" fmla="*/ 16 w 63"/>
                  <a:gd name="T5" fmla="*/ 35 h 62"/>
                  <a:gd name="T6" fmla="*/ 0 w 63"/>
                  <a:gd name="T7" fmla="*/ 43 h 62"/>
                  <a:gd name="T8" fmla="*/ 0 w 63"/>
                  <a:gd name="T9" fmla="*/ 62 h 62"/>
                  <a:gd name="T10" fmla="*/ 2 w 63"/>
                  <a:gd name="T11" fmla="*/ 61 h 62"/>
                  <a:gd name="T12" fmla="*/ 63 w 63"/>
                  <a:gd name="T13" fmla="*/ 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62">
                    <a:moveTo>
                      <a:pt x="63" y="1"/>
                    </a:moveTo>
                    <a:cubicBezTo>
                      <a:pt x="63" y="1"/>
                      <a:pt x="62" y="0"/>
                      <a:pt x="61" y="0"/>
                    </a:cubicBezTo>
                    <a:cubicBezTo>
                      <a:pt x="49" y="15"/>
                      <a:pt x="33" y="26"/>
                      <a:pt x="16" y="35"/>
                    </a:cubicBezTo>
                    <a:cubicBezTo>
                      <a:pt x="12" y="37"/>
                      <a:pt x="6" y="40"/>
                      <a:pt x="0" y="43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1" y="62"/>
                      <a:pt x="2" y="61"/>
                      <a:pt x="2" y="61"/>
                    </a:cubicBezTo>
                    <a:cubicBezTo>
                      <a:pt x="28" y="47"/>
                      <a:pt x="46" y="25"/>
                      <a:pt x="63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" name="Freeform 168">
                <a:extLst>
                  <a:ext uri="{FF2B5EF4-FFF2-40B4-BE49-F238E27FC236}">
                    <a16:creationId xmlns:a16="http://schemas.microsoft.com/office/drawing/2014/main" id="{8F472687-39F5-48A5-AC1C-A09AC5F3F9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1511"/>
                <a:ext cx="188" cy="94"/>
              </a:xfrm>
              <a:custGeom>
                <a:avLst/>
                <a:gdLst>
                  <a:gd name="T0" fmla="*/ 0 w 126"/>
                  <a:gd name="T1" fmla="*/ 0 h 63"/>
                  <a:gd name="T2" fmla="*/ 0 w 126"/>
                  <a:gd name="T3" fmla="*/ 14 h 63"/>
                  <a:gd name="T4" fmla="*/ 124 w 126"/>
                  <a:gd name="T5" fmla="*/ 62 h 63"/>
                  <a:gd name="T6" fmla="*/ 125 w 126"/>
                  <a:gd name="T7" fmla="*/ 61 h 63"/>
                  <a:gd name="T8" fmla="*/ 0 w 126"/>
                  <a:gd name="T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63">
                    <a:moveTo>
                      <a:pt x="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45" y="25"/>
                      <a:pt x="89" y="40"/>
                      <a:pt x="124" y="62"/>
                    </a:cubicBezTo>
                    <a:cubicBezTo>
                      <a:pt x="125" y="63"/>
                      <a:pt x="126" y="61"/>
                      <a:pt x="125" y="61"/>
                    </a:cubicBezTo>
                    <a:cubicBezTo>
                      <a:pt x="92" y="34"/>
                      <a:pt x="47" y="13"/>
                      <a:pt x="0" y="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6" name="Freeform 169">
                <a:extLst>
                  <a:ext uri="{FF2B5EF4-FFF2-40B4-BE49-F238E27FC236}">
                    <a16:creationId xmlns:a16="http://schemas.microsoft.com/office/drawing/2014/main" id="{85770AD2-D741-4E99-AA92-AAD7875DA8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1677"/>
                <a:ext cx="101" cy="86"/>
              </a:xfrm>
              <a:custGeom>
                <a:avLst/>
                <a:gdLst>
                  <a:gd name="T0" fmla="*/ 0 w 68"/>
                  <a:gd name="T1" fmla="*/ 23 h 58"/>
                  <a:gd name="T2" fmla="*/ 67 w 68"/>
                  <a:gd name="T3" fmla="*/ 58 h 58"/>
                  <a:gd name="T4" fmla="*/ 68 w 68"/>
                  <a:gd name="T5" fmla="*/ 57 h 58"/>
                  <a:gd name="T6" fmla="*/ 0 w 68"/>
                  <a:gd name="T7" fmla="*/ 0 h 58"/>
                  <a:gd name="T8" fmla="*/ 0 w 68"/>
                  <a:gd name="T9" fmla="*/ 2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58">
                    <a:moveTo>
                      <a:pt x="0" y="23"/>
                    </a:moveTo>
                    <a:cubicBezTo>
                      <a:pt x="23" y="34"/>
                      <a:pt x="45" y="45"/>
                      <a:pt x="67" y="58"/>
                    </a:cubicBezTo>
                    <a:cubicBezTo>
                      <a:pt x="68" y="58"/>
                      <a:pt x="68" y="58"/>
                      <a:pt x="68" y="57"/>
                    </a:cubicBezTo>
                    <a:cubicBezTo>
                      <a:pt x="49" y="38"/>
                      <a:pt x="26" y="18"/>
                      <a:pt x="0" y="0"/>
                    </a:cubicBez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7" name="Freeform 170">
                <a:extLst>
                  <a:ext uri="{FF2B5EF4-FFF2-40B4-BE49-F238E27FC236}">
                    <a16:creationId xmlns:a16="http://schemas.microsoft.com/office/drawing/2014/main" id="{AD7E146D-FD34-41AF-9A7F-650222033A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0" y="1979"/>
                <a:ext cx="188" cy="334"/>
              </a:xfrm>
              <a:custGeom>
                <a:avLst/>
                <a:gdLst>
                  <a:gd name="T0" fmla="*/ 2 w 126"/>
                  <a:gd name="T1" fmla="*/ 223 h 224"/>
                  <a:gd name="T2" fmla="*/ 126 w 126"/>
                  <a:gd name="T3" fmla="*/ 1 h 224"/>
                  <a:gd name="T4" fmla="*/ 125 w 126"/>
                  <a:gd name="T5" fmla="*/ 0 h 224"/>
                  <a:gd name="T6" fmla="*/ 1 w 126"/>
                  <a:gd name="T7" fmla="*/ 220 h 224"/>
                  <a:gd name="T8" fmla="*/ 2 w 126"/>
                  <a:gd name="T9" fmla="*/ 22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224">
                    <a:moveTo>
                      <a:pt x="2" y="223"/>
                    </a:moveTo>
                    <a:cubicBezTo>
                      <a:pt x="74" y="169"/>
                      <a:pt x="113" y="87"/>
                      <a:pt x="126" y="1"/>
                    </a:cubicBezTo>
                    <a:cubicBezTo>
                      <a:pt x="126" y="0"/>
                      <a:pt x="126" y="0"/>
                      <a:pt x="125" y="0"/>
                    </a:cubicBezTo>
                    <a:cubicBezTo>
                      <a:pt x="101" y="84"/>
                      <a:pt x="55" y="153"/>
                      <a:pt x="1" y="220"/>
                    </a:cubicBezTo>
                    <a:cubicBezTo>
                      <a:pt x="0" y="221"/>
                      <a:pt x="1" y="224"/>
                      <a:pt x="2" y="22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8" name="Freeform 171">
                <a:extLst>
                  <a:ext uri="{FF2B5EF4-FFF2-40B4-BE49-F238E27FC236}">
                    <a16:creationId xmlns:a16="http://schemas.microsoft.com/office/drawing/2014/main" id="{C0A6BA23-DA24-4914-B681-C5056A38E4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1763"/>
                <a:ext cx="592" cy="633"/>
              </a:xfrm>
              <a:custGeom>
                <a:avLst/>
                <a:gdLst>
                  <a:gd name="T0" fmla="*/ 249 w 397"/>
                  <a:gd name="T1" fmla="*/ 358 h 425"/>
                  <a:gd name="T2" fmla="*/ 352 w 397"/>
                  <a:gd name="T3" fmla="*/ 1 h 425"/>
                  <a:gd name="T4" fmla="*/ 351 w 397"/>
                  <a:gd name="T5" fmla="*/ 1 h 425"/>
                  <a:gd name="T6" fmla="*/ 214 w 397"/>
                  <a:gd name="T7" fmla="*/ 343 h 425"/>
                  <a:gd name="T8" fmla="*/ 0 w 397"/>
                  <a:gd name="T9" fmla="*/ 370 h 425"/>
                  <a:gd name="T10" fmla="*/ 0 w 397"/>
                  <a:gd name="T11" fmla="*/ 410 h 425"/>
                  <a:gd name="T12" fmla="*/ 249 w 397"/>
                  <a:gd name="T13" fmla="*/ 358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7" h="425">
                    <a:moveTo>
                      <a:pt x="249" y="358"/>
                    </a:moveTo>
                    <a:cubicBezTo>
                      <a:pt x="361" y="274"/>
                      <a:pt x="397" y="131"/>
                      <a:pt x="352" y="1"/>
                    </a:cubicBezTo>
                    <a:cubicBezTo>
                      <a:pt x="352" y="0"/>
                      <a:pt x="351" y="0"/>
                      <a:pt x="351" y="1"/>
                    </a:cubicBezTo>
                    <a:cubicBezTo>
                      <a:pt x="386" y="133"/>
                      <a:pt x="335" y="275"/>
                      <a:pt x="214" y="343"/>
                    </a:cubicBezTo>
                    <a:cubicBezTo>
                      <a:pt x="143" y="382"/>
                      <a:pt x="72" y="383"/>
                      <a:pt x="0" y="370"/>
                    </a:cubicBezTo>
                    <a:cubicBezTo>
                      <a:pt x="0" y="410"/>
                      <a:pt x="0" y="410"/>
                      <a:pt x="0" y="410"/>
                    </a:cubicBezTo>
                    <a:cubicBezTo>
                      <a:pt x="86" y="425"/>
                      <a:pt x="174" y="415"/>
                      <a:pt x="249" y="35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9" name="Freeform 172">
                <a:extLst>
                  <a:ext uri="{FF2B5EF4-FFF2-40B4-BE49-F238E27FC236}">
                    <a16:creationId xmlns:a16="http://schemas.microsoft.com/office/drawing/2014/main" id="{C89F5DD0-2DD6-4548-BF0F-8A9FCEDFBA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8" y="2228"/>
                <a:ext cx="520" cy="308"/>
              </a:xfrm>
              <a:custGeom>
                <a:avLst/>
                <a:gdLst>
                  <a:gd name="T0" fmla="*/ 4 w 349"/>
                  <a:gd name="T1" fmla="*/ 171 h 207"/>
                  <a:gd name="T2" fmla="*/ 349 w 349"/>
                  <a:gd name="T3" fmla="*/ 1 h 207"/>
                  <a:gd name="T4" fmla="*/ 347 w 349"/>
                  <a:gd name="T5" fmla="*/ 1 h 207"/>
                  <a:gd name="T6" fmla="*/ 5 w 349"/>
                  <a:gd name="T7" fmla="*/ 164 h 207"/>
                  <a:gd name="T8" fmla="*/ 4 w 349"/>
                  <a:gd name="T9" fmla="*/ 171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9" h="207">
                    <a:moveTo>
                      <a:pt x="4" y="171"/>
                    </a:moveTo>
                    <a:cubicBezTo>
                      <a:pt x="144" y="207"/>
                      <a:pt x="298" y="138"/>
                      <a:pt x="349" y="1"/>
                    </a:cubicBezTo>
                    <a:cubicBezTo>
                      <a:pt x="349" y="1"/>
                      <a:pt x="348" y="0"/>
                      <a:pt x="347" y="1"/>
                    </a:cubicBezTo>
                    <a:cubicBezTo>
                      <a:pt x="283" y="138"/>
                      <a:pt x="144" y="174"/>
                      <a:pt x="5" y="164"/>
                    </a:cubicBezTo>
                    <a:cubicBezTo>
                      <a:pt x="0" y="163"/>
                      <a:pt x="0" y="170"/>
                      <a:pt x="4" y="17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0" name="Freeform 173">
                <a:extLst>
                  <a:ext uri="{FF2B5EF4-FFF2-40B4-BE49-F238E27FC236}">
                    <a16:creationId xmlns:a16="http://schemas.microsoft.com/office/drawing/2014/main" id="{AD40BA2D-8CA6-44AD-A3C9-FA612B627E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4" y="1607"/>
                <a:ext cx="141" cy="601"/>
              </a:xfrm>
              <a:custGeom>
                <a:avLst/>
                <a:gdLst>
                  <a:gd name="T0" fmla="*/ 20 w 95"/>
                  <a:gd name="T1" fmla="*/ 402 h 404"/>
                  <a:gd name="T2" fmla="*/ 2 w 95"/>
                  <a:gd name="T3" fmla="*/ 1 h 404"/>
                  <a:gd name="T4" fmla="*/ 1 w 95"/>
                  <a:gd name="T5" fmla="*/ 2 h 404"/>
                  <a:gd name="T6" fmla="*/ 17 w 95"/>
                  <a:gd name="T7" fmla="*/ 401 h 404"/>
                  <a:gd name="T8" fmla="*/ 20 w 95"/>
                  <a:gd name="T9" fmla="*/ 402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404">
                    <a:moveTo>
                      <a:pt x="20" y="402"/>
                    </a:moveTo>
                    <a:cubicBezTo>
                      <a:pt x="74" y="269"/>
                      <a:pt x="95" y="122"/>
                      <a:pt x="2" y="1"/>
                    </a:cubicBezTo>
                    <a:cubicBezTo>
                      <a:pt x="2" y="0"/>
                      <a:pt x="0" y="1"/>
                      <a:pt x="1" y="2"/>
                    </a:cubicBezTo>
                    <a:cubicBezTo>
                      <a:pt x="75" y="123"/>
                      <a:pt x="41" y="270"/>
                      <a:pt x="17" y="401"/>
                    </a:cubicBezTo>
                    <a:cubicBezTo>
                      <a:pt x="17" y="403"/>
                      <a:pt x="20" y="404"/>
                      <a:pt x="20" y="40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1" name="Freeform 174">
                <a:extLst>
                  <a:ext uri="{FF2B5EF4-FFF2-40B4-BE49-F238E27FC236}">
                    <a16:creationId xmlns:a16="http://schemas.microsoft.com/office/drawing/2014/main" id="{A53D4B1C-7DA2-471E-9224-84F0C5E1FD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4" y="2125"/>
                <a:ext cx="342" cy="313"/>
              </a:xfrm>
              <a:custGeom>
                <a:avLst/>
                <a:gdLst>
                  <a:gd name="T0" fmla="*/ 3 w 230"/>
                  <a:gd name="T1" fmla="*/ 210 h 210"/>
                  <a:gd name="T2" fmla="*/ 229 w 230"/>
                  <a:gd name="T3" fmla="*/ 1 h 210"/>
                  <a:gd name="T4" fmla="*/ 228 w 230"/>
                  <a:gd name="T5" fmla="*/ 1 h 210"/>
                  <a:gd name="T6" fmla="*/ 2 w 230"/>
                  <a:gd name="T7" fmla="*/ 206 h 210"/>
                  <a:gd name="T8" fmla="*/ 3 w 230"/>
                  <a:gd name="T9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0" h="210">
                    <a:moveTo>
                      <a:pt x="3" y="210"/>
                    </a:moveTo>
                    <a:cubicBezTo>
                      <a:pt x="107" y="186"/>
                      <a:pt x="219" y="117"/>
                      <a:pt x="229" y="1"/>
                    </a:cubicBezTo>
                    <a:cubicBezTo>
                      <a:pt x="230" y="0"/>
                      <a:pt x="228" y="0"/>
                      <a:pt x="228" y="1"/>
                    </a:cubicBezTo>
                    <a:cubicBezTo>
                      <a:pt x="196" y="114"/>
                      <a:pt x="108" y="169"/>
                      <a:pt x="2" y="206"/>
                    </a:cubicBezTo>
                    <a:cubicBezTo>
                      <a:pt x="0" y="207"/>
                      <a:pt x="1" y="210"/>
                      <a:pt x="3" y="21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2" name="Freeform 175">
                <a:extLst>
                  <a:ext uri="{FF2B5EF4-FFF2-40B4-BE49-F238E27FC236}">
                    <a16:creationId xmlns:a16="http://schemas.microsoft.com/office/drawing/2014/main" id="{DCF37AF7-7ECB-42F1-8850-8CB9E296B5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4" y="1576"/>
                <a:ext cx="179" cy="781"/>
              </a:xfrm>
              <a:custGeom>
                <a:avLst/>
                <a:gdLst>
                  <a:gd name="T0" fmla="*/ 11 w 120"/>
                  <a:gd name="T1" fmla="*/ 523 h 525"/>
                  <a:gd name="T2" fmla="*/ 119 w 120"/>
                  <a:gd name="T3" fmla="*/ 256 h 525"/>
                  <a:gd name="T4" fmla="*/ 16 w 120"/>
                  <a:gd name="T5" fmla="*/ 0 h 525"/>
                  <a:gd name="T6" fmla="*/ 15 w 120"/>
                  <a:gd name="T7" fmla="*/ 2 h 525"/>
                  <a:gd name="T8" fmla="*/ 93 w 120"/>
                  <a:gd name="T9" fmla="*/ 271 h 525"/>
                  <a:gd name="T10" fmla="*/ 54 w 120"/>
                  <a:gd name="T11" fmla="*/ 417 h 525"/>
                  <a:gd name="T12" fmla="*/ 1 w 120"/>
                  <a:gd name="T13" fmla="*/ 516 h 525"/>
                  <a:gd name="T14" fmla="*/ 11 w 120"/>
                  <a:gd name="T15" fmla="*/ 523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525">
                    <a:moveTo>
                      <a:pt x="11" y="523"/>
                    </a:moveTo>
                    <a:cubicBezTo>
                      <a:pt x="89" y="472"/>
                      <a:pt x="117" y="343"/>
                      <a:pt x="119" y="256"/>
                    </a:cubicBezTo>
                    <a:cubicBezTo>
                      <a:pt x="120" y="167"/>
                      <a:pt x="95" y="52"/>
                      <a:pt x="16" y="0"/>
                    </a:cubicBezTo>
                    <a:cubicBezTo>
                      <a:pt x="15" y="0"/>
                      <a:pt x="14" y="1"/>
                      <a:pt x="15" y="2"/>
                    </a:cubicBezTo>
                    <a:cubicBezTo>
                      <a:pt x="89" y="64"/>
                      <a:pt x="102" y="180"/>
                      <a:pt x="93" y="271"/>
                    </a:cubicBezTo>
                    <a:cubicBezTo>
                      <a:pt x="88" y="321"/>
                      <a:pt x="75" y="371"/>
                      <a:pt x="54" y="417"/>
                    </a:cubicBezTo>
                    <a:cubicBezTo>
                      <a:pt x="38" y="451"/>
                      <a:pt x="15" y="480"/>
                      <a:pt x="1" y="516"/>
                    </a:cubicBezTo>
                    <a:cubicBezTo>
                      <a:pt x="0" y="521"/>
                      <a:pt x="6" y="525"/>
                      <a:pt x="11" y="52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3" name="Freeform 176">
                <a:extLst>
                  <a:ext uri="{FF2B5EF4-FFF2-40B4-BE49-F238E27FC236}">
                    <a16:creationId xmlns:a16="http://schemas.microsoft.com/office/drawing/2014/main" id="{8FC34745-53B0-4C4C-BA3E-D0E459A38A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1267"/>
                <a:ext cx="818" cy="1151"/>
              </a:xfrm>
              <a:custGeom>
                <a:avLst/>
                <a:gdLst>
                  <a:gd name="T0" fmla="*/ 253 w 549"/>
                  <a:gd name="T1" fmla="*/ 42 h 773"/>
                  <a:gd name="T2" fmla="*/ 0 w 549"/>
                  <a:gd name="T3" fmla="*/ 1 h 773"/>
                  <a:gd name="T4" fmla="*/ 0 w 549"/>
                  <a:gd name="T5" fmla="*/ 12 h 773"/>
                  <a:gd name="T6" fmla="*/ 190 w 549"/>
                  <a:gd name="T7" fmla="*/ 38 h 773"/>
                  <a:gd name="T8" fmla="*/ 417 w 549"/>
                  <a:gd name="T9" fmla="*/ 223 h 773"/>
                  <a:gd name="T10" fmla="*/ 311 w 549"/>
                  <a:gd name="T11" fmla="*/ 762 h 773"/>
                  <a:gd name="T12" fmla="*/ 316 w 549"/>
                  <a:gd name="T13" fmla="*/ 770 h 773"/>
                  <a:gd name="T14" fmla="*/ 456 w 549"/>
                  <a:gd name="T15" fmla="*/ 235 h 773"/>
                  <a:gd name="T16" fmla="*/ 253 w 549"/>
                  <a:gd name="T17" fmla="*/ 42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9" h="773">
                    <a:moveTo>
                      <a:pt x="253" y="42"/>
                    </a:moveTo>
                    <a:cubicBezTo>
                      <a:pt x="175" y="11"/>
                      <a:pt x="87" y="0"/>
                      <a:pt x="0" y="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65" y="14"/>
                      <a:pt x="129" y="21"/>
                      <a:pt x="190" y="38"/>
                    </a:cubicBezTo>
                    <a:cubicBezTo>
                      <a:pt x="290" y="65"/>
                      <a:pt x="369" y="131"/>
                      <a:pt x="417" y="223"/>
                    </a:cubicBezTo>
                    <a:cubicBezTo>
                      <a:pt x="509" y="395"/>
                      <a:pt x="490" y="653"/>
                      <a:pt x="311" y="762"/>
                    </a:cubicBezTo>
                    <a:cubicBezTo>
                      <a:pt x="306" y="765"/>
                      <a:pt x="310" y="773"/>
                      <a:pt x="316" y="770"/>
                    </a:cubicBezTo>
                    <a:cubicBezTo>
                      <a:pt x="521" y="675"/>
                      <a:pt x="549" y="422"/>
                      <a:pt x="456" y="235"/>
                    </a:cubicBezTo>
                    <a:cubicBezTo>
                      <a:pt x="413" y="149"/>
                      <a:pt x="344" y="77"/>
                      <a:pt x="253" y="4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4" name="Freeform 177">
                <a:extLst>
                  <a:ext uri="{FF2B5EF4-FFF2-40B4-BE49-F238E27FC236}">
                    <a16:creationId xmlns:a16="http://schemas.microsoft.com/office/drawing/2014/main" id="{7188E43F-39AB-48C1-BF8A-97E4758BF8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6" y="1363"/>
                <a:ext cx="115" cy="131"/>
              </a:xfrm>
              <a:custGeom>
                <a:avLst/>
                <a:gdLst>
                  <a:gd name="T0" fmla="*/ 7 w 77"/>
                  <a:gd name="T1" fmla="*/ 2 h 88"/>
                  <a:gd name="T2" fmla="*/ 3 w 77"/>
                  <a:gd name="T3" fmla="*/ 7 h 88"/>
                  <a:gd name="T4" fmla="*/ 41 w 77"/>
                  <a:gd name="T5" fmla="*/ 46 h 88"/>
                  <a:gd name="T6" fmla="*/ 76 w 77"/>
                  <a:gd name="T7" fmla="*/ 87 h 88"/>
                  <a:gd name="T8" fmla="*/ 77 w 77"/>
                  <a:gd name="T9" fmla="*/ 86 h 88"/>
                  <a:gd name="T10" fmla="*/ 7 w 77"/>
                  <a:gd name="T11" fmla="*/ 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88">
                    <a:moveTo>
                      <a:pt x="7" y="2"/>
                    </a:moveTo>
                    <a:cubicBezTo>
                      <a:pt x="3" y="0"/>
                      <a:pt x="0" y="5"/>
                      <a:pt x="3" y="7"/>
                    </a:cubicBezTo>
                    <a:cubicBezTo>
                      <a:pt x="14" y="21"/>
                      <a:pt x="29" y="33"/>
                      <a:pt x="41" y="46"/>
                    </a:cubicBezTo>
                    <a:cubicBezTo>
                      <a:pt x="53" y="59"/>
                      <a:pt x="64" y="73"/>
                      <a:pt x="76" y="87"/>
                    </a:cubicBezTo>
                    <a:cubicBezTo>
                      <a:pt x="76" y="88"/>
                      <a:pt x="77" y="87"/>
                      <a:pt x="77" y="86"/>
                    </a:cubicBezTo>
                    <a:cubicBezTo>
                      <a:pt x="62" y="55"/>
                      <a:pt x="37" y="20"/>
                      <a:pt x="7" y="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5" name="Freeform 178">
                <a:extLst>
                  <a:ext uri="{FF2B5EF4-FFF2-40B4-BE49-F238E27FC236}">
                    <a16:creationId xmlns:a16="http://schemas.microsoft.com/office/drawing/2014/main" id="{F61F22D5-55EF-4E47-88F9-810A12B87C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2602"/>
                <a:ext cx="277" cy="145"/>
              </a:xfrm>
              <a:custGeom>
                <a:avLst/>
                <a:gdLst>
                  <a:gd name="T0" fmla="*/ 41 w 186"/>
                  <a:gd name="T1" fmla="*/ 13 h 98"/>
                  <a:gd name="T2" fmla="*/ 0 w 186"/>
                  <a:gd name="T3" fmla="*/ 0 h 98"/>
                  <a:gd name="T4" fmla="*/ 0 w 186"/>
                  <a:gd name="T5" fmla="*/ 24 h 98"/>
                  <a:gd name="T6" fmla="*/ 18 w 186"/>
                  <a:gd name="T7" fmla="*/ 28 h 98"/>
                  <a:gd name="T8" fmla="*/ 184 w 186"/>
                  <a:gd name="T9" fmla="*/ 97 h 98"/>
                  <a:gd name="T10" fmla="*/ 186 w 186"/>
                  <a:gd name="T11" fmla="*/ 96 h 98"/>
                  <a:gd name="T12" fmla="*/ 41 w 186"/>
                  <a:gd name="T13" fmla="*/ 1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6" h="98">
                    <a:moveTo>
                      <a:pt x="41" y="13"/>
                    </a:moveTo>
                    <a:cubicBezTo>
                      <a:pt x="28" y="9"/>
                      <a:pt x="14" y="4"/>
                      <a:pt x="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6" y="25"/>
                      <a:pt x="12" y="26"/>
                      <a:pt x="18" y="28"/>
                    </a:cubicBezTo>
                    <a:cubicBezTo>
                      <a:pt x="73" y="44"/>
                      <a:pt x="139" y="62"/>
                      <a:pt x="184" y="97"/>
                    </a:cubicBezTo>
                    <a:cubicBezTo>
                      <a:pt x="185" y="98"/>
                      <a:pt x="186" y="97"/>
                      <a:pt x="186" y="96"/>
                    </a:cubicBezTo>
                    <a:cubicBezTo>
                      <a:pt x="148" y="52"/>
                      <a:pt x="95" y="30"/>
                      <a:pt x="41" y="13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6" name="Freeform 179">
                <a:extLst>
                  <a:ext uri="{FF2B5EF4-FFF2-40B4-BE49-F238E27FC236}">
                    <a16:creationId xmlns:a16="http://schemas.microsoft.com/office/drawing/2014/main" id="{C3AF9BA5-C1BB-4784-B31A-84746322E9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3294"/>
                <a:ext cx="194" cy="121"/>
              </a:xfrm>
              <a:custGeom>
                <a:avLst/>
                <a:gdLst>
                  <a:gd name="T0" fmla="*/ 129 w 130"/>
                  <a:gd name="T1" fmla="*/ 1 h 81"/>
                  <a:gd name="T2" fmla="*/ 128 w 130"/>
                  <a:gd name="T3" fmla="*/ 0 h 81"/>
                  <a:gd name="T4" fmla="*/ 0 w 130"/>
                  <a:gd name="T5" fmla="*/ 60 h 81"/>
                  <a:gd name="T6" fmla="*/ 0 w 130"/>
                  <a:gd name="T7" fmla="*/ 81 h 81"/>
                  <a:gd name="T8" fmla="*/ 129 w 130"/>
                  <a:gd name="T9" fmla="*/ 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81">
                    <a:moveTo>
                      <a:pt x="129" y="1"/>
                    </a:moveTo>
                    <a:cubicBezTo>
                      <a:pt x="130" y="1"/>
                      <a:pt x="129" y="0"/>
                      <a:pt x="128" y="0"/>
                    </a:cubicBezTo>
                    <a:cubicBezTo>
                      <a:pt x="90" y="38"/>
                      <a:pt x="47" y="54"/>
                      <a:pt x="0" y="60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51" y="72"/>
                      <a:pt x="99" y="40"/>
                      <a:pt x="129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7" name="Freeform 180">
                <a:extLst>
                  <a:ext uri="{FF2B5EF4-FFF2-40B4-BE49-F238E27FC236}">
                    <a16:creationId xmlns:a16="http://schemas.microsoft.com/office/drawing/2014/main" id="{ED1371CC-1695-4CCA-8B70-9815B08BB7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2867"/>
                <a:ext cx="231" cy="436"/>
              </a:xfrm>
              <a:custGeom>
                <a:avLst/>
                <a:gdLst>
                  <a:gd name="T0" fmla="*/ 121 w 155"/>
                  <a:gd name="T1" fmla="*/ 109 h 293"/>
                  <a:gd name="T2" fmla="*/ 0 w 155"/>
                  <a:gd name="T3" fmla="*/ 0 h 293"/>
                  <a:gd name="T4" fmla="*/ 0 w 155"/>
                  <a:gd name="T5" fmla="*/ 7 h 293"/>
                  <a:gd name="T6" fmla="*/ 90 w 155"/>
                  <a:gd name="T7" fmla="*/ 277 h 293"/>
                  <a:gd name="T8" fmla="*/ 102 w 155"/>
                  <a:gd name="T9" fmla="*/ 287 h 293"/>
                  <a:gd name="T10" fmla="*/ 121 w 155"/>
                  <a:gd name="T11" fmla="*/ 10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5" h="293">
                    <a:moveTo>
                      <a:pt x="121" y="109"/>
                    </a:moveTo>
                    <a:cubicBezTo>
                      <a:pt x="95" y="58"/>
                      <a:pt x="50" y="25"/>
                      <a:pt x="0" y="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92" y="66"/>
                      <a:pt x="141" y="165"/>
                      <a:pt x="90" y="277"/>
                    </a:cubicBezTo>
                    <a:cubicBezTo>
                      <a:pt x="86" y="285"/>
                      <a:pt x="95" y="293"/>
                      <a:pt x="102" y="287"/>
                    </a:cubicBezTo>
                    <a:cubicBezTo>
                      <a:pt x="155" y="242"/>
                      <a:pt x="150" y="167"/>
                      <a:pt x="121" y="109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8" name="Freeform 181">
                <a:extLst>
                  <a:ext uri="{FF2B5EF4-FFF2-40B4-BE49-F238E27FC236}">
                    <a16:creationId xmlns:a16="http://schemas.microsoft.com/office/drawing/2014/main" id="{12B2E46F-9AC9-4E40-BC32-CE25089AFA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" y="2386"/>
                <a:ext cx="382" cy="95"/>
              </a:xfrm>
              <a:custGeom>
                <a:avLst/>
                <a:gdLst>
                  <a:gd name="T0" fmla="*/ 254 w 256"/>
                  <a:gd name="T1" fmla="*/ 2 h 64"/>
                  <a:gd name="T2" fmla="*/ 253 w 256"/>
                  <a:gd name="T3" fmla="*/ 0 h 64"/>
                  <a:gd name="T4" fmla="*/ 0 w 256"/>
                  <a:gd name="T5" fmla="*/ 16 h 64"/>
                  <a:gd name="T6" fmla="*/ 0 w 256"/>
                  <a:gd name="T7" fmla="*/ 51 h 64"/>
                  <a:gd name="T8" fmla="*/ 254 w 256"/>
                  <a:gd name="T9" fmla="*/ 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6" h="64">
                    <a:moveTo>
                      <a:pt x="254" y="2"/>
                    </a:moveTo>
                    <a:cubicBezTo>
                      <a:pt x="256" y="1"/>
                      <a:pt x="255" y="0"/>
                      <a:pt x="253" y="0"/>
                    </a:cubicBezTo>
                    <a:cubicBezTo>
                      <a:pt x="168" y="38"/>
                      <a:pt x="85" y="28"/>
                      <a:pt x="0" y="16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87" y="64"/>
                      <a:pt x="179" y="48"/>
                      <a:pt x="254" y="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9" name="Freeform 182">
                <a:extLst>
                  <a:ext uri="{FF2B5EF4-FFF2-40B4-BE49-F238E27FC236}">
                    <a16:creationId xmlns:a16="http://schemas.microsoft.com/office/drawing/2014/main" id="{78788271-E659-4B57-96DB-D5C921C2E7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3" y="2"/>
                <a:ext cx="51" cy="458"/>
              </a:xfrm>
              <a:custGeom>
                <a:avLst/>
                <a:gdLst>
                  <a:gd name="T0" fmla="*/ 16 w 34"/>
                  <a:gd name="T1" fmla="*/ 98 h 308"/>
                  <a:gd name="T2" fmla="*/ 11 w 34"/>
                  <a:gd name="T3" fmla="*/ 307 h 308"/>
                  <a:gd name="T4" fmla="*/ 13 w 34"/>
                  <a:gd name="T5" fmla="*/ 307 h 308"/>
                  <a:gd name="T6" fmla="*/ 33 w 34"/>
                  <a:gd name="T7" fmla="*/ 88 h 308"/>
                  <a:gd name="T8" fmla="*/ 29 w 34"/>
                  <a:gd name="T9" fmla="*/ 0 h 308"/>
                  <a:gd name="T10" fmla="*/ 0 w 34"/>
                  <a:gd name="T11" fmla="*/ 0 h 308"/>
                  <a:gd name="T12" fmla="*/ 16 w 34"/>
                  <a:gd name="T13" fmla="*/ 98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308">
                    <a:moveTo>
                      <a:pt x="16" y="98"/>
                    </a:moveTo>
                    <a:cubicBezTo>
                      <a:pt x="21" y="167"/>
                      <a:pt x="19" y="237"/>
                      <a:pt x="11" y="307"/>
                    </a:cubicBezTo>
                    <a:cubicBezTo>
                      <a:pt x="11" y="308"/>
                      <a:pt x="13" y="308"/>
                      <a:pt x="13" y="307"/>
                    </a:cubicBezTo>
                    <a:cubicBezTo>
                      <a:pt x="28" y="234"/>
                      <a:pt x="34" y="162"/>
                      <a:pt x="33" y="88"/>
                    </a:cubicBezTo>
                    <a:cubicBezTo>
                      <a:pt x="32" y="60"/>
                      <a:pt x="32" y="30"/>
                      <a:pt x="2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33"/>
                      <a:pt x="13" y="65"/>
                      <a:pt x="16" y="9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0" name="Freeform 183">
                <a:extLst>
                  <a:ext uri="{FF2B5EF4-FFF2-40B4-BE49-F238E27FC236}">
                    <a16:creationId xmlns:a16="http://schemas.microsoft.com/office/drawing/2014/main" id="{C3E5592E-3BA3-4038-A779-EF08F1B309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83" y="2"/>
                <a:ext cx="148" cy="752"/>
              </a:xfrm>
              <a:custGeom>
                <a:avLst/>
                <a:gdLst>
                  <a:gd name="T0" fmla="*/ 71 w 99"/>
                  <a:gd name="T1" fmla="*/ 150 h 505"/>
                  <a:gd name="T2" fmla="*/ 0 w 99"/>
                  <a:gd name="T3" fmla="*/ 503 h 505"/>
                  <a:gd name="T4" fmla="*/ 1 w 99"/>
                  <a:gd name="T5" fmla="*/ 504 h 505"/>
                  <a:gd name="T6" fmla="*/ 95 w 99"/>
                  <a:gd name="T7" fmla="*/ 132 h 505"/>
                  <a:gd name="T8" fmla="*/ 97 w 99"/>
                  <a:gd name="T9" fmla="*/ 0 h 505"/>
                  <a:gd name="T10" fmla="*/ 60 w 99"/>
                  <a:gd name="T11" fmla="*/ 0 h 505"/>
                  <a:gd name="T12" fmla="*/ 71 w 99"/>
                  <a:gd name="T13" fmla="*/ 150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505">
                    <a:moveTo>
                      <a:pt x="71" y="150"/>
                    </a:moveTo>
                    <a:cubicBezTo>
                      <a:pt x="68" y="271"/>
                      <a:pt x="42" y="390"/>
                      <a:pt x="0" y="503"/>
                    </a:cubicBezTo>
                    <a:cubicBezTo>
                      <a:pt x="0" y="504"/>
                      <a:pt x="1" y="505"/>
                      <a:pt x="1" y="504"/>
                    </a:cubicBezTo>
                    <a:cubicBezTo>
                      <a:pt x="58" y="387"/>
                      <a:pt x="87" y="262"/>
                      <a:pt x="95" y="132"/>
                    </a:cubicBezTo>
                    <a:cubicBezTo>
                      <a:pt x="97" y="88"/>
                      <a:pt x="99" y="44"/>
                      <a:pt x="97" y="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7" y="50"/>
                      <a:pt x="73" y="100"/>
                      <a:pt x="71" y="150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1" name="Freeform 184">
                <a:extLst>
                  <a:ext uri="{FF2B5EF4-FFF2-40B4-BE49-F238E27FC236}">
                    <a16:creationId xmlns:a16="http://schemas.microsoft.com/office/drawing/2014/main" id="{8F2EAA61-E7E8-44D0-876F-5B487080FC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43" y="752"/>
                <a:ext cx="500" cy="277"/>
              </a:xfrm>
              <a:custGeom>
                <a:avLst/>
                <a:gdLst>
                  <a:gd name="T0" fmla="*/ 0 w 335"/>
                  <a:gd name="T1" fmla="*/ 2 h 186"/>
                  <a:gd name="T2" fmla="*/ 331 w 335"/>
                  <a:gd name="T3" fmla="*/ 61 h 186"/>
                  <a:gd name="T4" fmla="*/ 324 w 335"/>
                  <a:gd name="T5" fmla="*/ 55 h 186"/>
                  <a:gd name="T6" fmla="*/ 2 w 335"/>
                  <a:gd name="T7" fmla="*/ 1 h 186"/>
                  <a:gd name="T8" fmla="*/ 0 w 335"/>
                  <a:gd name="T9" fmla="*/ 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5" h="186">
                    <a:moveTo>
                      <a:pt x="0" y="2"/>
                    </a:moveTo>
                    <a:cubicBezTo>
                      <a:pt x="48" y="151"/>
                      <a:pt x="234" y="186"/>
                      <a:pt x="331" y="61"/>
                    </a:cubicBezTo>
                    <a:cubicBezTo>
                      <a:pt x="335" y="57"/>
                      <a:pt x="329" y="51"/>
                      <a:pt x="324" y="55"/>
                    </a:cubicBezTo>
                    <a:cubicBezTo>
                      <a:pt x="224" y="141"/>
                      <a:pt x="69" y="116"/>
                      <a:pt x="2" y="1"/>
                    </a:cubicBezTo>
                    <a:cubicBezTo>
                      <a:pt x="2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2" name="Freeform 185">
                <a:extLst>
                  <a:ext uri="{FF2B5EF4-FFF2-40B4-BE49-F238E27FC236}">
                    <a16:creationId xmlns:a16="http://schemas.microsoft.com/office/drawing/2014/main" id="{898E9023-0199-41ED-BEB9-961068FA15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29" y="219"/>
                <a:ext cx="283" cy="605"/>
              </a:xfrm>
              <a:custGeom>
                <a:avLst/>
                <a:gdLst>
                  <a:gd name="T0" fmla="*/ 64 w 190"/>
                  <a:gd name="T1" fmla="*/ 1 h 406"/>
                  <a:gd name="T2" fmla="*/ 178 w 190"/>
                  <a:gd name="T3" fmla="*/ 405 h 406"/>
                  <a:gd name="T4" fmla="*/ 183 w 190"/>
                  <a:gd name="T5" fmla="*/ 393 h 406"/>
                  <a:gd name="T6" fmla="*/ 65 w 190"/>
                  <a:gd name="T7" fmla="*/ 1 h 406"/>
                  <a:gd name="T8" fmla="*/ 64 w 190"/>
                  <a:gd name="T9" fmla="*/ 1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406">
                    <a:moveTo>
                      <a:pt x="64" y="1"/>
                    </a:moveTo>
                    <a:cubicBezTo>
                      <a:pt x="41" y="135"/>
                      <a:pt x="0" y="364"/>
                      <a:pt x="178" y="405"/>
                    </a:cubicBezTo>
                    <a:cubicBezTo>
                      <a:pt x="185" y="406"/>
                      <a:pt x="190" y="396"/>
                      <a:pt x="183" y="393"/>
                    </a:cubicBezTo>
                    <a:cubicBezTo>
                      <a:pt x="46" y="329"/>
                      <a:pt x="57" y="126"/>
                      <a:pt x="65" y="1"/>
                    </a:cubicBezTo>
                    <a:cubicBezTo>
                      <a:pt x="65" y="0"/>
                      <a:pt x="64" y="0"/>
                      <a:pt x="64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3" name="Freeform 186">
                <a:extLst>
                  <a:ext uri="{FF2B5EF4-FFF2-40B4-BE49-F238E27FC236}">
                    <a16:creationId xmlns:a16="http://schemas.microsoft.com/office/drawing/2014/main" id="{9534121C-972F-4330-8413-176C8FD808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92" y="722"/>
                <a:ext cx="760" cy="560"/>
              </a:xfrm>
              <a:custGeom>
                <a:avLst/>
                <a:gdLst>
                  <a:gd name="T0" fmla="*/ 128 w 510"/>
                  <a:gd name="T1" fmla="*/ 292 h 376"/>
                  <a:gd name="T2" fmla="*/ 506 w 510"/>
                  <a:gd name="T3" fmla="*/ 338 h 376"/>
                  <a:gd name="T4" fmla="*/ 504 w 510"/>
                  <a:gd name="T5" fmla="*/ 332 h 376"/>
                  <a:gd name="T6" fmla="*/ 146 w 510"/>
                  <a:gd name="T7" fmla="*/ 276 h 376"/>
                  <a:gd name="T8" fmla="*/ 2 w 510"/>
                  <a:gd name="T9" fmla="*/ 1 h 376"/>
                  <a:gd name="T10" fmla="*/ 0 w 510"/>
                  <a:gd name="T11" fmla="*/ 1 h 376"/>
                  <a:gd name="T12" fmla="*/ 128 w 510"/>
                  <a:gd name="T13" fmla="*/ 292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10" h="376">
                    <a:moveTo>
                      <a:pt x="128" y="292"/>
                    </a:moveTo>
                    <a:cubicBezTo>
                      <a:pt x="236" y="362"/>
                      <a:pt x="384" y="376"/>
                      <a:pt x="506" y="338"/>
                    </a:cubicBezTo>
                    <a:cubicBezTo>
                      <a:pt x="510" y="337"/>
                      <a:pt x="508" y="331"/>
                      <a:pt x="504" y="332"/>
                    </a:cubicBezTo>
                    <a:cubicBezTo>
                      <a:pt x="387" y="349"/>
                      <a:pt x="247" y="346"/>
                      <a:pt x="146" y="276"/>
                    </a:cubicBezTo>
                    <a:cubicBezTo>
                      <a:pt x="51" y="210"/>
                      <a:pt x="30" y="106"/>
                      <a:pt x="2" y="1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8" y="106"/>
                      <a:pt x="33" y="230"/>
                      <a:pt x="128" y="292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4" name="Freeform 187">
                <a:extLst>
                  <a:ext uri="{FF2B5EF4-FFF2-40B4-BE49-F238E27FC236}">
                    <a16:creationId xmlns:a16="http://schemas.microsoft.com/office/drawing/2014/main" id="{AB0887EB-9FE9-4798-A24B-E1A3F9280F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98" y="713"/>
                <a:ext cx="1185" cy="450"/>
              </a:xfrm>
              <a:custGeom>
                <a:avLst/>
                <a:gdLst>
                  <a:gd name="T0" fmla="*/ 794 w 795"/>
                  <a:gd name="T1" fmla="*/ 127 h 302"/>
                  <a:gd name="T2" fmla="*/ 793 w 795"/>
                  <a:gd name="T3" fmla="*/ 126 h 302"/>
                  <a:gd name="T4" fmla="*/ 335 w 795"/>
                  <a:gd name="T5" fmla="*/ 251 h 302"/>
                  <a:gd name="T6" fmla="*/ 2 w 795"/>
                  <a:gd name="T7" fmla="*/ 1 h 302"/>
                  <a:gd name="T8" fmla="*/ 0 w 795"/>
                  <a:gd name="T9" fmla="*/ 2 h 302"/>
                  <a:gd name="T10" fmla="*/ 336 w 795"/>
                  <a:gd name="T11" fmla="*/ 277 h 302"/>
                  <a:gd name="T12" fmla="*/ 794 w 795"/>
                  <a:gd name="T13" fmla="*/ 127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95" h="302">
                    <a:moveTo>
                      <a:pt x="794" y="127"/>
                    </a:moveTo>
                    <a:cubicBezTo>
                      <a:pt x="795" y="126"/>
                      <a:pt x="794" y="125"/>
                      <a:pt x="793" y="126"/>
                    </a:cubicBezTo>
                    <a:cubicBezTo>
                      <a:pt x="665" y="235"/>
                      <a:pt x="501" y="288"/>
                      <a:pt x="335" y="251"/>
                    </a:cubicBezTo>
                    <a:cubicBezTo>
                      <a:pt x="198" y="221"/>
                      <a:pt x="63" y="130"/>
                      <a:pt x="2" y="1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57" y="147"/>
                      <a:pt x="178" y="253"/>
                      <a:pt x="336" y="277"/>
                    </a:cubicBezTo>
                    <a:cubicBezTo>
                      <a:pt x="499" y="302"/>
                      <a:pt x="673" y="234"/>
                      <a:pt x="794" y="12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5" name="Freeform 188">
                <a:extLst>
                  <a:ext uri="{FF2B5EF4-FFF2-40B4-BE49-F238E27FC236}">
                    <a16:creationId xmlns:a16="http://schemas.microsoft.com/office/drawing/2014/main" id="{C032D476-C35D-46C8-98A5-C2BE23A9C6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57" y="366"/>
                <a:ext cx="1002" cy="1175"/>
              </a:xfrm>
              <a:custGeom>
                <a:avLst/>
                <a:gdLst>
                  <a:gd name="T0" fmla="*/ 548 w 672"/>
                  <a:gd name="T1" fmla="*/ 6 h 789"/>
                  <a:gd name="T2" fmla="*/ 539 w 672"/>
                  <a:gd name="T3" fmla="*/ 8 h 789"/>
                  <a:gd name="T4" fmla="*/ 1 w 672"/>
                  <a:gd name="T5" fmla="*/ 629 h 789"/>
                  <a:gd name="T6" fmla="*/ 0 w 672"/>
                  <a:gd name="T7" fmla="*/ 631 h 789"/>
                  <a:gd name="T8" fmla="*/ 548 w 672"/>
                  <a:gd name="T9" fmla="*/ 6 h 7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2" h="789">
                    <a:moveTo>
                      <a:pt x="548" y="6"/>
                    </a:moveTo>
                    <a:cubicBezTo>
                      <a:pt x="546" y="0"/>
                      <a:pt x="537" y="2"/>
                      <a:pt x="539" y="8"/>
                    </a:cubicBezTo>
                    <a:cubicBezTo>
                      <a:pt x="630" y="306"/>
                      <a:pt x="341" y="755"/>
                      <a:pt x="1" y="629"/>
                    </a:cubicBezTo>
                    <a:cubicBezTo>
                      <a:pt x="0" y="629"/>
                      <a:pt x="0" y="630"/>
                      <a:pt x="0" y="631"/>
                    </a:cubicBezTo>
                    <a:cubicBezTo>
                      <a:pt x="349" y="789"/>
                      <a:pt x="672" y="312"/>
                      <a:pt x="548" y="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6" name="Freeform 189">
                <a:extLst>
                  <a:ext uri="{FF2B5EF4-FFF2-40B4-BE49-F238E27FC236}">
                    <a16:creationId xmlns:a16="http://schemas.microsoft.com/office/drawing/2014/main" id="{5A7B4FB1-FA66-46E6-98B9-EB6FFBE817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5" y="113"/>
                <a:ext cx="82" cy="393"/>
              </a:xfrm>
              <a:custGeom>
                <a:avLst/>
                <a:gdLst>
                  <a:gd name="T0" fmla="*/ 53 w 55"/>
                  <a:gd name="T1" fmla="*/ 1 h 264"/>
                  <a:gd name="T2" fmla="*/ 3 w 55"/>
                  <a:gd name="T3" fmla="*/ 240 h 264"/>
                  <a:gd name="T4" fmla="*/ 32 w 55"/>
                  <a:gd name="T5" fmla="*/ 244 h 264"/>
                  <a:gd name="T6" fmla="*/ 55 w 55"/>
                  <a:gd name="T7" fmla="*/ 1 h 264"/>
                  <a:gd name="T8" fmla="*/ 53 w 55"/>
                  <a:gd name="T9" fmla="*/ 1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64">
                    <a:moveTo>
                      <a:pt x="53" y="1"/>
                    </a:moveTo>
                    <a:cubicBezTo>
                      <a:pt x="27" y="78"/>
                      <a:pt x="15" y="159"/>
                      <a:pt x="3" y="240"/>
                    </a:cubicBezTo>
                    <a:cubicBezTo>
                      <a:pt x="0" y="262"/>
                      <a:pt x="33" y="264"/>
                      <a:pt x="32" y="244"/>
                    </a:cubicBezTo>
                    <a:cubicBezTo>
                      <a:pt x="27" y="162"/>
                      <a:pt x="40" y="81"/>
                      <a:pt x="55" y="1"/>
                    </a:cubicBezTo>
                    <a:cubicBezTo>
                      <a:pt x="55" y="0"/>
                      <a:pt x="54" y="0"/>
                      <a:pt x="53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7" name="Freeform 190">
                <a:extLst>
                  <a:ext uri="{FF2B5EF4-FFF2-40B4-BE49-F238E27FC236}">
                    <a16:creationId xmlns:a16="http://schemas.microsoft.com/office/drawing/2014/main" id="{2C212F98-A715-4B55-A2D5-A8E4B699F0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02" y="2"/>
                <a:ext cx="1112" cy="1292"/>
              </a:xfrm>
              <a:custGeom>
                <a:avLst/>
                <a:gdLst>
                  <a:gd name="T0" fmla="*/ 40 w 746"/>
                  <a:gd name="T1" fmla="*/ 538 h 868"/>
                  <a:gd name="T2" fmla="*/ 577 w 746"/>
                  <a:gd name="T3" fmla="*/ 729 h 868"/>
                  <a:gd name="T4" fmla="*/ 746 w 746"/>
                  <a:gd name="T5" fmla="*/ 383 h 868"/>
                  <a:gd name="T6" fmla="*/ 744 w 746"/>
                  <a:gd name="T7" fmla="*/ 382 h 868"/>
                  <a:gd name="T8" fmla="*/ 512 w 746"/>
                  <a:gd name="T9" fmla="*/ 722 h 868"/>
                  <a:gd name="T10" fmla="*/ 143 w 746"/>
                  <a:gd name="T11" fmla="*/ 660 h 868"/>
                  <a:gd name="T12" fmla="*/ 91 w 746"/>
                  <a:gd name="T13" fmla="*/ 206 h 868"/>
                  <a:gd name="T14" fmla="*/ 173 w 746"/>
                  <a:gd name="T15" fmla="*/ 0 h 868"/>
                  <a:gd name="T16" fmla="*/ 132 w 746"/>
                  <a:gd name="T17" fmla="*/ 0 h 868"/>
                  <a:gd name="T18" fmla="*/ 40 w 746"/>
                  <a:gd name="T19" fmla="*/ 538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6" h="868">
                    <a:moveTo>
                      <a:pt x="40" y="538"/>
                    </a:moveTo>
                    <a:cubicBezTo>
                      <a:pt x="95" y="777"/>
                      <a:pt x="382" y="868"/>
                      <a:pt x="577" y="729"/>
                    </a:cubicBezTo>
                    <a:cubicBezTo>
                      <a:pt x="689" y="649"/>
                      <a:pt x="742" y="517"/>
                      <a:pt x="746" y="383"/>
                    </a:cubicBezTo>
                    <a:cubicBezTo>
                      <a:pt x="746" y="382"/>
                      <a:pt x="744" y="381"/>
                      <a:pt x="744" y="382"/>
                    </a:cubicBezTo>
                    <a:cubicBezTo>
                      <a:pt x="723" y="520"/>
                      <a:pt x="639" y="658"/>
                      <a:pt x="512" y="722"/>
                    </a:cubicBezTo>
                    <a:cubicBezTo>
                      <a:pt x="394" y="781"/>
                      <a:pt x="233" y="760"/>
                      <a:pt x="143" y="660"/>
                    </a:cubicBezTo>
                    <a:cubicBezTo>
                      <a:pt x="39" y="543"/>
                      <a:pt x="57" y="347"/>
                      <a:pt x="91" y="206"/>
                    </a:cubicBezTo>
                    <a:cubicBezTo>
                      <a:pt x="109" y="133"/>
                      <a:pt x="137" y="65"/>
                      <a:pt x="173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41" y="164"/>
                      <a:pt x="0" y="363"/>
                      <a:pt x="40" y="53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8" name="Freeform 191">
                <a:extLst>
                  <a:ext uri="{FF2B5EF4-FFF2-40B4-BE49-F238E27FC236}">
                    <a16:creationId xmlns:a16="http://schemas.microsoft.com/office/drawing/2014/main" id="{523BCAA3-D55B-46A6-B521-00EF4BA9EF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0" y="669"/>
                <a:ext cx="56" cy="134"/>
              </a:xfrm>
              <a:custGeom>
                <a:avLst/>
                <a:gdLst>
                  <a:gd name="T0" fmla="*/ 31 w 38"/>
                  <a:gd name="T1" fmla="*/ 87 h 90"/>
                  <a:gd name="T2" fmla="*/ 36 w 38"/>
                  <a:gd name="T3" fmla="*/ 85 h 90"/>
                  <a:gd name="T4" fmla="*/ 4 w 38"/>
                  <a:gd name="T5" fmla="*/ 2 h 90"/>
                  <a:gd name="T6" fmla="*/ 1 w 38"/>
                  <a:gd name="T7" fmla="*/ 3 h 90"/>
                  <a:gd name="T8" fmla="*/ 31 w 38"/>
                  <a:gd name="T9" fmla="*/ 87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90">
                    <a:moveTo>
                      <a:pt x="31" y="87"/>
                    </a:moveTo>
                    <a:cubicBezTo>
                      <a:pt x="33" y="90"/>
                      <a:pt x="38" y="88"/>
                      <a:pt x="36" y="85"/>
                    </a:cubicBezTo>
                    <a:cubicBezTo>
                      <a:pt x="25" y="58"/>
                      <a:pt x="13" y="31"/>
                      <a:pt x="4" y="2"/>
                    </a:cubicBezTo>
                    <a:cubicBezTo>
                      <a:pt x="3" y="0"/>
                      <a:pt x="0" y="1"/>
                      <a:pt x="1" y="3"/>
                    </a:cubicBezTo>
                    <a:cubicBezTo>
                      <a:pt x="8" y="32"/>
                      <a:pt x="17" y="61"/>
                      <a:pt x="31" y="8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9" name="Freeform 192">
                <a:extLst>
                  <a:ext uri="{FF2B5EF4-FFF2-40B4-BE49-F238E27FC236}">
                    <a16:creationId xmlns:a16="http://schemas.microsoft.com/office/drawing/2014/main" id="{082375A5-10C9-4E95-BB7D-56B1575AD7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53" y="2"/>
                <a:ext cx="179" cy="638"/>
              </a:xfrm>
              <a:custGeom>
                <a:avLst/>
                <a:gdLst>
                  <a:gd name="T0" fmla="*/ 35 w 120"/>
                  <a:gd name="T1" fmla="*/ 426 h 429"/>
                  <a:gd name="T2" fmla="*/ 40 w 120"/>
                  <a:gd name="T3" fmla="*/ 425 h 429"/>
                  <a:gd name="T4" fmla="*/ 120 w 120"/>
                  <a:gd name="T5" fmla="*/ 0 h 429"/>
                  <a:gd name="T6" fmla="*/ 96 w 120"/>
                  <a:gd name="T7" fmla="*/ 0 h 429"/>
                  <a:gd name="T8" fmla="*/ 35 w 120"/>
                  <a:gd name="T9" fmla="*/ 426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429">
                    <a:moveTo>
                      <a:pt x="35" y="426"/>
                    </a:moveTo>
                    <a:cubicBezTo>
                      <a:pt x="36" y="429"/>
                      <a:pt x="40" y="428"/>
                      <a:pt x="40" y="425"/>
                    </a:cubicBezTo>
                    <a:cubicBezTo>
                      <a:pt x="41" y="278"/>
                      <a:pt x="64" y="133"/>
                      <a:pt x="12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28" y="130"/>
                      <a:pt x="0" y="281"/>
                      <a:pt x="35" y="426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0" name="Freeform 193">
                <a:extLst>
                  <a:ext uri="{FF2B5EF4-FFF2-40B4-BE49-F238E27FC236}">
                    <a16:creationId xmlns:a16="http://schemas.microsoft.com/office/drawing/2014/main" id="{455FD2B6-DDC0-4898-A921-A0CC4F0B9A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42" y="2"/>
                <a:ext cx="178" cy="631"/>
              </a:xfrm>
              <a:custGeom>
                <a:avLst/>
                <a:gdLst>
                  <a:gd name="T0" fmla="*/ 18 w 119"/>
                  <a:gd name="T1" fmla="*/ 418 h 424"/>
                  <a:gd name="T2" fmla="*/ 28 w 119"/>
                  <a:gd name="T3" fmla="*/ 418 h 424"/>
                  <a:gd name="T4" fmla="*/ 119 w 119"/>
                  <a:gd name="T5" fmla="*/ 0 h 424"/>
                  <a:gd name="T6" fmla="*/ 109 w 119"/>
                  <a:gd name="T7" fmla="*/ 0 h 424"/>
                  <a:gd name="T8" fmla="*/ 18 w 119"/>
                  <a:gd name="T9" fmla="*/ 418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9" h="424">
                    <a:moveTo>
                      <a:pt x="18" y="418"/>
                    </a:moveTo>
                    <a:cubicBezTo>
                      <a:pt x="19" y="424"/>
                      <a:pt x="28" y="424"/>
                      <a:pt x="28" y="418"/>
                    </a:cubicBezTo>
                    <a:cubicBezTo>
                      <a:pt x="38" y="269"/>
                      <a:pt x="62" y="135"/>
                      <a:pt x="119" y="0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39" y="124"/>
                      <a:pt x="0" y="278"/>
                      <a:pt x="18" y="41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1" name="Freeform 194">
                <a:extLst>
                  <a:ext uri="{FF2B5EF4-FFF2-40B4-BE49-F238E27FC236}">
                    <a16:creationId xmlns:a16="http://schemas.microsoft.com/office/drawing/2014/main" id="{6CAD3F0B-7DC7-4F6B-905F-54257EAE3C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9" y="569"/>
                <a:ext cx="173" cy="211"/>
              </a:xfrm>
              <a:custGeom>
                <a:avLst/>
                <a:gdLst>
                  <a:gd name="T0" fmla="*/ 13 w 116"/>
                  <a:gd name="T1" fmla="*/ 138 h 142"/>
                  <a:gd name="T2" fmla="*/ 116 w 116"/>
                  <a:gd name="T3" fmla="*/ 2 h 142"/>
                  <a:gd name="T4" fmla="*/ 114 w 116"/>
                  <a:gd name="T5" fmla="*/ 1 h 142"/>
                  <a:gd name="T6" fmla="*/ 64 w 116"/>
                  <a:gd name="T7" fmla="*/ 73 h 142"/>
                  <a:gd name="T8" fmla="*/ 5 w 116"/>
                  <a:gd name="T9" fmla="*/ 128 h 142"/>
                  <a:gd name="T10" fmla="*/ 13 w 116"/>
                  <a:gd name="T11" fmla="*/ 138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142">
                    <a:moveTo>
                      <a:pt x="13" y="138"/>
                    </a:moveTo>
                    <a:cubicBezTo>
                      <a:pt x="61" y="113"/>
                      <a:pt x="94" y="50"/>
                      <a:pt x="116" y="2"/>
                    </a:cubicBezTo>
                    <a:cubicBezTo>
                      <a:pt x="116" y="1"/>
                      <a:pt x="114" y="0"/>
                      <a:pt x="114" y="1"/>
                    </a:cubicBezTo>
                    <a:cubicBezTo>
                      <a:pt x="100" y="27"/>
                      <a:pt x="83" y="51"/>
                      <a:pt x="64" y="73"/>
                    </a:cubicBezTo>
                    <a:cubicBezTo>
                      <a:pt x="46" y="93"/>
                      <a:pt x="22" y="108"/>
                      <a:pt x="5" y="128"/>
                    </a:cubicBezTo>
                    <a:cubicBezTo>
                      <a:pt x="0" y="134"/>
                      <a:pt x="6" y="142"/>
                      <a:pt x="13" y="138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2" name="Freeform 195">
                <a:extLst>
                  <a:ext uri="{FF2B5EF4-FFF2-40B4-BE49-F238E27FC236}">
                    <a16:creationId xmlns:a16="http://schemas.microsoft.com/office/drawing/2014/main" id="{589D0BA9-233A-465D-8B7F-22F14BBDEE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68" y="174"/>
                <a:ext cx="265" cy="821"/>
              </a:xfrm>
              <a:custGeom>
                <a:avLst/>
                <a:gdLst>
                  <a:gd name="T0" fmla="*/ 122 w 178"/>
                  <a:gd name="T1" fmla="*/ 1 h 551"/>
                  <a:gd name="T2" fmla="*/ 168 w 178"/>
                  <a:gd name="T3" fmla="*/ 548 h 551"/>
                  <a:gd name="T4" fmla="*/ 174 w 178"/>
                  <a:gd name="T5" fmla="*/ 541 h 551"/>
                  <a:gd name="T6" fmla="*/ 123 w 178"/>
                  <a:gd name="T7" fmla="*/ 1 h 551"/>
                  <a:gd name="T8" fmla="*/ 122 w 178"/>
                  <a:gd name="T9" fmla="*/ 1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" h="551">
                    <a:moveTo>
                      <a:pt x="122" y="1"/>
                    </a:moveTo>
                    <a:cubicBezTo>
                      <a:pt x="59" y="173"/>
                      <a:pt x="0" y="414"/>
                      <a:pt x="168" y="548"/>
                    </a:cubicBezTo>
                    <a:cubicBezTo>
                      <a:pt x="172" y="551"/>
                      <a:pt x="178" y="546"/>
                      <a:pt x="174" y="541"/>
                    </a:cubicBezTo>
                    <a:cubicBezTo>
                      <a:pt x="45" y="383"/>
                      <a:pt x="74" y="184"/>
                      <a:pt x="123" y="1"/>
                    </a:cubicBezTo>
                    <a:cubicBezTo>
                      <a:pt x="123" y="0"/>
                      <a:pt x="122" y="0"/>
                      <a:pt x="122" y="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3" name="Freeform 196">
                <a:extLst>
                  <a:ext uri="{FF2B5EF4-FFF2-40B4-BE49-F238E27FC236}">
                    <a16:creationId xmlns:a16="http://schemas.microsoft.com/office/drawing/2014/main" id="{D6B708ED-7859-42BE-AA69-4165E64054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74" y="2"/>
                <a:ext cx="227" cy="722"/>
              </a:xfrm>
              <a:custGeom>
                <a:avLst/>
                <a:gdLst>
                  <a:gd name="T0" fmla="*/ 108 w 152"/>
                  <a:gd name="T1" fmla="*/ 241 h 485"/>
                  <a:gd name="T2" fmla="*/ 68 w 152"/>
                  <a:gd name="T3" fmla="*/ 365 h 485"/>
                  <a:gd name="T4" fmla="*/ 3 w 152"/>
                  <a:gd name="T5" fmla="*/ 471 h 485"/>
                  <a:gd name="T6" fmla="*/ 14 w 152"/>
                  <a:gd name="T7" fmla="*/ 482 h 485"/>
                  <a:gd name="T8" fmla="*/ 137 w 152"/>
                  <a:gd name="T9" fmla="*/ 258 h 485"/>
                  <a:gd name="T10" fmla="*/ 130 w 152"/>
                  <a:gd name="T11" fmla="*/ 0 h 485"/>
                  <a:gd name="T12" fmla="*/ 119 w 152"/>
                  <a:gd name="T13" fmla="*/ 0 h 485"/>
                  <a:gd name="T14" fmla="*/ 108 w 152"/>
                  <a:gd name="T15" fmla="*/ 241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2" h="485">
                    <a:moveTo>
                      <a:pt x="108" y="241"/>
                    </a:moveTo>
                    <a:cubicBezTo>
                      <a:pt x="100" y="284"/>
                      <a:pt x="88" y="326"/>
                      <a:pt x="68" y="365"/>
                    </a:cubicBezTo>
                    <a:cubicBezTo>
                      <a:pt x="50" y="402"/>
                      <a:pt x="22" y="434"/>
                      <a:pt x="3" y="471"/>
                    </a:cubicBezTo>
                    <a:cubicBezTo>
                      <a:pt x="0" y="478"/>
                      <a:pt x="7" y="485"/>
                      <a:pt x="14" y="482"/>
                    </a:cubicBezTo>
                    <a:cubicBezTo>
                      <a:pt x="89" y="444"/>
                      <a:pt x="124" y="334"/>
                      <a:pt x="137" y="258"/>
                    </a:cubicBezTo>
                    <a:cubicBezTo>
                      <a:pt x="152" y="173"/>
                      <a:pt x="145" y="85"/>
                      <a:pt x="130" y="0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22" y="81"/>
                      <a:pt x="123" y="161"/>
                      <a:pt x="108" y="24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4" name="Freeform 197">
                <a:extLst>
                  <a:ext uri="{FF2B5EF4-FFF2-40B4-BE49-F238E27FC236}">
                    <a16:creationId xmlns:a16="http://schemas.microsoft.com/office/drawing/2014/main" id="{B12DAC17-C770-40DC-8012-84D662412B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58" y="2"/>
                <a:ext cx="188" cy="722"/>
              </a:xfrm>
              <a:custGeom>
                <a:avLst/>
                <a:gdLst>
                  <a:gd name="T0" fmla="*/ 119 w 126"/>
                  <a:gd name="T1" fmla="*/ 473 h 485"/>
                  <a:gd name="T2" fmla="*/ 59 w 126"/>
                  <a:gd name="T3" fmla="*/ 175 h 485"/>
                  <a:gd name="T4" fmla="*/ 126 w 126"/>
                  <a:gd name="T5" fmla="*/ 0 h 485"/>
                  <a:gd name="T6" fmla="*/ 97 w 126"/>
                  <a:gd name="T7" fmla="*/ 0 h 485"/>
                  <a:gd name="T8" fmla="*/ 15 w 126"/>
                  <a:gd name="T9" fmla="*/ 189 h 485"/>
                  <a:gd name="T10" fmla="*/ 111 w 126"/>
                  <a:gd name="T11" fmla="*/ 481 h 485"/>
                  <a:gd name="T12" fmla="*/ 119 w 126"/>
                  <a:gd name="T13" fmla="*/ 473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485">
                    <a:moveTo>
                      <a:pt x="119" y="473"/>
                    </a:moveTo>
                    <a:cubicBezTo>
                      <a:pt x="71" y="378"/>
                      <a:pt x="36" y="284"/>
                      <a:pt x="59" y="175"/>
                    </a:cubicBezTo>
                    <a:cubicBezTo>
                      <a:pt x="71" y="117"/>
                      <a:pt x="95" y="55"/>
                      <a:pt x="126" y="0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55" y="55"/>
                      <a:pt x="26" y="120"/>
                      <a:pt x="15" y="189"/>
                    </a:cubicBezTo>
                    <a:cubicBezTo>
                      <a:pt x="0" y="291"/>
                      <a:pt x="21" y="418"/>
                      <a:pt x="111" y="481"/>
                    </a:cubicBezTo>
                    <a:cubicBezTo>
                      <a:pt x="116" y="485"/>
                      <a:pt x="121" y="478"/>
                      <a:pt x="119" y="473"/>
                    </a:cubicBezTo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5" name="Freeform 198">
                <a:extLst>
                  <a:ext uri="{FF2B5EF4-FFF2-40B4-BE49-F238E27FC236}">
                    <a16:creationId xmlns:a16="http://schemas.microsoft.com/office/drawing/2014/main" id="{EF671F80-9559-4B88-A110-AAE3042927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06" y="2"/>
                <a:ext cx="266" cy="644"/>
              </a:xfrm>
              <a:custGeom>
                <a:avLst/>
                <a:gdLst>
                  <a:gd name="T0" fmla="*/ 63 w 178"/>
                  <a:gd name="T1" fmla="*/ 425 h 433"/>
                  <a:gd name="T2" fmla="*/ 80 w 178"/>
                  <a:gd name="T3" fmla="*/ 420 h 433"/>
                  <a:gd name="T4" fmla="*/ 106 w 178"/>
                  <a:gd name="T5" fmla="*/ 149 h 433"/>
                  <a:gd name="T6" fmla="*/ 178 w 178"/>
                  <a:gd name="T7" fmla="*/ 0 h 433"/>
                  <a:gd name="T8" fmla="*/ 162 w 178"/>
                  <a:gd name="T9" fmla="*/ 0 h 433"/>
                  <a:gd name="T10" fmla="*/ 63 w 178"/>
                  <a:gd name="T11" fmla="*/ 425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8" h="433">
                    <a:moveTo>
                      <a:pt x="63" y="425"/>
                    </a:moveTo>
                    <a:cubicBezTo>
                      <a:pt x="67" y="433"/>
                      <a:pt x="81" y="429"/>
                      <a:pt x="80" y="420"/>
                    </a:cubicBezTo>
                    <a:cubicBezTo>
                      <a:pt x="72" y="326"/>
                      <a:pt x="73" y="239"/>
                      <a:pt x="106" y="149"/>
                    </a:cubicBezTo>
                    <a:cubicBezTo>
                      <a:pt x="125" y="96"/>
                      <a:pt x="150" y="47"/>
                      <a:pt x="178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70" y="122"/>
                      <a:pt x="0" y="277"/>
                      <a:pt x="63" y="425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6" name="Freeform 199">
                <a:extLst>
                  <a:ext uri="{FF2B5EF4-FFF2-40B4-BE49-F238E27FC236}">
                    <a16:creationId xmlns:a16="http://schemas.microsoft.com/office/drawing/2014/main" id="{E7B7804E-B1D4-4268-9BB2-E64FD84A3C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60" y="2"/>
                <a:ext cx="1212" cy="889"/>
              </a:xfrm>
              <a:custGeom>
                <a:avLst/>
                <a:gdLst>
                  <a:gd name="T0" fmla="*/ 31 w 813"/>
                  <a:gd name="T1" fmla="*/ 0 h 597"/>
                  <a:gd name="T2" fmla="*/ 219 w 813"/>
                  <a:gd name="T3" fmla="*/ 454 h 597"/>
                  <a:gd name="T4" fmla="*/ 812 w 813"/>
                  <a:gd name="T5" fmla="*/ 383 h 597"/>
                  <a:gd name="T6" fmla="*/ 809 w 813"/>
                  <a:gd name="T7" fmla="*/ 382 h 597"/>
                  <a:gd name="T8" fmla="*/ 239 w 813"/>
                  <a:gd name="T9" fmla="*/ 420 h 597"/>
                  <a:gd name="T10" fmla="*/ 50 w 813"/>
                  <a:gd name="T11" fmla="*/ 0 h 597"/>
                  <a:gd name="T12" fmla="*/ 31 w 813"/>
                  <a:gd name="T13" fmla="*/ 0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3" h="597">
                    <a:moveTo>
                      <a:pt x="31" y="0"/>
                    </a:moveTo>
                    <a:cubicBezTo>
                      <a:pt x="0" y="169"/>
                      <a:pt x="71" y="351"/>
                      <a:pt x="219" y="454"/>
                    </a:cubicBezTo>
                    <a:cubicBezTo>
                      <a:pt x="395" y="576"/>
                      <a:pt x="698" y="597"/>
                      <a:pt x="812" y="383"/>
                    </a:cubicBezTo>
                    <a:cubicBezTo>
                      <a:pt x="813" y="381"/>
                      <a:pt x="810" y="380"/>
                      <a:pt x="809" y="382"/>
                    </a:cubicBezTo>
                    <a:cubicBezTo>
                      <a:pt x="690" y="569"/>
                      <a:pt x="395" y="529"/>
                      <a:pt x="239" y="420"/>
                    </a:cubicBezTo>
                    <a:cubicBezTo>
                      <a:pt x="102" y="324"/>
                      <a:pt x="31" y="159"/>
                      <a:pt x="50" y="0"/>
                    </a:cubicBez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7" name="Freeform 200">
                <a:extLst>
                  <a:ext uri="{FF2B5EF4-FFF2-40B4-BE49-F238E27FC236}">
                    <a16:creationId xmlns:a16="http://schemas.microsoft.com/office/drawing/2014/main" id="{058A0C47-0A8C-4FC7-975B-37A7886463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90" y="2"/>
                <a:ext cx="270" cy="482"/>
              </a:xfrm>
              <a:custGeom>
                <a:avLst/>
                <a:gdLst>
                  <a:gd name="T0" fmla="*/ 25 w 181"/>
                  <a:gd name="T1" fmla="*/ 0 h 324"/>
                  <a:gd name="T2" fmla="*/ 171 w 181"/>
                  <a:gd name="T3" fmla="*/ 321 h 324"/>
                  <a:gd name="T4" fmla="*/ 177 w 181"/>
                  <a:gd name="T5" fmla="*/ 314 h 324"/>
                  <a:gd name="T6" fmla="*/ 45 w 181"/>
                  <a:gd name="T7" fmla="*/ 0 h 324"/>
                  <a:gd name="T8" fmla="*/ 25 w 181"/>
                  <a:gd name="T9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1" h="324">
                    <a:moveTo>
                      <a:pt x="25" y="0"/>
                    </a:moveTo>
                    <a:cubicBezTo>
                      <a:pt x="0" y="124"/>
                      <a:pt x="46" y="256"/>
                      <a:pt x="171" y="321"/>
                    </a:cubicBezTo>
                    <a:cubicBezTo>
                      <a:pt x="176" y="324"/>
                      <a:pt x="181" y="318"/>
                      <a:pt x="177" y="314"/>
                    </a:cubicBezTo>
                    <a:cubicBezTo>
                      <a:pt x="86" y="232"/>
                      <a:pt x="35" y="115"/>
                      <a:pt x="45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8" name="Freeform 201">
                <a:extLst>
                  <a:ext uri="{FF2B5EF4-FFF2-40B4-BE49-F238E27FC236}">
                    <a16:creationId xmlns:a16="http://schemas.microsoft.com/office/drawing/2014/main" id="{56436B42-C29D-4A3D-84A7-FDE658F627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88" y="2"/>
                <a:ext cx="57" cy="52"/>
              </a:xfrm>
              <a:custGeom>
                <a:avLst/>
                <a:gdLst>
                  <a:gd name="T0" fmla="*/ 36 w 38"/>
                  <a:gd name="T1" fmla="*/ 34 h 35"/>
                  <a:gd name="T2" fmla="*/ 37 w 38"/>
                  <a:gd name="T3" fmla="*/ 33 h 35"/>
                  <a:gd name="T4" fmla="*/ 11 w 38"/>
                  <a:gd name="T5" fmla="*/ 4 h 35"/>
                  <a:gd name="T6" fmla="*/ 9 w 38"/>
                  <a:gd name="T7" fmla="*/ 0 h 35"/>
                  <a:gd name="T8" fmla="*/ 0 w 38"/>
                  <a:gd name="T9" fmla="*/ 0 h 35"/>
                  <a:gd name="T10" fmla="*/ 36 w 38"/>
                  <a:gd name="T11" fmla="*/ 3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35">
                    <a:moveTo>
                      <a:pt x="36" y="34"/>
                    </a:moveTo>
                    <a:cubicBezTo>
                      <a:pt x="37" y="35"/>
                      <a:pt x="38" y="33"/>
                      <a:pt x="37" y="33"/>
                    </a:cubicBezTo>
                    <a:cubicBezTo>
                      <a:pt x="28" y="23"/>
                      <a:pt x="20" y="14"/>
                      <a:pt x="11" y="4"/>
                    </a:cubicBezTo>
                    <a:cubicBezTo>
                      <a:pt x="11" y="2"/>
                      <a:pt x="10" y="1"/>
                      <a:pt x="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" y="13"/>
                      <a:pt x="23" y="25"/>
                      <a:pt x="36" y="34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9" name="Freeform 202">
                <a:extLst>
                  <a:ext uri="{FF2B5EF4-FFF2-40B4-BE49-F238E27FC236}">
                    <a16:creationId xmlns:a16="http://schemas.microsoft.com/office/drawing/2014/main" id="{AA486372-4586-412D-BEAE-91BD188DD7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1" y="2"/>
                <a:ext cx="121" cy="59"/>
              </a:xfrm>
              <a:custGeom>
                <a:avLst/>
                <a:gdLst>
                  <a:gd name="T0" fmla="*/ 3 w 81"/>
                  <a:gd name="T1" fmla="*/ 31 h 40"/>
                  <a:gd name="T2" fmla="*/ 4 w 81"/>
                  <a:gd name="T3" fmla="*/ 36 h 40"/>
                  <a:gd name="T4" fmla="*/ 81 w 81"/>
                  <a:gd name="T5" fmla="*/ 0 h 40"/>
                  <a:gd name="T6" fmla="*/ 75 w 81"/>
                  <a:gd name="T7" fmla="*/ 0 h 40"/>
                  <a:gd name="T8" fmla="*/ 3 w 81"/>
                  <a:gd name="T9" fmla="*/ 3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40">
                    <a:moveTo>
                      <a:pt x="3" y="31"/>
                    </a:moveTo>
                    <a:cubicBezTo>
                      <a:pt x="0" y="32"/>
                      <a:pt x="1" y="36"/>
                      <a:pt x="4" y="36"/>
                    </a:cubicBezTo>
                    <a:cubicBezTo>
                      <a:pt x="33" y="40"/>
                      <a:pt x="62" y="23"/>
                      <a:pt x="81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56" y="17"/>
                      <a:pt x="31" y="25"/>
                      <a:pt x="3" y="31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0" name="Freeform 203">
                <a:extLst>
                  <a:ext uri="{FF2B5EF4-FFF2-40B4-BE49-F238E27FC236}">
                    <a16:creationId xmlns:a16="http://schemas.microsoft.com/office/drawing/2014/main" id="{19DEC4E5-4BF7-46DB-AACB-4155F5B95D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9" y="2"/>
                <a:ext cx="565" cy="274"/>
              </a:xfrm>
              <a:custGeom>
                <a:avLst/>
                <a:gdLst>
                  <a:gd name="T0" fmla="*/ 113 w 379"/>
                  <a:gd name="T1" fmla="*/ 137 h 184"/>
                  <a:gd name="T2" fmla="*/ 377 w 379"/>
                  <a:gd name="T3" fmla="*/ 77 h 184"/>
                  <a:gd name="T4" fmla="*/ 374 w 379"/>
                  <a:gd name="T5" fmla="*/ 74 h 184"/>
                  <a:gd name="T6" fmla="*/ 126 w 379"/>
                  <a:gd name="T7" fmla="*/ 101 h 184"/>
                  <a:gd name="T8" fmla="*/ 34 w 379"/>
                  <a:gd name="T9" fmla="*/ 0 h 184"/>
                  <a:gd name="T10" fmla="*/ 0 w 379"/>
                  <a:gd name="T11" fmla="*/ 0 h 184"/>
                  <a:gd name="T12" fmla="*/ 113 w 379"/>
                  <a:gd name="T13" fmla="*/ 137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9" h="184">
                    <a:moveTo>
                      <a:pt x="113" y="137"/>
                    </a:moveTo>
                    <a:cubicBezTo>
                      <a:pt x="206" y="184"/>
                      <a:pt x="311" y="153"/>
                      <a:pt x="377" y="77"/>
                    </a:cubicBezTo>
                    <a:cubicBezTo>
                      <a:pt x="379" y="75"/>
                      <a:pt x="376" y="73"/>
                      <a:pt x="374" y="74"/>
                    </a:cubicBezTo>
                    <a:cubicBezTo>
                      <a:pt x="308" y="130"/>
                      <a:pt x="203" y="143"/>
                      <a:pt x="126" y="101"/>
                    </a:cubicBezTo>
                    <a:cubicBezTo>
                      <a:pt x="84" y="78"/>
                      <a:pt x="53" y="42"/>
                      <a:pt x="3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58"/>
                      <a:pt x="57" y="110"/>
                      <a:pt x="113" y="137"/>
                    </a:cubicBez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1" name="Freeform 204">
                <a:extLst>
                  <a:ext uri="{FF2B5EF4-FFF2-40B4-BE49-F238E27FC236}">
                    <a16:creationId xmlns:a16="http://schemas.microsoft.com/office/drawing/2014/main" id="{63B96C19-8C3F-472D-80E9-AD6F65B2BB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63" y="2"/>
                <a:ext cx="64" cy="208"/>
              </a:xfrm>
              <a:custGeom>
                <a:avLst/>
                <a:gdLst>
                  <a:gd name="T0" fmla="*/ 0 w 43"/>
                  <a:gd name="T1" fmla="*/ 0 h 140"/>
                  <a:gd name="T2" fmla="*/ 41 w 43"/>
                  <a:gd name="T3" fmla="*/ 139 h 140"/>
                  <a:gd name="T4" fmla="*/ 42 w 43"/>
                  <a:gd name="T5" fmla="*/ 138 h 140"/>
                  <a:gd name="T6" fmla="*/ 22 w 43"/>
                  <a:gd name="T7" fmla="*/ 18 h 140"/>
                  <a:gd name="T8" fmla="*/ 23 w 43"/>
                  <a:gd name="T9" fmla="*/ 0 h 140"/>
                  <a:gd name="T10" fmla="*/ 0 w 43"/>
                  <a:gd name="T11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140">
                    <a:moveTo>
                      <a:pt x="0" y="0"/>
                    </a:moveTo>
                    <a:cubicBezTo>
                      <a:pt x="0" y="50"/>
                      <a:pt x="15" y="102"/>
                      <a:pt x="41" y="139"/>
                    </a:cubicBezTo>
                    <a:cubicBezTo>
                      <a:pt x="41" y="140"/>
                      <a:pt x="43" y="139"/>
                      <a:pt x="42" y="138"/>
                    </a:cubicBezTo>
                    <a:cubicBezTo>
                      <a:pt x="30" y="99"/>
                      <a:pt x="21" y="59"/>
                      <a:pt x="22" y="18"/>
                    </a:cubicBezTo>
                    <a:cubicBezTo>
                      <a:pt x="22" y="12"/>
                      <a:pt x="22" y="6"/>
                      <a:pt x="2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BE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9" name="Freeform 206">
              <a:extLst>
                <a:ext uri="{FF2B5EF4-FFF2-40B4-BE49-F238E27FC236}">
                  <a16:creationId xmlns:a16="http://schemas.microsoft.com/office/drawing/2014/main" id="{34F401B0-ACCF-49B3-8D5D-59BCFBA158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7363" y="61913"/>
              <a:ext cx="209550" cy="247650"/>
            </a:xfrm>
            <a:custGeom>
              <a:avLst/>
              <a:gdLst>
                <a:gd name="T0" fmla="*/ 89 w 89"/>
                <a:gd name="T1" fmla="*/ 0 h 105"/>
                <a:gd name="T2" fmla="*/ 53 w 89"/>
                <a:gd name="T3" fmla="*/ 59 h 105"/>
                <a:gd name="T4" fmla="*/ 2 w 89"/>
                <a:gd name="T5" fmla="*/ 97 h 105"/>
                <a:gd name="T6" fmla="*/ 6 w 89"/>
                <a:gd name="T7" fmla="*/ 104 h 105"/>
                <a:gd name="T8" fmla="*/ 89 w 89"/>
                <a:gd name="T9" fmla="*/ 0 h 105"/>
                <a:gd name="T10" fmla="*/ 89 w 89"/>
                <a:gd name="T1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105">
                  <a:moveTo>
                    <a:pt x="89" y="0"/>
                  </a:moveTo>
                  <a:cubicBezTo>
                    <a:pt x="84" y="24"/>
                    <a:pt x="71" y="44"/>
                    <a:pt x="53" y="59"/>
                  </a:cubicBezTo>
                  <a:cubicBezTo>
                    <a:pt x="37" y="73"/>
                    <a:pt x="17" y="83"/>
                    <a:pt x="2" y="97"/>
                  </a:cubicBezTo>
                  <a:cubicBezTo>
                    <a:pt x="0" y="100"/>
                    <a:pt x="2" y="105"/>
                    <a:pt x="6" y="104"/>
                  </a:cubicBezTo>
                  <a:cubicBezTo>
                    <a:pt x="46" y="89"/>
                    <a:pt x="85" y="43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207">
              <a:extLst>
                <a:ext uri="{FF2B5EF4-FFF2-40B4-BE49-F238E27FC236}">
                  <a16:creationId xmlns:a16="http://schemas.microsoft.com/office/drawing/2014/main" id="{94C4176F-7425-410C-BFCD-B24E633FA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24800" y="1038225"/>
              <a:ext cx="1189038" cy="482600"/>
            </a:xfrm>
            <a:custGeom>
              <a:avLst/>
              <a:gdLst>
                <a:gd name="T0" fmla="*/ 500 w 503"/>
                <a:gd name="T1" fmla="*/ 174 h 204"/>
                <a:gd name="T2" fmla="*/ 498 w 503"/>
                <a:gd name="T3" fmla="*/ 169 h 204"/>
                <a:gd name="T4" fmla="*/ 1 w 503"/>
                <a:gd name="T5" fmla="*/ 1 h 204"/>
                <a:gd name="T6" fmla="*/ 0 w 503"/>
                <a:gd name="T7" fmla="*/ 1 h 204"/>
                <a:gd name="T8" fmla="*/ 214 w 503"/>
                <a:gd name="T9" fmla="*/ 169 h 204"/>
                <a:gd name="T10" fmla="*/ 500 w 503"/>
                <a:gd name="T11" fmla="*/ 17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3" h="204">
                  <a:moveTo>
                    <a:pt x="500" y="174"/>
                  </a:moveTo>
                  <a:cubicBezTo>
                    <a:pt x="503" y="173"/>
                    <a:pt x="502" y="168"/>
                    <a:pt x="498" y="169"/>
                  </a:cubicBezTo>
                  <a:cubicBezTo>
                    <a:pt x="327" y="199"/>
                    <a:pt x="117" y="134"/>
                    <a:pt x="1" y="1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58" y="78"/>
                    <a:pt x="123" y="136"/>
                    <a:pt x="214" y="169"/>
                  </a:cubicBezTo>
                  <a:cubicBezTo>
                    <a:pt x="310" y="204"/>
                    <a:pt x="403" y="203"/>
                    <a:pt x="500" y="174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208">
              <a:extLst>
                <a:ext uri="{FF2B5EF4-FFF2-40B4-BE49-F238E27FC236}">
                  <a16:creationId xmlns:a16="http://schemas.microsoft.com/office/drawing/2014/main" id="{4AD8B56A-466D-4D2A-983D-F94B2C91E8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4838" y="701675"/>
              <a:ext cx="1031875" cy="314325"/>
            </a:xfrm>
            <a:custGeom>
              <a:avLst/>
              <a:gdLst>
                <a:gd name="T0" fmla="*/ 435 w 436"/>
                <a:gd name="T1" fmla="*/ 65 h 133"/>
                <a:gd name="T2" fmla="*/ 433 w 436"/>
                <a:gd name="T3" fmla="*/ 62 h 133"/>
                <a:gd name="T4" fmla="*/ 194 w 436"/>
                <a:gd name="T5" fmla="*/ 81 h 133"/>
                <a:gd name="T6" fmla="*/ 90 w 436"/>
                <a:gd name="T7" fmla="*/ 45 h 133"/>
                <a:gd name="T8" fmla="*/ 7 w 436"/>
                <a:gd name="T9" fmla="*/ 1 h 133"/>
                <a:gd name="T10" fmla="*/ 1 w 436"/>
                <a:gd name="T11" fmla="*/ 7 h 133"/>
                <a:gd name="T12" fmla="*/ 198 w 436"/>
                <a:gd name="T13" fmla="*/ 120 h 133"/>
                <a:gd name="T14" fmla="*/ 435 w 436"/>
                <a:gd name="T15" fmla="*/ 6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6" h="133">
                  <a:moveTo>
                    <a:pt x="435" y="65"/>
                  </a:moveTo>
                  <a:cubicBezTo>
                    <a:pt x="436" y="64"/>
                    <a:pt x="435" y="62"/>
                    <a:pt x="433" y="62"/>
                  </a:cubicBezTo>
                  <a:cubicBezTo>
                    <a:pt x="362" y="96"/>
                    <a:pt x="270" y="96"/>
                    <a:pt x="194" y="81"/>
                  </a:cubicBezTo>
                  <a:cubicBezTo>
                    <a:pt x="158" y="74"/>
                    <a:pt x="123" y="62"/>
                    <a:pt x="90" y="45"/>
                  </a:cubicBezTo>
                  <a:cubicBezTo>
                    <a:pt x="63" y="31"/>
                    <a:pt x="36" y="7"/>
                    <a:pt x="7" y="1"/>
                  </a:cubicBezTo>
                  <a:cubicBezTo>
                    <a:pt x="3" y="0"/>
                    <a:pt x="0" y="3"/>
                    <a:pt x="1" y="7"/>
                  </a:cubicBezTo>
                  <a:cubicBezTo>
                    <a:pt x="19" y="77"/>
                    <a:pt x="137" y="111"/>
                    <a:pt x="198" y="120"/>
                  </a:cubicBezTo>
                  <a:cubicBezTo>
                    <a:pt x="286" y="133"/>
                    <a:pt x="360" y="108"/>
                    <a:pt x="435" y="65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209">
              <a:extLst>
                <a:ext uri="{FF2B5EF4-FFF2-40B4-BE49-F238E27FC236}">
                  <a16:creationId xmlns:a16="http://schemas.microsoft.com/office/drawing/2014/main" id="{CB2788E8-66B9-45DA-ADD9-34339FFC0A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4463" y="3175"/>
              <a:ext cx="425450" cy="252413"/>
            </a:xfrm>
            <a:custGeom>
              <a:avLst/>
              <a:gdLst>
                <a:gd name="T0" fmla="*/ 7 w 180"/>
                <a:gd name="T1" fmla="*/ 53 h 107"/>
                <a:gd name="T2" fmla="*/ 4 w 180"/>
                <a:gd name="T3" fmla="*/ 60 h 107"/>
                <a:gd name="T4" fmla="*/ 180 w 180"/>
                <a:gd name="T5" fmla="*/ 0 h 107"/>
                <a:gd name="T6" fmla="*/ 174 w 180"/>
                <a:gd name="T7" fmla="*/ 0 h 107"/>
                <a:gd name="T8" fmla="*/ 7 w 180"/>
                <a:gd name="T9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07">
                  <a:moveTo>
                    <a:pt x="7" y="53"/>
                  </a:moveTo>
                  <a:cubicBezTo>
                    <a:pt x="2" y="51"/>
                    <a:pt x="0" y="58"/>
                    <a:pt x="4" y="60"/>
                  </a:cubicBezTo>
                  <a:cubicBezTo>
                    <a:pt x="72" y="107"/>
                    <a:pt x="152" y="69"/>
                    <a:pt x="180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44" y="59"/>
                    <a:pt x="71" y="78"/>
                    <a:pt x="7" y="53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210">
              <a:extLst>
                <a:ext uri="{FF2B5EF4-FFF2-40B4-BE49-F238E27FC236}">
                  <a16:creationId xmlns:a16="http://schemas.microsoft.com/office/drawing/2014/main" id="{EF6339F1-0928-4E1B-B9C1-DD390FCAA4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0688" y="3175"/>
              <a:ext cx="850900" cy="822325"/>
            </a:xfrm>
            <a:custGeom>
              <a:avLst/>
              <a:gdLst>
                <a:gd name="T0" fmla="*/ 83 w 360"/>
                <a:gd name="T1" fmla="*/ 232 h 348"/>
                <a:gd name="T2" fmla="*/ 356 w 360"/>
                <a:gd name="T3" fmla="*/ 348 h 348"/>
                <a:gd name="T4" fmla="*/ 356 w 360"/>
                <a:gd name="T5" fmla="*/ 343 h 348"/>
                <a:gd name="T6" fmla="*/ 13 w 360"/>
                <a:gd name="T7" fmla="*/ 0 h 348"/>
                <a:gd name="T8" fmla="*/ 2 w 360"/>
                <a:gd name="T9" fmla="*/ 0 h 348"/>
                <a:gd name="T10" fmla="*/ 83 w 360"/>
                <a:gd name="T11" fmla="*/ 232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0" h="348">
                  <a:moveTo>
                    <a:pt x="83" y="232"/>
                  </a:moveTo>
                  <a:cubicBezTo>
                    <a:pt x="152" y="312"/>
                    <a:pt x="253" y="348"/>
                    <a:pt x="356" y="348"/>
                  </a:cubicBezTo>
                  <a:cubicBezTo>
                    <a:pt x="360" y="348"/>
                    <a:pt x="359" y="343"/>
                    <a:pt x="356" y="343"/>
                  </a:cubicBezTo>
                  <a:cubicBezTo>
                    <a:pt x="171" y="326"/>
                    <a:pt x="35" y="177"/>
                    <a:pt x="1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84"/>
                    <a:pt x="29" y="169"/>
                    <a:pt x="83" y="23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211">
              <a:extLst>
                <a:ext uri="{FF2B5EF4-FFF2-40B4-BE49-F238E27FC236}">
                  <a16:creationId xmlns:a16="http://schemas.microsoft.com/office/drawing/2014/main" id="{24FFDBC2-3947-4D2A-AD6C-52D66BCB1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5625" y="3175"/>
              <a:ext cx="449263" cy="582613"/>
            </a:xfrm>
            <a:custGeom>
              <a:avLst/>
              <a:gdLst>
                <a:gd name="T0" fmla="*/ 189 w 190"/>
                <a:gd name="T1" fmla="*/ 247 h 247"/>
                <a:gd name="T2" fmla="*/ 189 w 190"/>
                <a:gd name="T3" fmla="*/ 246 h 247"/>
                <a:gd name="T4" fmla="*/ 33 w 190"/>
                <a:gd name="T5" fmla="*/ 0 h 247"/>
                <a:gd name="T6" fmla="*/ 0 w 190"/>
                <a:gd name="T7" fmla="*/ 0 h 247"/>
                <a:gd name="T8" fmla="*/ 189 w 190"/>
                <a:gd name="T9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247">
                  <a:moveTo>
                    <a:pt x="189" y="247"/>
                  </a:moveTo>
                  <a:cubicBezTo>
                    <a:pt x="190" y="247"/>
                    <a:pt x="190" y="246"/>
                    <a:pt x="189" y="246"/>
                  </a:cubicBezTo>
                  <a:cubicBezTo>
                    <a:pt x="77" y="208"/>
                    <a:pt x="46" y="105"/>
                    <a:pt x="3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114"/>
                    <a:pt x="67" y="220"/>
                    <a:pt x="189" y="247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212">
              <a:extLst>
                <a:ext uri="{FF2B5EF4-FFF2-40B4-BE49-F238E27FC236}">
                  <a16:creationId xmlns:a16="http://schemas.microsoft.com/office/drawing/2014/main" id="{FA9E4511-F8A5-48A8-A481-B7D63066FC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13263" y="3175"/>
              <a:ext cx="982663" cy="493713"/>
            </a:xfrm>
            <a:custGeom>
              <a:avLst/>
              <a:gdLst>
                <a:gd name="T0" fmla="*/ 134 w 415"/>
                <a:gd name="T1" fmla="*/ 172 h 209"/>
                <a:gd name="T2" fmla="*/ 411 w 415"/>
                <a:gd name="T3" fmla="*/ 163 h 209"/>
                <a:gd name="T4" fmla="*/ 409 w 415"/>
                <a:gd name="T5" fmla="*/ 154 h 209"/>
                <a:gd name="T6" fmla="*/ 163 w 415"/>
                <a:gd name="T7" fmla="*/ 163 h 209"/>
                <a:gd name="T8" fmla="*/ 8 w 415"/>
                <a:gd name="T9" fmla="*/ 0 h 209"/>
                <a:gd name="T10" fmla="*/ 0 w 415"/>
                <a:gd name="T11" fmla="*/ 0 h 209"/>
                <a:gd name="T12" fmla="*/ 134 w 415"/>
                <a:gd name="T13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5" h="209">
                  <a:moveTo>
                    <a:pt x="134" y="172"/>
                  </a:moveTo>
                  <a:cubicBezTo>
                    <a:pt x="215" y="209"/>
                    <a:pt x="333" y="208"/>
                    <a:pt x="411" y="163"/>
                  </a:cubicBezTo>
                  <a:cubicBezTo>
                    <a:pt x="415" y="161"/>
                    <a:pt x="414" y="154"/>
                    <a:pt x="409" y="154"/>
                  </a:cubicBezTo>
                  <a:cubicBezTo>
                    <a:pt x="324" y="164"/>
                    <a:pt x="249" y="191"/>
                    <a:pt x="163" y="163"/>
                  </a:cubicBezTo>
                  <a:cubicBezTo>
                    <a:pt x="83" y="136"/>
                    <a:pt x="36" y="74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" y="75"/>
                    <a:pt x="59" y="138"/>
                    <a:pt x="134" y="17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213">
              <a:extLst>
                <a:ext uri="{FF2B5EF4-FFF2-40B4-BE49-F238E27FC236}">
                  <a16:creationId xmlns:a16="http://schemas.microsoft.com/office/drawing/2014/main" id="{3660C01B-2873-4344-BD0B-FCBA96CE32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0163" y="3175"/>
              <a:ext cx="1635125" cy="1339850"/>
            </a:xfrm>
            <a:custGeom>
              <a:avLst/>
              <a:gdLst>
                <a:gd name="T0" fmla="*/ 111 w 691"/>
                <a:gd name="T1" fmla="*/ 372 h 567"/>
                <a:gd name="T2" fmla="*/ 361 w 691"/>
                <a:gd name="T3" fmla="*/ 547 h 567"/>
                <a:gd name="T4" fmla="*/ 690 w 691"/>
                <a:gd name="T5" fmla="*/ 464 h 567"/>
                <a:gd name="T6" fmla="*/ 689 w 691"/>
                <a:gd name="T7" fmla="*/ 462 h 567"/>
                <a:gd name="T8" fmla="*/ 385 w 691"/>
                <a:gd name="T9" fmla="*/ 510 h 567"/>
                <a:gd name="T10" fmla="*/ 142 w 691"/>
                <a:gd name="T11" fmla="*/ 346 h 567"/>
                <a:gd name="T12" fmla="*/ 56 w 691"/>
                <a:gd name="T13" fmla="*/ 94 h 567"/>
                <a:gd name="T14" fmla="*/ 47 w 691"/>
                <a:gd name="T15" fmla="*/ 0 h 567"/>
                <a:gd name="T16" fmla="*/ 8 w 691"/>
                <a:gd name="T17" fmla="*/ 0 h 567"/>
                <a:gd name="T18" fmla="*/ 111 w 691"/>
                <a:gd name="T19" fmla="*/ 37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1" h="567">
                  <a:moveTo>
                    <a:pt x="111" y="372"/>
                  </a:moveTo>
                  <a:cubicBezTo>
                    <a:pt x="168" y="463"/>
                    <a:pt x="254" y="528"/>
                    <a:pt x="361" y="547"/>
                  </a:cubicBezTo>
                  <a:cubicBezTo>
                    <a:pt x="481" y="567"/>
                    <a:pt x="590" y="527"/>
                    <a:pt x="690" y="464"/>
                  </a:cubicBezTo>
                  <a:cubicBezTo>
                    <a:pt x="691" y="464"/>
                    <a:pt x="690" y="461"/>
                    <a:pt x="689" y="462"/>
                  </a:cubicBezTo>
                  <a:cubicBezTo>
                    <a:pt x="596" y="501"/>
                    <a:pt x="487" y="522"/>
                    <a:pt x="385" y="510"/>
                  </a:cubicBezTo>
                  <a:cubicBezTo>
                    <a:pt x="281" y="496"/>
                    <a:pt x="196" y="434"/>
                    <a:pt x="142" y="346"/>
                  </a:cubicBezTo>
                  <a:cubicBezTo>
                    <a:pt x="96" y="270"/>
                    <a:pt x="70" y="182"/>
                    <a:pt x="56" y="94"/>
                  </a:cubicBezTo>
                  <a:cubicBezTo>
                    <a:pt x="52" y="64"/>
                    <a:pt x="48" y="32"/>
                    <a:pt x="4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130"/>
                    <a:pt x="49" y="275"/>
                    <a:pt x="111" y="37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214">
              <a:extLst>
                <a:ext uri="{FF2B5EF4-FFF2-40B4-BE49-F238E27FC236}">
                  <a16:creationId xmlns:a16="http://schemas.microsoft.com/office/drawing/2014/main" id="{5642FD2F-261C-4026-ADEA-A163557EBB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67263" y="908050"/>
              <a:ext cx="795338" cy="325438"/>
            </a:xfrm>
            <a:custGeom>
              <a:avLst/>
              <a:gdLst>
                <a:gd name="T0" fmla="*/ 3 w 336"/>
                <a:gd name="T1" fmla="*/ 96 h 138"/>
                <a:gd name="T2" fmla="*/ 336 w 336"/>
                <a:gd name="T3" fmla="*/ 1 h 138"/>
                <a:gd name="T4" fmla="*/ 335 w 336"/>
                <a:gd name="T5" fmla="*/ 1 h 138"/>
                <a:gd name="T6" fmla="*/ 4 w 336"/>
                <a:gd name="T7" fmla="*/ 89 h 138"/>
                <a:gd name="T8" fmla="*/ 3 w 336"/>
                <a:gd name="T9" fmla="*/ 9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6" h="138">
                  <a:moveTo>
                    <a:pt x="3" y="96"/>
                  </a:moveTo>
                  <a:cubicBezTo>
                    <a:pt x="120" y="138"/>
                    <a:pt x="252" y="86"/>
                    <a:pt x="336" y="1"/>
                  </a:cubicBezTo>
                  <a:cubicBezTo>
                    <a:pt x="336" y="1"/>
                    <a:pt x="336" y="0"/>
                    <a:pt x="335" y="1"/>
                  </a:cubicBezTo>
                  <a:cubicBezTo>
                    <a:pt x="235" y="73"/>
                    <a:pt x="126" y="88"/>
                    <a:pt x="4" y="89"/>
                  </a:cubicBezTo>
                  <a:cubicBezTo>
                    <a:pt x="1" y="89"/>
                    <a:pt x="0" y="94"/>
                    <a:pt x="3" y="96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215">
              <a:extLst>
                <a:ext uri="{FF2B5EF4-FFF2-40B4-BE49-F238E27FC236}">
                  <a16:creationId xmlns:a16="http://schemas.microsoft.com/office/drawing/2014/main" id="{CE8C12A6-0ECE-4A1D-96B3-E133EFF33B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0838" y="739775"/>
              <a:ext cx="423863" cy="333375"/>
            </a:xfrm>
            <a:custGeom>
              <a:avLst/>
              <a:gdLst>
                <a:gd name="T0" fmla="*/ 8 w 179"/>
                <a:gd name="T1" fmla="*/ 3 h 141"/>
                <a:gd name="T2" fmla="*/ 3 w 179"/>
                <a:gd name="T3" fmla="*/ 7 h 141"/>
                <a:gd name="T4" fmla="*/ 178 w 179"/>
                <a:gd name="T5" fmla="*/ 141 h 141"/>
                <a:gd name="T6" fmla="*/ 179 w 179"/>
                <a:gd name="T7" fmla="*/ 140 h 141"/>
                <a:gd name="T8" fmla="*/ 85 w 179"/>
                <a:gd name="T9" fmla="*/ 74 h 141"/>
                <a:gd name="T10" fmla="*/ 8 w 179"/>
                <a:gd name="T11" fmla="*/ 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9" h="141">
                  <a:moveTo>
                    <a:pt x="8" y="3"/>
                  </a:moveTo>
                  <a:cubicBezTo>
                    <a:pt x="5" y="0"/>
                    <a:pt x="0" y="3"/>
                    <a:pt x="3" y="7"/>
                  </a:cubicBezTo>
                  <a:cubicBezTo>
                    <a:pt x="39" y="69"/>
                    <a:pt x="115" y="112"/>
                    <a:pt x="178" y="141"/>
                  </a:cubicBezTo>
                  <a:cubicBezTo>
                    <a:pt x="179" y="141"/>
                    <a:pt x="179" y="141"/>
                    <a:pt x="179" y="140"/>
                  </a:cubicBezTo>
                  <a:cubicBezTo>
                    <a:pt x="146" y="121"/>
                    <a:pt x="115" y="98"/>
                    <a:pt x="85" y="74"/>
                  </a:cubicBezTo>
                  <a:cubicBezTo>
                    <a:pt x="58" y="52"/>
                    <a:pt x="36" y="24"/>
                    <a:pt x="8" y="3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216">
              <a:extLst>
                <a:ext uri="{FF2B5EF4-FFF2-40B4-BE49-F238E27FC236}">
                  <a16:creationId xmlns:a16="http://schemas.microsoft.com/office/drawing/2014/main" id="{FF8DE416-D309-4467-8493-F06DB9846C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9675" y="565150"/>
              <a:ext cx="414338" cy="163513"/>
            </a:xfrm>
            <a:custGeom>
              <a:avLst/>
              <a:gdLst>
                <a:gd name="T0" fmla="*/ 81 w 175"/>
                <a:gd name="T1" fmla="*/ 18 h 69"/>
                <a:gd name="T2" fmla="*/ 11 w 175"/>
                <a:gd name="T3" fmla="*/ 7 h 69"/>
                <a:gd name="T4" fmla="*/ 5 w 175"/>
                <a:gd name="T5" fmla="*/ 22 h 69"/>
                <a:gd name="T6" fmla="*/ 175 w 175"/>
                <a:gd name="T7" fmla="*/ 1 h 69"/>
                <a:gd name="T8" fmla="*/ 174 w 175"/>
                <a:gd name="T9" fmla="*/ 0 h 69"/>
                <a:gd name="T10" fmla="*/ 81 w 175"/>
                <a:gd name="T11" fmla="*/ 1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" h="69">
                  <a:moveTo>
                    <a:pt x="81" y="18"/>
                  </a:moveTo>
                  <a:cubicBezTo>
                    <a:pt x="58" y="16"/>
                    <a:pt x="35" y="7"/>
                    <a:pt x="11" y="7"/>
                  </a:cubicBezTo>
                  <a:cubicBezTo>
                    <a:pt x="3" y="7"/>
                    <a:pt x="0" y="17"/>
                    <a:pt x="5" y="22"/>
                  </a:cubicBezTo>
                  <a:cubicBezTo>
                    <a:pt x="51" y="69"/>
                    <a:pt x="132" y="36"/>
                    <a:pt x="175" y="1"/>
                  </a:cubicBezTo>
                  <a:cubicBezTo>
                    <a:pt x="175" y="1"/>
                    <a:pt x="174" y="0"/>
                    <a:pt x="174" y="0"/>
                  </a:cubicBezTo>
                  <a:cubicBezTo>
                    <a:pt x="145" y="16"/>
                    <a:pt x="114" y="21"/>
                    <a:pt x="81" y="18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217">
              <a:extLst>
                <a:ext uri="{FF2B5EF4-FFF2-40B4-BE49-F238E27FC236}">
                  <a16:creationId xmlns:a16="http://schemas.microsoft.com/office/drawing/2014/main" id="{BFC8761C-13F5-474C-A2C0-FAC0576A48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8288" y="3175"/>
              <a:ext cx="258763" cy="673100"/>
            </a:xfrm>
            <a:custGeom>
              <a:avLst/>
              <a:gdLst>
                <a:gd name="T0" fmla="*/ 14 w 109"/>
                <a:gd name="T1" fmla="*/ 0 h 285"/>
                <a:gd name="T2" fmla="*/ 93 w 109"/>
                <a:gd name="T3" fmla="*/ 278 h 285"/>
                <a:gd name="T4" fmla="*/ 106 w 109"/>
                <a:gd name="T5" fmla="*/ 269 h 285"/>
                <a:gd name="T6" fmla="*/ 38 w 109"/>
                <a:gd name="T7" fmla="*/ 0 h 285"/>
                <a:gd name="T8" fmla="*/ 14 w 109"/>
                <a:gd name="T9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285">
                  <a:moveTo>
                    <a:pt x="14" y="0"/>
                  </a:moveTo>
                  <a:cubicBezTo>
                    <a:pt x="0" y="99"/>
                    <a:pt x="36" y="213"/>
                    <a:pt x="93" y="278"/>
                  </a:cubicBezTo>
                  <a:cubicBezTo>
                    <a:pt x="100" y="285"/>
                    <a:pt x="109" y="276"/>
                    <a:pt x="106" y="269"/>
                  </a:cubicBezTo>
                  <a:cubicBezTo>
                    <a:pt x="70" y="192"/>
                    <a:pt x="34" y="92"/>
                    <a:pt x="38" y="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218">
              <a:extLst>
                <a:ext uri="{FF2B5EF4-FFF2-40B4-BE49-F238E27FC236}">
                  <a16:creationId xmlns:a16="http://schemas.microsoft.com/office/drawing/2014/main" id="{51E436EA-E584-42E5-9977-9F1CB4DE72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40238" y="1458913"/>
              <a:ext cx="274638" cy="61913"/>
            </a:xfrm>
            <a:custGeom>
              <a:avLst/>
              <a:gdLst>
                <a:gd name="T0" fmla="*/ 70 w 116"/>
                <a:gd name="T1" fmla="*/ 14 h 26"/>
                <a:gd name="T2" fmla="*/ 1 w 116"/>
                <a:gd name="T3" fmla="*/ 0 h 26"/>
                <a:gd name="T4" fmla="*/ 0 w 116"/>
                <a:gd name="T5" fmla="*/ 1 h 26"/>
                <a:gd name="T6" fmla="*/ 46 w 116"/>
                <a:gd name="T7" fmla="*/ 21 h 26"/>
                <a:gd name="T8" fmla="*/ 112 w 116"/>
                <a:gd name="T9" fmla="*/ 25 h 26"/>
                <a:gd name="T10" fmla="*/ 114 w 116"/>
                <a:gd name="T11" fmla="*/ 21 h 26"/>
                <a:gd name="T12" fmla="*/ 70 w 116"/>
                <a:gd name="T1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26">
                  <a:moveTo>
                    <a:pt x="70" y="14"/>
                  </a:moveTo>
                  <a:cubicBezTo>
                    <a:pt x="46" y="16"/>
                    <a:pt x="22" y="13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5" y="11"/>
                    <a:pt x="29" y="18"/>
                    <a:pt x="46" y="21"/>
                  </a:cubicBezTo>
                  <a:cubicBezTo>
                    <a:pt x="68" y="25"/>
                    <a:pt x="90" y="20"/>
                    <a:pt x="112" y="25"/>
                  </a:cubicBezTo>
                  <a:cubicBezTo>
                    <a:pt x="115" y="26"/>
                    <a:pt x="116" y="22"/>
                    <a:pt x="114" y="21"/>
                  </a:cubicBezTo>
                  <a:cubicBezTo>
                    <a:pt x="101" y="11"/>
                    <a:pt x="86" y="13"/>
                    <a:pt x="70" y="14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219">
              <a:extLst>
                <a:ext uri="{FF2B5EF4-FFF2-40B4-BE49-F238E27FC236}">
                  <a16:creationId xmlns:a16="http://schemas.microsoft.com/office/drawing/2014/main" id="{EFE9514F-9326-456C-99A0-A26AE9E4D0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14750" y="3175"/>
              <a:ext cx="222250" cy="771525"/>
            </a:xfrm>
            <a:custGeom>
              <a:avLst/>
              <a:gdLst>
                <a:gd name="T0" fmla="*/ 80 w 94"/>
                <a:gd name="T1" fmla="*/ 321 h 327"/>
                <a:gd name="T2" fmla="*/ 92 w 94"/>
                <a:gd name="T3" fmla="*/ 316 h 327"/>
                <a:gd name="T4" fmla="*/ 41 w 94"/>
                <a:gd name="T5" fmla="*/ 129 h 327"/>
                <a:gd name="T6" fmla="*/ 23 w 94"/>
                <a:gd name="T7" fmla="*/ 0 h 327"/>
                <a:gd name="T8" fmla="*/ 8 w 94"/>
                <a:gd name="T9" fmla="*/ 0 h 327"/>
                <a:gd name="T10" fmla="*/ 80 w 94"/>
                <a:gd name="T1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27">
                  <a:moveTo>
                    <a:pt x="80" y="321"/>
                  </a:moveTo>
                  <a:cubicBezTo>
                    <a:pt x="84" y="327"/>
                    <a:pt x="94" y="323"/>
                    <a:pt x="92" y="316"/>
                  </a:cubicBezTo>
                  <a:cubicBezTo>
                    <a:pt x="77" y="253"/>
                    <a:pt x="54" y="192"/>
                    <a:pt x="41" y="129"/>
                  </a:cubicBezTo>
                  <a:cubicBezTo>
                    <a:pt x="32" y="86"/>
                    <a:pt x="26" y="43"/>
                    <a:pt x="2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111"/>
                    <a:pt x="17" y="230"/>
                    <a:pt x="80" y="32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220">
              <a:extLst>
                <a:ext uri="{FF2B5EF4-FFF2-40B4-BE49-F238E27FC236}">
                  <a16:creationId xmlns:a16="http://schemas.microsoft.com/office/drawing/2014/main" id="{0C9A1934-F9AA-4199-9416-A366EEF7E5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0763" y="3175"/>
              <a:ext cx="2044700" cy="1725613"/>
            </a:xfrm>
            <a:custGeom>
              <a:avLst/>
              <a:gdLst>
                <a:gd name="T0" fmla="*/ 19 w 864"/>
                <a:gd name="T1" fmla="*/ 0 h 730"/>
                <a:gd name="T2" fmla="*/ 34 w 864"/>
                <a:gd name="T3" fmla="*/ 341 h 730"/>
                <a:gd name="T4" fmla="*/ 263 w 864"/>
                <a:gd name="T5" fmla="*/ 651 h 730"/>
                <a:gd name="T6" fmla="*/ 598 w 864"/>
                <a:gd name="T7" fmla="*/ 699 h 730"/>
                <a:gd name="T8" fmla="*/ 759 w 864"/>
                <a:gd name="T9" fmla="*/ 624 h 730"/>
                <a:gd name="T10" fmla="*/ 862 w 864"/>
                <a:gd name="T11" fmla="*/ 493 h 730"/>
                <a:gd name="T12" fmla="*/ 856 w 864"/>
                <a:gd name="T13" fmla="*/ 490 h 730"/>
                <a:gd name="T14" fmla="*/ 270 w 864"/>
                <a:gd name="T15" fmla="*/ 608 h 730"/>
                <a:gd name="T16" fmla="*/ 40 w 864"/>
                <a:gd name="T17" fmla="*/ 0 h 730"/>
                <a:gd name="T18" fmla="*/ 19 w 864"/>
                <a:gd name="T19" fmla="*/ 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4" h="730">
                  <a:moveTo>
                    <a:pt x="19" y="0"/>
                  </a:moveTo>
                  <a:cubicBezTo>
                    <a:pt x="1" y="114"/>
                    <a:pt x="0" y="231"/>
                    <a:pt x="34" y="341"/>
                  </a:cubicBezTo>
                  <a:cubicBezTo>
                    <a:pt x="73" y="465"/>
                    <a:pt x="150" y="582"/>
                    <a:pt x="263" y="651"/>
                  </a:cubicBezTo>
                  <a:cubicBezTo>
                    <a:pt x="362" y="712"/>
                    <a:pt x="485" y="726"/>
                    <a:pt x="598" y="699"/>
                  </a:cubicBezTo>
                  <a:cubicBezTo>
                    <a:pt x="655" y="685"/>
                    <a:pt x="712" y="660"/>
                    <a:pt x="759" y="624"/>
                  </a:cubicBezTo>
                  <a:cubicBezTo>
                    <a:pt x="808" y="586"/>
                    <a:pt x="834" y="547"/>
                    <a:pt x="862" y="493"/>
                  </a:cubicBezTo>
                  <a:cubicBezTo>
                    <a:pt x="864" y="489"/>
                    <a:pt x="859" y="487"/>
                    <a:pt x="856" y="490"/>
                  </a:cubicBezTo>
                  <a:cubicBezTo>
                    <a:pt x="726" y="664"/>
                    <a:pt x="455" y="730"/>
                    <a:pt x="270" y="608"/>
                  </a:cubicBezTo>
                  <a:cubicBezTo>
                    <a:pt x="71" y="475"/>
                    <a:pt x="28" y="228"/>
                    <a:pt x="40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221">
              <a:extLst>
                <a:ext uri="{FF2B5EF4-FFF2-40B4-BE49-F238E27FC236}">
                  <a16:creationId xmlns:a16="http://schemas.microsoft.com/office/drawing/2014/main" id="{95237668-4626-42F0-B57D-9AD90D35E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52725" y="1223963"/>
              <a:ext cx="842963" cy="428625"/>
            </a:xfrm>
            <a:custGeom>
              <a:avLst/>
              <a:gdLst>
                <a:gd name="T0" fmla="*/ 355 w 356"/>
                <a:gd name="T1" fmla="*/ 2 h 181"/>
                <a:gd name="T2" fmla="*/ 354 w 356"/>
                <a:gd name="T3" fmla="*/ 1 h 181"/>
                <a:gd name="T4" fmla="*/ 193 w 356"/>
                <a:gd name="T5" fmla="*/ 97 h 181"/>
                <a:gd name="T6" fmla="*/ 10 w 356"/>
                <a:gd name="T7" fmla="*/ 73 h 181"/>
                <a:gd name="T8" fmla="*/ 4 w 356"/>
                <a:gd name="T9" fmla="*/ 83 h 181"/>
                <a:gd name="T10" fmla="*/ 355 w 356"/>
                <a:gd name="T11" fmla="*/ 2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6" h="181">
                  <a:moveTo>
                    <a:pt x="355" y="2"/>
                  </a:moveTo>
                  <a:cubicBezTo>
                    <a:pt x="356" y="1"/>
                    <a:pt x="355" y="0"/>
                    <a:pt x="354" y="1"/>
                  </a:cubicBezTo>
                  <a:cubicBezTo>
                    <a:pt x="310" y="46"/>
                    <a:pt x="256" y="83"/>
                    <a:pt x="193" y="97"/>
                  </a:cubicBezTo>
                  <a:cubicBezTo>
                    <a:pt x="127" y="113"/>
                    <a:pt x="71" y="94"/>
                    <a:pt x="10" y="73"/>
                  </a:cubicBezTo>
                  <a:cubicBezTo>
                    <a:pt x="4" y="71"/>
                    <a:pt x="0" y="79"/>
                    <a:pt x="4" y="83"/>
                  </a:cubicBezTo>
                  <a:cubicBezTo>
                    <a:pt x="113" y="181"/>
                    <a:pt x="280" y="98"/>
                    <a:pt x="355" y="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222">
              <a:extLst>
                <a:ext uri="{FF2B5EF4-FFF2-40B4-BE49-F238E27FC236}">
                  <a16:creationId xmlns:a16="http://schemas.microsoft.com/office/drawing/2014/main" id="{180D060F-0E3D-4761-912E-41FA26DCA9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74338" y="3175"/>
              <a:ext cx="669925" cy="763588"/>
            </a:xfrm>
            <a:custGeom>
              <a:avLst/>
              <a:gdLst>
                <a:gd name="T0" fmla="*/ 282 w 283"/>
                <a:gd name="T1" fmla="*/ 323 h 323"/>
                <a:gd name="T2" fmla="*/ 283 w 283"/>
                <a:gd name="T3" fmla="*/ 322 h 323"/>
                <a:gd name="T4" fmla="*/ 44 w 283"/>
                <a:gd name="T5" fmla="*/ 0 h 323"/>
                <a:gd name="T6" fmla="*/ 0 w 283"/>
                <a:gd name="T7" fmla="*/ 0 h 323"/>
                <a:gd name="T8" fmla="*/ 282 w 283"/>
                <a:gd name="T9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323">
                  <a:moveTo>
                    <a:pt x="282" y="323"/>
                  </a:moveTo>
                  <a:cubicBezTo>
                    <a:pt x="283" y="323"/>
                    <a:pt x="283" y="322"/>
                    <a:pt x="283" y="322"/>
                  </a:cubicBezTo>
                  <a:cubicBezTo>
                    <a:pt x="167" y="239"/>
                    <a:pt x="88" y="127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3" y="141"/>
                    <a:pt x="148" y="264"/>
                    <a:pt x="282" y="323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223">
              <a:extLst>
                <a:ext uri="{FF2B5EF4-FFF2-40B4-BE49-F238E27FC236}">
                  <a16:creationId xmlns:a16="http://schemas.microsoft.com/office/drawing/2014/main" id="{34803530-7906-4044-BCCB-496A5F202F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87163" y="3175"/>
              <a:ext cx="552450" cy="117475"/>
            </a:xfrm>
            <a:custGeom>
              <a:avLst/>
              <a:gdLst>
                <a:gd name="T0" fmla="*/ 79 w 233"/>
                <a:gd name="T1" fmla="*/ 32 h 50"/>
                <a:gd name="T2" fmla="*/ 233 w 233"/>
                <a:gd name="T3" fmla="*/ 47 h 50"/>
                <a:gd name="T4" fmla="*/ 233 w 233"/>
                <a:gd name="T5" fmla="*/ 20 h 50"/>
                <a:gd name="T6" fmla="*/ 129 w 233"/>
                <a:gd name="T7" fmla="*/ 7 h 50"/>
                <a:gd name="T8" fmla="*/ 100 w 233"/>
                <a:gd name="T9" fmla="*/ 0 h 50"/>
                <a:gd name="T10" fmla="*/ 0 w 233"/>
                <a:gd name="T11" fmla="*/ 0 h 50"/>
                <a:gd name="T12" fmla="*/ 79 w 233"/>
                <a:gd name="T13" fmla="*/ 3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" h="50">
                  <a:moveTo>
                    <a:pt x="79" y="32"/>
                  </a:moveTo>
                  <a:cubicBezTo>
                    <a:pt x="132" y="47"/>
                    <a:pt x="183" y="50"/>
                    <a:pt x="233" y="47"/>
                  </a:cubicBezTo>
                  <a:cubicBezTo>
                    <a:pt x="233" y="20"/>
                    <a:pt x="233" y="20"/>
                    <a:pt x="233" y="20"/>
                  </a:cubicBezTo>
                  <a:cubicBezTo>
                    <a:pt x="198" y="19"/>
                    <a:pt x="163" y="14"/>
                    <a:pt x="129" y="7"/>
                  </a:cubicBezTo>
                  <a:cubicBezTo>
                    <a:pt x="120" y="5"/>
                    <a:pt x="110" y="3"/>
                    <a:pt x="10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13"/>
                    <a:pt x="52" y="24"/>
                    <a:pt x="79" y="3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224">
              <a:extLst>
                <a:ext uri="{FF2B5EF4-FFF2-40B4-BE49-F238E27FC236}">
                  <a16:creationId xmlns:a16="http://schemas.microsoft.com/office/drawing/2014/main" id="{55C9369B-564D-49A5-9DD4-1CAFFDE6F3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08988" y="3175"/>
              <a:ext cx="573088" cy="561975"/>
            </a:xfrm>
            <a:custGeom>
              <a:avLst/>
              <a:gdLst>
                <a:gd name="T0" fmla="*/ 40 w 242"/>
                <a:gd name="T1" fmla="*/ 112 h 238"/>
                <a:gd name="T2" fmla="*/ 235 w 242"/>
                <a:gd name="T3" fmla="*/ 237 h 238"/>
                <a:gd name="T4" fmla="*/ 238 w 242"/>
                <a:gd name="T5" fmla="*/ 229 h 238"/>
                <a:gd name="T6" fmla="*/ 19 w 242"/>
                <a:gd name="T7" fmla="*/ 0 h 238"/>
                <a:gd name="T8" fmla="*/ 0 w 242"/>
                <a:gd name="T9" fmla="*/ 0 h 238"/>
                <a:gd name="T10" fmla="*/ 40 w 242"/>
                <a:gd name="T11" fmla="*/ 112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" h="238">
                  <a:moveTo>
                    <a:pt x="40" y="112"/>
                  </a:moveTo>
                  <a:cubicBezTo>
                    <a:pt x="90" y="179"/>
                    <a:pt x="159" y="210"/>
                    <a:pt x="235" y="237"/>
                  </a:cubicBezTo>
                  <a:cubicBezTo>
                    <a:pt x="239" y="238"/>
                    <a:pt x="242" y="231"/>
                    <a:pt x="238" y="229"/>
                  </a:cubicBezTo>
                  <a:cubicBezTo>
                    <a:pt x="144" y="177"/>
                    <a:pt x="36" y="106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40"/>
                    <a:pt x="16" y="79"/>
                    <a:pt x="40" y="11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225">
              <a:extLst>
                <a:ext uri="{FF2B5EF4-FFF2-40B4-BE49-F238E27FC236}">
                  <a16:creationId xmlns:a16="http://schemas.microsoft.com/office/drawing/2014/main" id="{F0F74C8D-2972-4175-A592-5144FD9FAE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90125" y="3175"/>
              <a:ext cx="346075" cy="915988"/>
            </a:xfrm>
            <a:custGeom>
              <a:avLst/>
              <a:gdLst>
                <a:gd name="T0" fmla="*/ 140 w 146"/>
                <a:gd name="T1" fmla="*/ 386 h 388"/>
                <a:gd name="T2" fmla="*/ 144 w 146"/>
                <a:gd name="T3" fmla="*/ 382 h 388"/>
                <a:gd name="T4" fmla="*/ 12 w 146"/>
                <a:gd name="T5" fmla="*/ 0 h 388"/>
                <a:gd name="T6" fmla="*/ 0 w 146"/>
                <a:gd name="T7" fmla="*/ 0 h 388"/>
                <a:gd name="T8" fmla="*/ 140 w 146"/>
                <a:gd name="T9" fmla="*/ 386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388">
                  <a:moveTo>
                    <a:pt x="140" y="386"/>
                  </a:moveTo>
                  <a:cubicBezTo>
                    <a:pt x="142" y="388"/>
                    <a:pt x="146" y="385"/>
                    <a:pt x="144" y="382"/>
                  </a:cubicBezTo>
                  <a:cubicBezTo>
                    <a:pt x="56" y="275"/>
                    <a:pt x="22" y="137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2"/>
                    <a:pt x="33" y="278"/>
                    <a:pt x="140" y="386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226">
              <a:extLst>
                <a:ext uri="{FF2B5EF4-FFF2-40B4-BE49-F238E27FC236}">
                  <a16:creationId xmlns:a16="http://schemas.microsoft.com/office/drawing/2014/main" id="{A83E1C95-D90C-4D51-9A43-E9ECCFC23D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17163" y="3175"/>
              <a:ext cx="1822450" cy="1282700"/>
            </a:xfrm>
            <a:custGeom>
              <a:avLst/>
              <a:gdLst>
                <a:gd name="T0" fmla="*/ 29 w 770"/>
                <a:gd name="T1" fmla="*/ 98 h 543"/>
                <a:gd name="T2" fmla="*/ 231 w 770"/>
                <a:gd name="T3" fmla="*/ 385 h 543"/>
                <a:gd name="T4" fmla="*/ 550 w 770"/>
                <a:gd name="T5" fmla="*/ 530 h 543"/>
                <a:gd name="T6" fmla="*/ 770 w 770"/>
                <a:gd name="T7" fmla="*/ 523 h 543"/>
                <a:gd name="T8" fmla="*/ 770 w 770"/>
                <a:gd name="T9" fmla="*/ 504 h 543"/>
                <a:gd name="T10" fmla="*/ 254 w 770"/>
                <a:gd name="T11" fmla="*/ 352 h 543"/>
                <a:gd name="T12" fmla="*/ 42 w 770"/>
                <a:gd name="T13" fmla="*/ 0 h 543"/>
                <a:gd name="T14" fmla="*/ 0 w 770"/>
                <a:gd name="T15" fmla="*/ 0 h 543"/>
                <a:gd name="T16" fmla="*/ 29 w 770"/>
                <a:gd name="T17" fmla="*/ 98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0" h="543">
                  <a:moveTo>
                    <a:pt x="29" y="98"/>
                  </a:moveTo>
                  <a:cubicBezTo>
                    <a:pt x="71" y="209"/>
                    <a:pt x="139" y="310"/>
                    <a:pt x="231" y="385"/>
                  </a:cubicBezTo>
                  <a:cubicBezTo>
                    <a:pt x="322" y="460"/>
                    <a:pt x="434" y="511"/>
                    <a:pt x="550" y="530"/>
                  </a:cubicBezTo>
                  <a:cubicBezTo>
                    <a:pt x="627" y="543"/>
                    <a:pt x="699" y="539"/>
                    <a:pt x="770" y="523"/>
                  </a:cubicBezTo>
                  <a:cubicBezTo>
                    <a:pt x="770" y="504"/>
                    <a:pt x="770" y="504"/>
                    <a:pt x="770" y="504"/>
                  </a:cubicBezTo>
                  <a:cubicBezTo>
                    <a:pt x="588" y="521"/>
                    <a:pt x="389" y="465"/>
                    <a:pt x="254" y="352"/>
                  </a:cubicBezTo>
                  <a:cubicBezTo>
                    <a:pt x="145" y="260"/>
                    <a:pt x="76" y="135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33"/>
                    <a:pt x="16" y="65"/>
                    <a:pt x="29" y="98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227">
              <a:extLst>
                <a:ext uri="{FF2B5EF4-FFF2-40B4-BE49-F238E27FC236}">
                  <a16:creationId xmlns:a16="http://schemas.microsoft.com/office/drawing/2014/main" id="{FDED8470-2C09-472E-B87C-F8D5BC84DF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42525" y="3175"/>
              <a:ext cx="609600" cy="1119188"/>
            </a:xfrm>
            <a:custGeom>
              <a:avLst/>
              <a:gdLst>
                <a:gd name="T0" fmla="*/ 44 w 258"/>
                <a:gd name="T1" fmla="*/ 233 h 474"/>
                <a:gd name="T2" fmla="*/ 245 w 258"/>
                <a:gd name="T3" fmla="*/ 472 h 474"/>
                <a:gd name="T4" fmla="*/ 254 w 258"/>
                <a:gd name="T5" fmla="*/ 460 h 474"/>
                <a:gd name="T6" fmla="*/ 162 w 258"/>
                <a:gd name="T7" fmla="*/ 356 h 474"/>
                <a:gd name="T8" fmla="*/ 76 w 258"/>
                <a:gd name="T9" fmla="*/ 220 h 474"/>
                <a:gd name="T10" fmla="*/ 17 w 258"/>
                <a:gd name="T11" fmla="*/ 0 h 474"/>
                <a:gd name="T12" fmla="*/ 3 w 258"/>
                <a:gd name="T13" fmla="*/ 0 h 474"/>
                <a:gd name="T14" fmla="*/ 44 w 258"/>
                <a:gd name="T15" fmla="*/ 233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8" h="474">
                  <a:moveTo>
                    <a:pt x="44" y="233"/>
                  </a:moveTo>
                  <a:cubicBezTo>
                    <a:pt x="80" y="324"/>
                    <a:pt x="148" y="437"/>
                    <a:pt x="245" y="472"/>
                  </a:cubicBezTo>
                  <a:cubicBezTo>
                    <a:pt x="251" y="474"/>
                    <a:pt x="258" y="465"/>
                    <a:pt x="254" y="460"/>
                  </a:cubicBezTo>
                  <a:cubicBezTo>
                    <a:pt x="227" y="422"/>
                    <a:pt x="192" y="392"/>
                    <a:pt x="162" y="356"/>
                  </a:cubicBezTo>
                  <a:cubicBezTo>
                    <a:pt x="128" y="315"/>
                    <a:pt x="99" y="268"/>
                    <a:pt x="76" y="220"/>
                  </a:cubicBezTo>
                  <a:cubicBezTo>
                    <a:pt x="43" y="151"/>
                    <a:pt x="23" y="76"/>
                    <a:pt x="17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79"/>
                    <a:pt x="13" y="158"/>
                    <a:pt x="44" y="233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228">
              <a:extLst>
                <a:ext uri="{FF2B5EF4-FFF2-40B4-BE49-F238E27FC236}">
                  <a16:creationId xmlns:a16="http://schemas.microsoft.com/office/drawing/2014/main" id="{C124E6D5-8596-4B33-BC39-338CAFCC55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2688" y="3175"/>
              <a:ext cx="439738" cy="146050"/>
            </a:xfrm>
            <a:custGeom>
              <a:avLst/>
              <a:gdLst>
                <a:gd name="T0" fmla="*/ 8 w 186"/>
                <a:gd name="T1" fmla="*/ 22 h 62"/>
                <a:gd name="T2" fmla="*/ 3 w 186"/>
                <a:gd name="T3" fmla="*/ 32 h 62"/>
                <a:gd name="T4" fmla="*/ 116 w 186"/>
                <a:gd name="T5" fmla="*/ 48 h 62"/>
                <a:gd name="T6" fmla="*/ 186 w 186"/>
                <a:gd name="T7" fmla="*/ 0 h 62"/>
                <a:gd name="T8" fmla="*/ 175 w 186"/>
                <a:gd name="T9" fmla="*/ 0 h 62"/>
                <a:gd name="T10" fmla="*/ 107 w 186"/>
                <a:gd name="T11" fmla="*/ 32 h 62"/>
                <a:gd name="T12" fmla="*/ 8 w 186"/>
                <a:gd name="T13" fmla="*/ 2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62">
                  <a:moveTo>
                    <a:pt x="8" y="22"/>
                  </a:moveTo>
                  <a:cubicBezTo>
                    <a:pt x="2" y="21"/>
                    <a:pt x="0" y="29"/>
                    <a:pt x="3" y="32"/>
                  </a:cubicBezTo>
                  <a:cubicBezTo>
                    <a:pt x="29" y="62"/>
                    <a:pt x="82" y="59"/>
                    <a:pt x="116" y="48"/>
                  </a:cubicBezTo>
                  <a:cubicBezTo>
                    <a:pt x="144" y="40"/>
                    <a:pt x="168" y="22"/>
                    <a:pt x="186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56" y="16"/>
                    <a:pt x="133" y="27"/>
                    <a:pt x="107" y="32"/>
                  </a:cubicBezTo>
                  <a:cubicBezTo>
                    <a:pt x="71" y="40"/>
                    <a:pt x="42" y="26"/>
                    <a:pt x="8" y="2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229">
              <a:extLst>
                <a:ext uri="{FF2B5EF4-FFF2-40B4-BE49-F238E27FC236}">
                  <a16:creationId xmlns:a16="http://schemas.microsoft.com/office/drawing/2014/main" id="{371609E4-B05E-496B-8397-EA6704EF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27563" y="3175"/>
              <a:ext cx="1027113" cy="330200"/>
            </a:xfrm>
            <a:custGeom>
              <a:avLst/>
              <a:gdLst>
                <a:gd name="T0" fmla="*/ 171 w 434"/>
                <a:gd name="T1" fmla="*/ 124 h 140"/>
                <a:gd name="T2" fmla="*/ 434 w 434"/>
                <a:gd name="T3" fmla="*/ 0 h 140"/>
                <a:gd name="T4" fmla="*/ 412 w 434"/>
                <a:gd name="T5" fmla="*/ 0 h 140"/>
                <a:gd name="T6" fmla="*/ 212 w 434"/>
                <a:gd name="T7" fmla="*/ 88 h 140"/>
                <a:gd name="T8" fmla="*/ 39 w 434"/>
                <a:gd name="T9" fmla="*/ 0 h 140"/>
                <a:gd name="T10" fmla="*/ 0 w 434"/>
                <a:gd name="T11" fmla="*/ 0 h 140"/>
                <a:gd name="T12" fmla="*/ 171 w 434"/>
                <a:gd name="T13" fmla="*/ 12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4" h="140">
                  <a:moveTo>
                    <a:pt x="171" y="124"/>
                  </a:moveTo>
                  <a:cubicBezTo>
                    <a:pt x="283" y="140"/>
                    <a:pt x="381" y="90"/>
                    <a:pt x="434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361" y="55"/>
                    <a:pt x="288" y="90"/>
                    <a:pt x="212" y="88"/>
                  </a:cubicBezTo>
                  <a:cubicBezTo>
                    <a:pt x="143" y="86"/>
                    <a:pt x="76" y="53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65"/>
                    <a:pt x="91" y="112"/>
                    <a:pt x="171" y="124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230">
              <a:extLst>
                <a:ext uri="{FF2B5EF4-FFF2-40B4-BE49-F238E27FC236}">
                  <a16:creationId xmlns:a16="http://schemas.microsoft.com/office/drawing/2014/main" id="{B3EA0B13-1A9B-405D-A7FD-7BFF94A1D5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5" y="3175"/>
              <a:ext cx="541338" cy="325438"/>
            </a:xfrm>
            <a:custGeom>
              <a:avLst/>
              <a:gdLst>
                <a:gd name="T0" fmla="*/ 0 w 229"/>
                <a:gd name="T1" fmla="*/ 107 h 138"/>
                <a:gd name="T2" fmla="*/ 0 w 229"/>
                <a:gd name="T3" fmla="*/ 117 h 138"/>
                <a:gd name="T4" fmla="*/ 166 w 229"/>
                <a:gd name="T5" fmla="*/ 97 h 138"/>
                <a:gd name="T6" fmla="*/ 229 w 229"/>
                <a:gd name="T7" fmla="*/ 0 h 138"/>
                <a:gd name="T8" fmla="*/ 195 w 229"/>
                <a:gd name="T9" fmla="*/ 0 h 138"/>
                <a:gd name="T10" fmla="*/ 156 w 229"/>
                <a:gd name="T11" fmla="*/ 68 h 138"/>
                <a:gd name="T12" fmla="*/ 0 w 229"/>
                <a:gd name="T13" fmla="*/ 10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38">
                  <a:moveTo>
                    <a:pt x="0" y="107"/>
                  </a:moveTo>
                  <a:cubicBezTo>
                    <a:pt x="0" y="117"/>
                    <a:pt x="0" y="117"/>
                    <a:pt x="0" y="117"/>
                  </a:cubicBezTo>
                  <a:cubicBezTo>
                    <a:pt x="57" y="136"/>
                    <a:pt x="123" y="138"/>
                    <a:pt x="166" y="97"/>
                  </a:cubicBezTo>
                  <a:cubicBezTo>
                    <a:pt x="193" y="72"/>
                    <a:pt x="216" y="38"/>
                    <a:pt x="2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88" y="23"/>
                    <a:pt x="175" y="46"/>
                    <a:pt x="156" y="68"/>
                  </a:cubicBezTo>
                  <a:cubicBezTo>
                    <a:pt x="116" y="114"/>
                    <a:pt x="56" y="120"/>
                    <a:pt x="0" y="107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231">
              <a:extLst>
                <a:ext uri="{FF2B5EF4-FFF2-40B4-BE49-F238E27FC236}">
                  <a16:creationId xmlns:a16="http://schemas.microsoft.com/office/drawing/2014/main" id="{EE3CF94D-F1A0-4E3F-A652-5914664F74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73325" y="3175"/>
              <a:ext cx="944563" cy="812800"/>
            </a:xfrm>
            <a:custGeom>
              <a:avLst/>
              <a:gdLst>
                <a:gd name="T0" fmla="*/ 76 w 399"/>
                <a:gd name="T1" fmla="*/ 206 h 344"/>
                <a:gd name="T2" fmla="*/ 396 w 399"/>
                <a:gd name="T3" fmla="*/ 336 h 344"/>
                <a:gd name="T4" fmla="*/ 396 w 399"/>
                <a:gd name="T5" fmla="*/ 332 h 344"/>
                <a:gd name="T6" fmla="*/ 13 w 399"/>
                <a:gd name="T7" fmla="*/ 0 h 344"/>
                <a:gd name="T8" fmla="*/ 0 w 399"/>
                <a:gd name="T9" fmla="*/ 0 h 344"/>
                <a:gd name="T10" fmla="*/ 76 w 399"/>
                <a:gd name="T11" fmla="*/ 206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9" h="344">
                  <a:moveTo>
                    <a:pt x="76" y="206"/>
                  </a:moveTo>
                  <a:cubicBezTo>
                    <a:pt x="155" y="305"/>
                    <a:pt x="273" y="344"/>
                    <a:pt x="396" y="336"/>
                  </a:cubicBezTo>
                  <a:cubicBezTo>
                    <a:pt x="399" y="336"/>
                    <a:pt x="399" y="332"/>
                    <a:pt x="396" y="332"/>
                  </a:cubicBezTo>
                  <a:cubicBezTo>
                    <a:pt x="209" y="329"/>
                    <a:pt x="44" y="179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74"/>
                    <a:pt x="28" y="145"/>
                    <a:pt x="76" y="206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232">
              <a:extLst>
                <a:ext uri="{FF2B5EF4-FFF2-40B4-BE49-F238E27FC236}">
                  <a16:creationId xmlns:a16="http://schemas.microsoft.com/office/drawing/2014/main" id="{5416A67D-C087-46FB-9D5E-95ED150EA1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5" y="3175"/>
              <a:ext cx="173038" cy="136525"/>
            </a:xfrm>
            <a:custGeom>
              <a:avLst/>
              <a:gdLst>
                <a:gd name="T0" fmla="*/ 0 w 73"/>
                <a:gd name="T1" fmla="*/ 58 h 58"/>
                <a:gd name="T2" fmla="*/ 73 w 73"/>
                <a:gd name="T3" fmla="*/ 0 h 58"/>
                <a:gd name="T4" fmla="*/ 65 w 73"/>
                <a:gd name="T5" fmla="*/ 0 h 58"/>
                <a:gd name="T6" fmla="*/ 12 w 73"/>
                <a:gd name="T7" fmla="*/ 36 h 58"/>
                <a:gd name="T8" fmla="*/ 0 w 73"/>
                <a:gd name="T9" fmla="*/ 41 h 58"/>
                <a:gd name="T10" fmla="*/ 0 w 73"/>
                <a:gd name="T1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58">
                  <a:moveTo>
                    <a:pt x="0" y="58"/>
                  </a:moveTo>
                  <a:cubicBezTo>
                    <a:pt x="27" y="44"/>
                    <a:pt x="53" y="23"/>
                    <a:pt x="7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9" y="14"/>
                    <a:pt x="32" y="27"/>
                    <a:pt x="12" y="36"/>
                  </a:cubicBezTo>
                  <a:cubicBezTo>
                    <a:pt x="8" y="38"/>
                    <a:pt x="4" y="40"/>
                    <a:pt x="0" y="41"/>
                  </a:cubicBezTo>
                  <a:lnTo>
                    <a:pt x="0" y="58"/>
                  </a:ln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233">
              <a:extLst>
                <a:ext uri="{FF2B5EF4-FFF2-40B4-BE49-F238E27FC236}">
                  <a16:creationId xmlns:a16="http://schemas.microsoft.com/office/drawing/2014/main" id="{E58B52B0-27CE-4412-AAE1-EB3F317B19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08225" y="3175"/>
              <a:ext cx="285750" cy="654050"/>
            </a:xfrm>
            <a:custGeom>
              <a:avLst/>
              <a:gdLst>
                <a:gd name="T0" fmla="*/ 107 w 121"/>
                <a:gd name="T1" fmla="*/ 272 h 277"/>
                <a:gd name="T2" fmla="*/ 117 w 121"/>
                <a:gd name="T3" fmla="*/ 265 h 277"/>
                <a:gd name="T4" fmla="*/ 23 w 121"/>
                <a:gd name="T5" fmla="*/ 0 h 277"/>
                <a:gd name="T6" fmla="*/ 9 w 121"/>
                <a:gd name="T7" fmla="*/ 0 h 277"/>
                <a:gd name="T8" fmla="*/ 107 w 121"/>
                <a:gd name="T9" fmla="*/ 27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277">
                  <a:moveTo>
                    <a:pt x="107" y="272"/>
                  </a:moveTo>
                  <a:cubicBezTo>
                    <a:pt x="112" y="277"/>
                    <a:pt x="121" y="271"/>
                    <a:pt x="117" y="265"/>
                  </a:cubicBezTo>
                  <a:cubicBezTo>
                    <a:pt x="63" y="185"/>
                    <a:pt x="29" y="94"/>
                    <a:pt x="2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101"/>
                    <a:pt x="32" y="200"/>
                    <a:pt x="107" y="27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234">
              <a:extLst>
                <a:ext uri="{FF2B5EF4-FFF2-40B4-BE49-F238E27FC236}">
                  <a16:creationId xmlns:a16="http://schemas.microsoft.com/office/drawing/2014/main" id="{72BF6AE5-88C9-472C-9D31-86C0ADB1D4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613" y="3175"/>
              <a:ext cx="338138" cy="495300"/>
            </a:xfrm>
            <a:custGeom>
              <a:avLst/>
              <a:gdLst>
                <a:gd name="T0" fmla="*/ 3 w 143"/>
                <a:gd name="T1" fmla="*/ 199 h 210"/>
                <a:gd name="T2" fmla="*/ 8 w 143"/>
                <a:gd name="T3" fmla="*/ 209 h 210"/>
                <a:gd name="T4" fmla="*/ 125 w 143"/>
                <a:gd name="T5" fmla="*/ 105 h 210"/>
                <a:gd name="T6" fmla="*/ 138 w 143"/>
                <a:gd name="T7" fmla="*/ 0 h 210"/>
                <a:gd name="T8" fmla="*/ 125 w 143"/>
                <a:gd name="T9" fmla="*/ 0 h 210"/>
                <a:gd name="T10" fmla="*/ 98 w 143"/>
                <a:gd name="T11" fmla="*/ 100 h 210"/>
                <a:gd name="T12" fmla="*/ 3 w 143"/>
                <a:gd name="T13" fmla="*/ 19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210">
                  <a:moveTo>
                    <a:pt x="3" y="199"/>
                  </a:moveTo>
                  <a:cubicBezTo>
                    <a:pt x="0" y="202"/>
                    <a:pt x="2" y="210"/>
                    <a:pt x="8" y="209"/>
                  </a:cubicBezTo>
                  <a:cubicBezTo>
                    <a:pt x="62" y="206"/>
                    <a:pt x="105" y="152"/>
                    <a:pt x="125" y="105"/>
                  </a:cubicBezTo>
                  <a:cubicBezTo>
                    <a:pt x="139" y="71"/>
                    <a:pt x="143" y="35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34"/>
                    <a:pt x="116" y="68"/>
                    <a:pt x="98" y="100"/>
                  </a:cubicBezTo>
                  <a:cubicBezTo>
                    <a:pt x="74" y="143"/>
                    <a:pt x="34" y="163"/>
                    <a:pt x="3" y="199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235">
              <a:extLst>
                <a:ext uri="{FF2B5EF4-FFF2-40B4-BE49-F238E27FC236}">
                  <a16:creationId xmlns:a16="http://schemas.microsoft.com/office/drawing/2014/main" id="{2F857715-4A9F-4A6B-8B0E-D82FCEA5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39488" y="3175"/>
              <a:ext cx="1000125" cy="484188"/>
            </a:xfrm>
            <a:custGeom>
              <a:avLst/>
              <a:gdLst>
                <a:gd name="T0" fmla="*/ 212 w 422"/>
                <a:gd name="T1" fmla="*/ 154 h 205"/>
                <a:gd name="T2" fmla="*/ 422 w 422"/>
                <a:gd name="T3" fmla="*/ 205 h 205"/>
                <a:gd name="T4" fmla="*/ 422 w 422"/>
                <a:gd name="T5" fmla="*/ 167 h 205"/>
                <a:gd name="T6" fmla="*/ 243 w 422"/>
                <a:gd name="T7" fmla="*/ 129 h 205"/>
                <a:gd name="T8" fmla="*/ 25 w 422"/>
                <a:gd name="T9" fmla="*/ 0 h 205"/>
                <a:gd name="T10" fmla="*/ 0 w 422"/>
                <a:gd name="T11" fmla="*/ 0 h 205"/>
                <a:gd name="T12" fmla="*/ 212 w 422"/>
                <a:gd name="T13" fmla="*/ 15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5">
                  <a:moveTo>
                    <a:pt x="212" y="154"/>
                  </a:moveTo>
                  <a:cubicBezTo>
                    <a:pt x="275" y="180"/>
                    <a:pt x="348" y="198"/>
                    <a:pt x="422" y="205"/>
                  </a:cubicBezTo>
                  <a:cubicBezTo>
                    <a:pt x="422" y="167"/>
                    <a:pt x="422" y="167"/>
                    <a:pt x="422" y="167"/>
                  </a:cubicBezTo>
                  <a:cubicBezTo>
                    <a:pt x="361" y="162"/>
                    <a:pt x="301" y="149"/>
                    <a:pt x="243" y="129"/>
                  </a:cubicBezTo>
                  <a:cubicBezTo>
                    <a:pt x="166" y="101"/>
                    <a:pt x="89" y="56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6" y="67"/>
                    <a:pt x="126" y="118"/>
                    <a:pt x="212" y="154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236">
              <a:extLst>
                <a:ext uri="{FF2B5EF4-FFF2-40B4-BE49-F238E27FC236}">
                  <a16:creationId xmlns:a16="http://schemas.microsoft.com/office/drawing/2014/main" id="{62D14174-E18F-424C-9FB1-1DFD735D9A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93250" y="749300"/>
              <a:ext cx="134938" cy="96838"/>
            </a:xfrm>
            <a:custGeom>
              <a:avLst/>
              <a:gdLst>
                <a:gd name="T0" fmla="*/ 2 w 57"/>
                <a:gd name="T1" fmla="*/ 41 h 41"/>
                <a:gd name="T2" fmla="*/ 55 w 57"/>
                <a:gd name="T3" fmla="*/ 5 h 41"/>
                <a:gd name="T4" fmla="*/ 53 w 57"/>
                <a:gd name="T5" fmla="*/ 2 h 41"/>
                <a:gd name="T6" fmla="*/ 28 w 57"/>
                <a:gd name="T7" fmla="*/ 22 h 41"/>
                <a:gd name="T8" fmla="*/ 1 w 57"/>
                <a:gd name="T9" fmla="*/ 39 h 41"/>
                <a:gd name="T10" fmla="*/ 2 w 57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41">
                  <a:moveTo>
                    <a:pt x="2" y="41"/>
                  </a:moveTo>
                  <a:cubicBezTo>
                    <a:pt x="21" y="34"/>
                    <a:pt x="43" y="21"/>
                    <a:pt x="55" y="5"/>
                  </a:cubicBezTo>
                  <a:cubicBezTo>
                    <a:pt x="57" y="3"/>
                    <a:pt x="55" y="0"/>
                    <a:pt x="53" y="2"/>
                  </a:cubicBezTo>
                  <a:cubicBezTo>
                    <a:pt x="44" y="8"/>
                    <a:pt x="37" y="16"/>
                    <a:pt x="28" y="22"/>
                  </a:cubicBezTo>
                  <a:cubicBezTo>
                    <a:pt x="20" y="28"/>
                    <a:pt x="10" y="33"/>
                    <a:pt x="1" y="39"/>
                  </a:cubicBezTo>
                  <a:cubicBezTo>
                    <a:pt x="0" y="39"/>
                    <a:pt x="1" y="41"/>
                    <a:pt x="2" y="4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237">
              <a:extLst>
                <a:ext uri="{FF2B5EF4-FFF2-40B4-BE49-F238E27FC236}">
                  <a16:creationId xmlns:a16="http://schemas.microsoft.com/office/drawing/2014/main" id="{3F018123-87E2-49E6-AFAF-43D3EF5031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4388" y="3175"/>
              <a:ext cx="1482725" cy="1858963"/>
            </a:xfrm>
            <a:custGeom>
              <a:avLst/>
              <a:gdLst>
                <a:gd name="T0" fmla="*/ 25 w 627"/>
                <a:gd name="T1" fmla="*/ 188 h 787"/>
                <a:gd name="T2" fmla="*/ 154 w 627"/>
                <a:gd name="T3" fmla="*/ 479 h 787"/>
                <a:gd name="T4" fmla="*/ 621 w 627"/>
                <a:gd name="T5" fmla="*/ 787 h 787"/>
                <a:gd name="T6" fmla="*/ 623 w 627"/>
                <a:gd name="T7" fmla="*/ 781 h 787"/>
                <a:gd name="T8" fmla="*/ 181 w 627"/>
                <a:gd name="T9" fmla="*/ 454 h 787"/>
                <a:gd name="T10" fmla="*/ 54 w 627"/>
                <a:gd name="T11" fmla="*/ 198 h 787"/>
                <a:gd name="T12" fmla="*/ 23 w 627"/>
                <a:gd name="T13" fmla="*/ 0 h 787"/>
                <a:gd name="T14" fmla="*/ 0 w 627"/>
                <a:gd name="T15" fmla="*/ 0 h 787"/>
                <a:gd name="T16" fmla="*/ 25 w 627"/>
                <a:gd name="T17" fmla="*/ 188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787">
                  <a:moveTo>
                    <a:pt x="25" y="188"/>
                  </a:moveTo>
                  <a:cubicBezTo>
                    <a:pt x="49" y="292"/>
                    <a:pt x="92" y="392"/>
                    <a:pt x="154" y="479"/>
                  </a:cubicBezTo>
                  <a:cubicBezTo>
                    <a:pt x="269" y="638"/>
                    <a:pt x="430" y="744"/>
                    <a:pt x="621" y="787"/>
                  </a:cubicBezTo>
                  <a:cubicBezTo>
                    <a:pt x="625" y="787"/>
                    <a:pt x="627" y="782"/>
                    <a:pt x="623" y="781"/>
                  </a:cubicBezTo>
                  <a:cubicBezTo>
                    <a:pt x="451" y="719"/>
                    <a:pt x="289" y="602"/>
                    <a:pt x="181" y="454"/>
                  </a:cubicBezTo>
                  <a:cubicBezTo>
                    <a:pt x="125" y="376"/>
                    <a:pt x="82" y="290"/>
                    <a:pt x="54" y="198"/>
                  </a:cubicBezTo>
                  <a:cubicBezTo>
                    <a:pt x="34" y="132"/>
                    <a:pt x="28" y="66"/>
                    <a:pt x="2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4"/>
                    <a:pt x="11" y="130"/>
                    <a:pt x="25" y="188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238">
              <a:extLst>
                <a:ext uri="{FF2B5EF4-FFF2-40B4-BE49-F238E27FC236}">
                  <a16:creationId xmlns:a16="http://schemas.microsoft.com/office/drawing/2014/main" id="{06520E9A-E773-48F9-B954-E6006918F9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5" y="515938"/>
              <a:ext cx="1562100" cy="792163"/>
            </a:xfrm>
            <a:custGeom>
              <a:avLst/>
              <a:gdLst>
                <a:gd name="T0" fmla="*/ 0 w 660"/>
                <a:gd name="T1" fmla="*/ 258 h 335"/>
                <a:gd name="T2" fmla="*/ 0 w 660"/>
                <a:gd name="T3" fmla="*/ 266 h 335"/>
                <a:gd name="T4" fmla="*/ 659 w 660"/>
                <a:gd name="T5" fmla="*/ 5 h 335"/>
                <a:gd name="T6" fmla="*/ 653 w 660"/>
                <a:gd name="T7" fmla="*/ 3 h 335"/>
                <a:gd name="T8" fmla="*/ 389 w 660"/>
                <a:gd name="T9" fmla="*/ 250 h 335"/>
                <a:gd name="T10" fmla="*/ 0 w 660"/>
                <a:gd name="T11" fmla="*/ 258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0" h="335">
                  <a:moveTo>
                    <a:pt x="0" y="258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247" y="335"/>
                    <a:pt x="578" y="283"/>
                    <a:pt x="659" y="5"/>
                  </a:cubicBezTo>
                  <a:cubicBezTo>
                    <a:pt x="660" y="1"/>
                    <a:pt x="655" y="0"/>
                    <a:pt x="653" y="3"/>
                  </a:cubicBezTo>
                  <a:cubicBezTo>
                    <a:pt x="610" y="122"/>
                    <a:pt x="506" y="209"/>
                    <a:pt x="389" y="250"/>
                  </a:cubicBezTo>
                  <a:cubicBezTo>
                    <a:pt x="260" y="296"/>
                    <a:pt x="130" y="281"/>
                    <a:pt x="0" y="258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239">
              <a:extLst>
                <a:ext uri="{FF2B5EF4-FFF2-40B4-BE49-F238E27FC236}">
                  <a16:creationId xmlns:a16="http://schemas.microsoft.com/office/drawing/2014/main" id="{B8F1CE41-9661-4B77-BB1F-F5975D43F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06113" y="3175"/>
              <a:ext cx="1333500" cy="731838"/>
            </a:xfrm>
            <a:custGeom>
              <a:avLst/>
              <a:gdLst>
                <a:gd name="T0" fmla="*/ 273 w 563"/>
                <a:gd name="T1" fmla="*/ 242 h 310"/>
                <a:gd name="T2" fmla="*/ 563 w 563"/>
                <a:gd name="T3" fmla="*/ 310 h 310"/>
                <a:gd name="T4" fmla="*/ 563 w 563"/>
                <a:gd name="T5" fmla="*/ 279 h 310"/>
                <a:gd name="T6" fmla="*/ 299 w 563"/>
                <a:gd name="T7" fmla="*/ 213 h 310"/>
                <a:gd name="T8" fmla="*/ 32 w 563"/>
                <a:gd name="T9" fmla="*/ 0 h 310"/>
                <a:gd name="T10" fmla="*/ 0 w 563"/>
                <a:gd name="T11" fmla="*/ 0 h 310"/>
                <a:gd name="T12" fmla="*/ 273 w 563"/>
                <a:gd name="T13" fmla="*/ 242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3" h="310">
                  <a:moveTo>
                    <a:pt x="273" y="242"/>
                  </a:moveTo>
                  <a:cubicBezTo>
                    <a:pt x="367" y="285"/>
                    <a:pt x="464" y="308"/>
                    <a:pt x="563" y="310"/>
                  </a:cubicBezTo>
                  <a:cubicBezTo>
                    <a:pt x="563" y="279"/>
                    <a:pt x="563" y="279"/>
                    <a:pt x="563" y="279"/>
                  </a:cubicBezTo>
                  <a:cubicBezTo>
                    <a:pt x="471" y="272"/>
                    <a:pt x="381" y="250"/>
                    <a:pt x="299" y="213"/>
                  </a:cubicBezTo>
                  <a:cubicBezTo>
                    <a:pt x="197" y="165"/>
                    <a:pt x="96" y="94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2" y="110"/>
                    <a:pt x="160" y="192"/>
                    <a:pt x="273" y="24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Freeform 240">
              <a:extLst>
                <a:ext uri="{FF2B5EF4-FFF2-40B4-BE49-F238E27FC236}">
                  <a16:creationId xmlns:a16="http://schemas.microsoft.com/office/drawing/2014/main" id="{5A1BE885-2F49-4579-898A-0A2C7213C1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63113" y="428625"/>
              <a:ext cx="588963" cy="1136650"/>
            </a:xfrm>
            <a:custGeom>
              <a:avLst/>
              <a:gdLst>
                <a:gd name="T0" fmla="*/ 246 w 249"/>
                <a:gd name="T1" fmla="*/ 475 h 481"/>
                <a:gd name="T2" fmla="*/ 1 w 249"/>
                <a:gd name="T3" fmla="*/ 1 h 481"/>
                <a:gd name="T4" fmla="*/ 0 w 249"/>
                <a:gd name="T5" fmla="*/ 1 h 481"/>
                <a:gd name="T6" fmla="*/ 242 w 249"/>
                <a:gd name="T7" fmla="*/ 479 h 481"/>
                <a:gd name="T8" fmla="*/ 246 w 249"/>
                <a:gd name="T9" fmla="*/ 475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9" h="481">
                  <a:moveTo>
                    <a:pt x="246" y="475"/>
                  </a:moveTo>
                  <a:cubicBezTo>
                    <a:pt x="122" y="348"/>
                    <a:pt x="30" y="176"/>
                    <a:pt x="1" y="1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11" y="193"/>
                    <a:pt x="91" y="359"/>
                    <a:pt x="242" y="479"/>
                  </a:cubicBezTo>
                  <a:cubicBezTo>
                    <a:pt x="245" y="481"/>
                    <a:pt x="249" y="478"/>
                    <a:pt x="246" y="475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Freeform 241">
              <a:extLst>
                <a:ext uri="{FF2B5EF4-FFF2-40B4-BE49-F238E27FC236}">
                  <a16:creationId xmlns:a16="http://schemas.microsoft.com/office/drawing/2014/main" id="{1D7AE9A4-7599-4EF4-925D-9E4F3AC4FF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2375" y="768350"/>
              <a:ext cx="573088" cy="155575"/>
            </a:xfrm>
            <a:custGeom>
              <a:avLst/>
              <a:gdLst>
                <a:gd name="T0" fmla="*/ 242 w 242"/>
                <a:gd name="T1" fmla="*/ 1 h 66"/>
                <a:gd name="T2" fmla="*/ 241 w 242"/>
                <a:gd name="T3" fmla="*/ 1 h 66"/>
                <a:gd name="T4" fmla="*/ 5 w 242"/>
                <a:gd name="T5" fmla="*/ 42 h 66"/>
                <a:gd name="T6" fmla="*/ 4 w 242"/>
                <a:gd name="T7" fmla="*/ 49 h 66"/>
                <a:gd name="T8" fmla="*/ 242 w 242"/>
                <a:gd name="T9" fmla="*/ 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66">
                  <a:moveTo>
                    <a:pt x="242" y="1"/>
                  </a:moveTo>
                  <a:cubicBezTo>
                    <a:pt x="242" y="1"/>
                    <a:pt x="242" y="0"/>
                    <a:pt x="241" y="1"/>
                  </a:cubicBezTo>
                  <a:cubicBezTo>
                    <a:pt x="164" y="37"/>
                    <a:pt x="90" y="46"/>
                    <a:pt x="5" y="42"/>
                  </a:cubicBezTo>
                  <a:cubicBezTo>
                    <a:pt x="1" y="41"/>
                    <a:pt x="0" y="48"/>
                    <a:pt x="4" y="49"/>
                  </a:cubicBezTo>
                  <a:cubicBezTo>
                    <a:pt x="85" y="66"/>
                    <a:pt x="172" y="44"/>
                    <a:pt x="242" y="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Freeform 242">
              <a:extLst>
                <a:ext uri="{FF2B5EF4-FFF2-40B4-BE49-F238E27FC236}">
                  <a16:creationId xmlns:a16="http://schemas.microsoft.com/office/drawing/2014/main" id="{6530095B-0A8F-4917-8D14-2CE2FF0452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5025" y="884238"/>
              <a:ext cx="801688" cy="165100"/>
            </a:xfrm>
            <a:custGeom>
              <a:avLst/>
              <a:gdLst>
                <a:gd name="T0" fmla="*/ 337 w 339"/>
                <a:gd name="T1" fmla="*/ 21 h 70"/>
                <a:gd name="T2" fmla="*/ 336 w 339"/>
                <a:gd name="T3" fmla="*/ 18 h 70"/>
                <a:gd name="T4" fmla="*/ 1 w 339"/>
                <a:gd name="T5" fmla="*/ 0 h 70"/>
                <a:gd name="T6" fmla="*/ 1 w 339"/>
                <a:gd name="T7" fmla="*/ 2 h 70"/>
                <a:gd name="T8" fmla="*/ 337 w 339"/>
                <a:gd name="T9" fmla="*/ 2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9" h="70">
                  <a:moveTo>
                    <a:pt x="337" y="21"/>
                  </a:moveTo>
                  <a:cubicBezTo>
                    <a:pt x="339" y="20"/>
                    <a:pt x="338" y="17"/>
                    <a:pt x="336" y="18"/>
                  </a:cubicBezTo>
                  <a:cubicBezTo>
                    <a:pt x="220" y="47"/>
                    <a:pt x="114" y="44"/>
                    <a:pt x="1" y="0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100" y="61"/>
                    <a:pt x="232" y="70"/>
                    <a:pt x="337" y="2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Freeform 243">
              <a:extLst>
                <a:ext uri="{FF2B5EF4-FFF2-40B4-BE49-F238E27FC236}">
                  <a16:creationId xmlns:a16="http://schemas.microsoft.com/office/drawing/2014/main" id="{0E23499D-3C1E-4C0E-886A-F8EE3C3CFC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04313" y="984250"/>
              <a:ext cx="365125" cy="136525"/>
            </a:xfrm>
            <a:custGeom>
              <a:avLst/>
              <a:gdLst>
                <a:gd name="T0" fmla="*/ 5 w 154"/>
                <a:gd name="T1" fmla="*/ 55 h 58"/>
                <a:gd name="T2" fmla="*/ 154 w 154"/>
                <a:gd name="T3" fmla="*/ 1 h 58"/>
                <a:gd name="T4" fmla="*/ 153 w 154"/>
                <a:gd name="T5" fmla="*/ 0 h 58"/>
                <a:gd name="T6" fmla="*/ 5 w 154"/>
                <a:gd name="T7" fmla="*/ 47 h 58"/>
                <a:gd name="T8" fmla="*/ 5 w 154"/>
                <a:gd name="T9" fmla="*/ 5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58">
                  <a:moveTo>
                    <a:pt x="5" y="55"/>
                  </a:moveTo>
                  <a:cubicBezTo>
                    <a:pt x="58" y="58"/>
                    <a:pt x="115" y="35"/>
                    <a:pt x="154" y="1"/>
                  </a:cubicBezTo>
                  <a:cubicBezTo>
                    <a:pt x="154" y="0"/>
                    <a:pt x="154" y="0"/>
                    <a:pt x="153" y="0"/>
                  </a:cubicBezTo>
                  <a:cubicBezTo>
                    <a:pt x="105" y="29"/>
                    <a:pt x="61" y="41"/>
                    <a:pt x="5" y="47"/>
                  </a:cubicBezTo>
                  <a:cubicBezTo>
                    <a:pt x="0" y="47"/>
                    <a:pt x="0" y="55"/>
                    <a:pt x="5" y="55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Freeform 244">
              <a:extLst>
                <a:ext uri="{FF2B5EF4-FFF2-40B4-BE49-F238E27FC236}">
                  <a16:creationId xmlns:a16="http://schemas.microsoft.com/office/drawing/2014/main" id="{4717B679-30A7-4A9D-A963-02703DF8D2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45488" y="395288"/>
              <a:ext cx="1244600" cy="412750"/>
            </a:xfrm>
            <a:custGeom>
              <a:avLst/>
              <a:gdLst>
                <a:gd name="T0" fmla="*/ 524 w 526"/>
                <a:gd name="T1" fmla="*/ 87 h 175"/>
                <a:gd name="T2" fmla="*/ 234 w 526"/>
                <a:gd name="T3" fmla="*/ 114 h 175"/>
                <a:gd name="T4" fmla="*/ 115 w 526"/>
                <a:gd name="T5" fmla="*/ 67 h 175"/>
                <a:gd name="T6" fmla="*/ 11 w 526"/>
                <a:gd name="T7" fmla="*/ 2 h 175"/>
                <a:gd name="T8" fmla="*/ 2 w 526"/>
                <a:gd name="T9" fmla="*/ 8 h 175"/>
                <a:gd name="T10" fmla="*/ 223 w 526"/>
                <a:gd name="T11" fmla="*/ 152 h 175"/>
                <a:gd name="T12" fmla="*/ 525 w 526"/>
                <a:gd name="T13" fmla="*/ 89 h 175"/>
                <a:gd name="T14" fmla="*/ 524 w 526"/>
                <a:gd name="T15" fmla="*/ 8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6" h="175">
                  <a:moveTo>
                    <a:pt x="524" y="87"/>
                  </a:moveTo>
                  <a:cubicBezTo>
                    <a:pt x="434" y="124"/>
                    <a:pt x="330" y="136"/>
                    <a:pt x="234" y="114"/>
                  </a:cubicBezTo>
                  <a:cubicBezTo>
                    <a:pt x="192" y="105"/>
                    <a:pt x="153" y="89"/>
                    <a:pt x="115" y="67"/>
                  </a:cubicBezTo>
                  <a:cubicBezTo>
                    <a:pt x="80" y="47"/>
                    <a:pt x="48" y="18"/>
                    <a:pt x="11" y="2"/>
                  </a:cubicBezTo>
                  <a:cubicBezTo>
                    <a:pt x="7" y="0"/>
                    <a:pt x="0" y="3"/>
                    <a:pt x="2" y="8"/>
                  </a:cubicBezTo>
                  <a:cubicBezTo>
                    <a:pt x="33" y="90"/>
                    <a:pt x="145" y="136"/>
                    <a:pt x="223" y="152"/>
                  </a:cubicBezTo>
                  <a:cubicBezTo>
                    <a:pt x="331" y="175"/>
                    <a:pt x="435" y="150"/>
                    <a:pt x="525" y="89"/>
                  </a:cubicBezTo>
                  <a:cubicBezTo>
                    <a:pt x="526" y="88"/>
                    <a:pt x="525" y="86"/>
                    <a:pt x="524" y="87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Freeform 245">
              <a:extLst>
                <a:ext uri="{FF2B5EF4-FFF2-40B4-BE49-F238E27FC236}">
                  <a16:creationId xmlns:a16="http://schemas.microsoft.com/office/drawing/2014/main" id="{5EE0CD3C-F6E4-4CA3-9A52-3B324CEB5C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9563" y="419100"/>
              <a:ext cx="403225" cy="111125"/>
            </a:xfrm>
            <a:custGeom>
              <a:avLst/>
              <a:gdLst>
                <a:gd name="T0" fmla="*/ 165 w 170"/>
                <a:gd name="T1" fmla="*/ 12 h 47"/>
                <a:gd name="T2" fmla="*/ 160 w 170"/>
                <a:gd name="T3" fmla="*/ 2 h 47"/>
                <a:gd name="T4" fmla="*/ 88 w 170"/>
                <a:gd name="T5" fmla="*/ 27 h 47"/>
                <a:gd name="T6" fmla="*/ 1 w 170"/>
                <a:gd name="T7" fmla="*/ 32 h 47"/>
                <a:gd name="T8" fmla="*/ 1 w 170"/>
                <a:gd name="T9" fmla="*/ 33 h 47"/>
                <a:gd name="T10" fmla="*/ 165 w 170"/>
                <a:gd name="T11" fmla="*/ 1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0" h="47">
                  <a:moveTo>
                    <a:pt x="165" y="12"/>
                  </a:moveTo>
                  <a:cubicBezTo>
                    <a:pt x="170" y="9"/>
                    <a:pt x="167" y="0"/>
                    <a:pt x="160" y="2"/>
                  </a:cubicBezTo>
                  <a:cubicBezTo>
                    <a:pt x="136" y="11"/>
                    <a:pt x="113" y="22"/>
                    <a:pt x="88" y="27"/>
                  </a:cubicBezTo>
                  <a:cubicBezTo>
                    <a:pt x="59" y="34"/>
                    <a:pt x="30" y="33"/>
                    <a:pt x="1" y="32"/>
                  </a:cubicBezTo>
                  <a:cubicBezTo>
                    <a:pt x="0" y="32"/>
                    <a:pt x="0" y="33"/>
                    <a:pt x="1" y="33"/>
                  </a:cubicBezTo>
                  <a:cubicBezTo>
                    <a:pt x="52" y="47"/>
                    <a:pt x="119" y="41"/>
                    <a:pt x="165" y="1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Freeform 246">
              <a:extLst>
                <a:ext uri="{FF2B5EF4-FFF2-40B4-BE49-F238E27FC236}">
                  <a16:creationId xmlns:a16="http://schemas.microsoft.com/office/drawing/2014/main" id="{8DD66538-0998-44BB-A1F2-01556BC666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23388" y="1004888"/>
              <a:ext cx="387350" cy="371475"/>
            </a:xfrm>
            <a:custGeom>
              <a:avLst/>
              <a:gdLst>
                <a:gd name="T0" fmla="*/ 3 w 164"/>
                <a:gd name="T1" fmla="*/ 156 h 157"/>
                <a:gd name="T2" fmla="*/ 161 w 164"/>
                <a:gd name="T3" fmla="*/ 8 h 157"/>
                <a:gd name="T4" fmla="*/ 155 w 164"/>
                <a:gd name="T5" fmla="*/ 3 h 157"/>
                <a:gd name="T6" fmla="*/ 81 w 164"/>
                <a:gd name="T7" fmla="*/ 82 h 157"/>
                <a:gd name="T8" fmla="*/ 1 w 164"/>
                <a:gd name="T9" fmla="*/ 154 h 157"/>
                <a:gd name="T10" fmla="*/ 3 w 164"/>
                <a:gd name="T11" fmla="*/ 15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157">
                  <a:moveTo>
                    <a:pt x="3" y="156"/>
                  </a:moveTo>
                  <a:cubicBezTo>
                    <a:pt x="61" y="119"/>
                    <a:pt x="124" y="67"/>
                    <a:pt x="161" y="8"/>
                  </a:cubicBezTo>
                  <a:cubicBezTo>
                    <a:pt x="164" y="4"/>
                    <a:pt x="158" y="0"/>
                    <a:pt x="155" y="3"/>
                  </a:cubicBezTo>
                  <a:cubicBezTo>
                    <a:pt x="129" y="28"/>
                    <a:pt x="107" y="57"/>
                    <a:pt x="81" y="82"/>
                  </a:cubicBezTo>
                  <a:cubicBezTo>
                    <a:pt x="56" y="108"/>
                    <a:pt x="28" y="131"/>
                    <a:pt x="1" y="154"/>
                  </a:cubicBezTo>
                  <a:cubicBezTo>
                    <a:pt x="0" y="155"/>
                    <a:pt x="2" y="157"/>
                    <a:pt x="3" y="156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Freeform 247">
              <a:extLst>
                <a:ext uri="{FF2B5EF4-FFF2-40B4-BE49-F238E27FC236}">
                  <a16:creationId xmlns:a16="http://schemas.microsoft.com/office/drawing/2014/main" id="{ACCEC334-BC71-457F-8E1E-2E3E6BBAA3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0325" y="1014413"/>
              <a:ext cx="1239838" cy="811213"/>
            </a:xfrm>
            <a:custGeom>
              <a:avLst/>
              <a:gdLst>
                <a:gd name="T0" fmla="*/ 1 w 524"/>
                <a:gd name="T1" fmla="*/ 2 h 343"/>
                <a:gd name="T2" fmla="*/ 234 w 524"/>
                <a:gd name="T3" fmla="*/ 215 h 343"/>
                <a:gd name="T4" fmla="*/ 522 w 524"/>
                <a:gd name="T5" fmla="*/ 343 h 343"/>
                <a:gd name="T6" fmla="*/ 523 w 524"/>
                <a:gd name="T7" fmla="*/ 341 h 343"/>
                <a:gd name="T8" fmla="*/ 249 w 524"/>
                <a:gd name="T9" fmla="*/ 190 h 343"/>
                <a:gd name="T10" fmla="*/ 1 w 524"/>
                <a:gd name="T11" fmla="*/ 1 h 343"/>
                <a:gd name="T12" fmla="*/ 1 w 524"/>
                <a:gd name="T13" fmla="*/ 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4" h="343">
                  <a:moveTo>
                    <a:pt x="1" y="2"/>
                  </a:moveTo>
                  <a:cubicBezTo>
                    <a:pt x="70" y="81"/>
                    <a:pt x="146" y="156"/>
                    <a:pt x="234" y="215"/>
                  </a:cubicBezTo>
                  <a:cubicBezTo>
                    <a:pt x="320" y="274"/>
                    <a:pt x="423" y="311"/>
                    <a:pt x="522" y="343"/>
                  </a:cubicBezTo>
                  <a:cubicBezTo>
                    <a:pt x="524" y="343"/>
                    <a:pt x="524" y="341"/>
                    <a:pt x="523" y="341"/>
                  </a:cubicBezTo>
                  <a:cubicBezTo>
                    <a:pt x="424" y="301"/>
                    <a:pt x="338" y="247"/>
                    <a:pt x="249" y="190"/>
                  </a:cubicBezTo>
                  <a:cubicBezTo>
                    <a:pt x="161" y="135"/>
                    <a:pt x="76" y="73"/>
                    <a:pt x="1" y="1"/>
                  </a:cubicBezTo>
                  <a:cubicBezTo>
                    <a:pt x="1" y="0"/>
                    <a:pt x="0" y="1"/>
                    <a:pt x="1" y="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Freeform 248">
              <a:extLst>
                <a:ext uri="{FF2B5EF4-FFF2-40B4-BE49-F238E27FC236}">
                  <a16:creationId xmlns:a16="http://schemas.microsoft.com/office/drawing/2014/main" id="{67E5C5C2-915A-480E-B1CD-F9DA6343EC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5313" y="827088"/>
              <a:ext cx="241300" cy="125413"/>
            </a:xfrm>
            <a:custGeom>
              <a:avLst/>
              <a:gdLst>
                <a:gd name="T0" fmla="*/ 0 w 102"/>
                <a:gd name="T1" fmla="*/ 0 h 53"/>
                <a:gd name="T2" fmla="*/ 0 w 102"/>
                <a:gd name="T3" fmla="*/ 1 h 53"/>
                <a:gd name="T4" fmla="*/ 97 w 102"/>
                <a:gd name="T5" fmla="*/ 52 h 53"/>
                <a:gd name="T6" fmla="*/ 98 w 102"/>
                <a:gd name="T7" fmla="*/ 44 h 53"/>
                <a:gd name="T8" fmla="*/ 0 w 102"/>
                <a:gd name="T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53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27" y="25"/>
                    <a:pt x="59" y="49"/>
                    <a:pt x="97" y="52"/>
                  </a:cubicBezTo>
                  <a:cubicBezTo>
                    <a:pt x="102" y="53"/>
                    <a:pt x="102" y="45"/>
                    <a:pt x="98" y="44"/>
                  </a:cubicBezTo>
                  <a:cubicBezTo>
                    <a:pt x="63" y="32"/>
                    <a:pt x="30" y="23"/>
                    <a:pt x="0" y="0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" name="Freeform 249">
              <a:extLst>
                <a:ext uri="{FF2B5EF4-FFF2-40B4-BE49-F238E27FC236}">
                  <a16:creationId xmlns:a16="http://schemas.microsoft.com/office/drawing/2014/main" id="{951FA803-1501-4286-8D3F-E569DC775F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588" y="228600"/>
              <a:ext cx="534988" cy="598488"/>
            </a:xfrm>
            <a:custGeom>
              <a:avLst/>
              <a:gdLst>
                <a:gd name="T0" fmla="*/ 225 w 226"/>
                <a:gd name="T1" fmla="*/ 251 h 253"/>
                <a:gd name="T2" fmla="*/ 5 w 226"/>
                <a:gd name="T3" fmla="*/ 2 h 253"/>
                <a:gd name="T4" fmla="*/ 0 w 226"/>
                <a:gd name="T5" fmla="*/ 3 h 253"/>
                <a:gd name="T6" fmla="*/ 224 w 226"/>
                <a:gd name="T7" fmla="*/ 253 h 253"/>
                <a:gd name="T8" fmla="*/ 225 w 226"/>
                <a:gd name="T9" fmla="*/ 25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" h="253">
                  <a:moveTo>
                    <a:pt x="225" y="251"/>
                  </a:moveTo>
                  <a:cubicBezTo>
                    <a:pt x="108" y="203"/>
                    <a:pt x="45" y="118"/>
                    <a:pt x="5" y="2"/>
                  </a:cubicBezTo>
                  <a:cubicBezTo>
                    <a:pt x="4" y="0"/>
                    <a:pt x="0" y="0"/>
                    <a:pt x="0" y="3"/>
                  </a:cubicBezTo>
                  <a:cubicBezTo>
                    <a:pt x="8" y="120"/>
                    <a:pt x="113" y="226"/>
                    <a:pt x="224" y="253"/>
                  </a:cubicBezTo>
                  <a:cubicBezTo>
                    <a:pt x="226" y="253"/>
                    <a:pt x="226" y="251"/>
                    <a:pt x="225" y="25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Freeform 250">
              <a:extLst>
                <a:ext uri="{FF2B5EF4-FFF2-40B4-BE49-F238E27FC236}">
                  <a16:creationId xmlns:a16="http://schemas.microsoft.com/office/drawing/2014/main" id="{86BA0EA1-7F7F-467C-BE86-18A89397D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99863" y="1560513"/>
              <a:ext cx="233363" cy="84138"/>
            </a:xfrm>
            <a:custGeom>
              <a:avLst/>
              <a:gdLst>
                <a:gd name="T0" fmla="*/ 4 w 99"/>
                <a:gd name="T1" fmla="*/ 1 h 36"/>
                <a:gd name="T2" fmla="*/ 1 w 99"/>
                <a:gd name="T3" fmla="*/ 5 h 36"/>
                <a:gd name="T4" fmla="*/ 99 w 99"/>
                <a:gd name="T5" fmla="*/ 30 h 36"/>
                <a:gd name="T6" fmla="*/ 99 w 99"/>
                <a:gd name="T7" fmla="*/ 30 h 36"/>
                <a:gd name="T8" fmla="*/ 47 w 99"/>
                <a:gd name="T9" fmla="*/ 21 h 36"/>
                <a:gd name="T10" fmla="*/ 4 w 99"/>
                <a:gd name="T11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6">
                  <a:moveTo>
                    <a:pt x="4" y="1"/>
                  </a:moveTo>
                  <a:cubicBezTo>
                    <a:pt x="2" y="0"/>
                    <a:pt x="0" y="3"/>
                    <a:pt x="1" y="5"/>
                  </a:cubicBezTo>
                  <a:cubicBezTo>
                    <a:pt x="19" y="34"/>
                    <a:pt x="70" y="36"/>
                    <a:pt x="99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81" y="29"/>
                    <a:pt x="64" y="27"/>
                    <a:pt x="47" y="21"/>
                  </a:cubicBezTo>
                  <a:cubicBezTo>
                    <a:pt x="32" y="15"/>
                    <a:pt x="19" y="4"/>
                    <a:pt x="4" y="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" name="Freeform 251">
              <a:extLst>
                <a:ext uri="{FF2B5EF4-FFF2-40B4-BE49-F238E27FC236}">
                  <a16:creationId xmlns:a16="http://schemas.microsoft.com/office/drawing/2014/main" id="{25344423-E8DA-43A4-9856-5F83144C01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80800" y="820738"/>
              <a:ext cx="658813" cy="146050"/>
            </a:xfrm>
            <a:custGeom>
              <a:avLst/>
              <a:gdLst>
                <a:gd name="T0" fmla="*/ 192 w 278"/>
                <a:gd name="T1" fmla="*/ 27 h 62"/>
                <a:gd name="T2" fmla="*/ 9 w 278"/>
                <a:gd name="T3" fmla="*/ 11 h 62"/>
                <a:gd name="T4" fmla="*/ 6 w 278"/>
                <a:gd name="T5" fmla="*/ 27 h 62"/>
                <a:gd name="T6" fmla="*/ 218 w 278"/>
                <a:gd name="T7" fmla="*/ 60 h 62"/>
                <a:gd name="T8" fmla="*/ 278 w 278"/>
                <a:gd name="T9" fmla="*/ 53 h 62"/>
                <a:gd name="T10" fmla="*/ 278 w 278"/>
                <a:gd name="T11" fmla="*/ 29 h 62"/>
                <a:gd name="T12" fmla="*/ 192 w 278"/>
                <a:gd name="T13" fmla="*/ 2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8" h="62">
                  <a:moveTo>
                    <a:pt x="192" y="27"/>
                  </a:moveTo>
                  <a:cubicBezTo>
                    <a:pt x="133" y="23"/>
                    <a:pt x="67" y="0"/>
                    <a:pt x="9" y="11"/>
                  </a:cubicBezTo>
                  <a:cubicBezTo>
                    <a:pt x="1" y="13"/>
                    <a:pt x="0" y="24"/>
                    <a:pt x="6" y="27"/>
                  </a:cubicBezTo>
                  <a:cubicBezTo>
                    <a:pt x="62" y="61"/>
                    <a:pt x="154" y="62"/>
                    <a:pt x="218" y="60"/>
                  </a:cubicBezTo>
                  <a:cubicBezTo>
                    <a:pt x="238" y="59"/>
                    <a:pt x="258" y="57"/>
                    <a:pt x="278" y="53"/>
                  </a:cubicBezTo>
                  <a:cubicBezTo>
                    <a:pt x="278" y="29"/>
                    <a:pt x="278" y="29"/>
                    <a:pt x="278" y="29"/>
                  </a:cubicBezTo>
                  <a:cubicBezTo>
                    <a:pt x="249" y="30"/>
                    <a:pt x="221" y="29"/>
                    <a:pt x="192" y="27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Freeform 252">
              <a:extLst>
                <a:ext uri="{FF2B5EF4-FFF2-40B4-BE49-F238E27FC236}">
                  <a16:creationId xmlns:a16="http://schemas.microsoft.com/office/drawing/2014/main" id="{692AA1ED-E1B4-4F5E-8106-2940DB6C36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45863" y="1325563"/>
              <a:ext cx="793750" cy="201613"/>
            </a:xfrm>
            <a:custGeom>
              <a:avLst/>
              <a:gdLst>
                <a:gd name="T0" fmla="*/ 1 w 335"/>
                <a:gd name="T1" fmla="*/ 1 h 85"/>
                <a:gd name="T2" fmla="*/ 1 w 335"/>
                <a:gd name="T3" fmla="*/ 2 h 85"/>
                <a:gd name="T4" fmla="*/ 335 w 335"/>
                <a:gd name="T5" fmla="*/ 63 h 85"/>
                <a:gd name="T6" fmla="*/ 335 w 335"/>
                <a:gd name="T7" fmla="*/ 49 h 85"/>
                <a:gd name="T8" fmla="*/ 1 w 335"/>
                <a:gd name="T9" fmla="*/ 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85">
                  <a:moveTo>
                    <a:pt x="1" y="1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08" y="64"/>
                    <a:pt x="221" y="85"/>
                    <a:pt x="335" y="63"/>
                  </a:cubicBezTo>
                  <a:cubicBezTo>
                    <a:pt x="335" y="49"/>
                    <a:pt x="335" y="49"/>
                    <a:pt x="335" y="49"/>
                  </a:cubicBezTo>
                  <a:cubicBezTo>
                    <a:pt x="222" y="64"/>
                    <a:pt x="102" y="48"/>
                    <a:pt x="1" y="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" name="Freeform 253">
              <a:extLst>
                <a:ext uri="{FF2B5EF4-FFF2-40B4-BE49-F238E27FC236}">
                  <a16:creationId xmlns:a16="http://schemas.microsoft.com/office/drawing/2014/main" id="{A6C63790-C1BB-4927-80FE-D3EA6A9465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23600" y="773113"/>
              <a:ext cx="1116013" cy="338138"/>
            </a:xfrm>
            <a:custGeom>
              <a:avLst/>
              <a:gdLst>
                <a:gd name="T0" fmla="*/ 1 w 471"/>
                <a:gd name="T1" fmla="*/ 0 h 143"/>
                <a:gd name="T2" fmla="*/ 1 w 471"/>
                <a:gd name="T3" fmla="*/ 1 h 143"/>
                <a:gd name="T4" fmla="*/ 148 w 471"/>
                <a:gd name="T5" fmla="*/ 91 h 143"/>
                <a:gd name="T6" fmla="*/ 301 w 471"/>
                <a:gd name="T7" fmla="*/ 135 h 143"/>
                <a:gd name="T8" fmla="*/ 471 w 471"/>
                <a:gd name="T9" fmla="*/ 136 h 143"/>
                <a:gd name="T10" fmla="*/ 471 w 471"/>
                <a:gd name="T11" fmla="*/ 122 h 143"/>
                <a:gd name="T12" fmla="*/ 282 w 471"/>
                <a:gd name="T13" fmla="*/ 111 h 143"/>
                <a:gd name="T14" fmla="*/ 140 w 471"/>
                <a:gd name="T15" fmla="*/ 68 h 143"/>
                <a:gd name="T16" fmla="*/ 1 w 471"/>
                <a:gd name="T17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1" h="143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52" y="28"/>
                    <a:pt x="96" y="65"/>
                    <a:pt x="148" y="91"/>
                  </a:cubicBezTo>
                  <a:cubicBezTo>
                    <a:pt x="196" y="115"/>
                    <a:pt x="248" y="129"/>
                    <a:pt x="301" y="135"/>
                  </a:cubicBezTo>
                  <a:cubicBezTo>
                    <a:pt x="356" y="142"/>
                    <a:pt x="414" y="143"/>
                    <a:pt x="471" y="136"/>
                  </a:cubicBezTo>
                  <a:cubicBezTo>
                    <a:pt x="471" y="122"/>
                    <a:pt x="471" y="122"/>
                    <a:pt x="471" y="122"/>
                  </a:cubicBezTo>
                  <a:cubicBezTo>
                    <a:pt x="409" y="128"/>
                    <a:pt x="347" y="125"/>
                    <a:pt x="282" y="111"/>
                  </a:cubicBezTo>
                  <a:cubicBezTo>
                    <a:pt x="234" y="100"/>
                    <a:pt x="186" y="86"/>
                    <a:pt x="140" y="68"/>
                  </a:cubicBezTo>
                  <a:cubicBezTo>
                    <a:pt x="92" y="49"/>
                    <a:pt x="50" y="16"/>
                    <a:pt x="1" y="0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Freeform 254">
              <a:extLst>
                <a:ext uri="{FF2B5EF4-FFF2-40B4-BE49-F238E27FC236}">
                  <a16:creationId xmlns:a16="http://schemas.microsoft.com/office/drawing/2014/main" id="{93CB12F3-CCC1-453E-A254-69E0353BE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55313" y="1154113"/>
              <a:ext cx="723900" cy="417513"/>
            </a:xfrm>
            <a:custGeom>
              <a:avLst/>
              <a:gdLst>
                <a:gd name="T0" fmla="*/ 140 w 306"/>
                <a:gd name="T1" fmla="*/ 105 h 177"/>
                <a:gd name="T2" fmla="*/ 297 w 306"/>
                <a:gd name="T3" fmla="*/ 176 h 177"/>
                <a:gd name="T4" fmla="*/ 302 w 306"/>
                <a:gd name="T5" fmla="*/ 168 h 177"/>
                <a:gd name="T6" fmla="*/ 158 w 306"/>
                <a:gd name="T7" fmla="*/ 91 h 177"/>
                <a:gd name="T8" fmla="*/ 3 w 306"/>
                <a:gd name="T9" fmla="*/ 1 h 177"/>
                <a:gd name="T10" fmla="*/ 1 w 306"/>
                <a:gd name="T11" fmla="*/ 3 h 177"/>
                <a:gd name="T12" fmla="*/ 140 w 306"/>
                <a:gd name="T13" fmla="*/ 10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6" h="177">
                  <a:moveTo>
                    <a:pt x="140" y="105"/>
                  </a:moveTo>
                  <a:cubicBezTo>
                    <a:pt x="187" y="133"/>
                    <a:pt x="242" y="169"/>
                    <a:pt x="297" y="176"/>
                  </a:cubicBezTo>
                  <a:cubicBezTo>
                    <a:pt x="301" y="177"/>
                    <a:pt x="306" y="172"/>
                    <a:pt x="302" y="168"/>
                  </a:cubicBezTo>
                  <a:cubicBezTo>
                    <a:pt x="260" y="135"/>
                    <a:pt x="205" y="117"/>
                    <a:pt x="158" y="91"/>
                  </a:cubicBezTo>
                  <a:cubicBezTo>
                    <a:pt x="106" y="63"/>
                    <a:pt x="53" y="32"/>
                    <a:pt x="3" y="1"/>
                  </a:cubicBezTo>
                  <a:cubicBezTo>
                    <a:pt x="2" y="0"/>
                    <a:pt x="0" y="2"/>
                    <a:pt x="1" y="3"/>
                  </a:cubicBezTo>
                  <a:cubicBezTo>
                    <a:pt x="45" y="41"/>
                    <a:pt x="90" y="75"/>
                    <a:pt x="140" y="105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Freeform 255">
              <a:extLst>
                <a:ext uri="{FF2B5EF4-FFF2-40B4-BE49-F238E27FC236}">
                  <a16:creationId xmlns:a16="http://schemas.microsoft.com/office/drawing/2014/main" id="{B4020768-9A19-4760-8B1C-086B8F8E9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42563" y="1622425"/>
              <a:ext cx="876300" cy="379413"/>
            </a:xfrm>
            <a:custGeom>
              <a:avLst/>
              <a:gdLst>
                <a:gd name="T0" fmla="*/ 366 w 370"/>
                <a:gd name="T1" fmla="*/ 154 h 161"/>
                <a:gd name="T2" fmla="*/ 1 w 370"/>
                <a:gd name="T3" fmla="*/ 0 h 161"/>
                <a:gd name="T4" fmla="*/ 1 w 370"/>
                <a:gd name="T5" fmla="*/ 1 h 161"/>
                <a:gd name="T6" fmla="*/ 366 w 370"/>
                <a:gd name="T7" fmla="*/ 161 h 161"/>
                <a:gd name="T8" fmla="*/ 366 w 370"/>
                <a:gd name="T9" fmla="*/ 15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161">
                  <a:moveTo>
                    <a:pt x="366" y="154"/>
                  </a:moveTo>
                  <a:cubicBezTo>
                    <a:pt x="235" y="122"/>
                    <a:pt x="112" y="81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ubicBezTo>
                    <a:pt x="100" y="92"/>
                    <a:pt x="229" y="159"/>
                    <a:pt x="366" y="161"/>
                  </a:cubicBezTo>
                  <a:cubicBezTo>
                    <a:pt x="369" y="161"/>
                    <a:pt x="370" y="155"/>
                    <a:pt x="366" y="154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Freeform 256">
              <a:extLst>
                <a:ext uri="{FF2B5EF4-FFF2-40B4-BE49-F238E27FC236}">
                  <a16:creationId xmlns:a16="http://schemas.microsoft.com/office/drawing/2014/main" id="{938518AC-7064-4734-84D3-0C71D2AE21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52075" y="265113"/>
              <a:ext cx="995363" cy="1033463"/>
            </a:xfrm>
            <a:custGeom>
              <a:avLst/>
              <a:gdLst>
                <a:gd name="T0" fmla="*/ 418 w 420"/>
                <a:gd name="T1" fmla="*/ 432 h 437"/>
                <a:gd name="T2" fmla="*/ 1 w 420"/>
                <a:gd name="T3" fmla="*/ 1 h 437"/>
                <a:gd name="T4" fmla="*/ 0 w 420"/>
                <a:gd name="T5" fmla="*/ 2 h 437"/>
                <a:gd name="T6" fmla="*/ 417 w 420"/>
                <a:gd name="T7" fmla="*/ 436 h 437"/>
                <a:gd name="T8" fmla="*/ 418 w 420"/>
                <a:gd name="T9" fmla="*/ 43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" h="437">
                  <a:moveTo>
                    <a:pt x="418" y="432"/>
                  </a:moveTo>
                  <a:cubicBezTo>
                    <a:pt x="227" y="360"/>
                    <a:pt x="70" y="193"/>
                    <a:pt x="1" y="1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50" y="215"/>
                    <a:pt x="207" y="374"/>
                    <a:pt x="417" y="436"/>
                  </a:cubicBezTo>
                  <a:cubicBezTo>
                    <a:pt x="419" y="437"/>
                    <a:pt x="420" y="433"/>
                    <a:pt x="418" y="43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Freeform 257">
              <a:extLst>
                <a:ext uri="{FF2B5EF4-FFF2-40B4-BE49-F238E27FC236}">
                  <a16:creationId xmlns:a16="http://schemas.microsoft.com/office/drawing/2014/main" id="{FD97A62A-604F-48F6-9BCF-1A9BA54F4A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138" y="3175"/>
              <a:ext cx="395288" cy="573088"/>
            </a:xfrm>
            <a:custGeom>
              <a:avLst/>
              <a:gdLst>
                <a:gd name="T0" fmla="*/ 108 w 167"/>
                <a:gd name="T1" fmla="*/ 127 h 243"/>
                <a:gd name="T2" fmla="*/ 2 w 167"/>
                <a:gd name="T3" fmla="*/ 236 h 243"/>
                <a:gd name="T4" fmla="*/ 6 w 167"/>
                <a:gd name="T5" fmla="*/ 242 h 243"/>
                <a:gd name="T6" fmla="*/ 137 w 167"/>
                <a:gd name="T7" fmla="*/ 0 h 243"/>
                <a:gd name="T8" fmla="*/ 126 w 167"/>
                <a:gd name="T9" fmla="*/ 0 h 243"/>
                <a:gd name="T10" fmla="*/ 108 w 167"/>
                <a:gd name="T11" fmla="*/ 12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43">
                  <a:moveTo>
                    <a:pt x="108" y="127"/>
                  </a:moveTo>
                  <a:cubicBezTo>
                    <a:pt x="83" y="174"/>
                    <a:pt x="42" y="202"/>
                    <a:pt x="2" y="236"/>
                  </a:cubicBezTo>
                  <a:cubicBezTo>
                    <a:pt x="0" y="238"/>
                    <a:pt x="3" y="243"/>
                    <a:pt x="6" y="242"/>
                  </a:cubicBezTo>
                  <a:cubicBezTo>
                    <a:pt x="96" y="210"/>
                    <a:pt x="167" y="94"/>
                    <a:pt x="137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5" y="43"/>
                    <a:pt x="132" y="85"/>
                    <a:pt x="108" y="127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Freeform 258">
              <a:extLst>
                <a:ext uri="{FF2B5EF4-FFF2-40B4-BE49-F238E27FC236}">
                  <a16:creationId xmlns:a16="http://schemas.microsoft.com/office/drawing/2014/main" id="{214BD9D7-C26F-46EE-BDCB-BE13E056F0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5" y="600075"/>
              <a:ext cx="485775" cy="120650"/>
            </a:xfrm>
            <a:custGeom>
              <a:avLst/>
              <a:gdLst>
                <a:gd name="T0" fmla="*/ 204 w 205"/>
                <a:gd name="T1" fmla="*/ 1 h 51"/>
                <a:gd name="T2" fmla="*/ 204 w 205"/>
                <a:gd name="T3" fmla="*/ 0 h 51"/>
                <a:gd name="T4" fmla="*/ 68 w 205"/>
                <a:gd name="T5" fmla="*/ 31 h 51"/>
                <a:gd name="T6" fmla="*/ 0 w 205"/>
                <a:gd name="T7" fmla="*/ 22 h 51"/>
                <a:gd name="T8" fmla="*/ 0 w 205"/>
                <a:gd name="T9" fmla="*/ 37 h 51"/>
                <a:gd name="T10" fmla="*/ 204 w 205"/>
                <a:gd name="T11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" h="51">
                  <a:moveTo>
                    <a:pt x="204" y="1"/>
                  </a:moveTo>
                  <a:cubicBezTo>
                    <a:pt x="205" y="1"/>
                    <a:pt x="204" y="0"/>
                    <a:pt x="204" y="0"/>
                  </a:cubicBezTo>
                  <a:cubicBezTo>
                    <a:pt x="159" y="13"/>
                    <a:pt x="114" y="29"/>
                    <a:pt x="68" y="31"/>
                  </a:cubicBezTo>
                  <a:cubicBezTo>
                    <a:pt x="43" y="32"/>
                    <a:pt x="21" y="28"/>
                    <a:pt x="0" y="22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67" y="51"/>
                    <a:pt x="143" y="28"/>
                    <a:pt x="204" y="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Freeform 259">
              <a:extLst>
                <a:ext uri="{FF2B5EF4-FFF2-40B4-BE49-F238E27FC236}">
                  <a16:creationId xmlns:a16="http://schemas.microsoft.com/office/drawing/2014/main" id="{327BAD8F-5EB0-4CA3-9CFE-5329147684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5013" y="3175"/>
              <a:ext cx="465138" cy="901700"/>
            </a:xfrm>
            <a:custGeom>
              <a:avLst/>
              <a:gdLst>
                <a:gd name="T0" fmla="*/ 144 w 197"/>
                <a:gd name="T1" fmla="*/ 226 h 382"/>
                <a:gd name="T2" fmla="*/ 4 w 197"/>
                <a:gd name="T3" fmla="*/ 374 h 382"/>
                <a:gd name="T4" fmla="*/ 8 w 197"/>
                <a:gd name="T5" fmla="*/ 381 h 382"/>
                <a:gd name="T6" fmla="*/ 170 w 197"/>
                <a:gd name="T7" fmla="*/ 221 h 382"/>
                <a:gd name="T8" fmla="*/ 174 w 197"/>
                <a:gd name="T9" fmla="*/ 0 h 382"/>
                <a:gd name="T10" fmla="*/ 166 w 197"/>
                <a:gd name="T11" fmla="*/ 0 h 382"/>
                <a:gd name="T12" fmla="*/ 144 w 197"/>
                <a:gd name="T13" fmla="*/ 226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7" h="382">
                  <a:moveTo>
                    <a:pt x="144" y="226"/>
                  </a:moveTo>
                  <a:cubicBezTo>
                    <a:pt x="113" y="293"/>
                    <a:pt x="59" y="328"/>
                    <a:pt x="4" y="374"/>
                  </a:cubicBezTo>
                  <a:cubicBezTo>
                    <a:pt x="0" y="377"/>
                    <a:pt x="4" y="382"/>
                    <a:pt x="8" y="381"/>
                  </a:cubicBezTo>
                  <a:cubicBezTo>
                    <a:pt x="85" y="369"/>
                    <a:pt x="143" y="290"/>
                    <a:pt x="170" y="221"/>
                  </a:cubicBezTo>
                  <a:cubicBezTo>
                    <a:pt x="197" y="154"/>
                    <a:pt x="197" y="71"/>
                    <a:pt x="174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80" y="77"/>
                    <a:pt x="180" y="151"/>
                    <a:pt x="144" y="226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Freeform 260">
              <a:extLst>
                <a:ext uri="{FF2B5EF4-FFF2-40B4-BE49-F238E27FC236}">
                  <a16:creationId xmlns:a16="http://schemas.microsoft.com/office/drawing/2014/main" id="{698C06E7-48A1-4277-951A-7646E701E1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5" y="363538"/>
              <a:ext cx="382588" cy="82550"/>
            </a:xfrm>
            <a:custGeom>
              <a:avLst/>
              <a:gdLst>
                <a:gd name="T0" fmla="*/ 161 w 162"/>
                <a:gd name="T1" fmla="*/ 1 h 35"/>
                <a:gd name="T2" fmla="*/ 161 w 162"/>
                <a:gd name="T3" fmla="*/ 0 h 35"/>
                <a:gd name="T4" fmla="*/ 0 w 162"/>
                <a:gd name="T5" fmla="*/ 10 h 35"/>
                <a:gd name="T6" fmla="*/ 0 w 162"/>
                <a:gd name="T7" fmla="*/ 25 h 35"/>
                <a:gd name="T8" fmla="*/ 161 w 162"/>
                <a:gd name="T9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5">
                  <a:moveTo>
                    <a:pt x="161" y="1"/>
                  </a:moveTo>
                  <a:cubicBezTo>
                    <a:pt x="162" y="1"/>
                    <a:pt x="162" y="0"/>
                    <a:pt x="161" y="0"/>
                  </a:cubicBezTo>
                  <a:cubicBezTo>
                    <a:pt x="106" y="13"/>
                    <a:pt x="53" y="20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53" y="35"/>
                    <a:pt x="114" y="19"/>
                    <a:pt x="161" y="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Freeform 261">
              <a:extLst>
                <a:ext uri="{FF2B5EF4-FFF2-40B4-BE49-F238E27FC236}">
                  <a16:creationId xmlns:a16="http://schemas.microsoft.com/office/drawing/2014/main" id="{B18AD7B1-CE90-464E-8244-1877106129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2850" y="3175"/>
              <a:ext cx="131763" cy="538163"/>
            </a:xfrm>
            <a:custGeom>
              <a:avLst/>
              <a:gdLst>
                <a:gd name="T0" fmla="*/ 7 w 56"/>
                <a:gd name="T1" fmla="*/ 225 h 228"/>
                <a:gd name="T2" fmla="*/ 10 w 56"/>
                <a:gd name="T3" fmla="*/ 227 h 228"/>
                <a:gd name="T4" fmla="*/ 27 w 56"/>
                <a:gd name="T5" fmla="*/ 0 h 228"/>
                <a:gd name="T6" fmla="*/ 0 w 56"/>
                <a:gd name="T7" fmla="*/ 0 h 228"/>
                <a:gd name="T8" fmla="*/ 7 w 56"/>
                <a:gd name="T9" fmla="*/ 22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28">
                  <a:moveTo>
                    <a:pt x="7" y="225"/>
                  </a:moveTo>
                  <a:cubicBezTo>
                    <a:pt x="7" y="227"/>
                    <a:pt x="9" y="228"/>
                    <a:pt x="10" y="227"/>
                  </a:cubicBezTo>
                  <a:cubicBezTo>
                    <a:pt x="56" y="154"/>
                    <a:pt x="49" y="77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73"/>
                    <a:pt x="43" y="153"/>
                    <a:pt x="7" y="225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Freeform 262">
              <a:extLst>
                <a:ext uri="{FF2B5EF4-FFF2-40B4-BE49-F238E27FC236}">
                  <a16:creationId xmlns:a16="http://schemas.microsoft.com/office/drawing/2014/main" id="{55DA64AA-4268-47A8-8B38-69935198E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5738" y="3175"/>
              <a:ext cx="149225" cy="484188"/>
            </a:xfrm>
            <a:custGeom>
              <a:avLst/>
              <a:gdLst>
                <a:gd name="T0" fmla="*/ 0 w 63"/>
                <a:gd name="T1" fmla="*/ 204 h 205"/>
                <a:gd name="T2" fmla="*/ 2 w 63"/>
                <a:gd name="T3" fmla="*/ 205 h 205"/>
                <a:gd name="T4" fmla="*/ 63 w 63"/>
                <a:gd name="T5" fmla="*/ 0 h 205"/>
                <a:gd name="T6" fmla="*/ 36 w 63"/>
                <a:gd name="T7" fmla="*/ 0 h 205"/>
                <a:gd name="T8" fmla="*/ 0 w 63"/>
                <a:gd name="T9" fmla="*/ 20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05">
                  <a:moveTo>
                    <a:pt x="0" y="204"/>
                  </a:moveTo>
                  <a:cubicBezTo>
                    <a:pt x="0" y="205"/>
                    <a:pt x="1" y="205"/>
                    <a:pt x="2" y="205"/>
                  </a:cubicBezTo>
                  <a:cubicBezTo>
                    <a:pt x="40" y="142"/>
                    <a:pt x="60" y="72"/>
                    <a:pt x="63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7" y="70"/>
                    <a:pt x="23" y="138"/>
                    <a:pt x="0" y="204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Freeform 263">
              <a:extLst>
                <a:ext uri="{FF2B5EF4-FFF2-40B4-BE49-F238E27FC236}">
                  <a16:creationId xmlns:a16="http://schemas.microsoft.com/office/drawing/2014/main" id="{AAF85859-3459-4834-B366-D9250F59C6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0" y="3175"/>
              <a:ext cx="85725" cy="349250"/>
            </a:xfrm>
            <a:custGeom>
              <a:avLst/>
              <a:gdLst>
                <a:gd name="T0" fmla="*/ 1 w 36"/>
                <a:gd name="T1" fmla="*/ 142 h 148"/>
                <a:gd name="T2" fmla="*/ 7 w 36"/>
                <a:gd name="T3" fmla="*/ 144 h 148"/>
                <a:gd name="T4" fmla="*/ 36 w 36"/>
                <a:gd name="T5" fmla="*/ 0 h 148"/>
                <a:gd name="T6" fmla="*/ 27 w 36"/>
                <a:gd name="T7" fmla="*/ 0 h 148"/>
                <a:gd name="T8" fmla="*/ 1 w 36"/>
                <a:gd name="T9" fmla="*/ 14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8">
                  <a:moveTo>
                    <a:pt x="1" y="142"/>
                  </a:moveTo>
                  <a:cubicBezTo>
                    <a:pt x="0" y="145"/>
                    <a:pt x="5" y="148"/>
                    <a:pt x="7" y="144"/>
                  </a:cubicBezTo>
                  <a:cubicBezTo>
                    <a:pt x="26" y="101"/>
                    <a:pt x="34" y="50"/>
                    <a:pt x="36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0" y="47"/>
                    <a:pt x="10" y="94"/>
                    <a:pt x="1" y="14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Freeform 264">
              <a:extLst>
                <a:ext uri="{FF2B5EF4-FFF2-40B4-BE49-F238E27FC236}">
                  <a16:creationId xmlns:a16="http://schemas.microsoft.com/office/drawing/2014/main" id="{9D1F8CAD-9B76-4F59-AA2C-980AC717BF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0000" y="3175"/>
              <a:ext cx="207963" cy="623888"/>
            </a:xfrm>
            <a:custGeom>
              <a:avLst/>
              <a:gdLst>
                <a:gd name="T0" fmla="*/ 2 w 88"/>
                <a:gd name="T1" fmla="*/ 255 h 264"/>
                <a:gd name="T2" fmla="*/ 11 w 88"/>
                <a:gd name="T3" fmla="*/ 260 h 264"/>
                <a:gd name="T4" fmla="*/ 80 w 88"/>
                <a:gd name="T5" fmla="*/ 0 h 264"/>
                <a:gd name="T6" fmla="*/ 71 w 88"/>
                <a:gd name="T7" fmla="*/ 0 h 264"/>
                <a:gd name="T8" fmla="*/ 56 w 88"/>
                <a:gd name="T9" fmla="*/ 115 h 264"/>
                <a:gd name="T10" fmla="*/ 2 w 88"/>
                <a:gd name="T11" fmla="*/ 25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264">
                  <a:moveTo>
                    <a:pt x="2" y="255"/>
                  </a:moveTo>
                  <a:cubicBezTo>
                    <a:pt x="0" y="260"/>
                    <a:pt x="8" y="264"/>
                    <a:pt x="11" y="260"/>
                  </a:cubicBezTo>
                  <a:cubicBezTo>
                    <a:pt x="66" y="191"/>
                    <a:pt x="88" y="90"/>
                    <a:pt x="80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0" y="39"/>
                    <a:pt x="66" y="77"/>
                    <a:pt x="56" y="115"/>
                  </a:cubicBezTo>
                  <a:cubicBezTo>
                    <a:pt x="44" y="164"/>
                    <a:pt x="21" y="208"/>
                    <a:pt x="2" y="255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Freeform 265">
              <a:extLst>
                <a:ext uri="{FF2B5EF4-FFF2-40B4-BE49-F238E27FC236}">
                  <a16:creationId xmlns:a16="http://schemas.microsoft.com/office/drawing/2014/main" id="{7A4E3B20-BE9E-46D6-A918-20C2860B5C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588" y="3175"/>
              <a:ext cx="182563" cy="295275"/>
            </a:xfrm>
            <a:custGeom>
              <a:avLst/>
              <a:gdLst>
                <a:gd name="T0" fmla="*/ 1 w 77"/>
                <a:gd name="T1" fmla="*/ 123 h 125"/>
                <a:gd name="T2" fmla="*/ 2 w 77"/>
                <a:gd name="T3" fmla="*/ 124 h 125"/>
                <a:gd name="T4" fmla="*/ 77 w 77"/>
                <a:gd name="T5" fmla="*/ 0 h 125"/>
                <a:gd name="T6" fmla="*/ 59 w 77"/>
                <a:gd name="T7" fmla="*/ 0 h 125"/>
                <a:gd name="T8" fmla="*/ 1 w 77"/>
                <a:gd name="T9" fmla="*/ 12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125">
                  <a:moveTo>
                    <a:pt x="1" y="123"/>
                  </a:moveTo>
                  <a:cubicBezTo>
                    <a:pt x="0" y="124"/>
                    <a:pt x="1" y="125"/>
                    <a:pt x="2" y="124"/>
                  </a:cubicBezTo>
                  <a:cubicBezTo>
                    <a:pt x="40" y="93"/>
                    <a:pt x="67" y="48"/>
                    <a:pt x="77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0" y="44"/>
                    <a:pt x="32" y="85"/>
                    <a:pt x="1" y="123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Freeform 266">
              <a:extLst>
                <a:ext uri="{FF2B5EF4-FFF2-40B4-BE49-F238E27FC236}">
                  <a16:creationId xmlns:a16="http://schemas.microsoft.com/office/drawing/2014/main" id="{788F6179-B094-4B94-B854-DB512A47A8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0588" y="293688"/>
              <a:ext cx="192088" cy="379413"/>
            </a:xfrm>
            <a:custGeom>
              <a:avLst/>
              <a:gdLst>
                <a:gd name="T0" fmla="*/ 2 w 81"/>
                <a:gd name="T1" fmla="*/ 153 h 161"/>
                <a:gd name="T2" fmla="*/ 9 w 81"/>
                <a:gd name="T3" fmla="*/ 158 h 161"/>
                <a:gd name="T4" fmla="*/ 80 w 81"/>
                <a:gd name="T5" fmla="*/ 1 h 161"/>
                <a:gd name="T6" fmla="*/ 79 w 81"/>
                <a:gd name="T7" fmla="*/ 1 h 161"/>
                <a:gd name="T8" fmla="*/ 47 w 81"/>
                <a:gd name="T9" fmla="*/ 85 h 161"/>
                <a:gd name="T10" fmla="*/ 2 w 81"/>
                <a:gd name="T11" fmla="*/ 15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61">
                  <a:moveTo>
                    <a:pt x="2" y="153"/>
                  </a:moveTo>
                  <a:cubicBezTo>
                    <a:pt x="0" y="157"/>
                    <a:pt x="5" y="161"/>
                    <a:pt x="9" y="158"/>
                  </a:cubicBezTo>
                  <a:cubicBezTo>
                    <a:pt x="50" y="121"/>
                    <a:pt x="75" y="55"/>
                    <a:pt x="80" y="1"/>
                  </a:cubicBezTo>
                  <a:cubicBezTo>
                    <a:pt x="81" y="0"/>
                    <a:pt x="79" y="0"/>
                    <a:pt x="79" y="1"/>
                  </a:cubicBezTo>
                  <a:cubicBezTo>
                    <a:pt x="70" y="30"/>
                    <a:pt x="61" y="58"/>
                    <a:pt x="47" y="85"/>
                  </a:cubicBezTo>
                  <a:cubicBezTo>
                    <a:pt x="34" y="109"/>
                    <a:pt x="16" y="130"/>
                    <a:pt x="2" y="153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267">
              <a:extLst>
                <a:ext uri="{FF2B5EF4-FFF2-40B4-BE49-F238E27FC236}">
                  <a16:creationId xmlns:a16="http://schemas.microsoft.com/office/drawing/2014/main" id="{9231D476-34E6-41D3-852C-3441328B5B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5" y="3175"/>
              <a:ext cx="1081088" cy="862013"/>
            </a:xfrm>
            <a:custGeom>
              <a:avLst/>
              <a:gdLst>
                <a:gd name="T0" fmla="*/ 243 w 457"/>
                <a:gd name="T1" fmla="*/ 327 h 365"/>
                <a:gd name="T2" fmla="*/ 410 w 457"/>
                <a:gd name="T3" fmla="*/ 0 h 365"/>
                <a:gd name="T4" fmla="*/ 405 w 457"/>
                <a:gd name="T5" fmla="*/ 0 h 365"/>
                <a:gd name="T6" fmla="*/ 201 w 457"/>
                <a:gd name="T7" fmla="*/ 301 h 365"/>
                <a:gd name="T8" fmla="*/ 0 w 457"/>
                <a:gd name="T9" fmla="*/ 299 h 365"/>
                <a:gd name="T10" fmla="*/ 0 w 457"/>
                <a:gd name="T11" fmla="*/ 341 h 365"/>
                <a:gd name="T12" fmla="*/ 243 w 457"/>
                <a:gd name="T13" fmla="*/ 327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7" h="365">
                  <a:moveTo>
                    <a:pt x="243" y="327"/>
                  </a:moveTo>
                  <a:cubicBezTo>
                    <a:pt x="363" y="272"/>
                    <a:pt x="457" y="127"/>
                    <a:pt x="410" y="0"/>
                  </a:cubicBezTo>
                  <a:cubicBezTo>
                    <a:pt x="405" y="0"/>
                    <a:pt x="405" y="0"/>
                    <a:pt x="405" y="0"/>
                  </a:cubicBezTo>
                  <a:cubicBezTo>
                    <a:pt x="441" y="126"/>
                    <a:pt x="316" y="264"/>
                    <a:pt x="201" y="301"/>
                  </a:cubicBezTo>
                  <a:cubicBezTo>
                    <a:pt x="134" y="323"/>
                    <a:pt x="65" y="319"/>
                    <a:pt x="0" y="299"/>
                  </a:cubicBezTo>
                  <a:cubicBezTo>
                    <a:pt x="0" y="341"/>
                    <a:pt x="0" y="341"/>
                    <a:pt x="0" y="341"/>
                  </a:cubicBezTo>
                  <a:cubicBezTo>
                    <a:pt x="79" y="365"/>
                    <a:pt x="165" y="363"/>
                    <a:pt x="243" y="327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" name="Freeform 268">
              <a:extLst>
                <a:ext uri="{FF2B5EF4-FFF2-40B4-BE49-F238E27FC236}">
                  <a16:creationId xmlns:a16="http://schemas.microsoft.com/office/drawing/2014/main" id="{321B4BA6-4229-4322-9CDF-412EA1C3C8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5" y="446088"/>
              <a:ext cx="366713" cy="95250"/>
            </a:xfrm>
            <a:custGeom>
              <a:avLst/>
              <a:gdLst>
                <a:gd name="T0" fmla="*/ 154 w 155"/>
                <a:gd name="T1" fmla="*/ 26 h 40"/>
                <a:gd name="T2" fmla="*/ 153 w 155"/>
                <a:gd name="T3" fmla="*/ 24 h 40"/>
                <a:gd name="T4" fmla="*/ 0 w 155"/>
                <a:gd name="T5" fmla="*/ 0 h 40"/>
                <a:gd name="T6" fmla="*/ 0 w 155"/>
                <a:gd name="T7" fmla="*/ 27 h 40"/>
                <a:gd name="T8" fmla="*/ 154 w 155"/>
                <a:gd name="T9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40">
                  <a:moveTo>
                    <a:pt x="154" y="26"/>
                  </a:moveTo>
                  <a:cubicBezTo>
                    <a:pt x="155" y="26"/>
                    <a:pt x="154" y="24"/>
                    <a:pt x="153" y="24"/>
                  </a:cubicBezTo>
                  <a:cubicBezTo>
                    <a:pt x="96" y="34"/>
                    <a:pt x="46" y="22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50" y="40"/>
                    <a:pt x="106" y="38"/>
                    <a:pt x="154" y="26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Freeform 269">
              <a:extLst>
                <a:ext uri="{FF2B5EF4-FFF2-40B4-BE49-F238E27FC236}">
                  <a16:creationId xmlns:a16="http://schemas.microsoft.com/office/drawing/2014/main" id="{AE1171DF-E02A-4F6F-BE30-AF8B1B5BAF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5" y="854075"/>
              <a:ext cx="569913" cy="122238"/>
            </a:xfrm>
            <a:custGeom>
              <a:avLst/>
              <a:gdLst>
                <a:gd name="T0" fmla="*/ 238 w 241"/>
                <a:gd name="T1" fmla="*/ 13 h 52"/>
                <a:gd name="T2" fmla="*/ 237 w 241"/>
                <a:gd name="T3" fmla="*/ 7 h 52"/>
                <a:gd name="T4" fmla="*/ 0 w 241"/>
                <a:gd name="T5" fmla="*/ 0 h 52"/>
                <a:gd name="T6" fmla="*/ 0 w 241"/>
                <a:gd name="T7" fmla="*/ 12 h 52"/>
                <a:gd name="T8" fmla="*/ 238 w 241"/>
                <a:gd name="T9" fmla="*/ 1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52">
                  <a:moveTo>
                    <a:pt x="238" y="13"/>
                  </a:moveTo>
                  <a:cubicBezTo>
                    <a:pt x="241" y="12"/>
                    <a:pt x="240" y="6"/>
                    <a:pt x="237" y="7"/>
                  </a:cubicBezTo>
                  <a:cubicBezTo>
                    <a:pt x="152" y="14"/>
                    <a:pt x="78" y="19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76" y="44"/>
                    <a:pt x="167" y="52"/>
                    <a:pt x="238" y="13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Freeform 270">
              <a:extLst>
                <a:ext uri="{FF2B5EF4-FFF2-40B4-BE49-F238E27FC236}">
                  <a16:creationId xmlns:a16="http://schemas.microsoft.com/office/drawing/2014/main" id="{D2AC0955-BA29-4894-9CCC-683BD24B9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5" y="742950"/>
              <a:ext cx="1238250" cy="379413"/>
            </a:xfrm>
            <a:custGeom>
              <a:avLst/>
              <a:gdLst>
                <a:gd name="T0" fmla="*/ 154 w 523"/>
                <a:gd name="T1" fmla="*/ 158 h 161"/>
                <a:gd name="T2" fmla="*/ 522 w 523"/>
                <a:gd name="T3" fmla="*/ 3 h 161"/>
                <a:gd name="T4" fmla="*/ 521 w 523"/>
                <a:gd name="T5" fmla="*/ 1 h 161"/>
                <a:gd name="T6" fmla="*/ 146 w 523"/>
                <a:gd name="T7" fmla="*/ 121 h 161"/>
                <a:gd name="T8" fmla="*/ 0 w 523"/>
                <a:gd name="T9" fmla="*/ 93 h 161"/>
                <a:gd name="T10" fmla="*/ 0 w 523"/>
                <a:gd name="T11" fmla="*/ 137 h 161"/>
                <a:gd name="T12" fmla="*/ 154 w 523"/>
                <a:gd name="T13" fmla="*/ 158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3" h="161">
                  <a:moveTo>
                    <a:pt x="154" y="158"/>
                  </a:moveTo>
                  <a:cubicBezTo>
                    <a:pt x="295" y="161"/>
                    <a:pt x="426" y="104"/>
                    <a:pt x="522" y="3"/>
                  </a:cubicBezTo>
                  <a:cubicBezTo>
                    <a:pt x="523" y="2"/>
                    <a:pt x="522" y="0"/>
                    <a:pt x="521" y="1"/>
                  </a:cubicBezTo>
                  <a:cubicBezTo>
                    <a:pt x="420" y="93"/>
                    <a:pt x="280" y="128"/>
                    <a:pt x="146" y="121"/>
                  </a:cubicBezTo>
                  <a:cubicBezTo>
                    <a:pt x="94" y="119"/>
                    <a:pt x="46" y="108"/>
                    <a:pt x="0" y="93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52" y="150"/>
                    <a:pt x="104" y="157"/>
                    <a:pt x="154" y="158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Freeform 271">
              <a:extLst>
                <a:ext uri="{FF2B5EF4-FFF2-40B4-BE49-F238E27FC236}">
                  <a16:creationId xmlns:a16="http://schemas.microsoft.com/office/drawing/2014/main" id="{F17671C8-0AA2-4323-9CB2-FD35D8C8C2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4738" y="3175"/>
              <a:ext cx="725488" cy="1219200"/>
            </a:xfrm>
            <a:custGeom>
              <a:avLst/>
              <a:gdLst>
                <a:gd name="T0" fmla="*/ 5 w 306"/>
                <a:gd name="T1" fmla="*/ 505 h 516"/>
                <a:gd name="T2" fmla="*/ 9 w 306"/>
                <a:gd name="T3" fmla="*/ 514 h 516"/>
                <a:gd name="T4" fmla="*/ 306 w 306"/>
                <a:gd name="T5" fmla="*/ 0 h 516"/>
                <a:gd name="T6" fmla="*/ 301 w 306"/>
                <a:gd name="T7" fmla="*/ 0 h 516"/>
                <a:gd name="T8" fmla="*/ 5 w 306"/>
                <a:gd name="T9" fmla="*/ 505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6" h="516">
                  <a:moveTo>
                    <a:pt x="5" y="505"/>
                  </a:moveTo>
                  <a:cubicBezTo>
                    <a:pt x="0" y="508"/>
                    <a:pt x="3" y="516"/>
                    <a:pt x="9" y="514"/>
                  </a:cubicBezTo>
                  <a:cubicBezTo>
                    <a:pt x="218" y="429"/>
                    <a:pt x="287" y="209"/>
                    <a:pt x="306" y="0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271" y="202"/>
                    <a:pt x="193" y="402"/>
                    <a:pt x="5" y="505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Freeform 272">
              <a:extLst>
                <a:ext uri="{FF2B5EF4-FFF2-40B4-BE49-F238E27FC236}">
                  <a16:creationId xmlns:a16="http://schemas.microsoft.com/office/drawing/2014/main" id="{E99E90FE-4E84-4C10-82C9-64C5EB6B15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5" y="1247775"/>
              <a:ext cx="757238" cy="134938"/>
            </a:xfrm>
            <a:custGeom>
              <a:avLst/>
              <a:gdLst>
                <a:gd name="T0" fmla="*/ 319 w 320"/>
                <a:gd name="T1" fmla="*/ 17 h 57"/>
                <a:gd name="T2" fmla="*/ 318 w 320"/>
                <a:gd name="T3" fmla="*/ 16 h 57"/>
                <a:gd name="T4" fmla="*/ 62 w 320"/>
                <a:gd name="T5" fmla="*/ 18 h 57"/>
                <a:gd name="T6" fmla="*/ 0 w 320"/>
                <a:gd name="T7" fmla="*/ 0 h 57"/>
                <a:gd name="T8" fmla="*/ 0 w 320"/>
                <a:gd name="T9" fmla="*/ 29 h 57"/>
                <a:gd name="T10" fmla="*/ 319 w 320"/>
                <a:gd name="T11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0" h="57">
                  <a:moveTo>
                    <a:pt x="319" y="17"/>
                  </a:moveTo>
                  <a:cubicBezTo>
                    <a:pt x="320" y="17"/>
                    <a:pt x="319" y="15"/>
                    <a:pt x="318" y="16"/>
                  </a:cubicBezTo>
                  <a:cubicBezTo>
                    <a:pt x="235" y="35"/>
                    <a:pt x="146" y="36"/>
                    <a:pt x="62" y="18"/>
                  </a:cubicBezTo>
                  <a:cubicBezTo>
                    <a:pt x="40" y="13"/>
                    <a:pt x="20" y="7"/>
                    <a:pt x="0" y="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05" y="57"/>
                    <a:pt x="224" y="49"/>
                    <a:pt x="319" y="17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Freeform 273">
              <a:extLst>
                <a:ext uri="{FF2B5EF4-FFF2-40B4-BE49-F238E27FC236}">
                  <a16:creationId xmlns:a16="http://schemas.microsoft.com/office/drawing/2014/main" id="{2A8A0C5D-49BF-48E8-898D-AC989688D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3975" y="1198563"/>
              <a:ext cx="266700" cy="196850"/>
            </a:xfrm>
            <a:custGeom>
              <a:avLst/>
              <a:gdLst>
                <a:gd name="T0" fmla="*/ 2 w 113"/>
                <a:gd name="T1" fmla="*/ 82 h 83"/>
                <a:gd name="T2" fmla="*/ 58 w 113"/>
                <a:gd name="T3" fmla="*/ 41 h 83"/>
                <a:gd name="T4" fmla="*/ 110 w 113"/>
                <a:gd name="T5" fmla="*/ 6 h 83"/>
                <a:gd name="T6" fmla="*/ 108 w 113"/>
                <a:gd name="T7" fmla="*/ 1 h 83"/>
                <a:gd name="T8" fmla="*/ 1 w 113"/>
                <a:gd name="T9" fmla="*/ 80 h 83"/>
                <a:gd name="T10" fmla="*/ 2 w 113"/>
                <a:gd name="T11" fmla="*/ 8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" h="83">
                  <a:moveTo>
                    <a:pt x="2" y="82"/>
                  </a:moveTo>
                  <a:cubicBezTo>
                    <a:pt x="21" y="68"/>
                    <a:pt x="39" y="54"/>
                    <a:pt x="58" y="41"/>
                  </a:cubicBezTo>
                  <a:cubicBezTo>
                    <a:pt x="76" y="29"/>
                    <a:pt x="95" y="19"/>
                    <a:pt x="110" y="6"/>
                  </a:cubicBezTo>
                  <a:cubicBezTo>
                    <a:pt x="113" y="4"/>
                    <a:pt x="110" y="0"/>
                    <a:pt x="108" y="1"/>
                  </a:cubicBezTo>
                  <a:cubicBezTo>
                    <a:pt x="69" y="15"/>
                    <a:pt x="30" y="51"/>
                    <a:pt x="1" y="80"/>
                  </a:cubicBezTo>
                  <a:cubicBezTo>
                    <a:pt x="0" y="81"/>
                    <a:pt x="1" y="83"/>
                    <a:pt x="2" y="82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Freeform 274">
              <a:extLst>
                <a:ext uri="{FF2B5EF4-FFF2-40B4-BE49-F238E27FC236}">
                  <a16:creationId xmlns:a16="http://schemas.microsoft.com/office/drawing/2014/main" id="{BE8E20C8-185F-48F8-A7BC-F33DE8CB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4738" y="711200"/>
              <a:ext cx="904875" cy="947738"/>
            </a:xfrm>
            <a:custGeom>
              <a:avLst/>
              <a:gdLst>
                <a:gd name="T0" fmla="*/ 6 w 382"/>
                <a:gd name="T1" fmla="*/ 400 h 401"/>
                <a:gd name="T2" fmla="*/ 381 w 382"/>
                <a:gd name="T3" fmla="*/ 1 h 401"/>
                <a:gd name="T4" fmla="*/ 381 w 382"/>
                <a:gd name="T5" fmla="*/ 1 h 401"/>
                <a:gd name="T6" fmla="*/ 4 w 382"/>
                <a:gd name="T7" fmla="*/ 394 h 401"/>
                <a:gd name="T8" fmla="*/ 6 w 382"/>
                <a:gd name="T9" fmla="*/ 40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" h="401">
                  <a:moveTo>
                    <a:pt x="6" y="400"/>
                  </a:moveTo>
                  <a:cubicBezTo>
                    <a:pt x="203" y="369"/>
                    <a:pt x="332" y="181"/>
                    <a:pt x="381" y="1"/>
                  </a:cubicBezTo>
                  <a:cubicBezTo>
                    <a:pt x="382" y="0"/>
                    <a:pt x="381" y="0"/>
                    <a:pt x="381" y="1"/>
                  </a:cubicBezTo>
                  <a:cubicBezTo>
                    <a:pt x="319" y="183"/>
                    <a:pt x="194" y="340"/>
                    <a:pt x="4" y="394"/>
                  </a:cubicBezTo>
                  <a:cubicBezTo>
                    <a:pt x="0" y="395"/>
                    <a:pt x="2" y="401"/>
                    <a:pt x="6" y="400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Freeform 275">
              <a:extLst>
                <a:ext uri="{FF2B5EF4-FFF2-40B4-BE49-F238E27FC236}">
                  <a16:creationId xmlns:a16="http://schemas.microsoft.com/office/drawing/2014/main" id="{4AA7E84E-5D7E-4CE4-A688-151E5F87F8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2875" y="623888"/>
              <a:ext cx="2103438" cy="1298575"/>
            </a:xfrm>
            <a:custGeom>
              <a:avLst/>
              <a:gdLst>
                <a:gd name="T0" fmla="*/ 572 w 889"/>
                <a:gd name="T1" fmla="*/ 433 h 549"/>
                <a:gd name="T2" fmla="*/ 2 w 889"/>
                <a:gd name="T3" fmla="*/ 514 h 549"/>
                <a:gd name="T4" fmla="*/ 1 w 889"/>
                <a:gd name="T5" fmla="*/ 517 h 549"/>
                <a:gd name="T6" fmla="*/ 616 w 889"/>
                <a:gd name="T7" fmla="*/ 444 h 549"/>
                <a:gd name="T8" fmla="*/ 850 w 889"/>
                <a:gd name="T9" fmla="*/ 3 h 549"/>
                <a:gd name="T10" fmla="*/ 845 w 889"/>
                <a:gd name="T11" fmla="*/ 4 h 549"/>
                <a:gd name="T12" fmla="*/ 572 w 889"/>
                <a:gd name="T13" fmla="*/ 433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9" h="549">
                  <a:moveTo>
                    <a:pt x="572" y="433"/>
                  </a:moveTo>
                  <a:cubicBezTo>
                    <a:pt x="393" y="524"/>
                    <a:pt x="196" y="510"/>
                    <a:pt x="2" y="514"/>
                  </a:cubicBezTo>
                  <a:cubicBezTo>
                    <a:pt x="0" y="514"/>
                    <a:pt x="0" y="517"/>
                    <a:pt x="1" y="517"/>
                  </a:cubicBezTo>
                  <a:cubicBezTo>
                    <a:pt x="203" y="549"/>
                    <a:pt x="433" y="544"/>
                    <a:pt x="616" y="444"/>
                  </a:cubicBezTo>
                  <a:cubicBezTo>
                    <a:pt x="777" y="356"/>
                    <a:pt x="889" y="190"/>
                    <a:pt x="850" y="3"/>
                  </a:cubicBezTo>
                  <a:cubicBezTo>
                    <a:pt x="849" y="0"/>
                    <a:pt x="845" y="1"/>
                    <a:pt x="845" y="4"/>
                  </a:cubicBezTo>
                  <a:cubicBezTo>
                    <a:pt x="857" y="190"/>
                    <a:pt x="732" y="353"/>
                    <a:pt x="572" y="433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Freeform 276">
              <a:extLst>
                <a:ext uri="{FF2B5EF4-FFF2-40B4-BE49-F238E27FC236}">
                  <a16:creationId xmlns:a16="http://schemas.microsoft.com/office/drawing/2014/main" id="{D198578D-D298-4420-9C49-D3909672D7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5" y="1666875"/>
              <a:ext cx="844550" cy="120650"/>
            </a:xfrm>
            <a:custGeom>
              <a:avLst/>
              <a:gdLst>
                <a:gd name="T0" fmla="*/ 356 w 357"/>
                <a:gd name="T1" fmla="*/ 14 h 51"/>
                <a:gd name="T2" fmla="*/ 356 w 357"/>
                <a:gd name="T3" fmla="*/ 12 h 51"/>
                <a:gd name="T4" fmla="*/ 97 w 357"/>
                <a:gd name="T5" fmla="*/ 23 h 51"/>
                <a:gd name="T6" fmla="*/ 0 w 357"/>
                <a:gd name="T7" fmla="*/ 0 h 51"/>
                <a:gd name="T8" fmla="*/ 0 w 357"/>
                <a:gd name="T9" fmla="*/ 33 h 51"/>
                <a:gd name="T10" fmla="*/ 94 w 357"/>
                <a:gd name="T11" fmla="*/ 45 h 51"/>
                <a:gd name="T12" fmla="*/ 356 w 357"/>
                <a:gd name="T13" fmla="*/ 1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7" h="51">
                  <a:moveTo>
                    <a:pt x="356" y="14"/>
                  </a:moveTo>
                  <a:cubicBezTo>
                    <a:pt x="357" y="14"/>
                    <a:pt x="357" y="12"/>
                    <a:pt x="356" y="12"/>
                  </a:cubicBezTo>
                  <a:cubicBezTo>
                    <a:pt x="271" y="32"/>
                    <a:pt x="183" y="38"/>
                    <a:pt x="97" y="23"/>
                  </a:cubicBezTo>
                  <a:cubicBezTo>
                    <a:pt x="64" y="17"/>
                    <a:pt x="32" y="9"/>
                    <a:pt x="0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2" y="39"/>
                    <a:pt x="65" y="43"/>
                    <a:pt x="94" y="45"/>
                  </a:cubicBezTo>
                  <a:cubicBezTo>
                    <a:pt x="183" y="51"/>
                    <a:pt x="271" y="41"/>
                    <a:pt x="356" y="14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Freeform 277">
              <a:extLst>
                <a:ext uri="{FF2B5EF4-FFF2-40B4-BE49-F238E27FC236}">
                  <a16:creationId xmlns:a16="http://schemas.microsoft.com/office/drawing/2014/main" id="{B51C4507-63D5-4E19-BD17-1C9D8951BA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43263" y="3175"/>
              <a:ext cx="217488" cy="142875"/>
            </a:xfrm>
            <a:custGeom>
              <a:avLst/>
              <a:gdLst>
                <a:gd name="T0" fmla="*/ 87 w 92"/>
                <a:gd name="T1" fmla="*/ 60 h 61"/>
                <a:gd name="T2" fmla="*/ 89 w 92"/>
                <a:gd name="T3" fmla="*/ 56 h 61"/>
                <a:gd name="T4" fmla="*/ 8 w 92"/>
                <a:gd name="T5" fmla="*/ 0 h 61"/>
                <a:gd name="T6" fmla="*/ 0 w 92"/>
                <a:gd name="T7" fmla="*/ 0 h 61"/>
                <a:gd name="T8" fmla="*/ 87 w 92"/>
                <a:gd name="T9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61">
                  <a:moveTo>
                    <a:pt x="87" y="60"/>
                  </a:moveTo>
                  <a:cubicBezTo>
                    <a:pt x="90" y="61"/>
                    <a:pt x="92" y="57"/>
                    <a:pt x="89" y="56"/>
                  </a:cubicBezTo>
                  <a:cubicBezTo>
                    <a:pt x="58" y="40"/>
                    <a:pt x="31" y="23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" y="28"/>
                    <a:pt x="53" y="51"/>
                    <a:pt x="87" y="60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Freeform 278">
              <a:extLst>
                <a:ext uri="{FF2B5EF4-FFF2-40B4-BE49-F238E27FC236}">
                  <a16:creationId xmlns:a16="http://schemas.microsoft.com/office/drawing/2014/main" id="{A81D0734-B84E-40B9-B56B-BBFDC308A1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4000" y="342900"/>
              <a:ext cx="612775" cy="344488"/>
            </a:xfrm>
            <a:custGeom>
              <a:avLst/>
              <a:gdLst>
                <a:gd name="T0" fmla="*/ 5 w 259"/>
                <a:gd name="T1" fmla="*/ 1 h 146"/>
                <a:gd name="T2" fmla="*/ 1 w 259"/>
                <a:gd name="T3" fmla="*/ 4 h 146"/>
                <a:gd name="T4" fmla="*/ 259 w 259"/>
                <a:gd name="T5" fmla="*/ 146 h 146"/>
                <a:gd name="T6" fmla="*/ 259 w 259"/>
                <a:gd name="T7" fmla="*/ 145 h 146"/>
                <a:gd name="T8" fmla="*/ 5 w 259"/>
                <a:gd name="T9" fmla="*/ 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46">
                  <a:moveTo>
                    <a:pt x="5" y="1"/>
                  </a:moveTo>
                  <a:cubicBezTo>
                    <a:pt x="3" y="0"/>
                    <a:pt x="0" y="2"/>
                    <a:pt x="1" y="4"/>
                  </a:cubicBezTo>
                  <a:cubicBezTo>
                    <a:pt x="52" y="109"/>
                    <a:pt x="150" y="137"/>
                    <a:pt x="259" y="146"/>
                  </a:cubicBezTo>
                  <a:cubicBezTo>
                    <a:pt x="259" y="146"/>
                    <a:pt x="259" y="145"/>
                    <a:pt x="259" y="145"/>
                  </a:cubicBezTo>
                  <a:cubicBezTo>
                    <a:pt x="167" y="110"/>
                    <a:pt x="68" y="81"/>
                    <a:pt x="5" y="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Freeform 279">
              <a:extLst>
                <a:ext uri="{FF2B5EF4-FFF2-40B4-BE49-F238E27FC236}">
                  <a16:creationId xmlns:a16="http://schemas.microsoft.com/office/drawing/2014/main" id="{BF9FADAA-667F-4439-B264-9190829CEE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17750" y="874713"/>
              <a:ext cx="858838" cy="460375"/>
            </a:xfrm>
            <a:custGeom>
              <a:avLst/>
              <a:gdLst>
                <a:gd name="T0" fmla="*/ 359 w 363"/>
                <a:gd name="T1" fmla="*/ 181 h 195"/>
                <a:gd name="T2" fmla="*/ 359 w 363"/>
                <a:gd name="T3" fmla="*/ 175 h 195"/>
                <a:gd name="T4" fmla="*/ 152 w 363"/>
                <a:gd name="T5" fmla="*/ 138 h 195"/>
                <a:gd name="T6" fmla="*/ 2 w 363"/>
                <a:gd name="T7" fmla="*/ 0 h 195"/>
                <a:gd name="T8" fmla="*/ 1 w 363"/>
                <a:gd name="T9" fmla="*/ 1 h 195"/>
                <a:gd name="T10" fmla="*/ 144 w 363"/>
                <a:gd name="T11" fmla="*/ 153 h 195"/>
                <a:gd name="T12" fmla="*/ 359 w 363"/>
                <a:gd name="T13" fmla="*/ 18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3" h="195">
                  <a:moveTo>
                    <a:pt x="359" y="181"/>
                  </a:moveTo>
                  <a:cubicBezTo>
                    <a:pt x="363" y="181"/>
                    <a:pt x="363" y="175"/>
                    <a:pt x="359" y="175"/>
                  </a:cubicBezTo>
                  <a:cubicBezTo>
                    <a:pt x="290" y="176"/>
                    <a:pt x="213" y="175"/>
                    <a:pt x="152" y="138"/>
                  </a:cubicBezTo>
                  <a:cubicBezTo>
                    <a:pt x="96" y="103"/>
                    <a:pt x="39" y="56"/>
                    <a:pt x="2" y="0"/>
                  </a:cubicBezTo>
                  <a:cubicBezTo>
                    <a:pt x="1" y="0"/>
                    <a:pt x="0" y="0"/>
                    <a:pt x="1" y="1"/>
                  </a:cubicBezTo>
                  <a:cubicBezTo>
                    <a:pt x="29" y="63"/>
                    <a:pt x="87" y="117"/>
                    <a:pt x="144" y="153"/>
                  </a:cubicBezTo>
                  <a:cubicBezTo>
                    <a:pt x="210" y="195"/>
                    <a:pt x="285" y="187"/>
                    <a:pt x="359" y="18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Freeform 280">
              <a:extLst>
                <a:ext uri="{FF2B5EF4-FFF2-40B4-BE49-F238E27FC236}">
                  <a16:creationId xmlns:a16="http://schemas.microsoft.com/office/drawing/2014/main" id="{D4AFF27F-B345-407E-B4B7-4FEFE7A903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17800" y="149225"/>
              <a:ext cx="763588" cy="411163"/>
            </a:xfrm>
            <a:custGeom>
              <a:avLst/>
              <a:gdLst>
                <a:gd name="T0" fmla="*/ 311 w 323"/>
                <a:gd name="T1" fmla="*/ 156 h 174"/>
                <a:gd name="T2" fmla="*/ 3 w 323"/>
                <a:gd name="T3" fmla="*/ 2 h 174"/>
                <a:gd name="T4" fmla="*/ 1 w 323"/>
                <a:gd name="T5" fmla="*/ 3 h 174"/>
                <a:gd name="T6" fmla="*/ 311 w 323"/>
                <a:gd name="T7" fmla="*/ 174 h 174"/>
                <a:gd name="T8" fmla="*/ 311 w 323"/>
                <a:gd name="T9" fmla="*/ 15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" h="174">
                  <a:moveTo>
                    <a:pt x="311" y="156"/>
                  </a:moveTo>
                  <a:cubicBezTo>
                    <a:pt x="188" y="155"/>
                    <a:pt x="80" y="96"/>
                    <a:pt x="3" y="2"/>
                  </a:cubicBezTo>
                  <a:cubicBezTo>
                    <a:pt x="2" y="0"/>
                    <a:pt x="0" y="2"/>
                    <a:pt x="1" y="3"/>
                  </a:cubicBezTo>
                  <a:cubicBezTo>
                    <a:pt x="66" y="112"/>
                    <a:pt x="186" y="173"/>
                    <a:pt x="311" y="174"/>
                  </a:cubicBezTo>
                  <a:cubicBezTo>
                    <a:pt x="323" y="174"/>
                    <a:pt x="323" y="156"/>
                    <a:pt x="311" y="156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6" name="Freeform 281">
              <a:extLst>
                <a:ext uri="{FF2B5EF4-FFF2-40B4-BE49-F238E27FC236}">
                  <a16:creationId xmlns:a16="http://schemas.microsoft.com/office/drawing/2014/main" id="{EC73D0F7-7E49-497C-8F60-6EE9D4E6B4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14688" y="241300"/>
              <a:ext cx="196850" cy="44450"/>
            </a:xfrm>
            <a:custGeom>
              <a:avLst/>
              <a:gdLst>
                <a:gd name="T0" fmla="*/ 39 w 83"/>
                <a:gd name="T1" fmla="*/ 9 h 19"/>
                <a:gd name="T2" fmla="*/ 6 w 83"/>
                <a:gd name="T3" fmla="*/ 0 h 19"/>
                <a:gd name="T4" fmla="*/ 4 w 83"/>
                <a:gd name="T5" fmla="*/ 8 h 19"/>
                <a:gd name="T6" fmla="*/ 82 w 83"/>
                <a:gd name="T7" fmla="*/ 12 h 19"/>
                <a:gd name="T8" fmla="*/ 82 w 83"/>
                <a:gd name="T9" fmla="*/ 11 h 19"/>
                <a:gd name="T10" fmla="*/ 39 w 83"/>
                <a:gd name="T11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9">
                  <a:moveTo>
                    <a:pt x="39" y="9"/>
                  </a:moveTo>
                  <a:cubicBezTo>
                    <a:pt x="28" y="6"/>
                    <a:pt x="17" y="2"/>
                    <a:pt x="6" y="0"/>
                  </a:cubicBezTo>
                  <a:cubicBezTo>
                    <a:pt x="2" y="0"/>
                    <a:pt x="0" y="6"/>
                    <a:pt x="4" y="8"/>
                  </a:cubicBezTo>
                  <a:cubicBezTo>
                    <a:pt x="26" y="19"/>
                    <a:pt x="58" y="16"/>
                    <a:pt x="82" y="12"/>
                  </a:cubicBezTo>
                  <a:cubicBezTo>
                    <a:pt x="83" y="12"/>
                    <a:pt x="83" y="10"/>
                    <a:pt x="82" y="11"/>
                  </a:cubicBezTo>
                  <a:cubicBezTo>
                    <a:pt x="67" y="12"/>
                    <a:pt x="53" y="11"/>
                    <a:pt x="39" y="9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Freeform 282">
              <a:extLst>
                <a:ext uri="{FF2B5EF4-FFF2-40B4-BE49-F238E27FC236}">
                  <a16:creationId xmlns:a16="http://schemas.microsoft.com/office/drawing/2014/main" id="{036592AC-62A5-4DFA-BC49-9B497547C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36850" y="3175"/>
              <a:ext cx="712788" cy="365125"/>
            </a:xfrm>
            <a:custGeom>
              <a:avLst/>
              <a:gdLst>
                <a:gd name="T0" fmla="*/ 70 w 301"/>
                <a:gd name="T1" fmla="*/ 78 h 155"/>
                <a:gd name="T2" fmla="*/ 299 w 301"/>
                <a:gd name="T3" fmla="*/ 147 h 155"/>
                <a:gd name="T4" fmla="*/ 299 w 301"/>
                <a:gd name="T5" fmla="*/ 145 h 155"/>
                <a:gd name="T6" fmla="*/ 39 w 301"/>
                <a:gd name="T7" fmla="*/ 0 h 155"/>
                <a:gd name="T8" fmla="*/ 0 w 301"/>
                <a:gd name="T9" fmla="*/ 0 h 155"/>
                <a:gd name="T10" fmla="*/ 70 w 301"/>
                <a:gd name="T11" fmla="*/ 7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1" h="155">
                  <a:moveTo>
                    <a:pt x="70" y="78"/>
                  </a:moveTo>
                  <a:cubicBezTo>
                    <a:pt x="134" y="129"/>
                    <a:pt x="217" y="155"/>
                    <a:pt x="299" y="147"/>
                  </a:cubicBezTo>
                  <a:cubicBezTo>
                    <a:pt x="300" y="147"/>
                    <a:pt x="301" y="145"/>
                    <a:pt x="299" y="145"/>
                  </a:cubicBezTo>
                  <a:cubicBezTo>
                    <a:pt x="202" y="122"/>
                    <a:pt x="108" y="73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" y="29"/>
                    <a:pt x="41" y="55"/>
                    <a:pt x="70" y="78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Freeform 283">
              <a:extLst>
                <a:ext uri="{FF2B5EF4-FFF2-40B4-BE49-F238E27FC236}">
                  <a16:creationId xmlns:a16="http://schemas.microsoft.com/office/drawing/2014/main" id="{F428A7A0-4231-4142-A856-7039F19802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52700" y="3175"/>
              <a:ext cx="146050" cy="277813"/>
            </a:xfrm>
            <a:custGeom>
              <a:avLst/>
              <a:gdLst>
                <a:gd name="T0" fmla="*/ 60 w 62"/>
                <a:gd name="T1" fmla="*/ 118 h 118"/>
                <a:gd name="T2" fmla="*/ 61 w 62"/>
                <a:gd name="T3" fmla="*/ 117 h 118"/>
                <a:gd name="T4" fmla="*/ 24 w 62"/>
                <a:gd name="T5" fmla="*/ 37 h 118"/>
                <a:gd name="T6" fmla="*/ 14 w 62"/>
                <a:gd name="T7" fmla="*/ 0 h 118"/>
                <a:gd name="T8" fmla="*/ 0 w 62"/>
                <a:gd name="T9" fmla="*/ 0 h 118"/>
                <a:gd name="T10" fmla="*/ 60 w 62"/>
                <a:gd name="T11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118">
                  <a:moveTo>
                    <a:pt x="60" y="118"/>
                  </a:moveTo>
                  <a:cubicBezTo>
                    <a:pt x="61" y="118"/>
                    <a:pt x="62" y="118"/>
                    <a:pt x="61" y="117"/>
                  </a:cubicBezTo>
                  <a:cubicBezTo>
                    <a:pt x="46" y="92"/>
                    <a:pt x="34" y="65"/>
                    <a:pt x="24" y="37"/>
                  </a:cubicBezTo>
                  <a:cubicBezTo>
                    <a:pt x="20" y="25"/>
                    <a:pt x="17" y="12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3"/>
                    <a:pt x="34" y="86"/>
                    <a:pt x="60" y="118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Freeform 284">
              <a:extLst>
                <a:ext uri="{FF2B5EF4-FFF2-40B4-BE49-F238E27FC236}">
                  <a16:creationId xmlns:a16="http://schemas.microsoft.com/office/drawing/2014/main" id="{97D7DA74-1539-4374-B2B5-C2A8A93FD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63863" y="3175"/>
              <a:ext cx="203200" cy="207963"/>
            </a:xfrm>
            <a:custGeom>
              <a:avLst/>
              <a:gdLst>
                <a:gd name="T0" fmla="*/ 80 w 86"/>
                <a:gd name="T1" fmla="*/ 87 h 88"/>
                <a:gd name="T2" fmla="*/ 84 w 86"/>
                <a:gd name="T3" fmla="*/ 84 h 88"/>
                <a:gd name="T4" fmla="*/ 12 w 86"/>
                <a:gd name="T5" fmla="*/ 0 h 88"/>
                <a:gd name="T6" fmla="*/ 0 w 86"/>
                <a:gd name="T7" fmla="*/ 0 h 88"/>
                <a:gd name="T8" fmla="*/ 80 w 86"/>
                <a:gd name="T9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88">
                  <a:moveTo>
                    <a:pt x="80" y="87"/>
                  </a:moveTo>
                  <a:cubicBezTo>
                    <a:pt x="82" y="88"/>
                    <a:pt x="86" y="86"/>
                    <a:pt x="84" y="84"/>
                  </a:cubicBezTo>
                  <a:cubicBezTo>
                    <a:pt x="61" y="55"/>
                    <a:pt x="36" y="28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" y="32"/>
                    <a:pt x="49" y="62"/>
                    <a:pt x="80" y="87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Freeform 285">
              <a:extLst>
                <a:ext uri="{FF2B5EF4-FFF2-40B4-BE49-F238E27FC236}">
                  <a16:creationId xmlns:a16="http://schemas.microsoft.com/office/drawing/2014/main" id="{9BC188B2-0493-4C31-8898-02CAD35C14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54238" y="3175"/>
              <a:ext cx="1377950" cy="1350963"/>
            </a:xfrm>
            <a:custGeom>
              <a:avLst/>
              <a:gdLst>
                <a:gd name="T0" fmla="*/ 21 w 582"/>
                <a:gd name="T1" fmla="*/ 0 h 572"/>
                <a:gd name="T2" fmla="*/ 138 w 582"/>
                <a:gd name="T3" fmla="*/ 392 h 572"/>
                <a:gd name="T4" fmla="*/ 579 w 582"/>
                <a:gd name="T5" fmla="*/ 468 h 572"/>
                <a:gd name="T6" fmla="*/ 576 w 582"/>
                <a:gd name="T7" fmla="*/ 462 h 572"/>
                <a:gd name="T8" fmla="*/ 153 w 582"/>
                <a:gd name="T9" fmla="*/ 355 h 572"/>
                <a:gd name="T10" fmla="*/ 31 w 582"/>
                <a:gd name="T11" fmla="*/ 0 h 572"/>
                <a:gd name="T12" fmla="*/ 21 w 582"/>
                <a:gd name="T13" fmla="*/ 0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2" h="572">
                  <a:moveTo>
                    <a:pt x="21" y="0"/>
                  </a:moveTo>
                  <a:cubicBezTo>
                    <a:pt x="0" y="140"/>
                    <a:pt x="43" y="286"/>
                    <a:pt x="138" y="392"/>
                  </a:cubicBezTo>
                  <a:cubicBezTo>
                    <a:pt x="249" y="515"/>
                    <a:pt x="436" y="572"/>
                    <a:pt x="579" y="468"/>
                  </a:cubicBezTo>
                  <a:cubicBezTo>
                    <a:pt x="582" y="465"/>
                    <a:pt x="580" y="460"/>
                    <a:pt x="576" y="462"/>
                  </a:cubicBezTo>
                  <a:cubicBezTo>
                    <a:pt x="427" y="534"/>
                    <a:pt x="258" y="475"/>
                    <a:pt x="153" y="355"/>
                  </a:cubicBezTo>
                  <a:cubicBezTo>
                    <a:pt x="67" y="257"/>
                    <a:pt x="26" y="128"/>
                    <a:pt x="31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Freeform 286">
              <a:extLst>
                <a:ext uri="{FF2B5EF4-FFF2-40B4-BE49-F238E27FC236}">
                  <a16:creationId xmlns:a16="http://schemas.microsoft.com/office/drawing/2014/main" id="{6F4F5AE8-71AA-448B-9082-D10E972187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27375" y="855663"/>
              <a:ext cx="290513" cy="73025"/>
            </a:xfrm>
            <a:custGeom>
              <a:avLst/>
              <a:gdLst>
                <a:gd name="T0" fmla="*/ 56 w 123"/>
                <a:gd name="T1" fmla="*/ 10 h 31"/>
                <a:gd name="T2" fmla="*/ 6 w 123"/>
                <a:gd name="T3" fmla="*/ 0 h 31"/>
                <a:gd name="T4" fmla="*/ 3 w 123"/>
                <a:gd name="T5" fmla="*/ 7 h 31"/>
                <a:gd name="T6" fmla="*/ 122 w 123"/>
                <a:gd name="T7" fmla="*/ 12 h 31"/>
                <a:gd name="T8" fmla="*/ 122 w 123"/>
                <a:gd name="T9" fmla="*/ 11 h 31"/>
                <a:gd name="T10" fmla="*/ 56 w 123"/>
                <a:gd name="T11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31">
                  <a:moveTo>
                    <a:pt x="56" y="10"/>
                  </a:moveTo>
                  <a:cubicBezTo>
                    <a:pt x="39" y="8"/>
                    <a:pt x="23" y="0"/>
                    <a:pt x="6" y="0"/>
                  </a:cubicBezTo>
                  <a:cubicBezTo>
                    <a:pt x="3" y="0"/>
                    <a:pt x="0" y="4"/>
                    <a:pt x="3" y="7"/>
                  </a:cubicBezTo>
                  <a:cubicBezTo>
                    <a:pt x="33" y="31"/>
                    <a:pt x="88" y="22"/>
                    <a:pt x="122" y="12"/>
                  </a:cubicBezTo>
                  <a:cubicBezTo>
                    <a:pt x="123" y="12"/>
                    <a:pt x="123" y="11"/>
                    <a:pt x="122" y="11"/>
                  </a:cubicBezTo>
                  <a:cubicBezTo>
                    <a:pt x="100" y="13"/>
                    <a:pt x="78" y="14"/>
                    <a:pt x="56" y="10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2" name="Freeform 287">
              <a:extLst>
                <a:ext uri="{FF2B5EF4-FFF2-40B4-BE49-F238E27FC236}">
                  <a16:creationId xmlns:a16="http://schemas.microsoft.com/office/drawing/2014/main" id="{8F8EC679-4C60-46BA-A03E-C735766D15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1525" y="3175"/>
              <a:ext cx="68263" cy="500063"/>
            </a:xfrm>
            <a:custGeom>
              <a:avLst/>
              <a:gdLst>
                <a:gd name="T0" fmla="*/ 13 w 29"/>
                <a:gd name="T1" fmla="*/ 61 h 212"/>
                <a:gd name="T2" fmla="*/ 1 w 29"/>
                <a:gd name="T3" fmla="*/ 210 h 212"/>
                <a:gd name="T4" fmla="*/ 2 w 29"/>
                <a:gd name="T5" fmla="*/ 211 h 212"/>
                <a:gd name="T6" fmla="*/ 28 w 29"/>
                <a:gd name="T7" fmla="*/ 0 h 212"/>
                <a:gd name="T8" fmla="*/ 11 w 29"/>
                <a:gd name="T9" fmla="*/ 0 h 212"/>
                <a:gd name="T10" fmla="*/ 13 w 29"/>
                <a:gd name="T11" fmla="*/ 61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212">
                  <a:moveTo>
                    <a:pt x="13" y="61"/>
                  </a:moveTo>
                  <a:cubicBezTo>
                    <a:pt x="12" y="111"/>
                    <a:pt x="6" y="161"/>
                    <a:pt x="1" y="210"/>
                  </a:cubicBezTo>
                  <a:cubicBezTo>
                    <a:pt x="0" y="211"/>
                    <a:pt x="2" y="212"/>
                    <a:pt x="2" y="211"/>
                  </a:cubicBezTo>
                  <a:cubicBezTo>
                    <a:pt x="18" y="146"/>
                    <a:pt x="29" y="71"/>
                    <a:pt x="28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20"/>
                    <a:pt x="13" y="41"/>
                    <a:pt x="13" y="6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Freeform 288">
              <a:extLst>
                <a:ext uri="{FF2B5EF4-FFF2-40B4-BE49-F238E27FC236}">
                  <a16:creationId xmlns:a16="http://schemas.microsoft.com/office/drawing/2014/main" id="{8B7FE34B-9F30-460D-91AB-49A784155D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08325" y="3175"/>
              <a:ext cx="236538" cy="165100"/>
            </a:xfrm>
            <a:custGeom>
              <a:avLst/>
              <a:gdLst>
                <a:gd name="T0" fmla="*/ 97 w 100"/>
                <a:gd name="T1" fmla="*/ 70 h 70"/>
                <a:gd name="T2" fmla="*/ 98 w 100"/>
                <a:gd name="T3" fmla="*/ 67 h 70"/>
                <a:gd name="T4" fmla="*/ 19 w 100"/>
                <a:gd name="T5" fmla="*/ 0 h 70"/>
                <a:gd name="T6" fmla="*/ 0 w 100"/>
                <a:gd name="T7" fmla="*/ 0 h 70"/>
                <a:gd name="T8" fmla="*/ 97 w 100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70">
                  <a:moveTo>
                    <a:pt x="97" y="70"/>
                  </a:moveTo>
                  <a:cubicBezTo>
                    <a:pt x="98" y="70"/>
                    <a:pt x="100" y="68"/>
                    <a:pt x="98" y="67"/>
                  </a:cubicBezTo>
                  <a:cubicBezTo>
                    <a:pt x="66" y="49"/>
                    <a:pt x="41" y="26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29"/>
                    <a:pt x="62" y="52"/>
                    <a:pt x="97" y="70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4" name="Freeform 289">
              <a:extLst>
                <a:ext uri="{FF2B5EF4-FFF2-40B4-BE49-F238E27FC236}">
                  <a16:creationId xmlns:a16="http://schemas.microsoft.com/office/drawing/2014/main" id="{71C2043A-F7CB-4F65-BC5D-BE7ED3B338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7638" y="768350"/>
              <a:ext cx="827088" cy="409575"/>
            </a:xfrm>
            <a:custGeom>
              <a:avLst/>
              <a:gdLst>
                <a:gd name="T0" fmla="*/ 1 w 350"/>
                <a:gd name="T1" fmla="*/ 1 h 173"/>
                <a:gd name="T2" fmla="*/ 0 w 350"/>
                <a:gd name="T3" fmla="*/ 1 h 173"/>
                <a:gd name="T4" fmla="*/ 348 w 350"/>
                <a:gd name="T5" fmla="*/ 82 h 173"/>
                <a:gd name="T6" fmla="*/ 345 w 350"/>
                <a:gd name="T7" fmla="*/ 76 h 173"/>
                <a:gd name="T8" fmla="*/ 176 w 350"/>
                <a:gd name="T9" fmla="*/ 73 h 173"/>
                <a:gd name="T10" fmla="*/ 1 w 350"/>
                <a:gd name="T11" fmla="*/ 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0" h="173">
                  <a:moveTo>
                    <a:pt x="1" y="1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80" y="61"/>
                    <a:pt x="254" y="173"/>
                    <a:pt x="348" y="82"/>
                  </a:cubicBezTo>
                  <a:cubicBezTo>
                    <a:pt x="350" y="80"/>
                    <a:pt x="348" y="76"/>
                    <a:pt x="345" y="76"/>
                  </a:cubicBezTo>
                  <a:cubicBezTo>
                    <a:pt x="288" y="73"/>
                    <a:pt x="234" y="84"/>
                    <a:pt x="176" y="73"/>
                  </a:cubicBezTo>
                  <a:cubicBezTo>
                    <a:pt x="113" y="59"/>
                    <a:pt x="58" y="29"/>
                    <a:pt x="1" y="1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5" name="Freeform 290">
              <a:extLst>
                <a:ext uri="{FF2B5EF4-FFF2-40B4-BE49-F238E27FC236}">
                  <a16:creationId xmlns:a16="http://schemas.microsoft.com/office/drawing/2014/main" id="{F2B72E4A-6D10-458B-80A1-B85D96A22D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25" y="1487488"/>
              <a:ext cx="1131888" cy="212725"/>
            </a:xfrm>
            <a:custGeom>
              <a:avLst/>
              <a:gdLst>
                <a:gd name="T0" fmla="*/ 475 w 478"/>
                <a:gd name="T1" fmla="*/ 0 h 90"/>
                <a:gd name="T2" fmla="*/ 187 w 478"/>
                <a:gd name="T3" fmla="*/ 56 h 90"/>
                <a:gd name="T4" fmla="*/ 0 w 478"/>
                <a:gd name="T5" fmla="*/ 36 h 90"/>
                <a:gd name="T6" fmla="*/ 0 w 478"/>
                <a:gd name="T7" fmla="*/ 55 h 90"/>
                <a:gd name="T8" fmla="*/ 476 w 478"/>
                <a:gd name="T9" fmla="*/ 4 h 90"/>
                <a:gd name="T10" fmla="*/ 475 w 478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8" h="90">
                  <a:moveTo>
                    <a:pt x="475" y="0"/>
                  </a:moveTo>
                  <a:cubicBezTo>
                    <a:pt x="380" y="32"/>
                    <a:pt x="288" y="54"/>
                    <a:pt x="187" y="56"/>
                  </a:cubicBezTo>
                  <a:cubicBezTo>
                    <a:pt x="123" y="57"/>
                    <a:pt x="61" y="49"/>
                    <a:pt x="0" y="3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157" y="90"/>
                    <a:pt x="336" y="72"/>
                    <a:pt x="476" y="4"/>
                  </a:cubicBezTo>
                  <a:cubicBezTo>
                    <a:pt x="478" y="3"/>
                    <a:pt x="477" y="0"/>
                    <a:pt x="475" y="0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6" name="Freeform 291">
              <a:extLst>
                <a:ext uri="{FF2B5EF4-FFF2-40B4-BE49-F238E27FC236}">
                  <a16:creationId xmlns:a16="http://schemas.microsoft.com/office/drawing/2014/main" id="{4B951BC9-6E7B-4FED-ACCE-3A1D841F95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9850" y="588963"/>
              <a:ext cx="120650" cy="141288"/>
            </a:xfrm>
            <a:custGeom>
              <a:avLst/>
              <a:gdLst>
                <a:gd name="T0" fmla="*/ 30 w 51"/>
                <a:gd name="T1" fmla="*/ 36 h 60"/>
                <a:gd name="T2" fmla="*/ 50 w 51"/>
                <a:gd name="T3" fmla="*/ 2 h 60"/>
                <a:gd name="T4" fmla="*/ 49 w 51"/>
                <a:gd name="T5" fmla="*/ 1 h 60"/>
                <a:gd name="T6" fmla="*/ 26 w 51"/>
                <a:gd name="T7" fmla="*/ 32 h 60"/>
                <a:gd name="T8" fmla="*/ 2 w 51"/>
                <a:gd name="T9" fmla="*/ 55 h 60"/>
                <a:gd name="T10" fmla="*/ 5 w 51"/>
                <a:gd name="T11" fmla="*/ 59 h 60"/>
                <a:gd name="T12" fmla="*/ 30 w 51"/>
                <a:gd name="T13" fmla="*/ 3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60">
                  <a:moveTo>
                    <a:pt x="30" y="36"/>
                  </a:moveTo>
                  <a:cubicBezTo>
                    <a:pt x="38" y="25"/>
                    <a:pt x="45" y="14"/>
                    <a:pt x="50" y="2"/>
                  </a:cubicBezTo>
                  <a:cubicBezTo>
                    <a:pt x="51" y="1"/>
                    <a:pt x="50" y="0"/>
                    <a:pt x="49" y="1"/>
                  </a:cubicBezTo>
                  <a:cubicBezTo>
                    <a:pt x="43" y="12"/>
                    <a:pt x="35" y="23"/>
                    <a:pt x="26" y="32"/>
                  </a:cubicBezTo>
                  <a:cubicBezTo>
                    <a:pt x="18" y="39"/>
                    <a:pt x="7" y="45"/>
                    <a:pt x="2" y="55"/>
                  </a:cubicBezTo>
                  <a:cubicBezTo>
                    <a:pt x="0" y="57"/>
                    <a:pt x="2" y="60"/>
                    <a:pt x="5" y="59"/>
                  </a:cubicBezTo>
                  <a:cubicBezTo>
                    <a:pt x="16" y="56"/>
                    <a:pt x="24" y="45"/>
                    <a:pt x="30" y="36"/>
                  </a:cubicBezTo>
                  <a:close/>
                </a:path>
              </a:pathLst>
            </a:custGeom>
            <a:solidFill>
              <a:srgbClr val="6B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" name="Freeform 292">
              <a:extLst>
                <a:ext uri="{FF2B5EF4-FFF2-40B4-BE49-F238E27FC236}">
                  <a16:creationId xmlns:a16="http://schemas.microsoft.com/office/drawing/2014/main" id="{70266DD5-84D9-4758-94EF-9AB7331776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71863" y="5421313"/>
              <a:ext cx="114300" cy="247650"/>
            </a:xfrm>
            <a:custGeom>
              <a:avLst/>
              <a:gdLst>
                <a:gd name="T0" fmla="*/ 3 w 48"/>
                <a:gd name="T1" fmla="*/ 104 h 105"/>
                <a:gd name="T2" fmla="*/ 46 w 48"/>
                <a:gd name="T3" fmla="*/ 11 h 105"/>
                <a:gd name="T4" fmla="*/ 37 w 48"/>
                <a:gd name="T5" fmla="*/ 7 h 105"/>
                <a:gd name="T6" fmla="*/ 1 w 48"/>
                <a:gd name="T7" fmla="*/ 103 h 105"/>
                <a:gd name="T8" fmla="*/ 3 w 48"/>
                <a:gd name="T9" fmla="*/ 10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05">
                  <a:moveTo>
                    <a:pt x="3" y="104"/>
                  </a:moveTo>
                  <a:cubicBezTo>
                    <a:pt x="18" y="74"/>
                    <a:pt x="32" y="42"/>
                    <a:pt x="46" y="11"/>
                  </a:cubicBezTo>
                  <a:cubicBezTo>
                    <a:pt x="48" y="4"/>
                    <a:pt x="39" y="0"/>
                    <a:pt x="37" y="7"/>
                  </a:cubicBezTo>
                  <a:cubicBezTo>
                    <a:pt x="24" y="39"/>
                    <a:pt x="12" y="71"/>
                    <a:pt x="1" y="103"/>
                  </a:cubicBezTo>
                  <a:cubicBezTo>
                    <a:pt x="0" y="104"/>
                    <a:pt x="2" y="105"/>
                    <a:pt x="3" y="104"/>
                  </a:cubicBezTo>
                  <a:close/>
                </a:path>
              </a:pathLst>
            </a:custGeom>
            <a:solidFill>
              <a:srgbClr val="B9EE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" name="Freeform 293">
              <a:extLst>
                <a:ext uri="{FF2B5EF4-FFF2-40B4-BE49-F238E27FC236}">
                  <a16:creationId xmlns:a16="http://schemas.microsoft.com/office/drawing/2014/main" id="{DC47B0FD-9C65-4A05-85D8-AB8551A0C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48025" y="271463"/>
              <a:ext cx="285750" cy="307975"/>
            </a:xfrm>
            <a:custGeom>
              <a:avLst/>
              <a:gdLst>
                <a:gd name="T0" fmla="*/ 56 w 121"/>
                <a:gd name="T1" fmla="*/ 83 h 130"/>
                <a:gd name="T2" fmla="*/ 106 w 121"/>
                <a:gd name="T3" fmla="*/ 126 h 130"/>
                <a:gd name="T4" fmla="*/ 113 w 121"/>
                <a:gd name="T5" fmla="*/ 119 h 130"/>
                <a:gd name="T6" fmla="*/ 70 w 121"/>
                <a:gd name="T7" fmla="*/ 61 h 130"/>
                <a:gd name="T8" fmla="*/ 2 w 121"/>
                <a:gd name="T9" fmla="*/ 0 h 130"/>
                <a:gd name="T10" fmla="*/ 1 w 121"/>
                <a:gd name="T11" fmla="*/ 2 h 130"/>
                <a:gd name="T12" fmla="*/ 56 w 121"/>
                <a:gd name="T13" fmla="*/ 83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30">
                  <a:moveTo>
                    <a:pt x="56" y="83"/>
                  </a:moveTo>
                  <a:cubicBezTo>
                    <a:pt x="68" y="101"/>
                    <a:pt x="82" y="130"/>
                    <a:pt x="106" y="126"/>
                  </a:cubicBezTo>
                  <a:cubicBezTo>
                    <a:pt x="110" y="125"/>
                    <a:pt x="112" y="122"/>
                    <a:pt x="113" y="119"/>
                  </a:cubicBezTo>
                  <a:cubicBezTo>
                    <a:pt x="121" y="94"/>
                    <a:pt x="87" y="75"/>
                    <a:pt x="70" y="61"/>
                  </a:cubicBezTo>
                  <a:cubicBezTo>
                    <a:pt x="47" y="41"/>
                    <a:pt x="26" y="19"/>
                    <a:pt x="2" y="0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17" y="30"/>
                    <a:pt x="38" y="56"/>
                    <a:pt x="56" y="8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" name="Freeform 294">
              <a:extLst>
                <a:ext uri="{FF2B5EF4-FFF2-40B4-BE49-F238E27FC236}">
                  <a16:creationId xmlns:a16="http://schemas.microsoft.com/office/drawing/2014/main" id="{237D0D4D-D762-4D59-AD4D-1ADFFB1CED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9063" y="285750"/>
              <a:ext cx="133350" cy="174625"/>
            </a:xfrm>
            <a:custGeom>
              <a:avLst/>
              <a:gdLst>
                <a:gd name="T0" fmla="*/ 1 w 56"/>
                <a:gd name="T1" fmla="*/ 4 h 74"/>
                <a:gd name="T2" fmla="*/ 37 w 56"/>
                <a:gd name="T3" fmla="*/ 65 h 74"/>
                <a:gd name="T4" fmla="*/ 48 w 56"/>
                <a:gd name="T5" fmla="*/ 57 h 74"/>
                <a:gd name="T6" fmla="*/ 4 w 56"/>
                <a:gd name="T7" fmla="*/ 2 h 74"/>
                <a:gd name="T8" fmla="*/ 1 w 56"/>
                <a:gd name="T9" fmla="*/ 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74">
                  <a:moveTo>
                    <a:pt x="1" y="4"/>
                  </a:moveTo>
                  <a:cubicBezTo>
                    <a:pt x="14" y="24"/>
                    <a:pt x="28" y="44"/>
                    <a:pt x="37" y="65"/>
                  </a:cubicBezTo>
                  <a:cubicBezTo>
                    <a:pt x="41" y="74"/>
                    <a:pt x="56" y="64"/>
                    <a:pt x="48" y="57"/>
                  </a:cubicBezTo>
                  <a:cubicBezTo>
                    <a:pt x="32" y="40"/>
                    <a:pt x="18" y="20"/>
                    <a:pt x="4" y="2"/>
                  </a:cubicBezTo>
                  <a:cubicBezTo>
                    <a:pt x="3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" name="Freeform 295">
              <a:extLst>
                <a:ext uri="{FF2B5EF4-FFF2-40B4-BE49-F238E27FC236}">
                  <a16:creationId xmlns:a16="http://schemas.microsoft.com/office/drawing/2014/main" id="{39CAEDCE-B66E-41F9-AAA9-ED0F983A91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43413" y="241300"/>
              <a:ext cx="69850" cy="139700"/>
            </a:xfrm>
            <a:custGeom>
              <a:avLst/>
              <a:gdLst>
                <a:gd name="T0" fmla="*/ 0 w 30"/>
                <a:gd name="T1" fmla="*/ 3 h 59"/>
                <a:gd name="T2" fmla="*/ 19 w 30"/>
                <a:gd name="T3" fmla="*/ 55 h 59"/>
                <a:gd name="T4" fmla="*/ 25 w 30"/>
                <a:gd name="T5" fmla="*/ 49 h 59"/>
                <a:gd name="T6" fmla="*/ 4 w 30"/>
                <a:gd name="T7" fmla="*/ 3 h 59"/>
                <a:gd name="T8" fmla="*/ 0 w 30"/>
                <a:gd name="T9" fmla="*/ 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9">
                  <a:moveTo>
                    <a:pt x="0" y="3"/>
                  </a:moveTo>
                  <a:cubicBezTo>
                    <a:pt x="0" y="22"/>
                    <a:pt x="7" y="40"/>
                    <a:pt x="19" y="55"/>
                  </a:cubicBezTo>
                  <a:cubicBezTo>
                    <a:pt x="23" y="59"/>
                    <a:pt x="30" y="53"/>
                    <a:pt x="25" y="49"/>
                  </a:cubicBezTo>
                  <a:cubicBezTo>
                    <a:pt x="13" y="37"/>
                    <a:pt x="5" y="20"/>
                    <a:pt x="4" y="3"/>
                  </a:cubicBezTo>
                  <a:cubicBezTo>
                    <a:pt x="4" y="0"/>
                    <a:pt x="0" y="0"/>
                    <a:pt x="0" y="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" name="Freeform 296">
              <a:extLst>
                <a:ext uri="{FF2B5EF4-FFF2-40B4-BE49-F238E27FC236}">
                  <a16:creationId xmlns:a16="http://schemas.microsoft.com/office/drawing/2014/main" id="{11EC5531-AB0F-4A86-893A-BB0105E97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07338" y="104775"/>
              <a:ext cx="169863" cy="193675"/>
            </a:xfrm>
            <a:custGeom>
              <a:avLst/>
              <a:gdLst>
                <a:gd name="T0" fmla="*/ 70 w 72"/>
                <a:gd name="T1" fmla="*/ 2 h 82"/>
                <a:gd name="T2" fmla="*/ 69 w 72"/>
                <a:gd name="T3" fmla="*/ 0 h 82"/>
                <a:gd name="T4" fmla="*/ 5 w 72"/>
                <a:gd name="T5" fmla="*/ 67 h 82"/>
                <a:gd name="T6" fmla="*/ 17 w 72"/>
                <a:gd name="T7" fmla="*/ 72 h 82"/>
                <a:gd name="T8" fmla="*/ 70 w 72"/>
                <a:gd name="T9" fmla="*/ 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82">
                  <a:moveTo>
                    <a:pt x="70" y="2"/>
                  </a:moveTo>
                  <a:cubicBezTo>
                    <a:pt x="72" y="2"/>
                    <a:pt x="71" y="0"/>
                    <a:pt x="69" y="0"/>
                  </a:cubicBezTo>
                  <a:cubicBezTo>
                    <a:pt x="43" y="17"/>
                    <a:pt x="20" y="39"/>
                    <a:pt x="5" y="67"/>
                  </a:cubicBezTo>
                  <a:cubicBezTo>
                    <a:pt x="0" y="76"/>
                    <a:pt x="14" y="82"/>
                    <a:pt x="17" y="72"/>
                  </a:cubicBezTo>
                  <a:cubicBezTo>
                    <a:pt x="28" y="44"/>
                    <a:pt x="46" y="19"/>
                    <a:pt x="70" y="2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Freeform 297">
              <a:extLst>
                <a:ext uri="{FF2B5EF4-FFF2-40B4-BE49-F238E27FC236}">
                  <a16:creationId xmlns:a16="http://schemas.microsoft.com/office/drawing/2014/main" id="{A7AA7CAC-7007-4881-840E-B776153211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18525" y="222250"/>
              <a:ext cx="284163" cy="265113"/>
            </a:xfrm>
            <a:custGeom>
              <a:avLst/>
              <a:gdLst>
                <a:gd name="T0" fmla="*/ 119 w 120"/>
                <a:gd name="T1" fmla="*/ 1 h 112"/>
                <a:gd name="T2" fmla="*/ 25 w 120"/>
                <a:gd name="T3" fmla="*/ 59 h 112"/>
                <a:gd name="T4" fmla="*/ 51 w 120"/>
                <a:gd name="T5" fmla="*/ 85 h 112"/>
                <a:gd name="T6" fmla="*/ 120 w 120"/>
                <a:gd name="T7" fmla="*/ 2 h 112"/>
                <a:gd name="T8" fmla="*/ 119 w 120"/>
                <a:gd name="T9" fmla="*/ 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12">
                  <a:moveTo>
                    <a:pt x="119" y="1"/>
                  </a:moveTo>
                  <a:cubicBezTo>
                    <a:pt x="89" y="22"/>
                    <a:pt x="58" y="43"/>
                    <a:pt x="25" y="59"/>
                  </a:cubicBezTo>
                  <a:cubicBezTo>
                    <a:pt x="0" y="71"/>
                    <a:pt x="32" y="112"/>
                    <a:pt x="51" y="85"/>
                  </a:cubicBezTo>
                  <a:cubicBezTo>
                    <a:pt x="70" y="55"/>
                    <a:pt x="95" y="28"/>
                    <a:pt x="120" y="2"/>
                  </a:cubicBezTo>
                  <a:cubicBezTo>
                    <a:pt x="120" y="2"/>
                    <a:pt x="120" y="0"/>
                    <a:pt x="119" y="1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" name="Freeform 298">
              <a:extLst>
                <a:ext uri="{FF2B5EF4-FFF2-40B4-BE49-F238E27FC236}">
                  <a16:creationId xmlns:a16="http://schemas.microsoft.com/office/drawing/2014/main" id="{9711B2DE-2A1A-4D04-9243-13F3980DFA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36063" y="331788"/>
              <a:ext cx="298450" cy="300038"/>
            </a:xfrm>
            <a:custGeom>
              <a:avLst/>
              <a:gdLst>
                <a:gd name="T0" fmla="*/ 1 w 126"/>
                <a:gd name="T1" fmla="*/ 118 h 127"/>
                <a:gd name="T2" fmla="*/ 9 w 126"/>
                <a:gd name="T3" fmla="*/ 125 h 127"/>
                <a:gd name="T4" fmla="*/ 64 w 126"/>
                <a:gd name="T5" fmla="*/ 66 h 127"/>
                <a:gd name="T6" fmla="*/ 125 w 126"/>
                <a:gd name="T7" fmla="*/ 3 h 127"/>
                <a:gd name="T8" fmla="*/ 123 w 126"/>
                <a:gd name="T9" fmla="*/ 1 h 127"/>
                <a:gd name="T10" fmla="*/ 54 w 126"/>
                <a:gd name="T11" fmla="*/ 56 h 127"/>
                <a:gd name="T12" fmla="*/ 1 w 126"/>
                <a:gd name="T13" fmla="*/ 118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7">
                  <a:moveTo>
                    <a:pt x="1" y="118"/>
                  </a:moveTo>
                  <a:cubicBezTo>
                    <a:pt x="0" y="123"/>
                    <a:pt x="5" y="127"/>
                    <a:pt x="9" y="125"/>
                  </a:cubicBezTo>
                  <a:cubicBezTo>
                    <a:pt x="31" y="113"/>
                    <a:pt x="47" y="84"/>
                    <a:pt x="64" y="66"/>
                  </a:cubicBezTo>
                  <a:cubicBezTo>
                    <a:pt x="84" y="44"/>
                    <a:pt x="104" y="24"/>
                    <a:pt x="125" y="3"/>
                  </a:cubicBezTo>
                  <a:cubicBezTo>
                    <a:pt x="126" y="2"/>
                    <a:pt x="124" y="0"/>
                    <a:pt x="123" y="1"/>
                  </a:cubicBezTo>
                  <a:cubicBezTo>
                    <a:pt x="98" y="17"/>
                    <a:pt x="76" y="36"/>
                    <a:pt x="54" y="56"/>
                  </a:cubicBezTo>
                  <a:cubicBezTo>
                    <a:pt x="36" y="73"/>
                    <a:pt x="8" y="94"/>
                    <a:pt x="1" y="118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" name="Freeform 299">
              <a:extLst>
                <a:ext uri="{FF2B5EF4-FFF2-40B4-BE49-F238E27FC236}">
                  <a16:creationId xmlns:a16="http://schemas.microsoft.com/office/drawing/2014/main" id="{414A1B2E-35DD-461F-A2D4-37480C0CE1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75850" y="366713"/>
              <a:ext cx="163513" cy="163513"/>
            </a:xfrm>
            <a:custGeom>
              <a:avLst/>
              <a:gdLst>
                <a:gd name="T0" fmla="*/ 2 w 69"/>
                <a:gd name="T1" fmla="*/ 62 h 69"/>
                <a:gd name="T2" fmla="*/ 6 w 69"/>
                <a:gd name="T3" fmla="*/ 67 h 69"/>
                <a:gd name="T4" fmla="*/ 68 w 69"/>
                <a:gd name="T5" fmla="*/ 3 h 69"/>
                <a:gd name="T6" fmla="*/ 66 w 69"/>
                <a:gd name="T7" fmla="*/ 1 h 69"/>
                <a:gd name="T8" fmla="*/ 2 w 69"/>
                <a:gd name="T9" fmla="*/ 6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69">
                  <a:moveTo>
                    <a:pt x="2" y="62"/>
                  </a:moveTo>
                  <a:cubicBezTo>
                    <a:pt x="0" y="64"/>
                    <a:pt x="3" y="69"/>
                    <a:pt x="6" y="67"/>
                  </a:cubicBezTo>
                  <a:cubicBezTo>
                    <a:pt x="30" y="49"/>
                    <a:pt x="47" y="25"/>
                    <a:pt x="68" y="3"/>
                  </a:cubicBezTo>
                  <a:cubicBezTo>
                    <a:pt x="69" y="2"/>
                    <a:pt x="67" y="0"/>
                    <a:pt x="66" y="1"/>
                  </a:cubicBezTo>
                  <a:cubicBezTo>
                    <a:pt x="45" y="22"/>
                    <a:pt x="21" y="38"/>
                    <a:pt x="2" y="62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" name="Freeform 300">
              <a:extLst>
                <a:ext uri="{FF2B5EF4-FFF2-40B4-BE49-F238E27FC236}">
                  <a16:creationId xmlns:a16="http://schemas.microsoft.com/office/drawing/2014/main" id="{CB4A9C91-46FB-4D58-B681-3903BCA56A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31338" y="822325"/>
              <a:ext cx="298450" cy="258763"/>
            </a:xfrm>
            <a:custGeom>
              <a:avLst/>
              <a:gdLst>
                <a:gd name="T0" fmla="*/ 23 w 126"/>
                <a:gd name="T1" fmla="*/ 101 h 109"/>
                <a:gd name="T2" fmla="*/ 68 w 126"/>
                <a:gd name="T3" fmla="*/ 49 h 109"/>
                <a:gd name="T4" fmla="*/ 125 w 126"/>
                <a:gd name="T5" fmla="*/ 3 h 109"/>
                <a:gd name="T6" fmla="*/ 124 w 126"/>
                <a:gd name="T7" fmla="*/ 1 h 109"/>
                <a:gd name="T8" fmla="*/ 54 w 126"/>
                <a:gd name="T9" fmla="*/ 33 h 109"/>
                <a:gd name="T10" fmla="*/ 4 w 126"/>
                <a:gd name="T11" fmla="*/ 90 h 109"/>
                <a:gd name="T12" fmla="*/ 23 w 126"/>
                <a:gd name="T13" fmla="*/ 10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09">
                  <a:moveTo>
                    <a:pt x="23" y="101"/>
                  </a:moveTo>
                  <a:cubicBezTo>
                    <a:pt x="40" y="86"/>
                    <a:pt x="51" y="65"/>
                    <a:pt x="68" y="49"/>
                  </a:cubicBezTo>
                  <a:cubicBezTo>
                    <a:pt x="85" y="32"/>
                    <a:pt x="105" y="16"/>
                    <a:pt x="125" y="3"/>
                  </a:cubicBezTo>
                  <a:cubicBezTo>
                    <a:pt x="126" y="2"/>
                    <a:pt x="125" y="0"/>
                    <a:pt x="124" y="1"/>
                  </a:cubicBezTo>
                  <a:cubicBezTo>
                    <a:pt x="97" y="7"/>
                    <a:pt x="75" y="16"/>
                    <a:pt x="54" y="33"/>
                  </a:cubicBezTo>
                  <a:cubicBezTo>
                    <a:pt x="35" y="48"/>
                    <a:pt x="12" y="67"/>
                    <a:pt x="4" y="90"/>
                  </a:cubicBezTo>
                  <a:cubicBezTo>
                    <a:pt x="0" y="102"/>
                    <a:pt x="15" y="109"/>
                    <a:pt x="23" y="101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" name="Freeform 301">
              <a:extLst>
                <a:ext uri="{FF2B5EF4-FFF2-40B4-BE49-F238E27FC236}">
                  <a16:creationId xmlns:a16="http://schemas.microsoft.com/office/drawing/2014/main" id="{D83AF8F8-D7AA-4DA1-A7EB-7AEE9C259D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50500" y="884238"/>
              <a:ext cx="373063" cy="207963"/>
            </a:xfrm>
            <a:custGeom>
              <a:avLst/>
              <a:gdLst>
                <a:gd name="T0" fmla="*/ 14 w 158"/>
                <a:gd name="T1" fmla="*/ 86 h 88"/>
                <a:gd name="T2" fmla="*/ 157 w 158"/>
                <a:gd name="T3" fmla="*/ 3 h 88"/>
                <a:gd name="T4" fmla="*/ 156 w 158"/>
                <a:gd name="T5" fmla="*/ 1 h 88"/>
                <a:gd name="T6" fmla="*/ 6 w 158"/>
                <a:gd name="T7" fmla="*/ 73 h 88"/>
                <a:gd name="T8" fmla="*/ 14 w 158"/>
                <a:gd name="T9" fmla="*/ 8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88">
                  <a:moveTo>
                    <a:pt x="14" y="86"/>
                  </a:moveTo>
                  <a:cubicBezTo>
                    <a:pt x="67" y="79"/>
                    <a:pt x="119" y="38"/>
                    <a:pt x="157" y="3"/>
                  </a:cubicBezTo>
                  <a:cubicBezTo>
                    <a:pt x="158" y="2"/>
                    <a:pt x="157" y="0"/>
                    <a:pt x="156" y="1"/>
                  </a:cubicBezTo>
                  <a:cubicBezTo>
                    <a:pt x="106" y="13"/>
                    <a:pt x="42" y="34"/>
                    <a:pt x="6" y="73"/>
                  </a:cubicBezTo>
                  <a:cubicBezTo>
                    <a:pt x="0" y="79"/>
                    <a:pt x="6" y="88"/>
                    <a:pt x="14" y="86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" name="Freeform 302">
              <a:extLst>
                <a:ext uri="{FF2B5EF4-FFF2-40B4-BE49-F238E27FC236}">
                  <a16:creationId xmlns:a16="http://schemas.microsoft.com/office/drawing/2014/main" id="{A14EE09C-969E-4F5D-8D61-38845DD810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48825" y="1241425"/>
              <a:ext cx="428625" cy="247650"/>
            </a:xfrm>
            <a:custGeom>
              <a:avLst/>
              <a:gdLst>
                <a:gd name="T0" fmla="*/ 180 w 181"/>
                <a:gd name="T1" fmla="*/ 2 h 105"/>
                <a:gd name="T2" fmla="*/ 179 w 181"/>
                <a:gd name="T3" fmla="*/ 0 h 105"/>
                <a:gd name="T4" fmla="*/ 85 w 181"/>
                <a:gd name="T5" fmla="*/ 44 h 105"/>
                <a:gd name="T6" fmla="*/ 6 w 181"/>
                <a:gd name="T7" fmla="*/ 89 h 105"/>
                <a:gd name="T8" fmla="*/ 14 w 181"/>
                <a:gd name="T9" fmla="*/ 103 h 105"/>
                <a:gd name="T10" fmla="*/ 94 w 181"/>
                <a:gd name="T11" fmla="*/ 59 h 105"/>
                <a:gd name="T12" fmla="*/ 180 w 181"/>
                <a:gd name="T13" fmla="*/ 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105">
                  <a:moveTo>
                    <a:pt x="180" y="2"/>
                  </a:moveTo>
                  <a:cubicBezTo>
                    <a:pt x="181" y="1"/>
                    <a:pt x="180" y="0"/>
                    <a:pt x="179" y="0"/>
                  </a:cubicBezTo>
                  <a:cubicBezTo>
                    <a:pt x="148" y="15"/>
                    <a:pt x="116" y="29"/>
                    <a:pt x="85" y="44"/>
                  </a:cubicBezTo>
                  <a:cubicBezTo>
                    <a:pt x="59" y="57"/>
                    <a:pt x="27" y="68"/>
                    <a:pt x="6" y="89"/>
                  </a:cubicBezTo>
                  <a:cubicBezTo>
                    <a:pt x="0" y="95"/>
                    <a:pt x="6" y="105"/>
                    <a:pt x="14" y="103"/>
                  </a:cubicBezTo>
                  <a:cubicBezTo>
                    <a:pt x="43" y="96"/>
                    <a:pt x="69" y="75"/>
                    <a:pt x="94" y="59"/>
                  </a:cubicBezTo>
                  <a:cubicBezTo>
                    <a:pt x="123" y="40"/>
                    <a:pt x="151" y="20"/>
                    <a:pt x="180" y="2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" name="Freeform 303">
              <a:extLst>
                <a:ext uri="{FF2B5EF4-FFF2-40B4-BE49-F238E27FC236}">
                  <a16:creationId xmlns:a16="http://schemas.microsoft.com/office/drawing/2014/main" id="{A349FF29-8A05-43C9-AA4D-0269BAE29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7575" y="1822450"/>
              <a:ext cx="249238" cy="95250"/>
            </a:xfrm>
            <a:custGeom>
              <a:avLst/>
              <a:gdLst>
                <a:gd name="T0" fmla="*/ 104 w 105"/>
                <a:gd name="T1" fmla="*/ 1 h 40"/>
                <a:gd name="T2" fmla="*/ 56 w 105"/>
                <a:gd name="T3" fmla="*/ 6 h 40"/>
                <a:gd name="T4" fmla="*/ 33 w 105"/>
                <a:gd name="T5" fmla="*/ 11 h 40"/>
                <a:gd name="T6" fmla="*/ 21 w 105"/>
                <a:gd name="T7" fmla="*/ 17 h 40"/>
                <a:gd name="T8" fmla="*/ 20 w 105"/>
                <a:gd name="T9" fmla="*/ 17 h 40"/>
                <a:gd name="T10" fmla="*/ 11 w 105"/>
                <a:gd name="T11" fmla="*/ 18 h 40"/>
                <a:gd name="T12" fmla="*/ 0 w 105"/>
                <a:gd name="T13" fmla="*/ 29 h 40"/>
                <a:gd name="T14" fmla="*/ 0 w 105"/>
                <a:gd name="T15" fmla="*/ 29 h 40"/>
                <a:gd name="T16" fmla="*/ 11 w 105"/>
                <a:gd name="T17" fmla="*/ 40 h 40"/>
                <a:gd name="T18" fmla="*/ 50 w 105"/>
                <a:gd name="T19" fmla="*/ 22 h 40"/>
                <a:gd name="T20" fmla="*/ 104 w 105"/>
                <a:gd name="T21" fmla="*/ 2 h 40"/>
                <a:gd name="T22" fmla="*/ 104 w 105"/>
                <a:gd name="T23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40">
                  <a:moveTo>
                    <a:pt x="104" y="1"/>
                  </a:moveTo>
                  <a:cubicBezTo>
                    <a:pt x="88" y="3"/>
                    <a:pt x="72" y="4"/>
                    <a:pt x="56" y="6"/>
                  </a:cubicBezTo>
                  <a:cubicBezTo>
                    <a:pt x="48" y="8"/>
                    <a:pt x="40" y="9"/>
                    <a:pt x="33" y="11"/>
                  </a:cubicBezTo>
                  <a:cubicBezTo>
                    <a:pt x="30" y="12"/>
                    <a:pt x="25" y="15"/>
                    <a:pt x="21" y="17"/>
                  </a:cubicBezTo>
                  <a:cubicBezTo>
                    <a:pt x="21" y="17"/>
                    <a:pt x="20" y="17"/>
                    <a:pt x="20" y="17"/>
                  </a:cubicBezTo>
                  <a:cubicBezTo>
                    <a:pt x="17" y="18"/>
                    <a:pt x="14" y="18"/>
                    <a:pt x="11" y="18"/>
                  </a:cubicBezTo>
                  <a:cubicBezTo>
                    <a:pt x="5" y="18"/>
                    <a:pt x="0" y="23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" y="35"/>
                    <a:pt x="5" y="40"/>
                    <a:pt x="11" y="40"/>
                  </a:cubicBezTo>
                  <a:cubicBezTo>
                    <a:pt x="23" y="40"/>
                    <a:pt x="38" y="27"/>
                    <a:pt x="50" y="22"/>
                  </a:cubicBezTo>
                  <a:cubicBezTo>
                    <a:pt x="67" y="13"/>
                    <a:pt x="86" y="7"/>
                    <a:pt x="104" y="2"/>
                  </a:cubicBezTo>
                  <a:cubicBezTo>
                    <a:pt x="105" y="2"/>
                    <a:pt x="105" y="0"/>
                    <a:pt x="104" y="1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" name="Freeform 304">
              <a:extLst>
                <a:ext uri="{FF2B5EF4-FFF2-40B4-BE49-F238E27FC236}">
                  <a16:creationId xmlns:a16="http://schemas.microsoft.com/office/drawing/2014/main" id="{2523DA9D-B75C-48EE-8B46-32792B6EFD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85425" y="1547813"/>
              <a:ext cx="404813" cy="211138"/>
            </a:xfrm>
            <a:custGeom>
              <a:avLst/>
              <a:gdLst>
                <a:gd name="T0" fmla="*/ 170 w 171"/>
                <a:gd name="T1" fmla="*/ 2 h 89"/>
                <a:gd name="T2" fmla="*/ 169 w 171"/>
                <a:gd name="T3" fmla="*/ 0 h 89"/>
                <a:gd name="T4" fmla="*/ 63 w 171"/>
                <a:gd name="T5" fmla="*/ 22 h 89"/>
                <a:gd name="T6" fmla="*/ 2 w 171"/>
                <a:gd name="T7" fmla="*/ 68 h 89"/>
                <a:gd name="T8" fmla="*/ 10 w 171"/>
                <a:gd name="T9" fmla="*/ 83 h 89"/>
                <a:gd name="T10" fmla="*/ 83 w 171"/>
                <a:gd name="T11" fmla="*/ 55 h 89"/>
                <a:gd name="T12" fmla="*/ 170 w 171"/>
                <a:gd name="T13" fmla="*/ 2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" h="89">
                  <a:moveTo>
                    <a:pt x="170" y="2"/>
                  </a:moveTo>
                  <a:cubicBezTo>
                    <a:pt x="171" y="1"/>
                    <a:pt x="170" y="0"/>
                    <a:pt x="169" y="0"/>
                  </a:cubicBezTo>
                  <a:cubicBezTo>
                    <a:pt x="133" y="5"/>
                    <a:pt x="97" y="9"/>
                    <a:pt x="63" y="22"/>
                  </a:cubicBezTo>
                  <a:cubicBezTo>
                    <a:pt x="39" y="31"/>
                    <a:pt x="9" y="41"/>
                    <a:pt x="2" y="68"/>
                  </a:cubicBezTo>
                  <a:cubicBezTo>
                    <a:pt x="0" y="74"/>
                    <a:pt x="4" y="81"/>
                    <a:pt x="10" y="83"/>
                  </a:cubicBezTo>
                  <a:cubicBezTo>
                    <a:pt x="37" y="89"/>
                    <a:pt x="61" y="68"/>
                    <a:pt x="83" y="55"/>
                  </a:cubicBezTo>
                  <a:cubicBezTo>
                    <a:pt x="112" y="37"/>
                    <a:pt x="139" y="17"/>
                    <a:pt x="170" y="2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" name="Freeform 305">
              <a:extLst>
                <a:ext uri="{FF2B5EF4-FFF2-40B4-BE49-F238E27FC236}">
                  <a16:creationId xmlns:a16="http://schemas.microsoft.com/office/drawing/2014/main" id="{E818749D-FAED-43DF-9EA8-68CCD5C5B8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41000" y="2049463"/>
              <a:ext cx="530225" cy="153988"/>
            </a:xfrm>
            <a:custGeom>
              <a:avLst/>
              <a:gdLst>
                <a:gd name="T0" fmla="*/ 6 w 224"/>
                <a:gd name="T1" fmla="*/ 30 h 65"/>
                <a:gd name="T2" fmla="*/ 9 w 224"/>
                <a:gd name="T3" fmla="*/ 50 h 65"/>
                <a:gd name="T4" fmla="*/ 102 w 224"/>
                <a:gd name="T5" fmla="*/ 45 h 65"/>
                <a:gd name="T6" fmla="*/ 222 w 224"/>
                <a:gd name="T7" fmla="*/ 2 h 65"/>
                <a:gd name="T8" fmla="*/ 222 w 224"/>
                <a:gd name="T9" fmla="*/ 1 h 65"/>
                <a:gd name="T10" fmla="*/ 90 w 224"/>
                <a:gd name="T11" fmla="*/ 9 h 65"/>
                <a:gd name="T12" fmla="*/ 6 w 224"/>
                <a:gd name="T13" fmla="*/ 3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65">
                  <a:moveTo>
                    <a:pt x="6" y="30"/>
                  </a:moveTo>
                  <a:cubicBezTo>
                    <a:pt x="0" y="35"/>
                    <a:pt x="1" y="47"/>
                    <a:pt x="9" y="50"/>
                  </a:cubicBezTo>
                  <a:cubicBezTo>
                    <a:pt x="38" y="65"/>
                    <a:pt x="72" y="53"/>
                    <a:pt x="102" y="45"/>
                  </a:cubicBezTo>
                  <a:cubicBezTo>
                    <a:pt x="144" y="35"/>
                    <a:pt x="181" y="14"/>
                    <a:pt x="222" y="2"/>
                  </a:cubicBezTo>
                  <a:cubicBezTo>
                    <a:pt x="224" y="2"/>
                    <a:pt x="223" y="0"/>
                    <a:pt x="222" y="1"/>
                  </a:cubicBezTo>
                  <a:cubicBezTo>
                    <a:pt x="179" y="10"/>
                    <a:pt x="133" y="6"/>
                    <a:pt x="90" y="9"/>
                  </a:cubicBezTo>
                  <a:cubicBezTo>
                    <a:pt x="60" y="12"/>
                    <a:pt x="30" y="10"/>
                    <a:pt x="6" y="30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" name="Freeform 306">
              <a:extLst>
                <a:ext uri="{FF2B5EF4-FFF2-40B4-BE49-F238E27FC236}">
                  <a16:creationId xmlns:a16="http://schemas.microsoft.com/office/drawing/2014/main" id="{B692E0C6-B113-4300-AD62-8FFCE7355B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96488" y="2266950"/>
              <a:ext cx="225425" cy="77788"/>
            </a:xfrm>
            <a:custGeom>
              <a:avLst/>
              <a:gdLst>
                <a:gd name="T0" fmla="*/ 2 w 95"/>
                <a:gd name="T1" fmla="*/ 27 h 33"/>
                <a:gd name="T2" fmla="*/ 4 w 95"/>
                <a:gd name="T3" fmla="*/ 33 h 33"/>
                <a:gd name="T4" fmla="*/ 47 w 95"/>
                <a:gd name="T5" fmla="*/ 21 h 33"/>
                <a:gd name="T6" fmla="*/ 94 w 95"/>
                <a:gd name="T7" fmla="*/ 2 h 33"/>
                <a:gd name="T8" fmla="*/ 93 w 95"/>
                <a:gd name="T9" fmla="*/ 1 h 33"/>
                <a:gd name="T10" fmla="*/ 45 w 95"/>
                <a:gd name="T11" fmla="*/ 13 h 33"/>
                <a:gd name="T12" fmla="*/ 2 w 95"/>
                <a:gd name="T13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33">
                  <a:moveTo>
                    <a:pt x="2" y="27"/>
                  </a:moveTo>
                  <a:cubicBezTo>
                    <a:pt x="0" y="29"/>
                    <a:pt x="1" y="33"/>
                    <a:pt x="4" y="33"/>
                  </a:cubicBezTo>
                  <a:cubicBezTo>
                    <a:pt x="19" y="33"/>
                    <a:pt x="33" y="26"/>
                    <a:pt x="47" y="21"/>
                  </a:cubicBezTo>
                  <a:cubicBezTo>
                    <a:pt x="62" y="15"/>
                    <a:pt x="78" y="8"/>
                    <a:pt x="94" y="2"/>
                  </a:cubicBezTo>
                  <a:cubicBezTo>
                    <a:pt x="95" y="2"/>
                    <a:pt x="94" y="0"/>
                    <a:pt x="93" y="1"/>
                  </a:cubicBezTo>
                  <a:cubicBezTo>
                    <a:pt x="77" y="5"/>
                    <a:pt x="61" y="9"/>
                    <a:pt x="45" y="13"/>
                  </a:cubicBezTo>
                  <a:cubicBezTo>
                    <a:pt x="31" y="17"/>
                    <a:pt x="14" y="19"/>
                    <a:pt x="2" y="27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" name="Freeform 307">
              <a:extLst>
                <a:ext uri="{FF2B5EF4-FFF2-40B4-BE49-F238E27FC236}">
                  <a16:creationId xmlns:a16="http://schemas.microsoft.com/office/drawing/2014/main" id="{DC8E3C9F-C588-411E-9FE4-8EFA647401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42563" y="2662238"/>
              <a:ext cx="371475" cy="117475"/>
            </a:xfrm>
            <a:custGeom>
              <a:avLst/>
              <a:gdLst>
                <a:gd name="T0" fmla="*/ 65 w 157"/>
                <a:gd name="T1" fmla="*/ 33 h 50"/>
                <a:gd name="T2" fmla="*/ 155 w 157"/>
                <a:gd name="T3" fmla="*/ 2 h 50"/>
                <a:gd name="T4" fmla="*/ 155 w 157"/>
                <a:gd name="T5" fmla="*/ 0 h 50"/>
                <a:gd name="T6" fmla="*/ 62 w 157"/>
                <a:gd name="T7" fmla="*/ 13 h 50"/>
                <a:gd name="T8" fmla="*/ 3 w 157"/>
                <a:gd name="T9" fmla="*/ 20 h 50"/>
                <a:gd name="T10" fmla="*/ 3 w 157"/>
                <a:gd name="T11" fmla="*/ 32 h 50"/>
                <a:gd name="T12" fmla="*/ 65 w 157"/>
                <a:gd name="T13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0">
                  <a:moveTo>
                    <a:pt x="65" y="33"/>
                  </a:moveTo>
                  <a:cubicBezTo>
                    <a:pt x="96" y="25"/>
                    <a:pt x="125" y="13"/>
                    <a:pt x="155" y="2"/>
                  </a:cubicBezTo>
                  <a:cubicBezTo>
                    <a:pt x="157" y="2"/>
                    <a:pt x="156" y="0"/>
                    <a:pt x="155" y="0"/>
                  </a:cubicBezTo>
                  <a:cubicBezTo>
                    <a:pt x="125" y="10"/>
                    <a:pt x="93" y="13"/>
                    <a:pt x="62" y="13"/>
                  </a:cubicBezTo>
                  <a:cubicBezTo>
                    <a:pt x="41" y="12"/>
                    <a:pt x="19" y="3"/>
                    <a:pt x="3" y="20"/>
                  </a:cubicBezTo>
                  <a:cubicBezTo>
                    <a:pt x="0" y="23"/>
                    <a:pt x="0" y="29"/>
                    <a:pt x="3" y="32"/>
                  </a:cubicBezTo>
                  <a:cubicBezTo>
                    <a:pt x="20" y="50"/>
                    <a:pt x="44" y="38"/>
                    <a:pt x="65" y="3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" name="Freeform 308">
              <a:extLst>
                <a:ext uri="{FF2B5EF4-FFF2-40B4-BE49-F238E27FC236}">
                  <a16:creationId xmlns:a16="http://schemas.microsoft.com/office/drawing/2014/main" id="{5FED4221-9A72-4264-A415-7B3FE6FA6C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94938" y="3159125"/>
              <a:ext cx="400050" cy="96838"/>
            </a:xfrm>
            <a:custGeom>
              <a:avLst/>
              <a:gdLst>
                <a:gd name="T0" fmla="*/ 27 w 169"/>
                <a:gd name="T1" fmla="*/ 33 h 41"/>
                <a:gd name="T2" fmla="*/ 167 w 169"/>
                <a:gd name="T3" fmla="*/ 11 h 41"/>
                <a:gd name="T4" fmla="*/ 167 w 169"/>
                <a:gd name="T5" fmla="*/ 8 h 41"/>
                <a:gd name="T6" fmla="*/ 22 w 169"/>
                <a:gd name="T7" fmla="*/ 2 h 41"/>
                <a:gd name="T8" fmla="*/ 27 w 169"/>
                <a:gd name="T9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41">
                  <a:moveTo>
                    <a:pt x="27" y="33"/>
                  </a:moveTo>
                  <a:cubicBezTo>
                    <a:pt x="71" y="17"/>
                    <a:pt x="121" y="16"/>
                    <a:pt x="167" y="11"/>
                  </a:cubicBezTo>
                  <a:cubicBezTo>
                    <a:pt x="169" y="11"/>
                    <a:pt x="169" y="8"/>
                    <a:pt x="167" y="8"/>
                  </a:cubicBezTo>
                  <a:cubicBezTo>
                    <a:pt x="119" y="3"/>
                    <a:pt x="71" y="8"/>
                    <a:pt x="22" y="2"/>
                  </a:cubicBezTo>
                  <a:cubicBezTo>
                    <a:pt x="0" y="0"/>
                    <a:pt x="4" y="41"/>
                    <a:pt x="27" y="3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" name="Freeform 309">
              <a:extLst>
                <a:ext uri="{FF2B5EF4-FFF2-40B4-BE49-F238E27FC236}">
                  <a16:creationId xmlns:a16="http://schemas.microsoft.com/office/drawing/2014/main" id="{49774DE3-90B7-446F-AAFF-3B5A160E6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7363" y="3690938"/>
              <a:ext cx="422275" cy="120650"/>
            </a:xfrm>
            <a:custGeom>
              <a:avLst/>
              <a:gdLst>
                <a:gd name="T0" fmla="*/ 177 w 178"/>
                <a:gd name="T1" fmla="*/ 19 h 51"/>
                <a:gd name="T2" fmla="*/ 86 w 178"/>
                <a:gd name="T3" fmla="*/ 9 h 51"/>
                <a:gd name="T4" fmla="*/ 11 w 178"/>
                <a:gd name="T5" fmla="*/ 15 h 51"/>
                <a:gd name="T6" fmla="*/ 11 w 178"/>
                <a:gd name="T7" fmla="*/ 40 h 51"/>
                <a:gd name="T8" fmla="*/ 77 w 178"/>
                <a:gd name="T9" fmla="*/ 36 h 51"/>
                <a:gd name="T10" fmla="*/ 177 w 178"/>
                <a:gd name="T11" fmla="*/ 20 h 51"/>
                <a:gd name="T12" fmla="*/ 177 w 178"/>
                <a:gd name="T13" fmla="*/ 1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51">
                  <a:moveTo>
                    <a:pt x="177" y="19"/>
                  </a:moveTo>
                  <a:cubicBezTo>
                    <a:pt x="146" y="17"/>
                    <a:pt x="116" y="12"/>
                    <a:pt x="86" y="9"/>
                  </a:cubicBezTo>
                  <a:cubicBezTo>
                    <a:pt x="60" y="7"/>
                    <a:pt x="32" y="0"/>
                    <a:pt x="11" y="15"/>
                  </a:cubicBezTo>
                  <a:cubicBezTo>
                    <a:pt x="4" y="21"/>
                    <a:pt x="0" y="36"/>
                    <a:pt x="11" y="40"/>
                  </a:cubicBezTo>
                  <a:cubicBezTo>
                    <a:pt x="35" y="51"/>
                    <a:pt x="52" y="42"/>
                    <a:pt x="77" y="36"/>
                  </a:cubicBezTo>
                  <a:cubicBezTo>
                    <a:pt x="110" y="29"/>
                    <a:pt x="143" y="21"/>
                    <a:pt x="177" y="20"/>
                  </a:cubicBezTo>
                  <a:cubicBezTo>
                    <a:pt x="178" y="20"/>
                    <a:pt x="178" y="19"/>
                    <a:pt x="177" y="19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" name="Freeform 310">
              <a:extLst>
                <a:ext uri="{FF2B5EF4-FFF2-40B4-BE49-F238E27FC236}">
                  <a16:creationId xmlns:a16="http://schemas.microsoft.com/office/drawing/2014/main" id="{C380FFE4-C4EC-4E50-A31F-9C343D0501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21925" y="4227513"/>
              <a:ext cx="304800" cy="171450"/>
            </a:xfrm>
            <a:custGeom>
              <a:avLst/>
              <a:gdLst>
                <a:gd name="T0" fmla="*/ 7 w 129"/>
                <a:gd name="T1" fmla="*/ 26 h 73"/>
                <a:gd name="T2" fmla="*/ 5 w 129"/>
                <a:gd name="T3" fmla="*/ 40 h 73"/>
                <a:gd name="T4" fmla="*/ 53 w 129"/>
                <a:gd name="T5" fmla="*/ 53 h 73"/>
                <a:gd name="T6" fmla="*/ 127 w 129"/>
                <a:gd name="T7" fmla="*/ 72 h 73"/>
                <a:gd name="T8" fmla="*/ 128 w 129"/>
                <a:gd name="T9" fmla="*/ 70 h 73"/>
                <a:gd name="T10" fmla="*/ 7 w 129"/>
                <a:gd name="T11" fmla="*/ 2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73">
                  <a:moveTo>
                    <a:pt x="7" y="26"/>
                  </a:moveTo>
                  <a:cubicBezTo>
                    <a:pt x="2" y="29"/>
                    <a:pt x="0" y="36"/>
                    <a:pt x="5" y="40"/>
                  </a:cubicBezTo>
                  <a:cubicBezTo>
                    <a:pt x="19" y="53"/>
                    <a:pt x="36" y="51"/>
                    <a:pt x="53" y="53"/>
                  </a:cubicBezTo>
                  <a:cubicBezTo>
                    <a:pt x="79" y="55"/>
                    <a:pt x="103" y="61"/>
                    <a:pt x="127" y="72"/>
                  </a:cubicBezTo>
                  <a:cubicBezTo>
                    <a:pt x="128" y="73"/>
                    <a:pt x="129" y="71"/>
                    <a:pt x="128" y="70"/>
                  </a:cubicBezTo>
                  <a:cubicBezTo>
                    <a:pt x="103" y="48"/>
                    <a:pt x="41" y="0"/>
                    <a:pt x="7" y="26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" name="Freeform 311">
              <a:extLst>
                <a:ext uri="{FF2B5EF4-FFF2-40B4-BE49-F238E27FC236}">
                  <a16:creationId xmlns:a16="http://schemas.microsoft.com/office/drawing/2014/main" id="{CDC372C7-5E50-4EE7-A32C-8577CB5A40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48888" y="4900613"/>
              <a:ext cx="333375" cy="179388"/>
            </a:xfrm>
            <a:custGeom>
              <a:avLst/>
              <a:gdLst>
                <a:gd name="T0" fmla="*/ 140 w 141"/>
                <a:gd name="T1" fmla="*/ 74 h 76"/>
                <a:gd name="T2" fmla="*/ 77 w 141"/>
                <a:gd name="T3" fmla="*/ 36 h 76"/>
                <a:gd name="T4" fmla="*/ 18 w 141"/>
                <a:gd name="T5" fmla="*/ 2 h 76"/>
                <a:gd name="T6" fmla="*/ 6 w 141"/>
                <a:gd name="T7" fmla="*/ 17 h 76"/>
                <a:gd name="T8" fmla="*/ 139 w 141"/>
                <a:gd name="T9" fmla="*/ 76 h 76"/>
                <a:gd name="T10" fmla="*/ 140 w 141"/>
                <a:gd name="T11" fmla="*/ 7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76">
                  <a:moveTo>
                    <a:pt x="140" y="74"/>
                  </a:moveTo>
                  <a:cubicBezTo>
                    <a:pt x="118" y="63"/>
                    <a:pt x="98" y="49"/>
                    <a:pt x="77" y="36"/>
                  </a:cubicBezTo>
                  <a:cubicBezTo>
                    <a:pt x="59" y="24"/>
                    <a:pt x="39" y="7"/>
                    <a:pt x="18" y="2"/>
                  </a:cubicBezTo>
                  <a:cubicBezTo>
                    <a:pt x="10" y="0"/>
                    <a:pt x="0" y="9"/>
                    <a:pt x="6" y="17"/>
                  </a:cubicBezTo>
                  <a:cubicBezTo>
                    <a:pt x="34" y="55"/>
                    <a:pt x="97" y="65"/>
                    <a:pt x="139" y="76"/>
                  </a:cubicBezTo>
                  <a:cubicBezTo>
                    <a:pt x="140" y="76"/>
                    <a:pt x="141" y="75"/>
                    <a:pt x="140" y="74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" name="Freeform 312">
              <a:extLst>
                <a:ext uri="{FF2B5EF4-FFF2-40B4-BE49-F238E27FC236}">
                  <a16:creationId xmlns:a16="http://schemas.microsoft.com/office/drawing/2014/main" id="{6881C786-99B2-4C5E-BBA9-FAC68F1E62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9238" y="5543550"/>
              <a:ext cx="187325" cy="111125"/>
            </a:xfrm>
            <a:custGeom>
              <a:avLst/>
              <a:gdLst>
                <a:gd name="T0" fmla="*/ 36 w 79"/>
                <a:gd name="T1" fmla="*/ 28 h 47"/>
                <a:gd name="T2" fmla="*/ 76 w 79"/>
                <a:gd name="T3" fmla="*/ 46 h 47"/>
                <a:gd name="T4" fmla="*/ 78 w 79"/>
                <a:gd name="T5" fmla="*/ 45 h 47"/>
                <a:gd name="T6" fmla="*/ 45 w 79"/>
                <a:gd name="T7" fmla="*/ 18 h 47"/>
                <a:gd name="T8" fmla="*/ 9 w 79"/>
                <a:gd name="T9" fmla="*/ 1 h 47"/>
                <a:gd name="T10" fmla="*/ 4 w 79"/>
                <a:gd name="T11" fmla="*/ 13 h 47"/>
                <a:gd name="T12" fmla="*/ 36 w 79"/>
                <a:gd name="T13" fmla="*/ 2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47">
                  <a:moveTo>
                    <a:pt x="36" y="28"/>
                  </a:moveTo>
                  <a:cubicBezTo>
                    <a:pt x="49" y="33"/>
                    <a:pt x="64" y="39"/>
                    <a:pt x="76" y="46"/>
                  </a:cubicBezTo>
                  <a:cubicBezTo>
                    <a:pt x="77" y="47"/>
                    <a:pt x="79" y="45"/>
                    <a:pt x="78" y="45"/>
                  </a:cubicBezTo>
                  <a:cubicBezTo>
                    <a:pt x="67" y="36"/>
                    <a:pt x="57" y="26"/>
                    <a:pt x="45" y="18"/>
                  </a:cubicBezTo>
                  <a:cubicBezTo>
                    <a:pt x="36" y="11"/>
                    <a:pt x="22" y="0"/>
                    <a:pt x="9" y="1"/>
                  </a:cubicBezTo>
                  <a:cubicBezTo>
                    <a:pt x="3" y="2"/>
                    <a:pt x="0" y="8"/>
                    <a:pt x="4" y="13"/>
                  </a:cubicBezTo>
                  <a:cubicBezTo>
                    <a:pt x="11" y="22"/>
                    <a:pt x="26" y="24"/>
                    <a:pt x="36" y="28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" name="Freeform 313">
              <a:extLst>
                <a:ext uri="{FF2B5EF4-FFF2-40B4-BE49-F238E27FC236}">
                  <a16:creationId xmlns:a16="http://schemas.microsoft.com/office/drawing/2014/main" id="{2A23A031-5173-40C3-AAC3-059D033F29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13938" y="5102225"/>
              <a:ext cx="212725" cy="157163"/>
            </a:xfrm>
            <a:custGeom>
              <a:avLst/>
              <a:gdLst>
                <a:gd name="T0" fmla="*/ 40 w 90"/>
                <a:gd name="T1" fmla="*/ 40 h 67"/>
                <a:gd name="T2" fmla="*/ 86 w 90"/>
                <a:gd name="T3" fmla="*/ 66 h 67"/>
                <a:gd name="T4" fmla="*/ 88 w 90"/>
                <a:gd name="T5" fmla="*/ 63 h 67"/>
                <a:gd name="T6" fmla="*/ 50 w 90"/>
                <a:gd name="T7" fmla="*/ 28 h 67"/>
                <a:gd name="T8" fmla="*/ 13 w 90"/>
                <a:gd name="T9" fmla="*/ 2 h 67"/>
                <a:gd name="T10" fmla="*/ 4 w 90"/>
                <a:gd name="T11" fmla="*/ 13 h 67"/>
                <a:gd name="T12" fmla="*/ 40 w 90"/>
                <a:gd name="T13" fmla="*/ 4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67">
                  <a:moveTo>
                    <a:pt x="40" y="40"/>
                  </a:moveTo>
                  <a:cubicBezTo>
                    <a:pt x="55" y="49"/>
                    <a:pt x="71" y="58"/>
                    <a:pt x="86" y="66"/>
                  </a:cubicBezTo>
                  <a:cubicBezTo>
                    <a:pt x="88" y="67"/>
                    <a:pt x="90" y="65"/>
                    <a:pt x="88" y="63"/>
                  </a:cubicBezTo>
                  <a:cubicBezTo>
                    <a:pt x="75" y="52"/>
                    <a:pt x="63" y="39"/>
                    <a:pt x="50" y="28"/>
                  </a:cubicBezTo>
                  <a:cubicBezTo>
                    <a:pt x="39" y="19"/>
                    <a:pt x="27" y="6"/>
                    <a:pt x="13" y="2"/>
                  </a:cubicBezTo>
                  <a:cubicBezTo>
                    <a:pt x="7" y="0"/>
                    <a:pt x="0" y="8"/>
                    <a:pt x="4" y="13"/>
                  </a:cubicBezTo>
                  <a:cubicBezTo>
                    <a:pt x="13" y="25"/>
                    <a:pt x="28" y="32"/>
                    <a:pt x="40" y="40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" name="Freeform 314">
              <a:extLst>
                <a:ext uri="{FF2B5EF4-FFF2-40B4-BE49-F238E27FC236}">
                  <a16:creationId xmlns:a16="http://schemas.microsoft.com/office/drawing/2014/main" id="{5C3F2683-99B3-46B1-AC81-D04ACC5BA5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9713" y="6203950"/>
              <a:ext cx="392113" cy="314325"/>
            </a:xfrm>
            <a:custGeom>
              <a:avLst/>
              <a:gdLst>
                <a:gd name="T0" fmla="*/ 88 w 166"/>
                <a:gd name="T1" fmla="*/ 101 h 133"/>
                <a:gd name="T2" fmla="*/ 164 w 166"/>
                <a:gd name="T3" fmla="*/ 132 h 133"/>
                <a:gd name="T4" fmla="*/ 165 w 166"/>
                <a:gd name="T5" fmla="*/ 130 h 133"/>
                <a:gd name="T6" fmla="*/ 104 w 166"/>
                <a:gd name="T7" fmla="*/ 72 h 133"/>
                <a:gd name="T8" fmla="*/ 49 w 166"/>
                <a:gd name="T9" fmla="*/ 19 h 133"/>
                <a:gd name="T10" fmla="*/ 19 w 166"/>
                <a:gd name="T11" fmla="*/ 49 h 133"/>
                <a:gd name="T12" fmla="*/ 88 w 166"/>
                <a:gd name="T13" fmla="*/ 10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6" h="133">
                  <a:moveTo>
                    <a:pt x="88" y="101"/>
                  </a:moveTo>
                  <a:cubicBezTo>
                    <a:pt x="113" y="116"/>
                    <a:pt x="138" y="122"/>
                    <a:pt x="164" y="132"/>
                  </a:cubicBezTo>
                  <a:cubicBezTo>
                    <a:pt x="166" y="133"/>
                    <a:pt x="166" y="131"/>
                    <a:pt x="165" y="130"/>
                  </a:cubicBezTo>
                  <a:cubicBezTo>
                    <a:pt x="144" y="114"/>
                    <a:pt x="124" y="91"/>
                    <a:pt x="104" y="72"/>
                  </a:cubicBezTo>
                  <a:cubicBezTo>
                    <a:pt x="85" y="55"/>
                    <a:pt x="68" y="37"/>
                    <a:pt x="49" y="19"/>
                  </a:cubicBezTo>
                  <a:cubicBezTo>
                    <a:pt x="29" y="0"/>
                    <a:pt x="0" y="30"/>
                    <a:pt x="19" y="49"/>
                  </a:cubicBezTo>
                  <a:cubicBezTo>
                    <a:pt x="40" y="69"/>
                    <a:pt x="63" y="86"/>
                    <a:pt x="88" y="101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" name="Freeform 315">
              <a:extLst>
                <a:ext uri="{FF2B5EF4-FFF2-40B4-BE49-F238E27FC236}">
                  <a16:creationId xmlns:a16="http://schemas.microsoft.com/office/drawing/2014/main" id="{BC52D2A4-EF2D-435A-BBC4-BF24E452EA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74263" y="5919788"/>
              <a:ext cx="180975" cy="141288"/>
            </a:xfrm>
            <a:custGeom>
              <a:avLst/>
              <a:gdLst>
                <a:gd name="T0" fmla="*/ 18 w 77"/>
                <a:gd name="T1" fmla="*/ 36 h 60"/>
                <a:gd name="T2" fmla="*/ 44 w 77"/>
                <a:gd name="T3" fmla="*/ 47 h 60"/>
                <a:gd name="T4" fmla="*/ 75 w 77"/>
                <a:gd name="T5" fmla="*/ 59 h 60"/>
                <a:gd name="T6" fmla="*/ 76 w 77"/>
                <a:gd name="T7" fmla="*/ 57 h 60"/>
                <a:gd name="T8" fmla="*/ 55 w 77"/>
                <a:gd name="T9" fmla="*/ 33 h 60"/>
                <a:gd name="T10" fmla="*/ 35 w 77"/>
                <a:gd name="T11" fmla="*/ 13 h 60"/>
                <a:gd name="T12" fmla="*/ 18 w 77"/>
                <a:gd name="T13" fmla="*/ 3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60">
                  <a:moveTo>
                    <a:pt x="18" y="36"/>
                  </a:moveTo>
                  <a:cubicBezTo>
                    <a:pt x="26" y="40"/>
                    <a:pt x="35" y="44"/>
                    <a:pt x="44" y="47"/>
                  </a:cubicBezTo>
                  <a:cubicBezTo>
                    <a:pt x="54" y="51"/>
                    <a:pt x="65" y="53"/>
                    <a:pt x="75" y="59"/>
                  </a:cubicBezTo>
                  <a:cubicBezTo>
                    <a:pt x="76" y="60"/>
                    <a:pt x="77" y="58"/>
                    <a:pt x="76" y="57"/>
                  </a:cubicBezTo>
                  <a:cubicBezTo>
                    <a:pt x="68" y="50"/>
                    <a:pt x="62" y="41"/>
                    <a:pt x="55" y="33"/>
                  </a:cubicBezTo>
                  <a:cubicBezTo>
                    <a:pt x="49" y="26"/>
                    <a:pt x="42" y="19"/>
                    <a:pt x="35" y="13"/>
                  </a:cubicBezTo>
                  <a:cubicBezTo>
                    <a:pt x="19" y="0"/>
                    <a:pt x="0" y="26"/>
                    <a:pt x="18" y="36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" name="Freeform 316">
              <a:extLst>
                <a:ext uri="{FF2B5EF4-FFF2-40B4-BE49-F238E27FC236}">
                  <a16:creationId xmlns:a16="http://schemas.microsoft.com/office/drawing/2014/main" id="{6E490B80-81BE-4EA2-8C5B-18DA3D6B5B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5975" y="5640388"/>
              <a:ext cx="109538" cy="96838"/>
            </a:xfrm>
            <a:custGeom>
              <a:avLst/>
              <a:gdLst>
                <a:gd name="T0" fmla="*/ 6 w 46"/>
                <a:gd name="T1" fmla="*/ 14 h 41"/>
                <a:gd name="T2" fmla="*/ 42 w 46"/>
                <a:gd name="T3" fmla="*/ 39 h 41"/>
                <a:gd name="T4" fmla="*/ 45 w 46"/>
                <a:gd name="T5" fmla="*/ 37 h 41"/>
                <a:gd name="T6" fmla="*/ 11 w 46"/>
                <a:gd name="T7" fmla="*/ 3 h 41"/>
                <a:gd name="T8" fmla="*/ 6 w 46"/>
                <a:gd name="T9" fmla="*/ 1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1">
                  <a:moveTo>
                    <a:pt x="6" y="14"/>
                  </a:moveTo>
                  <a:cubicBezTo>
                    <a:pt x="19" y="22"/>
                    <a:pt x="31" y="28"/>
                    <a:pt x="42" y="39"/>
                  </a:cubicBezTo>
                  <a:cubicBezTo>
                    <a:pt x="43" y="41"/>
                    <a:pt x="46" y="39"/>
                    <a:pt x="45" y="37"/>
                  </a:cubicBezTo>
                  <a:cubicBezTo>
                    <a:pt x="37" y="23"/>
                    <a:pt x="26" y="9"/>
                    <a:pt x="11" y="3"/>
                  </a:cubicBezTo>
                  <a:cubicBezTo>
                    <a:pt x="4" y="0"/>
                    <a:pt x="0" y="11"/>
                    <a:pt x="6" y="14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2" name="Freeform 317">
              <a:extLst>
                <a:ext uri="{FF2B5EF4-FFF2-40B4-BE49-F238E27FC236}">
                  <a16:creationId xmlns:a16="http://schemas.microsoft.com/office/drawing/2014/main" id="{BEE2F0BB-E711-466A-81A0-4EA04D5FCC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98013" y="6429375"/>
              <a:ext cx="150813" cy="153988"/>
            </a:xfrm>
            <a:custGeom>
              <a:avLst/>
              <a:gdLst>
                <a:gd name="T0" fmla="*/ 8 w 64"/>
                <a:gd name="T1" fmla="*/ 20 h 65"/>
                <a:gd name="T2" fmla="*/ 33 w 64"/>
                <a:gd name="T3" fmla="*/ 44 h 65"/>
                <a:gd name="T4" fmla="*/ 61 w 64"/>
                <a:gd name="T5" fmla="*/ 64 h 65"/>
                <a:gd name="T6" fmla="*/ 63 w 64"/>
                <a:gd name="T7" fmla="*/ 62 h 65"/>
                <a:gd name="T8" fmla="*/ 44 w 64"/>
                <a:gd name="T9" fmla="*/ 35 h 65"/>
                <a:gd name="T10" fmla="*/ 20 w 64"/>
                <a:gd name="T11" fmla="*/ 8 h 65"/>
                <a:gd name="T12" fmla="*/ 8 w 64"/>
                <a:gd name="T13" fmla="*/ 2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5">
                  <a:moveTo>
                    <a:pt x="8" y="20"/>
                  </a:moveTo>
                  <a:cubicBezTo>
                    <a:pt x="15" y="29"/>
                    <a:pt x="24" y="36"/>
                    <a:pt x="33" y="44"/>
                  </a:cubicBezTo>
                  <a:cubicBezTo>
                    <a:pt x="42" y="51"/>
                    <a:pt x="52" y="57"/>
                    <a:pt x="61" y="64"/>
                  </a:cubicBezTo>
                  <a:cubicBezTo>
                    <a:pt x="62" y="65"/>
                    <a:pt x="64" y="64"/>
                    <a:pt x="63" y="62"/>
                  </a:cubicBezTo>
                  <a:cubicBezTo>
                    <a:pt x="56" y="54"/>
                    <a:pt x="52" y="44"/>
                    <a:pt x="44" y="35"/>
                  </a:cubicBezTo>
                  <a:cubicBezTo>
                    <a:pt x="37" y="26"/>
                    <a:pt x="29" y="16"/>
                    <a:pt x="20" y="8"/>
                  </a:cubicBezTo>
                  <a:cubicBezTo>
                    <a:pt x="12" y="0"/>
                    <a:pt x="0" y="12"/>
                    <a:pt x="8" y="20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3" name="Freeform 318">
              <a:extLst>
                <a:ext uri="{FF2B5EF4-FFF2-40B4-BE49-F238E27FC236}">
                  <a16:creationId xmlns:a16="http://schemas.microsoft.com/office/drawing/2014/main" id="{B1A5A33F-132E-465E-A82C-0CC10CED1D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9225" y="6640513"/>
              <a:ext cx="168275" cy="219075"/>
            </a:xfrm>
            <a:custGeom>
              <a:avLst/>
              <a:gdLst>
                <a:gd name="T0" fmla="*/ 11 w 71"/>
                <a:gd name="T1" fmla="*/ 3 h 93"/>
                <a:gd name="T2" fmla="*/ 2 w 71"/>
                <a:gd name="T3" fmla="*/ 11 h 93"/>
                <a:gd name="T4" fmla="*/ 33 w 71"/>
                <a:gd name="T5" fmla="*/ 48 h 93"/>
                <a:gd name="T6" fmla="*/ 68 w 71"/>
                <a:gd name="T7" fmla="*/ 92 h 93"/>
                <a:gd name="T8" fmla="*/ 70 w 71"/>
                <a:gd name="T9" fmla="*/ 91 h 93"/>
                <a:gd name="T10" fmla="*/ 43 w 71"/>
                <a:gd name="T11" fmla="*/ 40 h 93"/>
                <a:gd name="T12" fmla="*/ 11 w 71"/>
                <a:gd name="T13" fmla="*/ 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93">
                  <a:moveTo>
                    <a:pt x="11" y="3"/>
                  </a:moveTo>
                  <a:cubicBezTo>
                    <a:pt x="5" y="0"/>
                    <a:pt x="0" y="6"/>
                    <a:pt x="2" y="11"/>
                  </a:cubicBezTo>
                  <a:cubicBezTo>
                    <a:pt x="9" y="25"/>
                    <a:pt x="23" y="36"/>
                    <a:pt x="33" y="48"/>
                  </a:cubicBezTo>
                  <a:cubicBezTo>
                    <a:pt x="45" y="62"/>
                    <a:pt x="58" y="76"/>
                    <a:pt x="68" y="92"/>
                  </a:cubicBezTo>
                  <a:cubicBezTo>
                    <a:pt x="69" y="93"/>
                    <a:pt x="71" y="92"/>
                    <a:pt x="70" y="91"/>
                  </a:cubicBezTo>
                  <a:cubicBezTo>
                    <a:pt x="61" y="74"/>
                    <a:pt x="54" y="56"/>
                    <a:pt x="43" y="40"/>
                  </a:cubicBezTo>
                  <a:cubicBezTo>
                    <a:pt x="34" y="27"/>
                    <a:pt x="24" y="11"/>
                    <a:pt x="11" y="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4" name="Freeform 319">
              <a:extLst>
                <a:ext uri="{FF2B5EF4-FFF2-40B4-BE49-F238E27FC236}">
                  <a16:creationId xmlns:a16="http://schemas.microsoft.com/office/drawing/2014/main" id="{5EA3EBDE-68BA-4FCE-861F-AC62F6090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08238" y="125413"/>
              <a:ext cx="204788" cy="146050"/>
            </a:xfrm>
            <a:custGeom>
              <a:avLst/>
              <a:gdLst>
                <a:gd name="T0" fmla="*/ 79 w 87"/>
                <a:gd name="T1" fmla="*/ 60 h 62"/>
                <a:gd name="T2" fmla="*/ 83 w 87"/>
                <a:gd name="T3" fmla="*/ 55 h 62"/>
                <a:gd name="T4" fmla="*/ 2 w 87"/>
                <a:gd name="T5" fmla="*/ 1 h 62"/>
                <a:gd name="T6" fmla="*/ 1 w 87"/>
                <a:gd name="T7" fmla="*/ 3 h 62"/>
                <a:gd name="T8" fmla="*/ 79 w 87"/>
                <a:gd name="T9" fmla="*/ 6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62">
                  <a:moveTo>
                    <a:pt x="79" y="60"/>
                  </a:moveTo>
                  <a:cubicBezTo>
                    <a:pt x="83" y="62"/>
                    <a:pt x="87" y="58"/>
                    <a:pt x="83" y="55"/>
                  </a:cubicBezTo>
                  <a:cubicBezTo>
                    <a:pt x="60" y="33"/>
                    <a:pt x="29" y="18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26" y="22"/>
                    <a:pt x="51" y="46"/>
                    <a:pt x="79" y="60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5" name="Freeform 320">
              <a:extLst>
                <a:ext uri="{FF2B5EF4-FFF2-40B4-BE49-F238E27FC236}">
                  <a16:creationId xmlns:a16="http://schemas.microsoft.com/office/drawing/2014/main" id="{AACE70FB-282D-42C6-A878-350B23CA88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38450" y="498475"/>
              <a:ext cx="222250" cy="163513"/>
            </a:xfrm>
            <a:custGeom>
              <a:avLst/>
              <a:gdLst>
                <a:gd name="T0" fmla="*/ 41 w 94"/>
                <a:gd name="T1" fmla="*/ 34 h 69"/>
                <a:gd name="T2" fmla="*/ 88 w 94"/>
                <a:gd name="T3" fmla="*/ 67 h 69"/>
                <a:gd name="T4" fmla="*/ 92 w 94"/>
                <a:gd name="T5" fmla="*/ 62 h 69"/>
                <a:gd name="T6" fmla="*/ 50 w 94"/>
                <a:gd name="T7" fmla="*/ 32 h 69"/>
                <a:gd name="T8" fmla="*/ 2 w 94"/>
                <a:gd name="T9" fmla="*/ 1 h 69"/>
                <a:gd name="T10" fmla="*/ 1 w 94"/>
                <a:gd name="T11" fmla="*/ 3 h 69"/>
                <a:gd name="T12" fmla="*/ 41 w 94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69">
                  <a:moveTo>
                    <a:pt x="41" y="34"/>
                  </a:moveTo>
                  <a:cubicBezTo>
                    <a:pt x="56" y="46"/>
                    <a:pt x="71" y="60"/>
                    <a:pt x="88" y="67"/>
                  </a:cubicBezTo>
                  <a:cubicBezTo>
                    <a:pt x="91" y="69"/>
                    <a:pt x="94" y="65"/>
                    <a:pt x="92" y="62"/>
                  </a:cubicBezTo>
                  <a:cubicBezTo>
                    <a:pt x="80" y="50"/>
                    <a:pt x="64" y="41"/>
                    <a:pt x="50" y="32"/>
                  </a:cubicBezTo>
                  <a:cubicBezTo>
                    <a:pt x="34" y="22"/>
                    <a:pt x="19" y="11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14" y="14"/>
                    <a:pt x="28" y="24"/>
                    <a:pt x="41" y="34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6" name="Freeform 321">
              <a:extLst>
                <a:ext uri="{FF2B5EF4-FFF2-40B4-BE49-F238E27FC236}">
                  <a16:creationId xmlns:a16="http://schemas.microsoft.com/office/drawing/2014/main" id="{23E3E3C5-0360-4AE7-B043-B391ED14C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2888" y="269875"/>
              <a:ext cx="525463" cy="320675"/>
            </a:xfrm>
            <a:custGeom>
              <a:avLst/>
              <a:gdLst>
                <a:gd name="T0" fmla="*/ 207 w 222"/>
                <a:gd name="T1" fmla="*/ 133 h 136"/>
                <a:gd name="T2" fmla="*/ 218 w 222"/>
                <a:gd name="T3" fmla="*/ 114 h 136"/>
                <a:gd name="T4" fmla="*/ 117 w 222"/>
                <a:gd name="T5" fmla="*/ 55 h 136"/>
                <a:gd name="T6" fmla="*/ 1 w 222"/>
                <a:gd name="T7" fmla="*/ 1 h 136"/>
                <a:gd name="T8" fmla="*/ 1 w 222"/>
                <a:gd name="T9" fmla="*/ 3 h 136"/>
                <a:gd name="T10" fmla="*/ 112 w 222"/>
                <a:gd name="T11" fmla="*/ 79 h 136"/>
                <a:gd name="T12" fmla="*/ 207 w 222"/>
                <a:gd name="T13" fmla="*/ 13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" h="136">
                  <a:moveTo>
                    <a:pt x="207" y="133"/>
                  </a:moveTo>
                  <a:cubicBezTo>
                    <a:pt x="217" y="132"/>
                    <a:pt x="222" y="123"/>
                    <a:pt x="218" y="114"/>
                  </a:cubicBezTo>
                  <a:cubicBezTo>
                    <a:pt x="202" y="79"/>
                    <a:pt x="150" y="71"/>
                    <a:pt x="117" y="55"/>
                  </a:cubicBezTo>
                  <a:cubicBezTo>
                    <a:pt x="78" y="37"/>
                    <a:pt x="41" y="17"/>
                    <a:pt x="1" y="1"/>
                  </a:cubicBezTo>
                  <a:cubicBezTo>
                    <a:pt x="0" y="0"/>
                    <a:pt x="0" y="2"/>
                    <a:pt x="1" y="3"/>
                  </a:cubicBezTo>
                  <a:cubicBezTo>
                    <a:pt x="36" y="30"/>
                    <a:pt x="75" y="54"/>
                    <a:pt x="112" y="79"/>
                  </a:cubicBezTo>
                  <a:cubicBezTo>
                    <a:pt x="141" y="99"/>
                    <a:pt x="170" y="136"/>
                    <a:pt x="207" y="13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7" name="Freeform 322">
              <a:extLst>
                <a:ext uri="{FF2B5EF4-FFF2-40B4-BE49-F238E27FC236}">
                  <a16:creationId xmlns:a16="http://schemas.microsoft.com/office/drawing/2014/main" id="{E9AE523A-777F-47A3-AF11-CAAEABB6D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05063" y="782638"/>
              <a:ext cx="241300" cy="106363"/>
            </a:xfrm>
            <a:custGeom>
              <a:avLst/>
              <a:gdLst>
                <a:gd name="T0" fmla="*/ 96 w 102"/>
                <a:gd name="T1" fmla="*/ 44 h 45"/>
                <a:gd name="T2" fmla="*/ 99 w 102"/>
                <a:gd name="T3" fmla="*/ 38 h 45"/>
                <a:gd name="T4" fmla="*/ 3 w 102"/>
                <a:gd name="T5" fmla="*/ 0 h 45"/>
                <a:gd name="T6" fmla="*/ 2 w 102"/>
                <a:gd name="T7" fmla="*/ 3 h 45"/>
                <a:gd name="T8" fmla="*/ 96 w 102"/>
                <a:gd name="T9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45">
                  <a:moveTo>
                    <a:pt x="96" y="44"/>
                  </a:moveTo>
                  <a:cubicBezTo>
                    <a:pt x="100" y="45"/>
                    <a:pt x="102" y="40"/>
                    <a:pt x="99" y="38"/>
                  </a:cubicBezTo>
                  <a:cubicBezTo>
                    <a:pt x="72" y="19"/>
                    <a:pt x="34" y="9"/>
                    <a:pt x="3" y="0"/>
                  </a:cubicBezTo>
                  <a:cubicBezTo>
                    <a:pt x="1" y="0"/>
                    <a:pt x="0" y="2"/>
                    <a:pt x="2" y="3"/>
                  </a:cubicBezTo>
                  <a:cubicBezTo>
                    <a:pt x="30" y="19"/>
                    <a:pt x="64" y="38"/>
                    <a:pt x="96" y="44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8" name="Freeform 323">
              <a:extLst>
                <a:ext uri="{FF2B5EF4-FFF2-40B4-BE49-F238E27FC236}">
                  <a16:creationId xmlns:a16="http://schemas.microsoft.com/office/drawing/2014/main" id="{B2E1CB6F-BAA2-49E3-9599-5C956F348E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33688" y="1174750"/>
              <a:ext cx="109538" cy="68263"/>
            </a:xfrm>
            <a:custGeom>
              <a:avLst/>
              <a:gdLst>
                <a:gd name="T0" fmla="*/ 2 w 46"/>
                <a:gd name="T1" fmla="*/ 4 h 29"/>
                <a:gd name="T2" fmla="*/ 23 w 46"/>
                <a:gd name="T3" fmla="*/ 18 h 29"/>
                <a:gd name="T4" fmla="*/ 42 w 46"/>
                <a:gd name="T5" fmla="*/ 29 h 29"/>
                <a:gd name="T6" fmla="*/ 44 w 46"/>
                <a:gd name="T7" fmla="*/ 24 h 29"/>
                <a:gd name="T8" fmla="*/ 26 w 46"/>
                <a:gd name="T9" fmla="*/ 12 h 29"/>
                <a:gd name="T10" fmla="*/ 4 w 46"/>
                <a:gd name="T11" fmla="*/ 1 h 29"/>
                <a:gd name="T12" fmla="*/ 2 w 46"/>
                <a:gd name="T13" fmla="*/ 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9">
                  <a:moveTo>
                    <a:pt x="2" y="4"/>
                  </a:moveTo>
                  <a:cubicBezTo>
                    <a:pt x="9" y="9"/>
                    <a:pt x="16" y="13"/>
                    <a:pt x="23" y="18"/>
                  </a:cubicBezTo>
                  <a:cubicBezTo>
                    <a:pt x="29" y="22"/>
                    <a:pt x="35" y="27"/>
                    <a:pt x="42" y="29"/>
                  </a:cubicBezTo>
                  <a:cubicBezTo>
                    <a:pt x="44" y="29"/>
                    <a:pt x="46" y="26"/>
                    <a:pt x="44" y="24"/>
                  </a:cubicBezTo>
                  <a:cubicBezTo>
                    <a:pt x="39" y="19"/>
                    <a:pt x="32" y="16"/>
                    <a:pt x="26" y="12"/>
                  </a:cubicBezTo>
                  <a:cubicBezTo>
                    <a:pt x="18" y="8"/>
                    <a:pt x="11" y="5"/>
                    <a:pt x="4" y="1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9" name="Freeform 324">
              <a:extLst>
                <a:ext uri="{FF2B5EF4-FFF2-40B4-BE49-F238E27FC236}">
                  <a16:creationId xmlns:a16="http://schemas.microsoft.com/office/drawing/2014/main" id="{18E31869-DEA2-4A71-BD0E-18E43CA09E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6363" y="990600"/>
              <a:ext cx="669925" cy="303213"/>
            </a:xfrm>
            <a:custGeom>
              <a:avLst/>
              <a:gdLst>
                <a:gd name="T0" fmla="*/ 2 w 283"/>
                <a:gd name="T1" fmla="*/ 6 h 128"/>
                <a:gd name="T2" fmla="*/ 145 w 283"/>
                <a:gd name="T3" fmla="*/ 78 h 128"/>
                <a:gd name="T4" fmla="*/ 263 w 283"/>
                <a:gd name="T5" fmla="*/ 127 h 128"/>
                <a:gd name="T6" fmla="*/ 274 w 283"/>
                <a:gd name="T7" fmla="*/ 101 h 128"/>
                <a:gd name="T8" fmla="*/ 157 w 283"/>
                <a:gd name="T9" fmla="*/ 48 h 128"/>
                <a:gd name="T10" fmla="*/ 5 w 283"/>
                <a:gd name="T11" fmla="*/ 1 h 128"/>
                <a:gd name="T12" fmla="*/ 2 w 283"/>
                <a:gd name="T13" fmla="*/ 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" h="128">
                  <a:moveTo>
                    <a:pt x="2" y="6"/>
                  </a:moveTo>
                  <a:cubicBezTo>
                    <a:pt x="49" y="32"/>
                    <a:pt x="97" y="54"/>
                    <a:pt x="145" y="78"/>
                  </a:cubicBezTo>
                  <a:cubicBezTo>
                    <a:pt x="183" y="97"/>
                    <a:pt x="220" y="123"/>
                    <a:pt x="263" y="127"/>
                  </a:cubicBezTo>
                  <a:cubicBezTo>
                    <a:pt x="276" y="128"/>
                    <a:pt x="283" y="110"/>
                    <a:pt x="274" y="101"/>
                  </a:cubicBezTo>
                  <a:cubicBezTo>
                    <a:pt x="242" y="72"/>
                    <a:pt x="197" y="62"/>
                    <a:pt x="157" y="48"/>
                  </a:cubicBezTo>
                  <a:cubicBezTo>
                    <a:pt x="107" y="31"/>
                    <a:pt x="56" y="13"/>
                    <a:pt x="5" y="1"/>
                  </a:cubicBezTo>
                  <a:cubicBezTo>
                    <a:pt x="2" y="0"/>
                    <a:pt x="0" y="5"/>
                    <a:pt x="2" y="6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0" name="Freeform 325">
              <a:extLst>
                <a:ext uri="{FF2B5EF4-FFF2-40B4-BE49-F238E27FC236}">
                  <a16:creationId xmlns:a16="http://schemas.microsoft.com/office/drawing/2014/main" id="{6E21575E-BB6C-4C1A-853D-6B4B910DD8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65375" y="1458913"/>
              <a:ext cx="214313" cy="101600"/>
            </a:xfrm>
            <a:custGeom>
              <a:avLst/>
              <a:gdLst>
                <a:gd name="T0" fmla="*/ 46 w 91"/>
                <a:gd name="T1" fmla="*/ 20 h 43"/>
                <a:gd name="T2" fmla="*/ 82 w 91"/>
                <a:gd name="T3" fmla="*/ 41 h 43"/>
                <a:gd name="T4" fmla="*/ 87 w 91"/>
                <a:gd name="T5" fmla="*/ 35 h 43"/>
                <a:gd name="T6" fmla="*/ 4 w 91"/>
                <a:gd name="T7" fmla="*/ 0 h 43"/>
                <a:gd name="T8" fmla="*/ 3 w 91"/>
                <a:gd name="T9" fmla="*/ 3 h 43"/>
                <a:gd name="T10" fmla="*/ 46 w 91"/>
                <a:gd name="T11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43">
                  <a:moveTo>
                    <a:pt x="46" y="20"/>
                  </a:moveTo>
                  <a:cubicBezTo>
                    <a:pt x="58" y="27"/>
                    <a:pt x="70" y="35"/>
                    <a:pt x="82" y="41"/>
                  </a:cubicBezTo>
                  <a:cubicBezTo>
                    <a:pt x="86" y="43"/>
                    <a:pt x="91" y="38"/>
                    <a:pt x="87" y="35"/>
                  </a:cubicBezTo>
                  <a:cubicBezTo>
                    <a:pt x="65" y="14"/>
                    <a:pt x="33" y="4"/>
                    <a:pt x="4" y="0"/>
                  </a:cubicBezTo>
                  <a:cubicBezTo>
                    <a:pt x="1" y="0"/>
                    <a:pt x="0" y="3"/>
                    <a:pt x="3" y="3"/>
                  </a:cubicBezTo>
                  <a:cubicBezTo>
                    <a:pt x="18" y="8"/>
                    <a:pt x="33" y="13"/>
                    <a:pt x="46" y="20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1" name="Freeform 326">
              <a:extLst>
                <a:ext uri="{FF2B5EF4-FFF2-40B4-BE49-F238E27FC236}">
                  <a16:creationId xmlns:a16="http://schemas.microsoft.com/office/drawing/2014/main" id="{AA69565F-42A3-47D2-AB89-6563A150D3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4150" y="1676400"/>
              <a:ext cx="554038" cy="204788"/>
            </a:xfrm>
            <a:custGeom>
              <a:avLst/>
              <a:gdLst>
                <a:gd name="T0" fmla="*/ 110 w 234"/>
                <a:gd name="T1" fmla="*/ 46 h 87"/>
                <a:gd name="T2" fmla="*/ 222 w 234"/>
                <a:gd name="T3" fmla="*/ 84 h 87"/>
                <a:gd name="T4" fmla="*/ 229 w 234"/>
                <a:gd name="T5" fmla="*/ 68 h 87"/>
                <a:gd name="T6" fmla="*/ 124 w 234"/>
                <a:gd name="T7" fmla="*/ 24 h 87"/>
                <a:gd name="T8" fmla="*/ 1 w 234"/>
                <a:gd name="T9" fmla="*/ 0 h 87"/>
                <a:gd name="T10" fmla="*/ 1 w 234"/>
                <a:gd name="T11" fmla="*/ 2 h 87"/>
                <a:gd name="T12" fmla="*/ 110 w 234"/>
                <a:gd name="T13" fmla="*/ 4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4" h="87">
                  <a:moveTo>
                    <a:pt x="110" y="46"/>
                  </a:moveTo>
                  <a:cubicBezTo>
                    <a:pt x="145" y="60"/>
                    <a:pt x="183" y="87"/>
                    <a:pt x="222" y="84"/>
                  </a:cubicBezTo>
                  <a:cubicBezTo>
                    <a:pt x="230" y="84"/>
                    <a:pt x="234" y="75"/>
                    <a:pt x="229" y="68"/>
                  </a:cubicBezTo>
                  <a:cubicBezTo>
                    <a:pt x="204" y="39"/>
                    <a:pt x="160" y="34"/>
                    <a:pt x="124" y="24"/>
                  </a:cubicBezTo>
                  <a:cubicBezTo>
                    <a:pt x="84" y="13"/>
                    <a:pt x="43" y="4"/>
                    <a:pt x="1" y="0"/>
                  </a:cubicBezTo>
                  <a:cubicBezTo>
                    <a:pt x="0" y="0"/>
                    <a:pt x="0" y="1"/>
                    <a:pt x="1" y="2"/>
                  </a:cubicBezTo>
                  <a:cubicBezTo>
                    <a:pt x="37" y="17"/>
                    <a:pt x="74" y="31"/>
                    <a:pt x="110" y="46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2" name="Freeform 327">
              <a:extLst>
                <a:ext uri="{FF2B5EF4-FFF2-40B4-BE49-F238E27FC236}">
                  <a16:creationId xmlns:a16="http://schemas.microsoft.com/office/drawing/2014/main" id="{A93DFD20-A1E8-4212-B481-591F08862A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1088" y="2011363"/>
              <a:ext cx="241300" cy="76200"/>
            </a:xfrm>
            <a:custGeom>
              <a:avLst/>
              <a:gdLst>
                <a:gd name="T0" fmla="*/ 97 w 102"/>
                <a:gd name="T1" fmla="*/ 31 h 32"/>
                <a:gd name="T2" fmla="*/ 99 w 102"/>
                <a:gd name="T3" fmla="*/ 24 h 32"/>
                <a:gd name="T4" fmla="*/ 54 w 102"/>
                <a:gd name="T5" fmla="*/ 11 h 32"/>
                <a:gd name="T6" fmla="*/ 3 w 102"/>
                <a:gd name="T7" fmla="*/ 0 h 32"/>
                <a:gd name="T8" fmla="*/ 2 w 102"/>
                <a:gd name="T9" fmla="*/ 3 h 32"/>
                <a:gd name="T10" fmla="*/ 52 w 102"/>
                <a:gd name="T11" fmla="*/ 20 h 32"/>
                <a:gd name="T12" fmla="*/ 97 w 102"/>
                <a:gd name="T13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32">
                  <a:moveTo>
                    <a:pt x="97" y="31"/>
                  </a:moveTo>
                  <a:cubicBezTo>
                    <a:pt x="101" y="31"/>
                    <a:pt x="102" y="26"/>
                    <a:pt x="99" y="24"/>
                  </a:cubicBezTo>
                  <a:cubicBezTo>
                    <a:pt x="86" y="15"/>
                    <a:pt x="69" y="14"/>
                    <a:pt x="54" y="11"/>
                  </a:cubicBezTo>
                  <a:cubicBezTo>
                    <a:pt x="37" y="8"/>
                    <a:pt x="20" y="4"/>
                    <a:pt x="3" y="0"/>
                  </a:cubicBezTo>
                  <a:cubicBezTo>
                    <a:pt x="1" y="0"/>
                    <a:pt x="0" y="3"/>
                    <a:pt x="2" y="3"/>
                  </a:cubicBezTo>
                  <a:cubicBezTo>
                    <a:pt x="19" y="8"/>
                    <a:pt x="35" y="14"/>
                    <a:pt x="52" y="20"/>
                  </a:cubicBezTo>
                  <a:cubicBezTo>
                    <a:pt x="66" y="25"/>
                    <a:pt x="81" y="32"/>
                    <a:pt x="97" y="31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3" name="Freeform 328">
              <a:extLst>
                <a:ext uri="{FF2B5EF4-FFF2-40B4-BE49-F238E27FC236}">
                  <a16:creationId xmlns:a16="http://schemas.microsoft.com/office/drawing/2014/main" id="{7941CFEA-F5C2-4F1D-A1A4-8BCC050A78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3900" y="2413000"/>
              <a:ext cx="387350" cy="166688"/>
            </a:xfrm>
            <a:custGeom>
              <a:avLst/>
              <a:gdLst>
                <a:gd name="T0" fmla="*/ 97 w 164"/>
                <a:gd name="T1" fmla="*/ 17 h 70"/>
                <a:gd name="T2" fmla="*/ 2 w 164"/>
                <a:gd name="T3" fmla="*/ 1 h 70"/>
                <a:gd name="T4" fmla="*/ 1 w 164"/>
                <a:gd name="T5" fmla="*/ 3 h 70"/>
                <a:gd name="T6" fmla="*/ 97 w 164"/>
                <a:gd name="T7" fmla="*/ 46 h 70"/>
                <a:gd name="T8" fmla="*/ 158 w 164"/>
                <a:gd name="T9" fmla="*/ 57 h 70"/>
                <a:gd name="T10" fmla="*/ 161 w 164"/>
                <a:gd name="T11" fmla="*/ 43 h 70"/>
                <a:gd name="T12" fmla="*/ 97 w 164"/>
                <a:gd name="T13" fmla="*/ 1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70">
                  <a:moveTo>
                    <a:pt x="97" y="17"/>
                  </a:moveTo>
                  <a:cubicBezTo>
                    <a:pt x="65" y="11"/>
                    <a:pt x="33" y="8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34" y="15"/>
                    <a:pt x="65" y="32"/>
                    <a:pt x="97" y="46"/>
                  </a:cubicBezTo>
                  <a:cubicBezTo>
                    <a:pt x="117" y="55"/>
                    <a:pt x="137" y="70"/>
                    <a:pt x="158" y="57"/>
                  </a:cubicBezTo>
                  <a:cubicBezTo>
                    <a:pt x="163" y="54"/>
                    <a:pt x="164" y="48"/>
                    <a:pt x="161" y="43"/>
                  </a:cubicBezTo>
                  <a:cubicBezTo>
                    <a:pt x="151" y="19"/>
                    <a:pt x="120" y="21"/>
                    <a:pt x="97" y="17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4" name="Freeform 329">
              <a:extLst>
                <a:ext uri="{FF2B5EF4-FFF2-40B4-BE49-F238E27FC236}">
                  <a16:creationId xmlns:a16="http://schemas.microsoft.com/office/drawing/2014/main" id="{902DA800-C357-48C8-AC57-8496350D4B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68513" y="2924175"/>
              <a:ext cx="330200" cy="109538"/>
            </a:xfrm>
            <a:custGeom>
              <a:avLst/>
              <a:gdLst>
                <a:gd name="T0" fmla="*/ 133 w 139"/>
                <a:gd name="T1" fmla="*/ 33 h 46"/>
                <a:gd name="T2" fmla="*/ 137 w 139"/>
                <a:gd name="T3" fmla="*/ 22 h 46"/>
                <a:gd name="T4" fmla="*/ 85 w 139"/>
                <a:gd name="T5" fmla="*/ 7 h 46"/>
                <a:gd name="T6" fmla="*/ 3 w 139"/>
                <a:gd name="T7" fmla="*/ 0 h 46"/>
                <a:gd name="T8" fmla="*/ 2 w 139"/>
                <a:gd name="T9" fmla="*/ 4 h 46"/>
                <a:gd name="T10" fmla="*/ 78 w 139"/>
                <a:gd name="T11" fmla="*/ 27 h 46"/>
                <a:gd name="T12" fmla="*/ 133 w 139"/>
                <a:gd name="T13" fmla="*/ 3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46">
                  <a:moveTo>
                    <a:pt x="133" y="33"/>
                  </a:moveTo>
                  <a:cubicBezTo>
                    <a:pt x="137" y="31"/>
                    <a:pt x="139" y="26"/>
                    <a:pt x="137" y="22"/>
                  </a:cubicBezTo>
                  <a:cubicBezTo>
                    <a:pt x="125" y="3"/>
                    <a:pt x="106" y="8"/>
                    <a:pt x="85" y="7"/>
                  </a:cubicBezTo>
                  <a:cubicBezTo>
                    <a:pt x="58" y="5"/>
                    <a:pt x="30" y="2"/>
                    <a:pt x="3" y="0"/>
                  </a:cubicBezTo>
                  <a:cubicBezTo>
                    <a:pt x="0" y="0"/>
                    <a:pt x="0" y="4"/>
                    <a:pt x="2" y="4"/>
                  </a:cubicBezTo>
                  <a:cubicBezTo>
                    <a:pt x="27" y="12"/>
                    <a:pt x="53" y="19"/>
                    <a:pt x="78" y="27"/>
                  </a:cubicBezTo>
                  <a:cubicBezTo>
                    <a:pt x="97" y="33"/>
                    <a:pt x="116" y="46"/>
                    <a:pt x="133" y="3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5" name="Freeform 330">
              <a:extLst>
                <a:ext uri="{FF2B5EF4-FFF2-40B4-BE49-F238E27FC236}">
                  <a16:creationId xmlns:a16="http://schemas.microsoft.com/office/drawing/2014/main" id="{397C2258-E400-4EEC-9A1B-30EFF21198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12938" y="3463925"/>
              <a:ext cx="285750" cy="84138"/>
            </a:xfrm>
            <a:custGeom>
              <a:avLst/>
              <a:gdLst>
                <a:gd name="T0" fmla="*/ 99 w 121"/>
                <a:gd name="T1" fmla="*/ 1 h 36"/>
                <a:gd name="T2" fmla="*/ 5 w 121"/>
                <a:gd name="T3" fmla="*/ 3 h 36"/>
                <a:gd name="T4" fmla="*/ 4 w 121"/>
                <a:gd name="T5" fmla="*/ 10 h 36"/>
                <a:gd name="T6" fmla="*/ 95 w 121"/>
                <a:gd name="T7" fmla="*/ 31 h 36"/>
                <a:gd name="T8" fmla="*/ 99 w 121"/>
                <a:gd name="T9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36">
                  <a:moveTo>
                    <a:pt x="99" y="1"/>
                  </a:moveTo>
                  <a:cubicBezTo>
                    <a:pt x="68" y="2"/>
                    <a:pt x="36" y="1"/>
                    <a:pt x="5" y="3"/>
                  </a:cubicBezTo>
                  <a:cubicBezTo>
                    <a:pt x="1" y="3"/>
                    <a:pt x="0" y="9"/>
                    <a:pt x="4" y="10"/>
                  </a:cubicBezTo>
                  <a:cubicBezTo>
                    <a:pt x="34" y="18"/>
                    <a:pt x="65" y="23"/>
                    <a:pt x="95" y="31"/>
                  </a:cubicBezTo>
                  <a:cubicBezTo>
                    <a:pt x="117" y="36"/>
                    <a:pt x="121" y="0"/>
                    <a:pt x="99" y="1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6" name="Freeform 331">
              <a:extLst>
                <a:ext uri="{FF2B5EF4-FFF2-40B4-BE49-F238E27FC236}">
                  <a16:creationId xmlns:a16="http://schemas.microsoft.com/office/drawing/2014/main" id="{BDB7AF59-E59C-476A-8A15-6E33A1FECB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4313" y="4025900"/>
              <a:ext cx="571500" cy="163513"/>
            </a:xfrm>
            <a:custGeom>
              <a:avLst/>
              <a:gdLst>
                <a:gd name="T0" fmla="*/ 4 w 241"/>
                <a:gd name="T1" fmla="*/ 66 h 69"/>
                <a:gd name="T2" fmla="*/ 209 w 241"/>
                <a:gd name="T3" fmla="*/ 51 h 69"/>
                <a:gd name="T4" fmla="*/ 203 w 241"/>
                <a:gd name="T5" fmla="*/ 8 h 69"/>
                <a:gd name="T6" fmla="*/ 3 w 241"/>
                <a:gd name="T7" fmla="*/ 61 h 69"/>
                <a:gd name="T8" fmla="*/ 4 w 241"/>
                <a:gd name="T9" fmla="*/ 6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69">
                  <a:moveTo>
                    <a:pt x="4" y="66"/>
                  </a:moveTo>
                  <a:cubicBezTo>
                    <a:pt x="72" y="69"/>
                    <a:pt x="141" y="55"/>
                    <a:pt x="209" y="51"/>
                  </a:cubicBezTo>
                  <a:cubicBezTo>
                    <a:pt x="241" y="48"/>
                    <a:pt x="234" y="0"/>
                    <a:pt x="203" y="8"/>
                  </a:cubicBezTo>
                  <a:cubicBezTo>
                    <a:pt x="137" y="26"/>
                    <a:pt x="67" y="36"/>
                    <a:pt x="3" y="61"/>
                  </a:cubicBezTo>
                  <a:cubicBezTo>
                    <a:pt x="0" y="62"/>
                    <a:pt x="1" y="66"/>
                    <a:pt x="4" y="66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7" name="Freeform 332">
              <a:extLst>
                <a:ext uri="{FF2B5EF4-FFF2-40B4-BE49-F238E27FC236}">
                  <a16:creationId xmlns:a16="http://schemas.microsoft.com/office/drawing/2014/main" id="{B54480FE-5AC7-4952-B319-69B64386E6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55800" y="4403725"/>
              <a:ext cx="531813" cy="179388"/>
            </a:xfrm>
            <a:custGeom>
              <a:avLst/>
              <a:gdLst>
                <a:gd name="T0" fmla="*/ 196 w 225"/>
                <a:gd name="T1" fmla="*/ 6 h 76"/>
                <a:gd name="T2" fmla="*/ 2 w 225"/>
                <a:gd name="T3" fmla="*/ 73 h 76"/>
                <a:gd name="T4" fmla="*/ 2 w 225"/>
                <a:gd name="T5" fmla="*/ 76 h 76"/>
                <a:gd name="T6" fmla="*/ 205 w 225"/>
                <a:gd name="T7" fmla="*/ 38 h 76"/>
                <a:gd name="T8" fmla="*/ 196 w 225"/>
                <a:gd name="T9" fmla="*/ 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76">
                  <a:moveTo>
                    <a:pt x="196" y="6"/>
                  </a:moveTo>
                  <a:cubicBezTo>
                    <a:pt x="131" y="28"/>
                    <a:pt x="71" y="60"/>
                    <a:pt x="2" y="73"/>
                  </a:cubicBezTo>
                  <a:cubicBezTo>
                    <a:pt x="0" y="74"/>
                    <a:pt x="1" y="76"/>
                    <a:pt x="2" y="76"/>
                  </a:cubicBezTo>
                  <a:cubicBezTo>
                    <a:pt x="68" y="63"/>
                    <a:pt x="142" y="61"/>
                    <a:pt x="205" y="38"/>
                  </a:cubicBezTo>
                  <a:cubicBezTo>
                    <a:pt x="225" y="31"/>
                    <a:pt x="217" y="0"/>
                    <a:pt x="196" y="6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8" name="Freeform 333">
              <a:extLst>
                <a:ext uri="{FF2B5EF4-FFF2-40B4-BE49-F238E27FC236}">
                  <a16:creationId xmlns:a16="http://schemas.microsoft.com/office/drawing/2014/main" id="{1601D091-419D-41A8-951F-1931BFD8C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4988" y="5184775"/>
              <a:ext cx="311150" cy="111125"/>
            </a:xfrm>
            <a:custGeom>
              <a:avLst/>
              <a:gdLst>
                <a:gd name="T0" fmla="*/ 3 w 132"/>
                <a:gd name="T1" fmla="*/ 47 h 47"/>
                <a:gd name="T2" fmla="*/ 63 w 132"/>
                <a:gd name="T3" fmla="*/ 29 h 47"/>
                <a:gd name="T4" fmla="*/ 124 w 132"/>
                <a:gd name="T5" fmla="*/ 15 h 47"/>
                <a:gd name="T6" fmla="*/ 122 w 132"/>
                <a:gd name="T7" fmla="*/ 0 h 47"/>
                <a:gd name="T8" fmla="*/ 1 w 132"/>
                <a:gd name="T9" fmla="*/ 43 h 47"/>
                <a:gd name="T10" fmla="*/ 3 w 132"/>
                <a:gd name="T1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47">
                  <a:moveTo>
                    <a:pt x="3" y="47"/>
                  </a:moveTo>
                  <a:cubicBezTo>
                    <a:pt x="22" y="40"/>
                    <a:pt x="42" y="34"/>
                    <a:pt x="63" y="29"/>
                  </a:cubicBezTo>
                  <a:cubicBezTo>
                    <a:pt x="83" y="24"/>
                    <a:pt x="104" y="22"/>
                    <a:pt x="124" y="15"/>
                  </a:cubicBezTo>
                  <a:cubicBezTo>
                    <a:pt x="132" y="13"/>
                    <a:pt x="131" y="0"/>
                    <a:pt x="122" y="0"/>
                  </a:cubicBezTo>
                  <a:cubicBezTo>
                    <a:pt x="81" y="2"/>
                    <a:pt x="36" y="23"/>
                    <a:pt x="1" y="43"/>
                  </a:cubicBezTo>
                  <a:cubicBezTo>
                    <a:pt x="0" y="44"/>
                    <a:pt x="1" y="47"/>
                    <a:pt x="3" y="47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9" name="Freeform 334">
              <a:extLst>
                <a:ext uri="{FF2B5EF4-FFF2-40B4-BE49-F238E27FC236}">
                  <a16:creationId xmlns:a16="http://schemas.microsoft.com/office/drawing/2014/main" id="{D893996C-5921-4A08-80FA-307D720C43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2213" y="5046663"/>
              <a:ext cx="252413" cy="87313"/>
            </a:xfrm>
            <a:custGeom>
              <a:avLst/>
              <a:gdLst>
                <a:gd name="T0" fmla="*/ 99 w 107"/>
                <a:gd name="T1" fmla="*/ 3 h 37"/>
                <a:gd name="T2" fmla="*/ 51 w 107"/>
                <a:gd name="T3" fmla="*/ 13 h 37"/>
                <a:gd name="T4" fmla="*/ 1 w 107"/>
                <a:gd name="T5" fmla="*/ 33 h 37"/>
                <a:gd name="T6" fmla="*/ 2 w 107"/>
                <a:gd name="T7" fmla="*/ 37 h 37"/>
                <a:gd name="T8" fmla="*/ 56 w 107"/>
                <a:gd name="T9" fmla="*/ 30 h 37"/>
                <a:gd name="T10" fmla="*/ 102 w 107"/>
                <a:gd name="T11" fmla="*/ 16 h 37"/>
                <a:gd name="T12" fmla="*/ 99 w 107"/>
                <a:gd name="T13" fmla="*/ 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7">
                  <a:moveTo>
                    <a:pt x="99" y="3"/>
                  </a:moveTo>
                  <a:cubicBezTo>
                    <a:pt x="82" y="0"/>
                    <a:pt x="67" y="8"/>
                    <a:pt x="51" y="13"/>
                  </a:cubicBezTo>
                  <a:cubicBezTo>
                    <a:pt x="34" y="19"/>
                    <a:pt x="17" y="25"/>
                    <a:pt x="1" y="33"/>
                  </a:cubicBezTo>
                  <a:cubicBezTo>
                    <a:pt x="0" y="34"/>
                    <a:pt x="0" y="37"/>
                    <a:pt x="2" y="37"/>
                  </a:cubicBezTo>
                  <a:cubicBezTo>
                    <a:pt x="20" y="36"/>
                    <a:pt x="38" y="32"/>
                    <a:pt x="56" y="30"/>
                  </a:cubicBezTo>
                  <a:cubicBezTo>
                    <a:pt x="72" y="27"/>
                    <a:pt x="90" y="27"/>
                    <a:pt x="102" y="16"/>
                  </a:cubicBezTo>
                  <a:cubicBezTo>
                    <a:pt x="107" y="12"/>
                    <a:pt x="105" y="4"/>
                    <a:pt x="99" y="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0" name="Freeform 335">
              <a:extLst>
                <a:ext uri="{FF2B5EF4-FFF2-40B4-BE49-F238E27FC236}">
                  <a16:creationId xmlns:a16="http://schemas.microsoft.com/office/drawing/2014/main" id="{6785EEFF-4D56-4A44-90B2-4575BB6260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8650" y="5629275"/>
              <a:ext cx="568325" cy="188913"/>
            </a:xfrm>
            <a:custGeom>
              <a:avLst/>
              <a:gdLst>
                <a:gd name="T0" fmla="*/ 127 w 240"/>
                <a:gd name="T1" fmla="*/ 66 h 80"/>
                <a:gd name="T2" fmla="*/ 233 w 240"/>
                <a:gd name="T3" fmla="*/ 32 h 80"/>
                <a:gd name="T4" fmla="*/ 227 w 240"/>
                <a:gd name="T5" fmla="*/ 10 h 80"/>
                <a:gd name="T6" fmla="*/ 117 w 240"/>
                <a:gd name="T7" fmla="*/ 29 h 80"/>
                <a:gd name="T8" fmla="*/ 2 w 240"/>
                <a:gd name="T9" fmla="*/ 74 h 80"/>
                <a:gd name="T10" fmla="*/ 4 w 240"/>
                <a:gd name="T11" fmla="*/ 79 h 80"/>
                <a:gd name="T12" fmla="*/ 127 w 240"/>
                <a:gd name="T13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80">
                  <a:moveTo>
                    <a:pt x="127" y="66"/>
                  </a:moveTo>
                  <a:cubicBezTo>
                    <a:pt x="163" y="59"/>
                    <a:pt x="206" y="58"/>
                    <a:pt x="233" y="32"/>
                  </a:cubicBezTo>
                  <a:cubicBezTo>
                    <a:pt x="240" y="25"/>
                    <a:pt x="237" y="13"/>
                    <a:pt x="227" y="10"/>
                  </a:cubicBezTo>
                  <a:cubicBezTo>
                    <a:pt x="191" y="0"/>
                    <a:pt x="152" y="19"/>
                    <a:pt x="117" y="29"/>
                  </a:cubicBezTo>
                  <a:cubicBezTo>
                    <a:pt x="78" y="41"/>
                    <a:pt x="39" y="54"/>
                    <a:pt x="2" y="74"/>
                  </a:cubicBezTo>
                  <a:cubicBezTo>
                    <a:pt x="0" y="76"/>
                    <a:pt x="1" y="79"/>
                    <a:pt x="4" y="79"/>
                  </a:cubicBezTo>
                  <a:cubicBezTo>
                    <a:pt x="45" y="80"/>
                    <a:pt x="86" y="73"/>
                    <a:pt x="127" y="66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1" name="Freeform 336">
              <a:extLst>
                <a:ext uri="{FF2B5EF4-FFF2-40B4-BE49-F238E27FC236}">
                  <a16:creationId xmlns:a16="http://schemas.microsoft.com/office/drawing/2014/main" id="{B12CDA2D-ABC6-4C97-B12E-434FB996AB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95588" y="5534025"/>
              <a:ext cx="222250" cy="66675"/>
            </a:xfrm>
            <a:custGeom>
              <a:avLst/>
              <a:gdLst>
                <a:gd name="T0" fmla="*/ 3 w 94"/>
                <a:gd name="T1" fmla="*/ 20 h 28"/>
                <a:gd name="T2" fmla="*/ 85 w 94"/>
                <a:gd name="T3" fmla="*/ 17 h 28"/>
                <a:gd name="T4" fmla="*/ 81 w 94"/>
                <a:gd name="T5" fmla="*/ 3 h 28"/>
                <a:gd name="T6" fmla="*/ 4 w 94"/>
                <a:gd name="T7" fmla="*/ 14 h 28"/>
                <a:gd name="T8" fmla="*/ 3 w 94"/>
                <a:gd name="T9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28">
                  <a:moveTo>
                    <a:pt x="3" y="20"/>
                  </a:moveTo>
                  <a:cubicBezTo>
                    <a:pt x="29" y="28"/>
                    <a:pt x="59" y="25"/>
                    <a:pt x="85" y="17"/>
                  </a:cubicBezTo>
                  <a:cubicBezTo>
                    <a:pt x="94" y="15"/>
                    <a:pt x="90" y="0"/>
                    <a:pt x="81" y="3"/>
                  </a:cubicBezTo>
                  <a:cubicBezTo>
                    <a:pt x="55" y="11"/>
                    <a:pt x="30" y="13"/>
                    <a:pt x="4" y="14"/>
                  </a:cubicBezTo>
                  <a:cubicBezTo>
                    <a:pt x="0" y="15"/>
                    <a:pt x="0" y="19"/>
                    <a:pt x="3" y="20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2" name="Freeform 337">
              <a:extLst>
                <a:ext uri="{FF2B5EF4-FFF2-40B4-BE49-F238E27FC236}">
                  <a16:creationId xmlns:a16="http://schemas.microsoft.com/office/drawing/2014/main" id="{A5D363F5-E5B6-45D3-B2A0-E69EBD3B0A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1525" y="6600825"/>
              <a:ext cx="371475" cy="144463"/>
            </a:xfrm>
            <a:custGeom>
              <a:avLst/>
              <a:gdLst>
                <a:gd name="T0" fmla="*/ 105 w 157"/>
                <a:gd name="T1" fmla="*/ 43 h 61"/>
                <a:gd name="T2" fmla="*/ 155 w 157"/>
                <a:gd name="T3" fmla="*/ 22 h 61"/>
                <a:gd name="T4" fmla="*/ 152 w 157"/>
                <a:gd name="T5" fmla="*/ 12 h 61"/>
                <a:gd name="T6" fmla="*/ 89 w 157"/>
                <a:gd name="T7" fmla="*/ 23 h 61"/>
                <a:gd name="T8" fmla="*/ 4 w 157"/>
                <a:gd name="T9" fmla="*/ 55 h 61"/>
                <a:gd name="T10" fmla="*/ 7 w 157"/>
                <a:gd name="T11" fmla="*/ 61 h 61"/>
                <a:gd name="T12" fmla="*/ 105 w 157"/>
                <a:gd name="T13" fmla="*/ 4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61">
                  <a:moveTo>
                    <a:pt x="105" y="43"/>
                  </a:moveTo>
                  <a:cubicBezTo>
                    <a:pt x="125" y="40"/>
                    <a:pt x="144" y="41"/>
                    <a:pt x="155" y="22"/>
                  </a:cubicBezTo>
                  <a:cubicBezTo>
                    <a:pt x="157" y="19"/>
                    <a:pt x="156" y="14"/>
                    <a:pt x="152" y="12"/>
                  </a:cubicBezTo>
                  <a:cubicBezTo>
                    <a:pt x="131" y="0"/>
                    <a:pt x="110" y="15"/>
                    <a:pt x="89" y="23"/>
                  </a:cubicBezTo>
                  <a:cubicBezTo>
                    <a:pt x="61" y="35"/>
                    <a:pt x="32" y="43"/>
                    <a:pt x="4" y="55"/>
                  </a:cubicBezTo>
                  <a:cubicBezTo>
                    <a:pt x="0" y="56"/>
                    <a:pt x="4" y="61"/>
                    <a:pt x="7" y="61"/>
                  </a:cubicBezTo>
                  <a:cubicBezTo>
                    <a:pt x="40" y="56"/>
                    <a:pt x="72" y="48"/>
                    <a:pt x="105" y="4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3" name="Freeform 338">
              <a:extLst>
                <a:ext uri="{FF2B5EF4-FFF2-40B4-BE49-F238E27FC236}">
                  <a16:creationId xmlns:a16="http://schemas.microsoft.com/office/drawing/2014/main" id="{0EF88A8C-747F-4E90-9CE3-9B41243CBB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33688" y="6427788"/>
              <a:ext cx="323850" cy="95250"/>
            </a:xfrm>
            <a:custGeom>
              <a:avLst/>
              <a:gdLst>
                <a:gd name="T0" fmla="*/ 4 w 137"/>
                <a:gd name="T1" fmla="*/ 39 h 40"/>
                <a:gd name="T2" fmla="*/ 72 w 137"/>
                <a:gd name="T3" fmla="*/ 37 h 40"/>
                <a:gd name="T4" fmla="*/ 128 w 137"/>
                <a:gd name="T5" fmla="*/ 28 h 40"/>
                <a:gd name="T6" fmla="*/ 125 w 137"/>
                <a:gd name="T7" fmla="*/ 6 h 40"/>
                <a:gd name="T8" fmla="*/ 3 w 137"/>
                <a:gd name="T9" fmla="*/ 34 h 40"/>
                <a:gd name="T10" fmla="*/ 4 w 137"/>
                <a:gd name="T11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" h="40">
                  <a:moveTo>
                    <a:pt x="4" y="39"/>
                  </a:moveTo>
                  <a:cubicBezTo>
                    <a:pt x="26" y="38"/>
                    <a:pt x="49" y="39"/>
                    <a:pt x="72" y="37"/>
                  </a:cubicBezTo>
                  <a:cubicBezTo>
                    <a:pt x="91" y="36"/>
                    <a:pt x="111" y="37"/>
                    <a:pt x="128" y="28"/>
                  </a:cubicBezTo>
                  <a:cubicBezTo>
                    <a:pt x="137" y="24"/>
                    <a:pt x="136" y="7"/>
                    <a:pt x="125" y="6"/>
                  </a:cubicBezTo>
                  <a:cubicBezTo>
                    <a:pt x="86" y="0"/>
                    <a:pt x="41" y="25"/>
                    <a:pt x="3" y="34"/>
                  </a:cubicBezTo>
                  <a:cubicBezTo>
                    <a:pt x="0" y="35"/>
                    <a:pt x="0" y="40"/>
                    <a:pt x="4" y="39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4" name="Freeform 339">
              <a:extLst>
                <a:ext uri="{FF2B5EF4-FFF2-40B4-BE49-F238E27FC236}">
                  <a16:creationId xmlns:a16="http://schemas.microsoft.com/office/drawing/2014/main" id="{869D4CF7-C3C2-405A-98A9-04567A755E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16113" y="6161088"/>
              <a:ext cx="271463" cy="120650"/>
            </a:xfrm>
            <a:custGeom>
              <a:avLst/>
              <a:gdLst>
                <a:gd name="T0" fmla="*/ 108 w 115"/>
                <a:gd name="T1" fmla="*/ 8 h 51"/>
                <a:gd name="T2" fmla="*/ 46 w 115"/>
                <a:gd name="T3" fmla="*/ 18 h 51"/>
                <a:gd name="T4" fmla="*/ 0 w 115"/>
                <a:gd name="T5" fmla="*/ 49 h 51"/>
                <a:gd name="T6" fmla="*/ 1 w 115"/>
                <a:gd name="T7" fmla="*/ 51 h 51"/>
                <a:gd name="T8" fmla="*/ 55 w 115"/>
                <a:gd name="T9" fmla="*/ 37 h 51"/>
                <a:gd name="T10" fmla="*/ 110 w 115"/>
                <a:gd name="T11" fmla="*/ 20 h 51"/>
                <a:gd name="T12" fmla="*/ 108 w 115"/>
                <a:gd name="T13" fmla="*/ 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51">
                  <a:moveTo>
                    <a:pt x="108" y="8"/>
                  </a:moveTo>
                  <a:cubicBezTo>
                    <a:pt x="88" y="0"/>
                    <a:pt x="65" y="11"/>
                    <a:pt x="46" y="18"/>
                  </a:cubicBezTo>
                  <a:cubicBezTo>
                    <a:pt x="28" y="26"/>
                    <a:pt x="11" y="33"/>
                    <a:pt x="0" y="49"/>
                  </a:cubicBezTo>
                  <a:cubicBezTo>
                    <a:pt x="0" y="50"/>
                    <a:pt x="1" y="51"/>
                    <a:pt x="1" y="51"/>
                  </a:cubicBezTo>
                  <a:cubicBezTo>
                    <a:pt x="20" y="50"/>
                    <a:pt x="37" y="42"/>
                    <a:pt x="55" y="37"/>
                  </a:cubicBezTo>
                  <a:cubicBezTo>
                    <a:pt x="73" y="32"/>
                    <a:pt x="95" y="32"/>
                    <a:pt x="110" y="20"/>
                  </a:cubicBezTo>
                  <a:cubicBezTo>
                    <a:pt x="115" y="17"/>
                    <a:pt x="114" y="10"/>
                    <a:pt x="108" y="8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5" name="Freeform 340">
              <a:extLst>
                <a:ext uri="{FF2B5EF4-FFF2-40B4-BE49-F238E27FC236}">
                  <a16:creationId xmlns:a16="http://schemas.microsoft.com/office/drawing/2014/main" id="{2C0B618F-25C0-4F37-B51C-4BA83B2DF9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3975" y="5981700"/>
              <a:ext cx="358775" cy="111125"/>
            </a:xfrm>
            <a:custGeom>
              <a:avLst/>
              <a:gdLst>
                <a:gd name="T0" fmla="*/ 2 w 151"/>
                <a:gd name="T1" fmla="*/ 43 h 47"/>
                <a:gd name="T2" fmla="*/ 2 w 151"/>
                <a:gd name="T3" fmla="*/ 47 h 47"/>
                <a:gd name="T4" fmla="*/ 80 w 151"/>
                <a:gd name="T5" fmla="*/ 34 h 47"/>
                <a:gd name="T6" fmla="*/ 147 w 151"/>
                <a:gd name="T7" fmla="*/ 14 h 47"/>
                <a:gd name="T8" fmla="*/ 145 w 151"/>
                <a:gd name="T9" fmla="*/ 5 h 47"/>
                <a:gd name="T10" fmla="*/ 82 w 151"/>
                <a:gd name="T11" fmla="*/ 17 h 47"/>
                <a:gd name="T12" fmla="*/ 2 w 151"/>
                <a:gd name="T13" fmla="*/ 4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47">
                  <a:moveTo>
                    <a:pt x="2" y="43"/>
                  </a:moveTo>
                  <a:cubicBezTo>
                    <a:pt x="0" y="44"/>
                    <a:pt x="0" y="47"/>
                    <a:pt x="2" y="47"/>
                  </a:cubicBezTo>
                  <a:cubicBezTo>
                    <a:pt x="28" y="44"/>
                    <a:pt x="54" y="39"/>
                    <a:pt x="80" y="34"/>
                  </a:cubicBezTo>
                  <a:cubicBezTo>
                    <a:pt x="103" y="29"/>
                    <a:pt x="129" y="28"/>
                    <a:pt x="147" y="14"/>
                  </a:cubicBezTo>
                  <a:cubicBezTo>
                    <a:pt x="151" y="11"/>
                    <a:pt x="149" y="5"/>
                    <a:pt x="145" y="5"/>
                  </a:cubicBezTo>
                  <a:cubicBezTo>
                    <a:pt x="123" y="0"/>
                    <a:pt x="103" y="11"/>
                    <a:pt x="82" y="17"/>
                  </a:cubicBezTo>
                  <a:cubicBezTo>
                    <a:pt x="55" y="25"/>
                    <a:pt x="28" y="33"/>
                    <a:pt x="2" y="4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6" name="Freeform 341">
              <a:extLst>
                <a:ext uri="{FF2B5EF4-FFF2-40B4-BE49-F238E27FC236}">
                  <a16:creationId xmlns:a16="http://schemas.microsoft.com/office/drawing/2014/main" id="{78FD9338-D327-4789-940F-AE3131F699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56025" y="6640513"/>
              <a:ext cx="157163" cy="155575"/>
            </a:xfrm>
            <a:custGeom>
              <a:avLst/>
              <a:gdLst>
                <a:gd name="T0" fmla="*/ 2 w 66"/>
                <a:gd name="T1" fmla="*/ 66 h 66"/>
                <a:gd name="T2" fmla="*/ 27 w 66"/>
                <a:gd name="T3" fmla="*/ 47 h 66"/>
                <a:gd name="T4" fmla="*/ 40 w 66"/>
                <a:gd name="T5" fmla="*/ 35 h 66"/>
                <a:gd name="T6" fmla="*/ 54 w 66"/>
                <a:gd name="T7" fmla="*/ 24 h 66"/>
                <a:gd name="T8" fmla="*/ 66 w 66"/>
                <a:gd name="T9" fmla="*/ 12 h 66"/>
                <a:gd name="T10" fmla="*/ 66 w 66"/>
                <a:gd name="T11" fmla="*/ 9 h 66"/>
                <a:gd name="T12" fmla="*/ 57 w 66"/>
                <a:gd name="T13" fmla="*/ 0 h 66"/>
                <a:gd name="T14" fmla="*/ 54 w 66"/>
                <a:gd name="T15" fmla="*/ 0 h 66"/>
                <a:gd name="T16" fmla="*/ 42 w 66"/>
                <a:gd name="T17" fmla="*/ 12 h 66"/>
                <a:gd name="T18" fmla="*/ 31 w 66"/>
                <a:gd name="T19" fmla="*/ 26 h 66"/>
                <a:gd name="T20" fmla="*/ 19 w 66"/>
                <a:gd name="T21" fmla="*/ 39 h 66"/>
                <a:gd name="T22" fmla="*/ 0 w 66"/>
                <a:gd name="T23" fmla="*/ 64 h 66"/>
                <a:gd name="T24" fmla="*/ 2 w 66"/>
                <a:gd name="T2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66">
                  <a:moveTo>
                    <a:pt x="2" y="66"/>
                  </a:moveTo>
                  <a:cubicBezTo>
                    <a:pt x="11" y="61"/>
                    <a:pt x="19" y="54"/>
                    <a:pt x="27" y="47"/>
                  </a:cubicBezTo>
                  <a:cubicBezTo>
                    <a:pt x="31" y="43"/>
                    <a:pt x="36" y="39"/>
                    <a:pt x="40" y="35"/>
                  </a:cubicBezTo>
                  <a:cubicBezTo>
                    <a:pt x="43" y="32"/>
                    <a:pt x="50" y="24"/>
                    <a:pt x="54" y="24"/>
                  </a:cubicBezTo>
                  <a:cubicBezTo>
                    <a:pt x="60" y="24"/>
                    <a:pt x="66" y="19"/>
                    <a:pt x="66" y="12"/>
                  </a:cubicBezTo>
                  <a:cubicBezTo>
                    <a:pt x="66" y="11"/>
                    <a:pt x="66" y="10"/>
                    <a:pt x="66" y="9"/>
                  </a:cubicBezTo>
                  <a:cubicBezTo>
                    <a:pt x="66" y="4"/>
                    <a:pt x="62" y="0"/>
                    <a:pt x="57" y="0"/>
                  </a:cubicBezTo>
                  <a:cubicBezTo>
                    <a:pt x="56" y="0"/>
                    <a:pt x="55" y="0"/>
                    <a:pt x="54" y="0"/>
                  </a:cubicBezTo>
                  <a:cubicBezTo>
                    <a:pt x="47" y="0"/>
                    <a:pt x="42" y="6"/>
                    <a:pt x="42" y="12"/>
                  </a:cubicBezTo>
                  <a:cubicBezTo>
                    <a:pt x="42" y="16"/>
                    <a:pt x="34" y="23"/>
                    <a:pt x="31" y="26"/>
                  </a:cubicBezTo>
                  <a:cubicBezTo>
                    <a:pt x="27" y="30"/>
                    <a:pt x="23" y="35"/>
                    <a:pt x="19" y="39"/>
                  </a:cubicBezTo>
                  <a:cubicBezTo>
                    <a:pt x="12" y="47"/>
                    <a:pt x="5" y="55"/>
                    <a:pt x="0" y="64"/>
                  </a:cubicBezTo>
                  <a:cubicBezTo>
                    <a:pt x="0" y="65"/>
                    <a:pt x="1" y="66"/>
                    <a:pt x="2" y="66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7" name="Freeform 342">
              <a:extLst>
                <a:ext uri="{FF2B5EF4-FFF2-40B4-BE49-F238E27FC236}">
                  <a16:creationId xmlns:a16="http://schemas.microsoft.com/office/drawing/2014/main" id="{415AC115-2905-41CE-9C82-F0429FF9D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36138" y="4398963"/>
              <a:ext cx="230188" cy="119063"/>
            </a:xfrm>
            <a:custGeom>
              <a:avLst/>
              <a:gdLst>
                <a:gd name="T0" fmla="*/ 96 w 97"/>
                <a:gd name="T1" fmla="*/ 38 h 50"/>
                <a:gd name="T2" fmla="*/ 95 w 97"/>
                <a:gd name="T3" fmla="*/ 37 h 50"/>
                <a:gd name="T4" fmla="*/ 37 w 97"/>
                <a:gd name="T5" fmla="*/ 14 h 50"/>
                <a:gd name="T6" fmla="*/ 19 w 97"/>
                <a:gd name="T7" fmla="*/ 38 h 50"/>
                <a:gd name="T8" fmla="*/ 96 w 97"/>
                <a:gd name="T9" fmla="*/ 3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0">
                  <a:moveTo>
                    <a:pt x="96" y="38"/>
                  </a:moveTo>
                  <a:cubicBezTo>
                    <a:pt x="97" y="38"/>
                    <a:pt x="96" y="37"/>
                    <a:pt x="95" y="37"/>
                  </a:cubicBezTo>
                  <a:cubicBezTo>
                    <a:pt x="73" y="35"/>
                    <a:pt x="55" y="28"/>
                    <a:pt x="37" y="14"/>
                  </a:cubicBezTo>
                  <a:cubicBezTo>
                    <a:pt x="19" y="0"/>
                    <a:pt x="0" y="29"/>
                    <a:pt x="19" y="38"/>
                  </a:cubicBezTo>
                  <a:cubicBezTo>
                    <a:pt x="43" y="50"/>
                    <a:pt x="72" y="50"/>
                    <a:pt x="96" y="38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8" name="Freeform 343">
              <a:extLst>
                <a:ext uri="{FF2B5EF4-FFF2-40B4-BE49-F238E27FC236}">
                  <a16:creationId xmlns:a16="http://schemas.microsoft.com/office/drawing/2014/main" id="{69A8959F-A32D-4766-9E4D-04CE26E296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23475" y="3905250"/>
              <a:ext cx="207963" cy="85725"/>
            </a:xfrm>
            <a:custGeom>
              <a:avLst/>
              <a:gdLst>
                <a:gd name="T0" fmla="*/ 4 w 88"/>
                <a:gd name="T1" fmla="*/ 4 h 36"/>
                <a:gd name="T2" fmla="*/ 0 w 88"/>
                <a:gd name="T3" fmla="*/ 12 h 36"/>
                <a:gd name="T4" fmla="*/ 6 w 88"/>
                <a:gd name="T5" fmla="*/ 21 h 36"/>
                <a:gd name="T6" fmla="*/ 86 w 88"/>
                <a:gd name="T7" fmla="*/ 26 h 36"/>
                <a:gd name="T8" fmla="*/ 86 w 88"/>
                <a:gd name="T9" fmla="*/ 23 h 36"/>
                <a:gd name="T10" fmla="*/ 14 w 88"/>
                <a:gd name="T11" fmla="*/ 1 h 36"/>
                <a:gd name="T12" fmla="*/ 4 w 88"/>
                <a:gd name="T13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36">
                  <a:moveTo>
                    <a:pt x="4" y="4"/>
                  </a:moveTo>
                  <a:cubicBezTo>
                    <a:pt x="1" y="7"/>
                    <a:pt x="1" y="8"/>
                    <a:pt x="0" y="12"/>
                  </a:cubicBezTo>
                  <a:cubicBezTo>
                    <a:pt x="0" y="16"/>
                    <a:pt x="3" y="20"/>
                    <a:pt x="6" y="21"/>
                  </a:cubicBezTo>
                  <a:cubicBezTo>
                    <a:pt x="33" y="36"/>
                    <a:pt x="58" y="30"/>
                    <a:pt x="86" y="26"/>
                  </a:cubicBezTo>
                  <a:cubicBezTo>
                    <a:pt x="88" y="26"/>
                    <a:pt x="88" y="23"/>
                    <a:pt x="86" y="23"/>
                  </a:cubicBezTo>
                  <a:cubicBezTo>
                    <a:pt x="61" y="24"/>
                    <a:pt x="37" y="10"/>
                    <a:pt x="14" y="1"/>
                  </a:cubicBezTo>
                  <a:cubicBezTo>
                    <a:pt x="11" y="0"/>
                    <a:pt x="6" y="2"/>
                    <a:pt x="4" y="4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9" name="Freeform 344">
              <a:extLst>
                <a:ext uri="{FF2B5EF4-FFF2-40B4-BE49-F238E27FC236}">
                  <a16:creationId xmlns:a16="http://schemas.microsoft.com/office/drawing/2014/main" id="{9B003E1C-4A23-4A3F-BBD0-D95916D29F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5938" y="5141913"/>
              <a:ext cx="200025" cy="106363"/>
            </a:xfrm>
            <a:custGeom>
              <a:avLst/>
              <a:gdLst>
                <a:gd name="T0" fmla="*/ 83 w 85"/>
                <a:gd name="T1" fmla="*/ 44 h 45"/>
                <a:gd name="T2" fmla="*/ 83 w 85"/>
                <a:gd name="T3" fmla="*/ 40 h 45"/>
                <a:gd name="T4" fmla="*/ 24 w 85"/>
                <a:gd name="T5" fmla="*/ 5 h 45"/>
                <a:gd name="T6" fmla="*/ 11 w 85"/>
                <a:gd name="T7" fmla="*/ 2 h 45"/>
                <a:gd name="T8" fmla="*/ 1 w 85"/>
                <a:gd name="T9" fmla="*/ 11 h 45"/>
                <a:gd name="T10" fmla="*/ 7 w 85"/>
                <a:gd name="T11" fmla="*/ 27 h 45"/>
                <a:gd name="T12" fmla="*/ 44 w 85"/>
                <a:gd name="T13" fmla="*/ 42 h 45"/>
                <a:gd name="T14" fmla="*/ 83 w 85"/>
                <a:gd name="T15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45">
                  <a:moveTo>
                    <a:pt x="83" y="44"/>
                  </a:moveTo>
                  <a:cubicBezTo>
                    <a:pt x="85" y="44"/>
                    <a:pt x="85" y="40"/>
                    <a:pt x="83" y="40"/>
                  </a:cubicBezTo>
                  <a:cubicBezTo>
                    <a:pt x="62" y="38"/>
                    <a:pt x="39" y="19"/>
                    <a:pt x="24" y="5"/>
                  </a:cubicBezTo>
                  <a:cubicBezTo>
                    <a:pt x="21" y="2"/>
                    <a:pt x="15" y="0"/>
                    <a:pt x="11" y="2"/>
                  </a:cubicBezTo>
                  <a:cubicBezTo>
                    <a:pt x="6" y="4"/>
                    <a:pt x="2" y="6"/>
                    <a:pt x="1" y="11"/>
                  </a:cubicBezTo>
                  <a:cubicBezTo>
                    <a:pt x="0" y="18"/>
                    <a:pt x="2" y="23"/>
                    <a:pt x="7" y="27"/>
                  </a:cubicBezTo>
                  <a:cubicBezTo>
                    <a:pt x="19" y="34"/>
                    <a:pt x="31" y="39"/>
                    <a:pt x="44" y="42"/>
                  </a:cubicBezTo>
                  <a:cubicBezTo>
                    <a:pt x="58" y="45"/>
                    <a:pt x="70" y="42"/>
                    <a:pt x="83" y="44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0" name="Freeform 345">
              <a:extLst>
                <a:ext uri="{FF2B5EF4-FFF2-40B4-BE49-F238E27FC236}">
                  <a16:creationId xmlns:a16="http://schemas.microsoft.com/office/drawing/2014/main" id="{A7E5C458-B783-4D13-ABEC-5977CDA3C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37675" y="5616575"/>
              <a:ext cx="188913" cy="173038"/>
            </a:xfrm>
            <a:custGeom>
              <a:avLst/>
              <a:gdLst>
                <a:gd name="T0" fmla="*/ 76 w 80"/>
                <a:gd name="T1" fmla="*/ 72 h 73"/>
                <a:gd name="T2" fmla="*/ 79 w 80"/>
                <a:gd name="T3" fmla="*/ 70 h 73"/>
                <a:gd name="T4" fmla="*/ 54 w 80"/>
                <a:gd name="T5" fmla="*/ 35 h 73"/>
                <a:gd name="T6" fmla="*/ 22 w 80"/>
                <a:gd name="T7" fmla="*/ 5 h 73"/>
                <a:gd name="T8" fmla="*/ 9 w 80"/>
                <a:gd name="T9" fmla="*/ 21 h 73"/>
                <a:gd name="T10" fmla="*/ 42 w 80"/>
                <a:gd name="T11" fmla="*/ 44 h 73"/>
                <a:gd name="T12" fmla="*/ 76 w 80"/>
                <a:gd name="T13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73">
                  <a:moveTo>
                    <a:pt x="76" y="72"/>
                  </a:moveTo>
                  <a:cubicBezTo>
                    <a:pt x="77" y="73"/>
                    <a:pt x="80" y="72"/>
                    <a:pt x="79" y="70"/>
                  </a:cubicBezTo>
                  <a:cubicBezTo>
                    <a:pt x="70" y="59"/>
                    <a:pt x="64" y="46"/>
                    <a:pt x="54" y="35"/>
                  </a:cubicBezTo>
                  <a:cubicBezTo>
                    <a:pt x="45" y="24"/>
                    <a:pt x="34" y="12"/>
                    <a:pt x="22" y="5"/>
                  </a:cubicBezTo>
                  <a:cubicBezTo>
                    <a:pt x="12" y="0"/>
                    <a:pt x="0" y="14"/>
                    <a:pt x="9" y="21"/>
                  </a:cubicBezTo>
                  <a:cubicBezTo>
                    <a:pt x="20" y="30"/>
                    <a:pt x="32" y="36"/>
                    <a:pt x="42" y="44"/>
                  </a:cubicBezTo>
                  <a:cubicBezTo>
                    <a:pt x="53" y="52"/>
                    <a:pt x="68" y="61"/>
                    <a:pt x="76" y="72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1" name="Freeform 346">
              <a:extLst>
                <a:ext uri="{FF2B5EF4-FFF2-40B4-BE49-F238E27FC236}">
                  <a16:creationId xmlns:a16="http://schemas.microsoft.com/office/drawing/2014/main" id="{E6517E87-2D24-4857-B505-A96E47F4C2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18613" y="6084888"/>
              <a:ext cx="188913" cy="155575"/>
            </a:xfrm>
            <a:custGeom>
              <a:avLst/>
              <a:gdLst>
                <a:gd name="T0" fmla="*/ 42 w 80"/>
                <a:gd name="T1" fmla="*/ 23 h 66"/>
                <a:gd name="T2" fmla="*/ 6 w 80"/>
                <a:gd name="T3" fmla="*/ 0 h 66"/>
                <a:gd name="T4" fmla="*/ 1 w 80"/>
                <a:gd name="T5" fmla="*/ 7 h 66"/>
                <a:gd name="T6" fmla="*/ 32 w 80"/>
                <a:gd name="T7" fmla="*/ 35 h 66"/>
                <a:gd name="T8" fmla="*/ 77 w 80"/>
                <a:gd name="T9" fmla="*/ 65 h 66"/>
                <a:gd name="T10" fmla="*/ 79 w 80"/>
                <a:gd name="T11" fmla="*/ 62 h 66"/>
                <a:gd name="T12" fmla="*/ 42 w 80"/>
                <a:gd name="T13" fmla="*/ 2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66">
                  <a:moveTo>
                    <a:pt x="42" y="23"/>
                  </a:moveTo>
                  <a:cubicBezTo>
                    <a:pt x="32" y="13"/>
                    <a:pt x="20" y="0"/>
                    <a:pt x="6" y="0"/>
                  </a:cubicBezTo>
                  <a:cubicBezTo>
                    <a:pt x="3" y="0"/>
                    <a:pt x="0" y="4"/>
                    <a:pt x="1" y="7"/>
                  </a:cubicBezTo>
                  <a:cubicBezTo>
                    <a:pt x="5" y="21"/>
                    <a:pt x="21" y="27"/>
                    <a:pt x="32" y="35"/>
                  </a:cubicBezTo>
                  <a:cubicBezTo>
                    <a:pt x="47" y="45"/>
                    <a:pt x="63" y="54"/>
                    <a:pt x="77" y="65"/>
                  </a:cubicBezTo>
                  <a:cubicBezTo>
                    <a:pt x="79" y="66"/>
                    <a:pt x="80" y="63"/>
                    <a:pt x="79" y="62"/>
                  </a:cubicBezTo>
                  <a:cubicBezTo>
                    <a:pt x="67" y="49"/>
                    <a:pt x="55" y="35"/>
                    <a:pt x="42" y="2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2" name="Freeform 347">
              <a:extLst>
                <a:ext uri="{FF2B5EF4-FFF2-40B4-BE49-F238E27FC236}">
                  <a16:creationId xmlns:a16="http://schemas.microsoft.com/office/drawing/2014/main" id="{2A3A4BA2-7D7C-41AC-AC32-26169F2299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4863" y="6105525"/>
              <a:ext cx="203200" cy="173038"/>
            </a:xfrm>
            <a:custGeom>
              <a:avLst/>
              <a:gdLst>
                <a:gd name="T0" fmla="*/ 85 w 86"/>
                <a:gd name="T1" fmla="*/ 71 h 73"/>
                <a:gd name="T2" fmla="*/ 44 w 86"/>
                <a:gd name="T3" fmla="*/ 31 h 73"/>
                <a:gd name="T4" fmla="*/ 6 w 86"/>
                <a:gd name="T5" fmla="*/ 1 h 73"/>
                <a:gd name="T6" fmla="*/ 1 w 86"/>
                <a:gd name="T7" fmla="*/ 7 h 73"/>
                <a:gd name="T8" fmla="*/ 35 w 86"/>
                <a:gd name="T9" fmla="*/ 37 h 73"/>
                <a:gd name="T10" fmla="*/ 83 w 86"/>
                <a:gd name="T11" fmla="*/ 72 h 73"/>
                <a:gd name="T12" fmla="*/ 85 w 86"/>
                <a:gd name="T13" fmla="*/ 7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73">
                  <a:moveTo>
                    <a:pt x="85" y="71"/>
                  </a:moveTo>
                  <a:cubicBezTo>
                    <a:pt x="70" y="58"/>
                    <a:pt x="58" y="44"/>
                    <a:pt x="44" y="31"/>
                  </a:cubicBezTo>
                  <a:cubicBezTo>
                    <a:pt x="32" y="20"/>
                    <a:pt x="21" y="5"/>
                    <a:pt x="6" y="1"/>
                  </a:cubicBezTo>
                  <a:cubicBezTo>
                    <a:pt x="2" y="0"/>
                    <a:pt x="0" y="4"/>
                    <a:pt x="1" y="7"/>
                  </a:cubicBezTo>
                  <a:cubicBezTo>
                    <a:pt x="8" y="20"/>
                    <a:pt x="23" y="29"/>
                    <a:pt x="35" y="37"/>
                  </a:cubicBezTo>
                  <a:cubicBezTo>
                    <a:pt x="51" y="49"/>
                    <a:pt x="68" y="60"/>
                    <a:pt x="83" y="72"/>
                  </a:cubicBezTo>
                  <a:cubicBezTo>
                    <a:pt x="84" y="73"/>
                    <a:pt x="86" y="72"/>
                    <a:pt x="85" y="71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3" name="Freeform 348">
              <a:extLst>
                <a:ext uri="{FF2B5EF4-FFF2-40B4-BE49-F238E27FC236}">
                  <a16:creationId xmlns:a16="http://schemas.microsoft.com/office/drawing/2014/main" id="{489622CB-8E5D-46F9-B735-ECF13BD93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4813" y="4624388"/>
              <a:ext cx="196850" cy="96838"/>
            </a:xfrm>
            <a:custGeom>
              <a:avLst/>
              <a:gdLst>
                <a:gd name="T0" fmla="*/ 82 w 83"/>
                <a:gd name="T1" fmla="*/ 29 h 41"/>
                <a:gd name="T2" fmla="*/ 42 w 83"/>
                <a:gd name="T3" fmla="*/ 15 h 41"/>
                <a:gd name="T4" fmla="*/ 14 w 83"/>
                <a:gd name="T5" fmla="*/ 1 h 41"/>
                <a:gd name="T6" fmla="*/ 4 w 83"/>
                <a:gd name="T7" fmla="*/ 18 h 41"/>
                <a:gd name="T8" fmla="*/ 82 w 83"/>
                <a:gd name="T9" fmla="*/ 31 h 41"/>
                <a:gd name="T10" fmla="*/ 82 w 83"/>
                <a:gd name="T11" fmla="*/ 2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41">
                  <a:moveTo>
                    <a:pt x="82" y="29"/>
                  </a:moveTo>
                  <a:cubicBezTo>
                    <a:pt x="68" y="29"/>
                    <a:pt x="54" y="23"/>
                    <a:pt x="42" y="15"/>
                  </a:cubicBezTo>
                  <a:cubicBezTo>
                    <a:pt x="33" y="9"/>
                    <a:pt x="26" y="2"/>
                    <a:pt x="14" y="1"/>
                  </a:cubicBezTo>
                  <a:cubicBezTo>
                    <a:pt x="6" y="0"/>
                    <a:pt x="0" y="12"/>
                    <a:pt x="4" y="18"/>
                  </a:cubicBezTo>
                  <a:cubicBezTo>
                    <a:pt x="21" y="41"/>
                    <a:pt x="58" y="32"/>
                    <a:pt x="82" y="31"/>
                  </a:cubicBezTo>
                  <a:cubicBezTo>
                    <a:pt x="83" y="31"/>
                    <a:pt x="83" y="29"/>
                    <a:pt x="82" y="29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4" name="Freeform 349">
              <a:extLst>
                <a:ext uri="{FF2B5EF4-FFF2-40B4-BE49-F238E27FC236}">
                  <a16:creationId xmlns:a16="http://schemas.microsoft.com/office/drawing/2014/main" id="{FFC7E42A-8276-48AE-8A2B-699AC1C4C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82313" y="4143375"/>
              <a:ext cx="95250" cy="36513"/>
            </a:xfrm>
            <a:custGeom>
              <a:avLst/>
              <a:gdLst>
                <a:gd name="T0" fmla="*/ 4 w 40"/>
                <a:gd name="T1" fmla="*/ 0 h 15"/>
                <a:gd name="T2" fmla="*/ 2 w 40"/>
                <a:gd name="T3" fmla="*/ 6 h 15"/>
                <a:gd name="T4" fmla="*/ 37 w 40"/>
                <a:gd name="T5" fmla="*/ 15 h 15"/>
                <a:gd name="T6" fmla="*/ 38 w 40"/>
                <a:gd name="T7" fmla="*/ 12 h 15"/>
                <a:gd name="T8" fmla="*/ 4 w 4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5">
                  <a:moveTo>
                    <a:pt x="4" y="0"/>
                  </a:moveTo>
                  <a:cubicBezTo>
                    <a:pt x="1" y="0"/>
                    <a:pt x="0" y="4"/>
                    <a:pt x="2" y="6"/>
                  </a:cubicBezTo>
                  <a:cubicBezTo>
                    <a:pt x="13" y="11"/>
                    <a:pt x="25" y="13"/>
                    <a:pt x="37" y="15"/>
                  </a:cubicBezTo>
                  <a:cubicBezTo>
                    <a:pt x="39" y="15"/>
                    <a:pt x="40" y="13"/>
                    <a:pt x="38" y="12"/>
                  </a:cubicBezTo>
                  <a:cubicBezTo>
                    <a:pt x="27" y="7"/>
                    <a:pt x="16" y="2"/>
                    <a:pt x="4" y="0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5" name="Freeform 350">
              <a:extLst>
                <a:ext uri="{FF2B5EF4-FFF2-40B4-BE49-F238E27FC236}">
                  <a16:creationId xmlns:a16="http://schemas.microsoft.com/office/drawing/2014/main" id="{E7AB38F8-48EB-424D-AD3E-29CB1AEE44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83575" y="6543675"/>
              <a:ext cx="133350" cy="242888"/>
            </a:xfrm>
            <a:custGeom>
              <a:avLst/>
              <a:gdLst>
                <a:gd name="T0" fmla="*/ 12 w 56"/>
                <a:gd name="T1" fmla="*/ 2 h 103"/>
                <a:gd name="T2" fmla="*/ 9 w 56"/>
                <a:gd name="T3" fmla="*/ 4 h 103"/>
                <a:gd name="T4" fmla="*/ 4 w 56"/>
                <a:gd name="T5" fmla="*/ 23 h 103"/>
                <a:gd name="T6" fmla="*/ 53 w 56"/>
                <a:gd name="T7" fmla="*/ 102 h 103"/>
                <a:gd name="T8" fmla="*/ 56 w 56"/>
                <a:gd name="T9" fmla="*/ 100 h 103"/>
                <a:gd name="T10" fmla="*/ 29 w 56"/>
                <a:gd name="T11" fmla="*/ 12 h 103"/>
                <a:gd name="T12" fmla="*/ 12 w 56"/>
                <a:gd name="T13" fmla="*/ 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103">
                  <a:moveTo>
                    <a:pt x="12" y="2"/>
                  </a:moveTo>
                  <a:cubicBezTo>
                    <a:pt x="11" y="3"/>
                    <a:pt x="10" y="3"/>
                    <a:pt x="9" y="4"/>
                  </a:cubicBezTo>
                  <a:cubicBezTo>
                    <a:pt x="2" y="8"/>
                    <a:pt x="0" y="16"/>
                    <a:pt x="4" y="23"/>
                  </a:cubicBezTo>
                  <a:cubicBezTo>
                    <a:pt x="19" y="50"/>
                    <a:pt x="39" y="74"/>
                    <a:pt x="53" y="102"/>
                  </a:cubicBezTo>
                  <a:cubicBezTo>
                    <a:pt x="54" y="103"/>
                    <a:pt x="56" y="102"/>
                    <a:pt x="56" y="100"/>
                  </a:cubicBezTo>
                  <a:cubicBezTo>
                    <a:pt x="44" y="72"/>
                    <a:pt x="39" y="41"/>
                    <a:pt x="29" y="12"/>
                  </a:cubicBezTo>
                  <a:cubicBezTo>
                    <a:pt x="27" y="5"/>
                    <a:pt x="19" y="0"/>
                    <a:pt x="12" y="2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6" name="Freeform 351">
              <a:extLst>
                <a:ext uri="{FF2B5EF4-FFF2-40B4-BE49-F238E27FC236}">
                  <a16:creationId xmlns:a16="http://schemas.microsoft.com/office/drawing/2014/main" id="{E090A651-63F5-45A4-AF91-A3C250FD30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45538" y="6442075"/>
              <a:ext cx="117475" cy="223838"/>
            </a:xfrm>
            <a:custGeom>
              <a:avLst/>
              <a:gdLst>
                <a:gd name="T0" fmla="*/ 49 w 50"/>
                <a:gd name="T1" fmla="*/ 91 h 95"/>
                <a:gd name="T2" fmla="*/ 21 w 50"/>
                <a:gd name="T3" fmla="*/ 11 h 95"/>
                <a:gd name="T4" fmla="*/ 6 w 50"/>
                <a:gd name="T5" fmla="*/ 18 h 95"/>
                <a:gd name="T6" fmla="*/ 46 w 50"/>
                <a:gd name="T7" fmla="*/ 93 h 95"/>
                <a:gd name="T8" fmla="*/ 49 w 50"/>
                <a:gd name="T9" fmla="*/ 9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5">
                  <a:moveTo>
                    <a:pt x="49" y="91"/>
                  </a:moveTo>
                  <a:cubicBezTo>
                    <a:pt x="35" y="68"/>
                    <a:pt x="25" y="38"/>
                    <a:pt x="21" y="11"/>
                  </a:cubicBezTo>
                  <a:cubicBezTo>
                    <a:pt x="20" y="0"/>
                    <a:pt x="0" y="6"/>
                    <a:pt x="6" y="18"/>
                  </a:cubicBezTo>
                  <a:cubicBezTo>
                    <a:pt x="18" y="44"/>
                    <a:pt x="31" y="68"/>
                    <a:pt x="46" y="93"/>
                  </a:cubicBezTo>
                  <a:cubicBezTo>
                    <a:pt x="47" y="95"/>
                    <a:pt x="50" y="93"/>
                    <a:pt x="49" y="91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7" name="Freeform 352">
              <a:extLst>
                <a:ext uri="{FF2B5EF4-FFF2-40B4-BE49-F238E27FC236}">
                  <a16:creationId xmlns:a16="http://schemas.microsoft.com/office/drawing/2014/main" id="{2046BF43-4BDC-4496-B595-A296C73A26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1788" y="6650038"/>
              <a:ext cx="84138" cy="130175"/>
            </a:xfrm>
            <a:custGeom>
              <a:avLst/>
              <a:gdLst>
                <a:gd name="T0" fmla="*/ 30 w 35"/>
                <a:gd name="T1" fmla="*/ 53 h 55"/>
                <a:gd name="T2" fmla="*/ 34 w 35"/>
                <a:gd name="T3" fmla="*/ 50 h 55"/>
                <a:gd name="T4" fmla="*/ 18 w 35"/>
                <a:gd name="T5" fmla="*/ 24 h 55"/>
                <a:gd name="T6" fmla="*/ 4 w 35"/>
                <a:gd name="T7" fmla="*/ 1 h 55"/>
                <a:gd name="T8" fmla="*/ 1 w 35"/>
                <a:gd name="T9" fmla="*/ 3 h 55"/>
                <a:gd name="T10" fmla="*/ 11 w 35"/>
                <a:gd name="T11" fmla="*/ 29 h 55"/>
                <a:gd name="T12" fmla="*/ 30 w 35"/>
                <a:gd name="T13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55">
                  <a:moveTo>
                    <a:pt x="30" y="53"/>
                  </a:moveTo>
                  <a:cubicBezTo>
                    <a:pt x="32" y="55"/>
                    <a:pt x="35" y="52"/>
                    <a:pt x="34" y="50"/>
                  </a:cubicBezTo>
                  <a:cubicBezTo>
                    <a:pt x="29" y="41"/>
                    <a:pt x="23" y="33"/>
                    <a:pt x="18" y="24"/>
                  </a:cubicBezTo>
                  <a:cubicBezTo>
                    <a:pt x="14" y="17"/>
                    <a:pt x="11" y="7"/>
                    <a:pt x="4" y="1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1" y="12"/>
                    <a:pt x="6" y="21"/>
                    <a:pt x="11" y="29"/>
                  </a:cubicBezTo>
                  <a:cubicBezTo>
                    <a:pt x="17" y="37"/>
                    <a:pt x="22" y="45"/>
                    <a:pt x="30" y="5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8" name="Freeform 353">
              <a:extLst>
                <a:ext uri="{FF2B5EF4-FFF2-40B4-BE49-F238E27FC236}">
                  <a16:creationId xmlns:a16="http://schemas.microsoft.com/office/drawing/2014/main" id="{4076916E-CBD4-49AA-90D6-3CCD198830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69500" y="2792413"/>
              <a:ext cx="169863" cy="68263"/>
            </a:xfrm>
            <a:custGeom>
              <a:avLst/>
              <a:gdLst>
                <a:gd name="T0" fmla="*/ 7 w 72"/>
                <a:gd name="T1" fmla="*/ 29 h 29"/>
                <a:gd name="T2" fmla="*/ 40 w 72"/>
                <a:gd name="T3" fmla="*/ 19 h 29"/>
                <a:gd name="T4" fmla="*/ 70 w 72"/>
                <a:gd name="T5" fmla="*/ 8 h 29"/>
                <a:gd name="T6" fmla="*/ 70 w 72"/>
                <a:gd name="T7" fmla="*/ 5 h 29"/>
                <a:gd name="T8" fmla="*/ 33 w 72"/>
                <a:gd name="T9" fmla="*/ 4 h 29"/>
                <a:gd name="T10" fmla="*/ 3 w 72"/>
                <a:gd name="T11" fmla="*/ 20 h 29"/>
                <a:gd name="T12" fmla="*/ 7 w 72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29">
                  <a:moveTo>
                    <a:pt x="7" y="29"/>
                  </a:moveTo>
                  <a:cubicBezTo>
                    <a:pt x="19" y="29"/>
                    <a:pt x="29" y="22"/>
                    <a:pt x="40" y="19"/>
                  </a:cubicBezTo>
                  <a:cubicBezTo>
                    <a:pt x="50" y="16"/>
                    <a:pt x="61" y="13"/>
                    <a:pt x="70" y="8"/>
                  </a:cubicBezTo>
                  <a:cubicBezTo>
                    <a:pt x="72" y="7"/>
                    <a:pt x="71" y="6"/>
                    <a:pt x="70" y="5"/>
                  </a:cubicBezTo>
                  <a:cubicBezTo>
                    <a:pt x="58" y="0"/>
                    <a:pt x="46" y="2"/>
                    <a:pt x="33" y="4"/>
                  </a:cubicBezTo>
                  <a:cubicBezTo>
                    <a:pt x="22" y="7"/>
                    <a:pt x="9" y="10"/>
                    <a:pt x="3" y="20"/>
                  </a:cubicBezTo>
                  <a:cubicBezTo>
                    <a:pt x="0" y="24"/>
                    <a:pt x="3" y="29"/>
                    <a:pt x="7" y="29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9" name="Freeform 354">
              <a:extLst>
                <a:ext uri="{FF2B5EF4-FFF2-40B4-BE49-F238E27FC236}">
                  <a16:creationId xmlns:a16="http://schemas.microsoft.com/office/drawing/2014/main" id="{2F3AA282-DE38-4D4A-852C-9ACE907A37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28200" y="2136775"/>
              <a:ext cx="157163" cy="114300"/>
            </a:xfrm>
            <a:custGeom>
              <a:avLst/>
              <a:gdLst>
                <a:gd name="T0" fmla="*/ 64 w 67"/>
                <a:gd name="T1" fmla="*/ 2 h 48"/>
                <a:gd name="T2" fmla="*/ 28 w 67"/>
                <a:gd name="T3" fmla="*/ 22 h 48"/>
                <a:gd name="T4" fmla="*/ 0 w 67"/>
                <a:gd name="T5" fmla="*/ 38 h 48"/>
                <a:gd name="T6" fmla="*/ 2 w 67"/>
                <a:gd name="T7" fmla="*/ 43 h 48"/>
                <a:gd name="T8" fmla="*/ 33 w 67"/>
                <a:gd name="T9" fmla="*/ 31 h 48"/>
                <a:gd name="T10" fmla="*/ 66 w 67"/>
                <a:gd name="T11" fmla="*/ 4 h 48"/>
                <a:gd name="T12" fmla="*/ 64 w 67"/>
                <a:gd name="T1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48">
                  <a:moveTo>
                    <a:pt x="64" y="2"/>
                  </a:moveTo>
                  <a:cubicBezTo>
                    <a:pt x="52" y="10"/>
                    <a:pt x="41" y="16"/>
                    <a:pt x="28" y="22"/>
                  </a:cubicBezTo>
                  <a:cubicBezTo>
                    <a:pt x="18" y="26"/>
                    <a:pt x="3" y="28"/>
                    <a:pt x="0" y="38"/>
                  </a:cubicBezTo>
                  <a:cubicBezTo>
                    <a:pt x="0" y="40"/>
                    <a:pt x="0" y="42"/>
                    <a:pt x="2" y="43"/>
                  </a:cubicBezTo>
                  <a:cubicBezTo>
                    <a:pt x="13" y="48"/>
                    <a:pt x="24" y="37"/>
                    <a:pt x="33" y="31"/>
                  </a:cubicBezTo>
                  <a:cubicBezTo>
                    <a:pt x="44" y="23"/>
                    <a:pt x="55" y="13"/>
                    <a:pt x="66" y="4"/>
                  </a:cubicBezTo>
                  <a:cubicBezTo>
                    <a:pt x="67" y="3"/>
                    <a:pt x="65" y="0"/>
                    <a:pt x="64" y="2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0" name="Freeform 355">
              <a:extLst>
                <a:ext uri="{FF2B5EF4-FFF2-40B4-BE49-F238E27FC236}">
                  <a16:creationId xmlns:a16="http://schemas.microsoft.com/office/drawing/2014/main" id="{EA483664-CDE5-4BA3-95CA-C4C8A9B7C8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28175" y="1690688"/>
              <a:ext cx="185738" cy="107950"/>
            </a:xfrm>
            <a:custGeom>
              <a:avLst/>
              <a:gdLst>
                <a:gd name="T0" fmla="*/ 76 w 78"/>
                <a:gd name="T1" fmla="*/ 0 h 46"/>
                <a:gd name="T2" fmla="*/ 6 w 78"/>
                <a:gd name="T3" fmla="*/ 31 h 46"/>
                <a:gd name="T4" fmla="*/ 11 w 78"/>
                <a:gd name="T5" fmla="*/ 43 h 46"/>
                <a:gd name="T6" fmla="*/ 77 w 78"/>
                <a:gd name="T7" fmla="*/ 3 h 46"/>
                <a:gd name="T8" fmla="*/ 76 w 78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46">
                  <a:moveTo>
                    <a:pt x="76" y="0"/>
                  </a:moveTo>
                  <a:cubicBezTo>
                    <a:pt x="52" y="6"/>
                    <a:pt x="26" y="17"/>
                    <a:pt x="6" y="31"/>
                  </a:cubicBezTo>
                  <a:cubicBezTo>
                    <a:pt x="0" y="35"/>
                    <a:pt x="3" y="46"/>
                    <a:pt x="11" y="43"/>
                  </a:cubicBezTo>
                  <a:cubicBezTo>
                    <a:pt x="34" y="34"/>
                    <a:pt x="59" y="19"/>
                    <a:pt x="77" y="3"/>
                  </a:cubicBezTo>
                  <a:cubicBezTo>
                    <a:pt x="78" y="2"/>
                    <a:pt x="77" y="0"/>
                    <a:pt x="76" y="0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1" name="Freeform 356">
              <a:extLst>
                <a:ext uri="{FF2B5EF4-FFF2-40B4-BE49-F238E27FC236}">
                  <a16:creationId xmlns:a16="http://schemas.microsoft.com/office/drawing/2014/main" id="{713EE471-8DB7-42EE-B428-1C18B567CE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31338" y="1250950"/>
              <a:ext cx="149225" cy="106363"/>
            </a:xfrm>
            <a:custGeom>
              <a:avLst/>
              <a:gdLst>
                <a:gd name="T0" fmla="*/ 6 w 63"/>
                <a:gd name="T1" fmla="*/ 43 h 45"/>
                <a:gd name="T2" fmla="*/ 33 w 63"/>
                <a:gd name="T3" fmla="*/ 23 h 45"/>
                <a:gd name="T4" fmla="*/ 62 w 63"/>
                <a:gd name="T5" fmla="*/ 4 h 45"/>
                <a:gd name="T6" fmla="*/ 61 w 63"/>
                <a:gd name="T7" fmla="*/ 1 h 45"/>
                <a:gd name="T8" fmla="*/ 2 w 63"/>
                <a:gd name="T9" fmla="*/ 39 h 45"/>
                <a:gd name="T10" fmla="*/ 6 w 63"/>
                <a:gd name="T11" fmla="*/ 4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45">
                  <a:moveTo>
                    <a:pt x="6" y="43"/>
                  </a:moveTo>
                  <a:cubicBezTo>
                    <a:pt x="16" y="38"/>
                    <a:pt x="24" y="30"/>
                    <a:pt x="33" y="23"/>
                  </a:cubicBezTo>
                  <a:cubicBezTo>
                    <a:pt x="42" y="16"/>
                    <a:pt x="52" y="10"/>
                    <a:pt x="62" y="4"/>
                  </a:cubicBezTo>
                  <a:cubicBezTo>
                    <a:pt x="63" y="3"/>
                    <a:pt x="62" y="0"/>
                    <a:pt x="61" y="1"/>
                  </a:cubicBezTo>
                  <a:cubicBezTo>
                    <a:pt x="39" y="9"/>
                    <a:pt x="14" y="20"/>
                    <a:pt x="2" y="39"/>
                  </a:cubicBezTo>
                  <a:cubicBezTo>
                    <a:pt x="0" y="42"/>
                    <a:pt x="3" y="45"/>
                    <a:pt x="6" y="43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2" name="Freeform 357">
              <a:extLst>
                <a:ext uri="{FF2B5EF4-FFF2-40B4-BE49-F238E27FC236}">
                  <a16:creationId xmlns:a16="http://schemas.microsoft.com/office/drawing/2014/main" id="{D8126D52-956A-4136-BFE5-1368F28ED6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5800" y="358775"/>
              <a:ext cx="203200" cy="139700"/>
            </a:xfrm>
            <a:custGeom>
              <a:avLst/>
              <a:gdLst>
                <a:gd name="T0" fmla="*/ 84 w 86"/>
                <a:gd name="T1" fmla="*/ 0 h 59"/>
                <a:gd name="T2" fmla="*/ 9 w 86"/>
                <a:gd name="T3" fmla="*/ 34 h 59"/>
                <a:gd name="T4" fmla="*/ 22 w 86"/>
                <a:gd name="T5" fmla="*/ 51 h 59"/>
                <a:gd name="T6" fmla="*/ 51 w 86"/>
                <a:gd name="T7" fmla="*/ 26 h 59"/>
                <a:gd name="T8" fmla="*/ 85 w 86"/>
                <a:gd name="T9" fmla="*/ 4 h 59"/>
                <a:gd name="T10" fmla="*/ 84 w 86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59">
                  <a:moveTo>
                    <a:pt x="84" y="0"/>
                  </a:moveTo>
                  <a:cubicBezTo>
                    <a:pt x="59" y="3"/>
                    <a:pt x="26" y="16"/>
                    <a:pt x="9" y="34"/>
                  </a:cubicBezTo>
                  <a:cubicBezTo>
                    <a:pt x="0" y="43"/>
                    <a:pt x="11" y="59"/>
                    <a:pt x="22" y="51"/>
                  </a:cubicBezTo>
                  <a:cubicBezTo>
                    <a:pt x="32" y="44"/>
                    <a:pt x="41" y="34"/>
                    <a:pt x="51" y="26"/>
                  </a:cubicBezTo>
                  <a:cubicBezTo>
                    <a:pt x="62" y="18"/>
                    <a:pt x="73" y="11"/>
                    <a:pt x="85" y="4"/>
                  </a:cubicBezTo>
                  <a:cubicBezTo>
                    <a:pt x="86" y="3"/>
                    <a:pt x="86" y="0"/>
                    <a:pt x="84" y="0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3" name="Freeform 358">
              <a:extLst>
                <a:ext uri="{FF2B5EF4-FFF2-40B4-BE49-F238E27FC236}">
                  <a16:creationId xmlns:a16="http://schemas.microsoft.com/office/drawing/2014/main" id="{AC13DEFC-CBCC-4DFD-99DA-C6FAFBD55B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61463" y="3175"/>
              <a:ext cx="182563" cy="138113"/>
            </a:xfrm>
            <a:custGeom>
              <a:avLst/>
              <a:gdLst>
                <a:gd name="T0" fmla="*/ 1 w 77"/>
                <a:gd name="T1" fmla="*/ 52 h 59"/>
                <a:gd name="T2" fmla="*/ 7 w 77"/>
                <a:gd name="T3" fmla="*/ 59 h 59"/>
                <a:gd name="T4" fmla="*/ 39 w 77"/>
                <a:gd name="T5" fmla="*/ 38 h 59"/>
                <a:gd name="T6" fmla="*/ 75 w 77"/>
                <a:gd name="T7" fmla="*/ 4 h 59"/>
                <a:gd name="T8" fmla="*/ 73 w 77"/>
                <a:gd name="T9" fmla="*/ 1 h 59"/>
                <a:gd name="T10" fmla="*/ 30 w 77"/>
                <a:gd name="T11" fmla="*/ 26 h 59"/>
                <a:gd name="T12" fmla="*/ 1 w 77"/>
                <a:gd name="T13" fmla="*/ 5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59">
                  <a:moveTo>
                    <a:pt x="1" y="52"/>
                  </a:moveTo>
                  <a:cubicBezTo>
                    <a:pt x="0" y="55"/>
                    <a:pt x="3" y="59"/>
                    <a:pt x="7" y="59"/>
                  </a:cubicBezTo>
                  <a:cubicBezTo>
                    <a:pt x="20" y="58"/>
                    <a:pt x="29" y="46"/>
                    <a:pt x="39" y="38"/>
                  </a:cubicBezTo>
                  <a:cubicBezTo>
                    <a:pt x="52" y="27"/>
                    <a:pt x="64" y="15"/>
                    <a:pt x="75" y="4"/>
                  </a:cubicBezTo>
                  <a:cubicBezTo>
                    <a:pt x="77" y="2"/>
                    <a:pt x="75" y="0"/>
                    <a:pt x="73" y="1"/>
                  </a:cubicBezTo>
                  <a:cubicBezTo>
                    <a:pt x="58" y="9"/>
                    <a:pt x="44" y="17"/>
                    <a:pt x="30" y="26"/>
                  </a:cubicBezTo>
                  <a:cubicBezTo>
                    <a:pt x="20" y="33"/>
                    <a:pt x="6" y="39"/>
                    <a:pt x="1" y="52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4" name="Freeform 359">
              <a:extLst>
                <a:ext uri="{FF2B5EF4-FFF2-40B4-BE49-F238E27FC236}">
                  <a16:creationId xmlns:a16="http://schemas.microsoft.com/office/drawing/2014/main" id="{F4E28E82-9696-4751-9E03-D5F2AB671E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8088" y="1293813"/>
              <a:ext cx="231775" cy="115888"/>
            </a:xfrm>
            <a:custGeom>
              <a:avLst/>
              <a:gdLst>
                <a:gd name="T0" fmla="*/ 51 w 98"/>
                <a:gd name="T1" fmla="*/ 31 h 49"/>
                <a:gd name="T2" fmla="*/ 93 w 98"/>
                <a:gd name="T3" fmla="*/ 49 h 49"/>
                <a:gd name="T4" fmla="*/ 96 w 98"/>
                <a:gd name="T5" fmla="*/ 42 h 49"/>
                <a:gd name="T6" fmla="*/ 56 w 98"/>
                <a:gd name="T7" fmla="*/ 21 h 49"/>
                <a:gd name="T8" fmla="*/ 3 w 98"/>
                <a:gd name="T9" fmla="*/ 1 h 49"/>
                <a:gd name="T10" fmla="*/ 2 w 98"/>
                <a:gd name="T11" fmla="*/ 4 h 49"/>
                <a:gd name="T12" fmla="*/ 51 w 98"/>
                <a:gd name="T13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" h="49">
                  <a:moveTo>
                    <a:pt x="51" y="31"/>
                  </a:moveTo>
                  <a:cubicBezTo>
                    <a:pt x="64" y="38"/>
                    <a:pt x="78" y="49"/>
                    <a:pt x="93" y="49"/>
                  </a:cubicBezTo>
                  <a:cubicBezTo>
                    <a:pt x="97" y="49"/>
                    <a:pt x="98" y="45"/>
                    <a:pt x="96" y="42"/>
                  </a:cubicBezTo>
                  <a:cubicBezTo>
                    <a:pt x="86" y="30"/>
                    <a:pt x="69" y="27"/>
                    <a:pt x="56" y="21"/>
                  </a:cubicBezTo>
                  <a:cubicBezTo>
                    <a:pt x="38" y="14"/>
                    <a:pt x="21" y="6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ubicBezTo>
                    <a:pt x="18" y="14"/>
                    <a:pt x="35" y="23"/>
                    <a:pt x="51" y="31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5" name="Freeform 360">
              <a:extLst>
                <a:ext uri="{FF2B5EF4-FFF2-40B4-BE49-F238E27FC236}">
                  <a16:creationId xmlns:a16="http://schemas.microsoft.com/office/drawing/2014/main" id="{70EC917E-5DEF-4B77-862E-7AAAE8D03B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62100" y="2163763"/>
              <a:ext cx="268288" cy="74613"/>
            </a:xfrm>
            <a:custGeom>
              <a:avLst/>
              <a:gdLst>
                <a:gd name="T0" fmla="*/ 58 w 113"/>
                <a:gd name="T1" fmla="*/ 19 h 32"/>
                <a:gd name="T2" fmla="*/ 106 w 113"/>
                <a:gd name="T3" fmla="*/ 31 h 32"/>
                <a:gd name="T4" fmla="*/ 109 w 113"/>
                <a:gd name="T5" fmla="*/ 23 h 32"/>
                <a:gd name="T6" fmla="*/ 60 w 113"/>
                <a:gd name="T7" fmla="*/ 12 h 32"/>
                <a:gd name="T8" fmla="*/ 3 w 113"/>
                <a:gd name="T9" fmla="*/ 1 h 32"/>
                <a:gd name="T10" fmla="*/ 2 w 113"/>
                <a:gd name="T11" fmla="*/ 4 h 32"/>
                <a:gd name="T12" fmla="*/ 58 w 113"/>
                <a:gd name="T13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32">
                  <a:moveTo>
                    <a:pt x="58" y="19"/>
                  </a:moveTo>
                  <a:cubicBezTo>
                    <a:pt x="74" y="24"/>
                    <a:pt x="90" y="30"/>
                    <a:pt x="106" y="31"/>
                  </a:cubicBezTo>
                  <a:cubicBezTo>
                    <a:pt x="111" y="32"/>
                    <a:pt x="113" y="25"/>
                    <a:pt x="109" y="23"/>
                  </a:cubicBezTo>
                  <a:cubicBezTo>
                    <a:pt x="93" y="17"/>
                    <a:pt x="76" y="15"/>
                    <a:pt x="60" y="12"/>
                  </a:cubicBezTo>
                  <a:cubicBezTo>
                    <a:pt x="41" y="9"/>
                    <a:pt x="22" y="5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ubicBezTo>
                    <a:pt x="21" y="9"/>
                    <a:pt x="39" y="14"/>
                    <a:pt x="58" y="19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6" name="Freeform 361">
              <a:extLst>
                <a:ext uri="{FF2B5EF4-FFF2-40B4-BE49-F238E27FC236}">
                  <a16:creationId xmlns:a16="http://schemas.microsoft.com/office/drawing/2014/main" id="{B5F180AB-72E0-48F6-BB7C-A0145F7A67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25" y="4446588"/>
              <a:ext cx="284163" cy="68263"/>
            </a:xfrm>
            <a:custGeom>
              <a:avLst/>
              <a:gdLst>
                <a:gd name="T0" fmla="*/ 1 w 120"/>
                <a:gd name="T1" fmla="*/ 15 h 29"/>
                <a:gd name="T2" fmla="*/ 116 w 120"/>
                <a:gd name="T3" fmla="*/ 10 h 29"/>
                <a:gd name="T4" fmla="*/ 114 w 120"/>
                <a:gd name="T5" fmla="*/ 0 h 29"/>
                <a:gd name="T6" fmla="*/ 65 w 120"/>
                <a:gd name="T7" fmla="*/ 11 h 29"/>
                <a:gd name="T8" fmla="*/ 1 w 120"/>
                <a:gd name="T9" fmla="*/ 13 h 29"/>
                <a:gd name="T10" fmla="*/ 1 w 120"/>
                <a:gd name="T11" fmla="*/ 1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29">
                  <a:moveTo>
                    <a:pt x="1" y="15"/>
                  </a:moveTo>
                  <a:cubicBezTo>
                    <a:pt x="35" y="20"/>
                    <a:pt x="85" y="29"/>
                    <a:pt x="116" y="10"/>
                  </a:cubicBezTo>
                  <a:cubicBezTo>
                    <a:pt x="120" y="7"/>
                    <a:pt x="119" y="0"/>
                    <a:pt x="114" y="0"/>
                  </a:cubicBezTo>
                  <a:cubicBezTo>
                    <a:pt x="97" y="1"/>
                    <a:pt x="81" y="8"/>
                    <a:pt x="65" y="11"/>
                  </a:cubicBezTo>
                  <a:cubicBezTo>
                    <a:pt x="44" y="15"/>
                    <a:pt x="23" y="15"/>
                    <a:pt x="1" y="13"/>
                  </a:cubicBezTo>
                  <a:cubicBezTo>
                    <a:pt x="0" y="13"/>
                    <a:pt x="0" y="15"/>
                    <a:pt x="1" y="15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7" name="Freeform 362">
              <a:extLst>
                <a:ext uri="{FF2B5EF4-FFF2-40B4-BE49-F238E27FC236}">
                  <a16:creationId xmlns:a16="http://schemas.microsoft.com/office/drawing/2014/main" id="{D84D1011-525A-44AA-A677-0FC78AA4E8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5438" y="4940300"/>
              <a:ext cx="366713" cy="85725"/>
            </a:xfrm>
            <a:custGeom>
              <a:avLst/>
              <a:gdLst>
                <a:gd name="T0" fmla="*/ 149 w 155"/>
                <a:gd name="T1" fmla="*/ 24 h 36"/>
                <a:gd name="T2" fmla="*/ 149 w 155"/>
                <a:gd name="T3" fmla="*/ 10 h 36"/>
                <a:gd name="T4" fmla="*/ 88 w 155"/>
                <a:gd name="T5" fmla="*/ 10 h 36"/>
                <a:gd name="T6" fmla="*/ 3 w 155"/>
                <a:gd name="T7" fmla="*/ 24 h 36"/>
                <a:gd name="T8" fmla="*/ 4 w 155"/>
                <a:gd name="T9" fmla="*/ 28 h 36"/>
                <a:gd name="T10" fmla="*/ 85 w 155"/>
                <a:gd name="T11" fmla="*/ 30 h 36"/>
                <a:gd name="T12" fmla="*/ 149 w 155"/>
                <a:gd name="T13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36">
                  <a:moveTo>
                    <a:pt x="149" y="24"/>
                  </a:moveTo>
                  <a:cubicBezTo>
                    <a:pt x="154" y="20"/>
                    <a:pt x="155" y="13"/>
                    <a:pt x="149" y="10"/>
                  </a:cubicBezTo>
                  <a:cubicBezTo>
                    <a:pt x="129" y="0"/>
                    <a:pt x="109" y="7"/>
                    <a:pt x="88" y="10"/>
                  </a:cubicBezTo>
                  <a:cubicBezTo>
                    <a:pt x="60" y="15"/>
                    <a:pt x="31" y="18"/>
                    <a:pt x="3" y="24"/>
                  </a:cubicBezTo>
                  <a:cubicBezTo>
                    <a:pt x="0" y="25"/>
                    <a:pt x="1" y="28"/>
                    <a:pt x="4" y="28"/>
                  </a:cubicBezTo>
                  <a:cubicBezTo>
                    <a:pt x="31" y="30"/>
                    <a:pt x="58" y="30"/>
                    <a:pt x="85" y="30"/>
                  </a:cubicBezTo>
                  <a:cubicBezTo>
                    <a:pt x="107" y="31"/>
                    <a:pt x="131" y="36"/>
                    <a:pt x="149" y="24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8" name="Freeform 363">
              <a:extLst>
                <a:ext uri="{FF2B5EF4-FFF2-40B4-BE49-F238E27FC236}">
                  <a16:creationId xmlns:a16="http://schemas.microsoft.com/office/drawing/2014/main" id="{3826FFE8-9BFB-4642-A686-43811E303B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62100" y="6103938"/>
              <a:ext cx="185738" cy="63500"/>
            </a:xfrm>
            <a:custGeom>
              <a:avLst/>
              <a:gdLst>
                <a:gd name="T0" fmla="*/ 3 w 78"/>
                <a:gd name="T1" fmla="*/ 27 h 27"/>
                <a:gd name="T2" fmla="*/ 71 w 78"/>
                <a:gd name="T3" fmla="*/ 13 h 27"/>
                <a:gd name="T4" fmla="*/ 68 w 78"/>
                <a:gd name="T5" fmla="*/ 2 h 27"/>
                <a:gd name="T6" fmla="*/ 2 w 78"/>
                <a:gd name="T7" fmla="*/ 22 h 27"/>
                <a:gd name="T8" fmla="*/ 3 w 78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27">
                  <a:moveTo>
                    <a:pt x="3" y="27"/>
                  </a:moveTo>
                  <a:cubicBezTo>
                    <a:pt x="26" y="23"/>
                    <a:pt x="49" y="19"/>
                    <a:pt x="71" y="13"/>
                  </a:cubicBezTo>
                  <a:cubicBezTo>
                    <a:pt x="78" y="12"/>
                    <a:pt x="75" y="0"/>
                    <a:pt x="68" y="2"/>
                  </a:cubicBezTo>
                  <a:cubicBezTo>
                    <a:pt x="46" y="8"/>
                    <a:pt x="24" y="15"/>
                    <a:pt x="2" y="22"/>
                  </a:cubicBezTo>
                  <a:cubicBezTo>
                    <a:pt x="0" y="23"/>
                    <a:pt x="1" y="27"/>
                    <a:pt x="3" y="27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9" name="Freeform 364">
              <a:extLst>
                <a:ext uri="{FF2B5EF4-FFF2-40B4-BE49-F238E27FC236}">
                  <a16:creationId xmlns:a16="http://schemas.microsoft.com/office/drawing/2014/main" id="{99D50164-38C8-4903-8B25-E7746D8FDE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50138" y="9525"/>
              <a:ext cx="93663" cy="134938"/>
            </a:xfrm>
            <a:custGeom>
              <a:avLst/>
              <a:gdLst>
                <a:gd name="T0" fmla="*/ 32 w 39"/>
                <a:gd name="T1" fmla="*/ 4 h 57"/>
                <a:gd name="T2" fmla="*/ 15 w 39"/>
                <a:gd name="T3" fmla="*/ 26 h 57"/>
                <a:gd name="T4" fmla="*/ 1 w 39"/>
                <a:gd name="T5" fmla="*/ 50 h 57"/>
                <a:gd name="T6" fmla="*/ 7 w 39"/>
                <a:gd name="T7" fmla="*/ 55 h 57"/>
                <a:gd name="T8" fmla="*/ 22 w 39"/>
                <a:gd name="T9" fmla="*/ 34 h 57"/>
                <a:gd name="T10" fmla="*/ 38 w 39"/>
                <a:gd name="T11" fmla="*/ 8 h 57"/>
                <a:gd name="T12" fmla="*/ 32 w 39"/>
                <a:gd name="T13" fmla="*/ 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57">
                  <a:moveTo>
                    <a:pt x="32" y="4"/>
                  </a:moveTo>
                  <a:cubicBezTo>
                    <a:pt x="26" y="11"/>
                    <a:pt x="21" y="18"/>
                    <a:pt x="15" y="26"/>
                  </a:cubicBezTo>
                  <a:cubicBezTo>
                    <a:pt x="10" y="33"/>
                    <a:pt x="3" y="41"/>
                    <a:pt x="1" y="50"/>
                  </a:cubicBezTo>
                  <a:cubicBezTo>
                    <a:pt x="0" y="53"/>
                    <a:pt x="4" y="57"/>
                    <a:pt x="7" y="55"/>
                  </a:cubicBezTo>
                  <a:cubicBezTo>
                    <a:pt x="14" y="50"/>
                    <a:pt x="18" y="41"/>
                    <a:pt x="22" y="34"/>
                  </a:cubicBezTo>
                  <a:cubicBezTo>
                    <a:pt x="28" y="26"/>
                    <a:pt x="33" y="17"/>
                    <a:pt x="38" y="8"/>
                  </a:cubicBezTo>
                  <a:cubicBezTo>
                    <a:pt x="39" y="5"/>
                    <a:pt x="35" y="0"/>
                    <a:pt x="32" y="4"/>
                  </a:cubicBez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0" name="Freeform 365">
              <a:extLst>
                <a:ext uri="{FF2B5EF4-FFF2-40B4-BE49-F238E27FC236}">
                  <a16:creationId xmlns:a16="http://schemas.microsoft.com/office/drawing/2014/main" id="{E3E4EAC2-06CA-420D-AB37-A0BDBB6973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43225" y="284163"/>
              <a:ext cx="6269038" cy="6238875"/>
            </a:xfrm>
            <a:custGeom>
              <a:avLst/>
              <a:gdLst>
                <a:gd name="T0" fmla="*/ 2649 w 2649"/>
                <a:gd name="T1" fmla="*/ 1323 h 2639"/>
                <a:gd name="T2" fmla="*/ 2628 w 2649"/>
                <a:gd name="T3" fmla="*/ 1270 h 2639"/>
                <a:gd name="T4" fmla="*/ 2421 w 2649"/>
                <a:gd name="T5" fmla="*/ 888 h 2639"/>
                <a:gd name="T6" fmla="*/ 2268 w 2649"/>
                <a:gd name="T7" fmla="*/ 392 h 2639"/>
                <a:gd name="T8" fmla="*/ 2245 w 2649"/>
                <a:gd name="T9" fmla="*/ 370 h 2639"/>
                <a:gd name="T10" fmla="*/ 1799 w 2649"/>
                <a:gd name="T11" fmla="*/ 239 h 2639"/>
                <a:gd name="T12" fmla="*/ 1343 w 2649"/>
                <a:gd name="T13" fmla="*/ 0 h 2639"/>
                <a:gd name="T14" fmla="*/ 1303 w 2649"/>
                <a:gd name="T15" fmla="*/ 1 h 2639"/>
                <a:gd name="T16" fmla="*/ 899 w 2649"/>
                <a:gd name="T17" fmla="*/ 221 h 2639"/>
                <a:gd name="T18" fmla="*/ 405 w 2649"/>
                <a:gd name="T19" fmla="*/ 374 h 2639"/>
                <a:gd name="T20" fmla="*/ 381 w 2649"/>
                <a:gd name="T21" fmla="*/ 397 h 2639"/>
                <a:gd name="T22" fmla="*/ 250 w 2649"/>
                <a:gd name="T23" fmla="*/ 844 h 2639"/>
                <a:gd name="T24" fmla="*/ 9 w 2649"/>
                <a:gd name="T25" fmla="*/ 1302 h 2639"/>
                <a:gd name="T26" fmla="*/ 11 w 2649"/>
                <a:gd name="T27" fmla="*/ 1338 h 2639"/>
                <a:gd name="T28" fmla="*/ 232 w 2649"/>
                <a:gd name="T29" fmla="*/ 1743 h 2639"/>
                <a:gd name="T30" fmla="*/ 387 w 2649"/>
                <a:gd name="T31" fmla="*/ 2246 h 2639"/>
                <a:gd name="T32" fmla="*/ 412 w 2649"/>
                <a:gd name="T33" fmla="*/ 2262 h 2639"/>
                <a:gd name="T34" fmla="*/ 855 w 2649"/>
                <a:gd name="T35" fmla="*/ 2392 h 2639"/>
                <a:gd name="T36" fmla="*/ 1320 w 2649"/>
                <a:gd name="T37" fmla="*/ 2638 h 2639"/>
                <a:gd name="T38" fmla="*/ 1320 w 2649"/>
                <a:gd name="T39" fmla="*/ 2638 h 2639"/>
                <a:gd name="T40" fmla="*/ 1322 w 2649"/>
                <a:gd name="T41" fmla="*/ 2638 h 2639"/>
                <a:gd name="T42" fmla="*/ 1350 w 2649"/>
                <a:gd name="T43" fmla="*/ 2631 h 2639"/>
                <a:gd name="T44" fmla="*/ 1754 w 2649"/>
                <a:gd name="T45" fmla="*/ 2411 h 2639"/>
                <a:gd name="T46" fmla="*/ 2257 w 2649"/>
                <a:gd name="T47" fmla="*/ 2255 h 2639"/>
                <a:gd name="T48" fmla="*/ 2257 w 2649"/>
                <a:gd name="T49" fmla="*/ 2255 h 2639"/>
                <a:gd name="T50" fmla="*/ 2257 w 2649"/>
                <a:gd name="T51" fmla="*/ 2255 h 2639"/>
                <a:gd name="T52" fmla="*/ 2257 w 2649"/>
                <a:gd name="T53" fmla="*/ 2255 h 2639"/>
                <a:gd name="T54" fmla="*/ 2260 w 2649"/>
                <a:gd name="T55" fmla="*/ 2252 h 2639"/>
                <a:gd name="T56" fmla="*/ 2276 w 2649"/>
                <a:gd name="T57" fmla="*/ 2217 h 2639"/>
                <a:gd name="T58" fmla="*/ 2403 w 2649"/>
                <a:gd name="T59" fmla="*/ 1788 h 2639"/>
                <a:gd name="T60" fmla="*/ 2649 w 2649"/>
                <a:gd name="T61" fmla="*/ 132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49" h="2639">
                  <a:moveTo>
                    <a:pt x="2649" y="1323"/>
                  </a:moveTo>
                  <a:cubicBezTo>
                    <a:pt x="2645" y="1304"/>
                    <a:pt x="2638" y="1286"/>
                    <a:pt x="2628" y="1270"/>
                  </a:cubicBezTo>
                  <a:cubicBezTo>
                    <a:pt x="2584" y="1200"/>
                    <a:pt x="2481" y="1031"/>
                    <a:pt x="2421" y="888"/>
                  </a:cubicBezTo>
                  <a:cubicBezTo>
                    <a:pt x="2351" y="719"/>
                    <a:pt x="2280" y="440"/>
                    <a:pt x="2268" y="392"/>
                  </a:cubicBezTo>
                  <a:cubicBezTo>
                    <a:pt x="2245" y="370"/>
                    <a:pt x="2245" y="370"/>
                    <a:pt x="2245" y="370"/>
                  </a:cubicBezTo>
                  <a:cubicBezTo>
                    <a:pt x="2199" y="360"/>
                    <a:pt x="1965" y="308"/>
                    <a:pt x="1799" y="239"/>
                  </a:cubicBezTo>
                  <a:cubicBezTo>
                    <a:pt x="1634" y="172"/>
                    <a:pt x="1395" y="31"/>
                    <a:pt x="1343" y="0"/>
                  </a:cubicBezTo>
                  <a:cubicBezTo>
                    <a:pt x="1303" y="1"/>
                    <a:pt x="1303" y="1"/>
                    <a:pt x="1303" y="1"/>
                  </a:cubicBezTo>
                  <a:cubicBezTo>
                    <a:pt x="1255" y="32"/>
                    <a:pt x="1060" y="154"/>
                    <a:pt x="899" y="221"/>
                  </a:cubicBezTo>
                  <a:cubicBezTo>
                    <a:pt x="732" y="291"/>
                    <a:pt x="457" y="361"/>
                    <a:pt x="405" y="374"/>
                  </a:cubicBezTo>
                  <a:cubicBezTo>
                    <a:pt x="405" y="374"/>
                    <a:pt x="382" y="387"/>
                    <a:pt x="381" y="397"/>
                  </a:cubicBezTo>
                  <a:cubicBezTo>
                    <a:pt x="371" y="443"/>
                    <a:pt x="319" y="677"/>
                    <a:pt x="250" y="844"/>
                  </a:cubicBezTo>
                  <a:cubicBezTo>
                    <a:pt x="181" y="1012"/>
                    <a:pt x="36" y="1257"/>
                    <a:pt x="9" y="1302"/>
                  </a:cubicBezTo>
                  <a:cubicBezTo>
                    <a:pt x="3" y="1308"/>
                    <a:pt x="0" y="1330"/>
                    <a:pt x="11" y="1338"/>
                  </a:cubicBezTo>
                  <a:cubicBezTo>
                    <a:pt x="41" y="1385"/>
                    <a:pt x="164" y="1581"/>
                    <a:pt x="232" y="1743"/>
                  </a:cubicBezTo>
                  <a:cubicBezTo>
                    <a:pt x="309" y="1927"/>
                    <a:pt x="386" y="2242"/>
                    <a:pt x="387" y="2246"/>
                  </a:cubicBezTo>
                  <a:cubicBezTo>
                    <a:pt x="412" y="2262"/>
                    <a:pt x="412" y="2262"/>
                    <a:pt x="412" y="2262"/>
                  </a:cubicBezTo>
                  <a:cubicBezTo>
                    <a:pt x="464" y="2274"/>
                    <a:pt x="692" y="2325"/>
                    <a:pt x="855" y="2392"/>
                  </a:cubicBezTo>
                  <a:cubicBezTo>
                    <a:pt x="1041" y="2468"/>
                    <a:pt x="1320" y="2638"/>
                    <a:pt x="1320" y="2638"/>
                  </a:cubicBezTo>
                  <a:cubicBezTo>
                    <a:pt x="1320" y="2638"/>
                    <a:pt x="1320" y="2638"/>
                    <a:pt x="1320" y="2638"/>
                  </a:cubicBezTo>
                  <a:cubicBezTo>
                    <a:pt x="1322" y="2638"/>
                    <a:pt x="1322" y="2638"/>
                    <a:pt x="1322" y="2638"/>
                  </a:cubicBezTo>
                  <a:cubicBezTo>
                    <a:pt x="1332" y="2639"/>
                    <a:pt x="1350" y="2631"/>
                    <a:pt x="1350" y="2631"/>
                  </a:cubicBezTo>
                  <a:cubicBezTo>
                    <a:pt x="1398" y="2600"/>
                    <a:pt x="1593" y="2478"/>
                    <a:pt x="1754" y="2411"/>
                  </a:cubicBezTo>
                  <a:cubicBezTo>
                    <a:pt x="1939" y="2333"/>
                    <a:pt x="2257" y="2255"/>
                    <a:pt x="2257" y="2255"/>
                  </a:cubicBezTo>
                  <a:cubicBezTo>
                    <a:pt x="2257" y="2255"/>
                    <a:pt x="2257" y="2255"/>
                    <a:pt x="2257" y="2255"/>
                  </a:cubicBezTo>
                  <a:cubicBezTo>
                    <a:pt x="2257" y="2255"/>
                    <a:pt x="2257" y="2255"/>
                    <a:pt x="2257" y="2255"/>
                  </a:cubicBezTo>
                  <a:cubicBezTo>
                    <a:pt x="2257" y="2255"/>
                    <a:pt x="2257" y="2255"/>
                    <a:pt x="2257" y="2255"/>
                  </a:cubicBezTo>
                  <a:cubicBezTo>
                    <a:pt x="2260" y="2252"/>
                    <a:pt x="2260" y="2252"/>
                    <a:pt x="2260" y="2252"/>
                  </a:cubicBezTo>
                  <a:cubicBezTo>
                    <a:pt x="2276" y="2217"/>
                    <a:pt x="2276" y="2217"/>
                    <a:pt x="2276" y="2217"/>
                  </a:cubicBezTo>
                  <a:cubicBezTo>
                    <a:pt x="2292" y="2145"/>
                    <a:pt x="2341" y="1939"/>
                    <a:pt x="2403" y="1788"/>
                  </a:cubicBezTo>
                  <a:cubicBezTo>
                    <a:pt x="2477" y="1608"/>
                    <a:pt x="2638" y="1341"/>
                    <a:pt x="2649" y="1323"/>
                  </a:cubicBezTo>
                  <a:close/>
                </a:path>
              </a:pathLst>
            </a:custGeom>
            <a:solidFill>
              <a:srgbClr val="D34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171" name="Freeform 366">
              <a:extLst>
                <a:ext uri="{FF2B5EF4-FFF2-40B4-BE49-F238E27FC236}">
                  <a16:creationId xmlns:a16="http://schemas.microsoft.com/office/drawing/2014/main" id="{8BE0D169-BBBF-4BB5-922D-7AC24A842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13050" y="131763"/>
              <a:ext cx="6535738" cy="6529388"/>
            </a:xfrm>
            <a:custGeom>
              <a:avLst/>
              <a:gdLst>
                <a:gd name="T0" fmla="*/ 2756 w 2762"/>
                <a:gd name="T1" fmla="*/ 1376 h 2762"/>
                <a:gd name="T2" fmla="*/ 2190 w 2762"/>
                <a:gd name="T3" fmla="*/ 1369 h 2762"/>
                <a:gd name="T4" fmla="*/ 1409 w 2762"/>
                <a:gd name="T5" fmla="*/ 1376 h 2762"/>
                <a:gd name="T6" fmla="*/ 1406 w 2762"/>
                <a:gd name="T7" fmla="*/ 1366 h 2762"/>
                <a:gd name="T8" fmla="*/ 2356 w 2762"/>
                <a:gd name="T9" fmla="*/ 411 h 2762"/>
                <a:gd name="T10" fmla="*/ 2349 w 2762"/>
                <a:gd name="T11" fmla="*/ 405 h 2762"/>
                <a:gd name="T12" fmla="*/ 1944 w 2762"/>
                <a:gd name="T13" fmla="*/ 801 h 2762"/>
                <a:gd name="T14" fmla="*/ 1395 w 2762"/>
                <a:gd name="T15" fmla="*/ 1360 h 2762"/>
                <a:gd name="T16" fmla="*/ 1388 w 2762"/>
                <a:gd name="T17" fmla="*/ 1355 h 2762"/>
                <a:gd name="T18" fmla="*/ 1384 w 2762"/>
                <a:gd name="T19" fmla="*/ 6 h 2762"/>
                <a:gd name="T20" fmla="*/ 1376 w 2762"/>
                <a:gd name="T21" fmla="*/ 6 h 2762"/>
                <a:gd name="T22" fmla="*/ 1369 w 2762"/>
                <a:gd name="T23" fmla="*/ 572 h 2762"/>
                <a:gd name="T24" fmla="*/ 1376 w 2762"/>
                <a:gd name="T25" fmla="*/ 1355 h 2762"/>
                <a:gd name="T26" fmla="*/ 1366 w 2762"/>
                <a:gd name="T27" fmla="*/ 1357 h 2762"/>
                <a:gd name="T28" fmla="*/ 411 w 2762"/>
                <a:gd name="T29" fmla="*/ 406 h 2762"/>
                <a:gd name="T30" fmla="*/ 405 w 2762"/>
                <a:gd name="T31" fmla="*/ 413 h 2762"/>
                <a:gd name="T32" fmla="*/ 801 w 2762"/>
                <a:gd name="T33" fmla="*/ 818 h 2762"/>
                <a:gd name="T34" fmla="*/ 1356 w 2762"/>
                <a:gd name="T35" fmla="*/ 1364 h 2762"/>
                <a:gd name="T36" fmla="*/ 1351 w 2762"/>
                <a:gd name="T37" fmla="*/ 1374 h 2762"/>
                <a:gd name="T38" fmla="*/ 6 w 2762"/>
                <a:gd name="T39" fmla="*/ 1378 h 2762"/>
                <a:gd name="T40" fmla="*/ 6 w 2762"/>
                <a:gd name="T41" fmla="*/ 1386 h 2762"/>
                <a:gd name="T42" fmla="*/ 572 w 2762"/>
                <a:gd name="T43" fmla="*/ 1393 h 2762"/>
                <a:gd name="T44" fmla="*/ 1350 w 2762"/>
                <a:gd name="T45" fmla="*/ 1386 h 2762"/>
                <a:gd name="T46" fmla="*/ 1355 w 2762"/>
                <a:gd name="T47" fmla="*/ 1398 h 2762"/>
                <a:gd name="T48" fmla="*/ 406 w 2762"/>
                <a:gd name="T49" fmla="*/ 2351 h 2762"/>
                <a:gd name="T50" fmla="*/ 413 w 2762"/>
                <a:gd name="T51" fmla="*/ 2357 h 2762"/>
                <a:gd name="T52" fmla="*/ 818 w 2762"/>
                <a:gd name="T53" fmla="*/ 1961 h 2762"/>
                <a:gd name="T54" fmla="*/ 1363 w 2762"/>
                <a:gd name="T55" fmla="*/ 1407 h 2762"/>
                <a:gd name="T56" fmla="*/ 1374 w 2762"/>
                <a:gd name="T57" fmla="*/ 1412 h 2762"/>
                <a:gd name="T58" fmla="*/ 1378 w 2762"/>
                <a:gd name="T59" fmla="*/ 2756 h 2762"/>
                <a:gd name="T60" fmla="*/ 1386 w 2762"/>
                <a:gd name="T61" fmla="*/ 2756 h 2762"/>
                <a:gd name="T62" fmla="*/ 1393 w 2762"/>
                <a:gd name="T63" fmla="*/ 2190 h 2762"/>
                <a:gd name="T64" fmla="*/ 1386 w 2762"/>
                <a:gd name="T65" fmla="*/ 1412 h 2762"/>
                <a:gd name="T66" fmla="*/ 1397 w 2762"/>
                <a:gd name="T67" fmla="*/ 1406 h 2762"/>
                <a:gd name="T68" fmla="*/ 2351 w 2762"/>
                <a:gd name="T69" fmla="*/ 2356 h 2762"/>
                <a:gd name="T70" fmla="*/ 2357 w 2762"/>
                <a:gd name="T71" fmla="*/ 2349 h 2762"/>
                <a:gd name="T72" fmla="*/ 1961 w 2762"/>
                <a:gd name="T73" fmla="*/ 1944 h 2762"/>
                <a:gd name="T74" fmla="*/ 1405 w 2762"/>
                <a:gd name="T75" fmla="*/ 1397 h 2762"/>
                <a:gd name="T76" fmla="*/ 1408 w 2762"/>
                <a:gd name="T77" fmla="*/ 1388 h 2762"/>
                <a:gd name="T78" fmla="*/ 2756 w 2762"/>
                <a:gd name="T79" fmla="*/ 1384 h 2762"/>
                <a:gd name="T80" fmla="*/ 2756 w 2762"/>
                <a:gd name="T81" fmla="*/ 1376 h 2762"/>
                <a:gd name="T82" fmla="*/ 1385 w 2762"/>
                <a:gd name="T83" fmla="*/ 1400 h 2762"/>
                <a:gd name="T84" fmla="*/ 1375 w 2762"/>
                <a:gd name="T85" fmla="*/ 1400 h 2762"/>
                <a:gd name="T86" fmla="*/ 1370 w 2762"/>
                <a:gd name="T87" fmla="*/ 1398 h 2762"/>
                <a:gd name="T88" fmla="*/ 1363 w 2762"/>
                <a:gd name="T89" fmla="*/ 1391 h 2762"/>
                <a:gd name="T90" fmla="*/ 1361 w 2762"/>
                <a:gd name="T91" fmla="*/ 1386 h 2762"/>
                <a:gd name="T92" fmla="*/ 1362 w 2762"/>
                <a:gd name="T93" fmla="*/ 1375 h 2762"/>
                <a:gd name="T94" fmla="*/ 1365 w 2762"/>
                <a:gd name="T95" fmla="*/ 1370 h 2762"/>
                <a:gd name="T96" fmla="*/ 1372 w 2762"/>
                <a:gd name="T97" fmla="*/ 1366 h 2762"/>
                <a:gd name="T98" fmla="*/ 1379 w 2762"/>
                <a:gd name="T99" fmla="*/ 1364 h 2762"/>
                <a:gd name="T100" fmla="*/ 1384 w 2762"/>
                <a:gd name="T101" fmla="*/ 1364 h 2762"/>
                <a:gd name="T102" fmla="*/ 1390 w 2762"/>
                <a:gd name="T103" fmla="*/ 1365 h 2762"/>
                <a:gd name="T104" fmla="*/ 1391 w 2762"/>
                <a:gd name="T105" fmla="*/ 1370 h 2762"/>
                <a:gd name="T106" fmla="*/ 1393 w 2762"/>
                <a:gd name="T107" fmla="*/ 1392 h 2762"/>
                <a:gd name="T108" fmla="*/ 1391 w 2762"/>
                <a:gd name="T109" fmla="*/ 1396 h 2762"/>
                <a:gd name="T110" fmla="*/ 1385 w 2762"/>
                <a:gd name="T111" fmla="*/ 1400 h 2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62" h="2762">
                  <a:moveTo>
                    <a:pt x="2756" y="1376"/>
                  </a:moveTo>
                  <a:cubicBezTo>
                    <a:pt x="2567" y="1368"/>
                    <a:pt x="2378" y="1369"/>
                    <a:pt x="2190" y="1369"/>
                  </a:cubicBezTo>
                  <a:cubicBezTo>
                    <a:pt x="1930" y="1368"/>
                    <a:pt x="1669" y="1364"/>
                    <a:pt x="1409" y="1376"/>
                  </a:cubicBezTo>
                  <a:cubicBezTo>
                    <a:pt x="1408" y="1372"/>
                    <a:pt x="1407" y="1369"/>
                    <a:pt x="1406" y="1366"/>
                  </a:cubicBezTo>
                  <a:cubicBezTo>
                    <a:pt x="1730" y="1056"/>
                    <a:pt x="2039" y="729"/>
                    <a:pt x="2356" y="411"/>
                  </a:cubicBezTo>
                  <a:cubicBezTo>
                    <a:pt x="2360" y="407"/>
                    <a:pt x="2354" y="401"/>
                    <a:pt x="2349" y="405"/>
                  </a:cubicBezTo>
                  <a:cubicBezTo>
                    <a:pt x="2211" y="533"/>
                    <a:pt x="2078" y="668"/>
                    <a:pt x="1944" y="801"/>
                  </a:cubicBezTo>
                  <a:cubicBezTo>
                    <a:pt x="1759" y="985"/>
                    <a:pt x="1571" y="1167"/>
                    <a:pt x="1395" y="1360"/>
                  </a:cubicBezTo>
                  <a:cubicBezTo>
                    <a:pt x="1393" y="1357"/>
                    <a:pt x="1391" y="1356"/>
                    <a:pt x="1388" y="1355"/>
                  </a:cubicBezTo>
                  <a:cubicBezTo>
                    <a:pt x="1399" y="906"/>
                    <a:pt x="1385" y="455"/>
                    <a:pt x="1384" y="6"/>
                  </a:cubicBezTo>
                  <a:cubicBezTo>
                    <a:pt x="1384" y="0"/>
                    <a:pt x="1376" y="1"/>
                    <a:pt x="1376" y="6"/>
                  </a:cubicBezTo>
                  <a:cubicBezTo>
                    <a:pt x="1368" y="195"/>
                    <a:pt x="1369" y="384"/>
                    <a:pt x="1369" y="572"/>
                  </a:cubicBezTo>
                  <a:cubicBezTo>
                    <a:pt x="1368" y="833"/>
                    <a:pt x="1364" y="1094"/>
                    <a:pt x="1376" y="1355"/>
                  </a:cubicBezTo>
                  <a:cubicBezTo>
                    <a:pt x="1372" y="1355"/>
                    <a:pt x="1369" y="1356"/>
                    <a:pt x="1366" y="1357"/>
                  </a:cubicBezTo>
                  <a:cubicBezTo>
                    <a:pt x="1057" y="1032"/>
                    <a:pt x="729" y="723"/>
                    <a:pt x="411" y="406"/>
                  </a:cubicBezTo>
                  <a:cubicBezTo>
                    <a:pt x="407" y="402"/>
                    <a:pt x="401" y="408"/>
                    <a:pt x="405" y="413"/>
                  </a:cubicBezTo>
                  <a:cubicBezTo>
                    <a:pt x="533" y="551"/>
                    <a:pt x="668" y="684"/>
                    <a:pt x="801" y="818"/>
                  </a:cubicBezTo>
                  <a:cubicBezTo>
                    <a:pt x="984" y="1002"/>
                    <a:pt x="1165" y="1188"/>
                    <a:pt x="1356" y="1364"/>
                  </a:cubicBezTo>
                  <a:cubicBezTo>
                    <a:pt x="1354" y="1367"/>
                    <a:pt x="1352" y="1371"/>
                    <a:pt x="1351" y="1374"/>
                  </a:cubicBezTo>
                  <a:cubicBezTo>
                    <a:pt x="903" y="1363"/>
                    <a:pt x="454" y="1377"/>
                    <a:pt x="6" y="1378"/>
                  </a:cubicBezTo>
                  <a:cubicBezTo>
                    <a:pt x="0" y="1378"/>
                    <a:pt x="1" y="1386"/>
                    <a:pt x="6" y="1386"/>
                  </a:cubicBezTo>
                  <a:cubicBezTo>
                    <a:pt x="195" y="1394"/>
                    <a:pt x="384" y="1393"/>
                    <a:pt x="572" y="1393"/>
                  </a:cubicBezTo>
                  <a:cubicBezTo>
                    <a:pt x="831" y="1394"/>
                    <a:pt x="1091" y="1397"/>
                    <a:pt x="1350" y="1386"/>
                  </a:cubicBezTo>
                  <a:cubicBezTo>
                    <a:pt x="1351" y="1390"/>
                    <a:pt x="1352" y="1394"/>
                    <a:pt x="1355" y="1398"/>
                  </a:cubicBezTo>
                  <a:cubicBezTo>
                    <a:pt x="1030" y="1707"/>
                    <a:pt x="723" y="2034"/>
                    <a:pt x="406" y="2351"/>
                  </a:cubicBezTo>
                  <a:cubicBezTo>
                    <a:pt x="402" y="2355"/>
                    <a:pt x="408" y="2361"/>
                    <a:pt x="413" y="2357"/>
                  </a:cubicBezTo>
                  <a:cubicBezTo>
                    <a:pt x="551" y="2229"/>
                    <a:pt x="684" y="2094"/>
                    <a:pt x="818" y="1961"/>
                  </a:cubicBezTo>
                  <a:cubicBezTo>
                    <a:pt x="1001" y="1779"/>
                    <a:pt x="1188" y="1597"/>
                    <a:pt x="1363" y="1407"/>
                  </a:cubicBezTo>
                  <a:cubicBezTo>
                    <a:pt x="1366" y="1409"/>
                    <a:pt x="1370" y="1411"/>
                    <a:pt x="1374" y="1412"/>
                  </a:cubicBezTo>
                  <a:cubicBezTo>
                    <a:pt x="1363" y="1859"/>
                    <a:pt x="1377" y="2308"/>
                    <a:pt x="1378" y="2756"/>
                  </a:cubicBezTo>
                  <a:cubicBezTo>
                    <a:pt x="1378" y="2762"/>
                    <a:pt x="1386" y="2761"/>
                    <a:pt x="1386" y="2756"/>
                  </a:cubicBezTo>
                  <a:cubicBezTo>
                    <a:pt x="1394" y="2567"/>
                    <a:pt x="1393" y="2378"/>
                    <a:pt x="1393" y="2190"/>
                  </a:cubicBezTo>
                  <a:cubicBezTo>
                    <a:pt x="1394" y="1930"/>
                    <a:pt x="1397" y="1671"/>
                    <a:pt x="1386" y="1412"/>
                  </a:cubicBezTo>
                  <a:cubicBezTo>
                    <a:pt x="1390" y="1411"/>
                    <a:pt x="1394" y="1409"/>
                    <a:pt x="1397" y="1406"/>
                  </a:cubicBezTo>
                  <a:cubicBezTo>
                    <a:pt x="1706" y="1731"/>
                    <a:pt x="2034" y="2039"/>
                    <a:pt x="2351" y="2356"/>
                  </a:cubicBezTo>
                  <a:cubicBezTo>
                    <a:pt x="2355" y="2360"/>
                    <a:pt x="2361" y="2354"/>
                    <a:pt x="2357" y="2349"/>
                  </a:cubicBezTo>
                  <a:cubicBezTo>
                    <a:pt x="2229" y="2211"/>
                    <a:pt x="2094" y="2078"/>
                    <a:pt x="1961" y="1944"/>
                  </a:cubicBezTo>
                  <a:cubicBezTo>
                    <a:pt x="1778" y="1760"/>
                    <a:pt x="1596" y="1573"/>
                    <a:pt x="1405" y="1397"/>
                  </a:cubicBezTo>
                  <a:cubicBezTo>
                    <a:pt x="1406" y="1394"/>
                    <a:pt x="1408" y="1391"/>
                    <a:pt x="1408" y="1388"/>
                  </a:cubicBezTo>
                  <a:cubicBezTo>
                    <a:pt x="1857" y="1399"/>
                    <a:pt x="2307" y="1385"/>
                    <a:pt x="2756" y="1384"/>
                  </a:cubicBezTo>
                  <a:cubicBezTo>
                    <a:pt x="2762" y="1384"/>
                    <a:pt x="2761" y="1376"/>
                    <a:pt x="2756" y="1376"/>
                  </a:cubicBezTo>
                  <a:close/>
                  <a:moveTo>
                    <a:pt x="1385" y="1400"/>
                  </a:moveTo>
                  <a:cubicBezTo>
                    <a:pt x="1383" y="1397"/>
                    <a:pt x="1377" y="1397"/>
                    <a:pt x="1375" y="1400"/>
                  </a:cubicBezTo>
                  <a:cubicBezTo>
                    <a:pt x="1374" y="1400"/>
                    <a:pt x="1372" y="1399"/>
                    <a:pt x="1370" y="1398"/>
                  </a:cubicBezTo>
                  <a:cubicBezTo>
                    <a:pt x="1372" y="1394"/>
                    <a:pt x="1367" y="1389"/>
                    <a:pt x="1363" y="1391"/>
                  </a:cubicBezTo>
                  <a:cubicBezTo>
                    <a:pt x="1362" y="1389"/>
                    <a:pt x="1361" y="1387"/>
                    <a:pt x="1361" y="1386"/>
                  </a:cubicBezTo>
                  <a:cubicBezTo>
                    <a:pt x="1365" y="1384"/>
                    <a:pt x="1366" y="1377"/>
                    <a:pt x="1362" y="1375"/>
                  </a:cubicBezTo>
                  <a:cubicBezTo>
                    <a:pt x="1362" y="1373"/>
                    <a:pt x="1363" y="1372"/>
                    <a:pt x="1365" y="1370"/>
                  </a:cubicBezTo>
                  <a:cubicBezTo>
                    <a:pt x="1368" y="1371"/>
                    <a:pt x="1371" y="1369"/>
                    <a:pt x="1372" y="1366"/>
                  </a:cubicBezTo>
                  <a:cubicBezTo>
                    <a:pt x="1374" y="1364"/>
                    <a:pt x="1377" y="1364"/>
                    <a:pt x="1379" y="1364"/>
                  </a:cubicBezTo>
                  <a:cubicBezTo>
                    <a:pt x="1381" y="1365"/>
                    <a:pt x="1382" y="1365"/>
                    <a:pt x="1384" y="1364"/>
                  </a:cubicBezTo>
                  <a:cubicBezTo>
                    <a:pt x="1386" y="1364"/>
                    <a:pt x="1388" y="1365"/>
                    <a:pt x="1390" y="1365"/>
                  </a:cubicBezTo>
                  <a:cubicBezTo>
                    <a:pt x="1390" y="1367"/>
                    <a:pt x="1390" y="1368"/>
                    <a:pt x="1391" y="1370"/>
                  </a:cubicBezTo>
                  <a:cubicBezTo>
                    <a:pt x="1396" y="1377"/>
                    <a:pt x="1398" y="1385"/>
                    <a:pt x="1393" y="1392"/>
                  </a:cubicBezTo>
                  <a:cubicBezTo>
                    <a:pt x="1392" y="1393"/>
                    <a:pt x="1391" y="1394"/>
                    <a:pt x="1391" y="1396"/>
                  </a:cubicBezTo>
                  <a:cubicBezTo>
                    <a:pt x="1389" y="1398"/>
                    <a:pt x="1387" y="1399"/>
                    <a:pt x="1385" y="1400"/>
                  </a:cubicBezTo>
                  <a:close/>
                </a:path>
              </a:pathLst>
            </a:custGeom>
            <a:solidFill>
              <a:srgbClr val="C1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98842" y="2325660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198196" y="5422254"/>
            <a:ext cx="379560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8196" y="5125983"/>
            <a:ext cx="379560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5226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922DE67-E039-4360-9FE8-510440A59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8979EBC-2EF4-4B84-9AD9-17C945FAB7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F2DF712-3CD6-47F9-AFC7-873F5C5603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EB314-1A2E-459A-AA4B-52BC10A5F072}" type="datetimeFigureOut">
              <a:rPr lang="zh-CN" altLang="en-US" smtClean="0"/>
              <a:t>2021/1/8/Fri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BE5A73A-2E2F-485B-BC1A-29D3A3714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865B80E-834D-4212-8D74-7F1190E4D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4E22A5-FC71-4DE0-BE5F-57E006AB14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2683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1/8/Fri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  <p:sldLayoutId id="2147483671" r:id="rId8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</a:rPr>
              <a:t>15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</a:rPr>
              <a:t>组</a:t>
            </a:r>
            <a:endParaRPr lang="en-US" altLang="zh-CN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</a:rPr>
              <a:t>吴侃真、毛彦凯、王执、邹立凯</a:t>
            </a:r>
            <a:endParaRPr lang="en-US" altLang="zh-CN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943224" y="1045909"/>
            <a:ext cx="6256339" cy="3191749"/>
          </a:xfrm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US" altLang="zh-CN" sz="6000" dirty="0">
                <a:solidFill>
                  <a:schemeClr val="bg1"/>
                </a:solidFill>
              </a:rPr>
              <a:t>MY</a:t>
            </a:r>
            <a:br>
              <a:rPr lang="en-US" altLang="zh-CN" sz="6000" dirty="0">
                <a:solidFill>
                  <a:srgbClr val="FDA209"/>
                </a:solidFill>
              </a:rPr>
            </a:br>
            <a:r>
              <a:rPr lang="en-US" altLang="zh-CN" sz="6000" dirty="0">
                <a:solidFill>
                  <a:srgbClr val="FDA209"/>
                </a:solidFill>
              </a:rPr>
              <a:t>PCLOGO</a:t>
            </a:r>
            <a:endParaRPr lang="zh-CN" altLang="en-US" sz="6000" dirty="0">
              <a:solidFill>
                <a:srgbClr val="FDA209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SE123-</a:t>
            </a:r>
            <a:r>
              <a:rPr lang="zh-CN" altLang="en-US" dirty="0"/>
              <a:t>软件工程原理与实践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/>
              <a:t>验收答辩</a:t>
            </a:r>
            <a:endParaRPr lang="en-US" altLang="en-US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mypclogo">
            <a:hlinkClick r:id="" action="ppaction://media"/>
            <a:extLst>
              <a:ext uri="{FF2B5EF4-FFF2-40B4-BE49-F238E27FC236}">
                <a16:creationId xmlns:a16="http://schemas.microsoft.com/office/drawing/2014/main" id="{3A5CBD65-5E9A-40C2-8E05-7CE043EAD8D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32397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8398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660401" y="1130300"/>
            <a:ext cx="10097245" cy="5003800"/>
            <a:chOff x="660401" y="1130300"/>
            <a:chExt cx="10097245" cy="5003800"/>
          </a:xfrm>
        </p:grpSpPr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40F65DAD-AA3C-4A71-9192-B937A470736C}"/>
                </a:ext>
              </a:extLst>
            </p:cNvPr>
            <p:cNvGrpSpPr/>
            <p:nvPr/>
          </p:nvGrpSpPr>
          <p:grpSpPr>
            <a:xfrm>
              <a:off x="660401" y="1454150"/>
              <a:ext cx="5526644" cy="4356100"/>
              <a:chOff x="660400" y="1454150"/>
              <a:chExt cx="10858499" cy="4356100"/>
            </a:xfrm>
          </p:grpSpPr>
          <p:sp>
            <p:nvSpPr>
              <p:cNvPr id="9" name="圆角矩形 8">
                <a:extLst>
                  <a:ext uri="{FF2B5EF4-FFF2-40B4-BE49-F238E27FC236}">
                    <a16:creationId xmlns:a16="http://schemas.microsoft.com/office/drawing/2014/main" id="{AC53584C-2748-48EB-8FCE-75292027D0BB}"/>
                  </a:ext>
                </a:extLst>
              </p:cNvPr>
              <p:cNvSpPr/>
              <p:nvPr/>
            </p:nvSpPr>
            <p:spPr>
              <a:xfrm>
                <a:off x="660400" y="33210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2400" b="1" dirty="0">
                    <a:solidFill>
                      <a:schemeClr val="accent1"/>
                    </a:solidFill>
                  </a:rPr>
                  <a:t>架构与关键技术</a:t>
                </a:r>
                <a:endParaRPr lang="en-US" altLang="zh-CN" sz="24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" name="圆角矩形 9">
                <a:extLst>
                  <a:ext uri="{FF2B5EF4-FFF2-40B4-BE49-F238E27FC236}">
                    <a16:creationId xmlns:a16="http://schemas.microsoft.com/office/drawing/2014/main" id="{DDF6F91D-5F85-4D9C-AE6C-1E9154F2DEB2}"/>
                  </a:ext>
                </a:extLst>
              </p:cNvPr>
              <p:cNvSpPr/>
              <p:nvPr/>
            </p:nvSpPr>
            <p:spPr>
              <a:xfrm>
                <a:off x="660400" y="26987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产品演示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1" name="圆角矩形 10">
                <a:extLst>
                  <a:ext uri="{FF2B5EF4-FFF2-40B4-BE49-F238E27FC236}">
                    <a16:creationId xmlns:a16="http://schemas.microsoft.com/office/drawing/2014/main" id="{3FCD1556-55DB-422A-9A91-03C8CA4C8CFC}"/>
                  </a:ext>
                </a:extLst>
              </p:cNvPr>
              <p:cNvSpPr/>
              <p:nvPr/>
            </p:nvSpPr>
            <p:spPr>
              <a:xfrm>
                <a:off x="660400" y="39433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测试报告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2" name="圆角矩形 11">
                <a:extLst>
                  <a:ext uri="{FF2B5EF4-FFF2-40B4-BE49-F238E27FC236}">
                    <a16:creationId xmlns:a16="http://schemas.microsoft.com/office/drawing/2014/main" id="{E9125F22-9110-4DA9-BB15-F5E756018AB3}"/>
                  </a:ext>
                </a:extLst>
              </p:cNvPr>
              <p:cNvSpPr/>
              <p:nvPr/>
            </p:nvSpPr>
            <p:spPr>
              <a:xfrm>
                <a:off x="660400" y="45656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经验教训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3" name="圆角矩形 12">
                <a:extLst>
                  <a:ext uri="{FF2B5EF4-FFF2-40B4-BE49-F238E27FC236}">
                    <a16:creationId xmlns:a16="http://schemas.microsoft.com/office/drawing/2014/main" id="{487B6CCD-FECD-4A9D-9A26-BC273CC3851B}"/>
                  </a:ext>
                </a:extLst>
              </p:cNvPr>
              <p:cNvSpPr/>
              <p:nvPr/>
            </p:nvSpPr>
            <p:spPr>
              <a:xfrm>
                <a:off x="660400" y="20764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产品特色与创新点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4" name="圆角矩形 13">
                <a:extLst>
                  <a:ext uri="{FF2B5EF4-FFF2-40B4-BE49-F238E27FC236}">
                    <a16:creationId xmlns:a16="http://schemas.microsoft.com/office/drawing/2014/main" id="{EDF8110A-8EDB-418C-B6DF-9602B875D010}"/>
                  </a:ext>
                </a:extLst>
              </p:cNvPr>
              <p:cNvSpPr/>
              <p:nvPr/>
            </p:nvSpPr>
            <p:spPr>
              <a:xfrm>
                <a:off x="660400" y="51879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小组分工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sp>
            <p:nvSpPr>
              <p:cNvPr id="15" name="圆角矩形 14">
                <a:extLst>
                  <a:ext uri="{FF2B5EF4-FFF2-40B4-BE49-F238E27FC236}">
                    <a16:creationId xmlns:a16="http://schemas.microsoft.com/office/drawing/2014/main" id="{49395A25-2C00-42D1-927A-C8E332E0FB46}"/>
                  </a:ext>
                </a:extLst>
              </p:cNvPr>
              <p:cNvSpPr/>
              <p:nvPr/>
            </p:nvSpPr>
            <p:spPr>
              <a:xfrm>
                <a:off x="660400" y="14541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致谢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296774F8-FE38-4B25-BE73-AF85310781B0}"/>
                  </a:ext>
                </a:extLst>
              </p:cNvPr>
              <p:cNvGrpSpPr/>
              <p:nvPr/>
            </p:nvGrpSpPr>
            <p:grpSpPr>
              <a:xfrm>
                <a:off x="3055917" y="2076450"/>
                <a:ext cx="6080166" cy="3111500"/>
                <a:chOff x="2802576" y="2076450"/>
                <a:chExt cx="6080166" cy="3111500"/>
              </a:xfrm>
            </p:grpSpPr>
            <p:cxnSp>
              <p:nvCxnSpPr>
                <p:cNvPr id="5" name="直接连接符 4">
                  <a:extLst>
                    <a:ext uri="{FF2B5EF4-FFF2-40B4-BE49-F238E27FC236}">
                      <a16:creationId xmlns:a16="http://schemas.microsoft.com/office/drawing/2014/main" id="{665A9CCB-14B6-4181-96D2-1E7424A398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3210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>
                  <a:extLst>
                    <a:ext uri="{FF2B5EF4-FFF2-40B4-BE49-F238E27FC236}">
                      <a16:creationId xmlns:a16="http://schemas.microsoft.com/office/drawing/2014/main" id="{2209BB7D-243A-446A-A163-08AD95BB30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9433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2" name="组合 21">
                  <a:extLst>
                    <a:ext uri="{FF2B5EF4-FFF2-40B4-BE49-F238E27FC236}">
                      <a16:creationId xmlns:a16="http://schemas.microsoft.com/office/drawing/2014/main" id="{B4DB02FD-20CA-439E-94DF-A159F531B24A}"/>
                    </a:ext>
                  </a:extLst>
                </p:cNvPr>
                <p:cNvGrpSpPr/>
                <p:nvPr/>
              </p:nvGrpSpPr>
              <p:grpSpPr>
                <a:xfrm>
                  <a:off x="3241963" y="2076450"/>
                  <a:ext cx="5201393" cy="3111500"/>
                  <a:chOff x="2802576" y="2076450"/>
                  <a:chExt cx="6080166" cy="3111500"/>
                </a:xfrm>
              </p:grpSpPr>
              <p:cxnSp>
                <p:nvCxnSpPr>
                  <p:cNvPr id="17" name="直接连接符 16">
                    <a:extLst>
                      <a:ext uri="{FF2B5EF4-FFF2-40B4-BE49-F238E27FC236}">
                        <a16:creationId xmlns:a16="http://schemas.microsoft.com/office/drawing/2014/main" id="{351CD98E-B842-421D-A69C-11F4C36899A7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45656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" name="直接连接符 18">
                    <a:extLst>
                      <a:ext uri="{FF2B5EF4-FFF2-40B4-BE49-F238E27FC236}">
                        <a16:creationId xmlns:a16="http://schemas.microsoft.com/office/drawing/2014/main" id="{7521AFC8-74E6-48C6-8BD5-E0EA6FDE7D98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26987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1" name="组合 20">
                    <a:extLst>
                      <a:ext uri="{FF2B5EF4-FFF2-40B4-BE49-F238E27FC236}">
                        <a16:creationId xmlns:a16="http://schemas.microsoft.com/office/drawing/2014/main" id="{6F854CE6-0C4E-46E6-B40C-A83741098EAA}"/>
                      </a:ext>
                    </a:extLst>
                  </p:cNvPr>
                  <p:cNvGrpSpPr/>
                  <p:nvPr/>
                </p:nvGrpSpPr>
                <p:grpSpPr>
                  <a:xfrm>
                    <a:off x="3548743" y="2076450"/>
                    <a:ext cx="5094515" cy="3111500"/>
                    <a:chOff x="2802576" y="2076450"/>
                    <a:chExt cx="6080166" cy="3111500"/>
                  </a:xfrm>
                </p:grpSpPr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:a16="http://schemas.microsoft.com/office/drawing/2014/main" id="{274C2429-0D16-4487-80BA-DF46BA86B0F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51879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0" name="直接连接符 19">
                      <a:extLst>
                        <a:ext uri="{FF2B5EF4-FFF2-40B4-BE49-F238E27FC236}">
                          <a16:creationId xmlns:a16="http://schemas.microsoft.com/office/drawing/2014/main" id="{180F0829-2591-4662-B868-7F0B2BA51C9C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20764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  <p:sp>
          <p:nvSpPr>
            <p:cNvPr id="25" name="圆角矩形 24">
              <a:extLst>
                <a:ext uri="{FF2B5EF4-FFF2-40B4-BE49-F238E27FC236}">
                  <a16:creationId xmlns:a16="http://schemas.microsoft.com/office/drawing/2014/main" id="{46D2D162-62B1-41D6-85F2-38FCC8088EB2}"/>
                </a:ext>
              </a:extLst>
            </p:cNvPr>
            <p:cNvSpPr/>
            <p:nvPr/>
          </p:nvSpPr>
          <p:spPr>
            <a:xfrm>
              <a:off x="5751807" y="1130300"/>
              <a:ext cx="5005839" cy="5003800"/>
            </a:xfrm>
            <a:prstGeom prst="roundRect">
              <a:avLst>
                <a:gd name="adj" fmla="val 5556"/>
              </a:avLst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76200">
              <a:noFill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363" name="组合 362">
            <a:extLst>
              <a:ext uri="{FF2B5EF4-FFF2-40B4-BE49-F238E27FC236}">
                <a16:creationId xmlns:a16="http://schemas.microsoft.com/office/drawing/2014/main" id="{84E51119-57DB-4DD8-851F-20004A699451}"/>
              </a:ext>
            </a:extLst>
          </p:cNvPr>
          <p:cNvGrpSpPr/>
          <p:nvPr/>
        </p:nvGrpSpPr>
        <p:grpSpPr>
          <a:xfrm>
            <a:off x="6345757" y="1630628"/>
            <a:ext cx="3817938" cy="3596744"/>
            <a:chOff x="3797300" y="1266826"/>
            <a:chExt cx="4521200" cy="4259263"/>
          </a:xfrm>
        </p:grpSpPr>
        <p:sp>
          <p:nvSpPr>
            <p:cNvPr id="364" name="任意多边形 4">
              <a:extLst>
                <a:ext uri="{FF2B5EF4-FFF2-40B4-BE49-F238E27FC236}">
                  <a16:creationId xmlns:a16="http://schemas.microsoft.com/office/drawing/2014/main" id="{C1B6C733-8E09-491C-979C-5FECB426EF5E}"/>
                </a:ext>
              </a:extLst>
            </p:cNvPr>
            <p:cNvSpPr/>
            <p:nvPr/>
          </p:nvSpPr>
          <p:spPr bwMode="auto">
            <a:xfrm>
              <a:off x="3797300" y="1266826"/>
              <a:ext cx="2174875" cy="4259263"/>
            </a:xfrm>
            <a:custGeom>
              <a:avLst/>
              <a:gdLst>
                <a:gd name="T0" fmla="*/ 443 w 459"/>
                <a:gd name="T1" fmla="*/ 786 h 898"/>
                <a:gd name="T2" fmla="*/ 185 w 459"/>
                <a:gd name="T3" fmla="*/ 733 h 898"/>
                <a:gd name="T4" fmla="*/ 60 w 459"/>
                <a:gd name="T5" fmla="*/ 574 h 898"/>
                <a:gd name="T6" fmla="*/ 63 w 459"/>
                <a:gd name="T7" fmla="*/ 377 h 898"/>
                <a:gd name="T8" fmla="*/ 190 w 459"/>
                <a:gd name="T9" fmla="*/ 208 h 898"/>
                <a:gd name="T10" fmla="*/ 443 w 459"/>
                <a:gd name="T11" fmla="*/ 91 h 898"/>
                <a:gd name="T12" fmla="*/ 443 w 459"/>
                <a:gd name="T13" fmla="*/ 786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9" h="898">
                  <a:moveTo>
                    <a:pt x="443" y="786"/>
                  </a:moveTo>
                  <a:cubicBezTo>
                    <a:pt x="459" y="894"/>
                    <a:pt x="206" y="898"/>
                    <a:pt x="185" y="733"/>
                  </a:cubicBezTo>
                  <a:cubicBezTo>
                    <a:pt x="81" y="762"/>
                    <a:pt x="10" y="662"/>
                    <a:pt x="60" y="574"/>
                  </a:cubicBezTo>
                  <a:cubicBezTo>
                    <a:pt x="0" y="533"/>
                    <a:pt x="1" y="413"/>
                    <a:pt x="63" y="377"/>
                  </a:cubicBezTo>
                  <a:cubicBezTo>
                    <a:pt x="16" y="326"/>
                    <a:pt x="74" y="183"/>
                    <a:pt x="190" y="208"/>
                  </a:cubicBezTo>
                  <a:cubicBezTo>
                    <a:pt x="158" y="93"/>
                    <a:pt x="326" y="0"/>
                    <a:pt x="443" y="91"/>
                  </a:cubicBezTo>
                  <a:lnTo>
                    <a:pt x="443" y="786"/>
                  </a:lnTo>
                  <a:close/>
                </a:path>
              </a:pathLst>
            </a:custGeom>
            <a:noFill/>
            <a:ln w="1238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5" name="任意多边形 5">
              <a:extLst>
                <a:ext uri="{FF2B5EF4-FFF2-40B4-BE49-F238E27FC236}">
                  <a16:creationId xmlns:a16="http://schemas.microsoft.com/office/drawing/2014/main" id="{2AEE0E80-950F-43BB-A114-3D4473A0BED1}"/>
                </a:ext>
              </a:extLst>
            </p:cNvPr>
            <p:cNvSpPr/>
            <p:nvPr/>
          </p:nvSpPr>
          <p:spPr bwMode="auto">
            <a:xfrm>
              <a:off x="4678363" y="2133601"/>
              <a:ext cx="498475" cy="469900"/>
            </a:xfrm>
            <a:custGeom>
              <a:avLst/>
              <a:gdLst>
                <a:gd name="T0" fmla="*/ 0 w 105"/>
                <a:gd name="T1" fmla="*/ 0 h 99"/>
                <a:gd name="T2" fmla="*/ 105 w 105"/>
                <a:gd name="T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5" h="99">
                  <a:moveTo>
                    <a:pt x="0" y="0"/>
                  </a:moveTo>
                  <a:cubicBezTo>
                    <a:pt x="9" y="51"/>
                    <a:pt x="54" y="90"/>
                    <a:pt x="105" y="99"/>
                  </a:cubicBezTo>
                </a:path>
              </a:pathLst>
            </a:custGeom>
            <a:noFill/>
            <a:ln w="1238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6" name="任意多边形 6">
              <a:extLst>
                <a:ext uri="{FF2B5EF4-FFF2-40B4-BE49-F238E27FC236}">
                  <a16:creationId xmlns:a16="http://schemas.microsoft.com/office/drawing/2014/main" id="{49B555C1-7CB2-4810-8B3F-CF1E0F9944D3}"/>
                </a:ext>
              </a:extLst>
            </p:cNvPr>
            <p:cNvSpPr/>
            <p:nvPr/>
          </p:nvSpPr>
          <p:spPr bwMode="auto">
            <a:xfrm>
              <a:off x="5119688" y="1949451"/>
              <a:ext cx="768350" cy="517525"/>
            </a:xfrm>
            <a:custGeom>
              <a:avLst/>
              <a:gdLst>
                <a:gd name="T0" fmla="*/ 12 w 162"/>
                <a:gd name="T1" fmla="*/ 0 h 109"/>
                <a:gd name="T2" fmla="*/ 162 w 162"/>
                <a:gd name="T3" fmla="*/ 5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2" h="109">
                  <a:moveTo>
                    <a:pt x="12" y="0"/>
                  </a:moveTo>
                  <a:cubicBezTo>
                    <a:pt x="0" y="77"/>
                    <a:pt x="128" y="109"/>
                    <a:pt x="162" y="59"/>
                  </a:cubicBezTo>
                </a:path>
              </a:pathLst>
            </a:custGeom>
            <a:noFill/>
            <a:ln w="1238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7" name="任意多边形 7">
              <a:extLst>
                <a:ext uri="{FF2B5EF4-FFF2-40B4-BE49-F238E27FC236}">
                  <a16:creationId xmlns:a16="http://schemas.microsoft.com/office/drawing/2014/main" id="{8E7A1C47-DD53-4B58-BE51-1D5587F3411D}"/>
                </a:ext>
              </a:extLst>
            </p:cNvPr>
            <p:cNvSpPr/>
            <p:nvPr/>
          </p:nvSpPr>
          <p:spPr bwMode="auto">
            <a:xfrm>
              <a:off x="4606925" y="2486026"/>
              <a:ext cx="266700" cy="327025"/>
            </a:xfrm>
            <a:custGeom>
              <a:avLst/>
              <a:gdLst>
                <a:gd name="T0" fmla="*/ 56 w 56"/>
                <a:gd name="T1" fmla="*/ 0 h 69"/>
                <a:gd name="T2" fmla="*/ 0 w 56"/>
                <a:gd name="T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6" h="69">
                  <a:moveTo>
                    <a:pt x="56" y="0"/>
                  </a:moveTo>
                  <a:cubicBezTo>
                    <a:pt x="56" y="27"/>
                    <a:pt x="20" y="61"/>
                    <a:pt x="0" y="69"/>
                  </a:cubicBezTo>
                </a:path>
              </a:pathLst>
            </a:custGeom>
            <a:noFill/>
            <a:ln w="1238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8" name="任意多边形 8">
              <a:extLst>
                <a:ext uri="{FF2B5EF4-FFF2-40B4-BE49-F238E27FC236}">
                  <a16:creationId xmlns:a16="http://schemas.microsoft.com/office/drawing/2014/main" id="{6B75C104-ADB3-4F3E-96E2-3E027BF26BB0}"/>
                </a:ext>
              </a:extLst>
            </p:cNvPr>
            <p:cNvSpPr/>
            <p:nvPr/>
          </p:nvSpPr>
          <p:spPr bwMode="auto">
            <a:xfrm>
              <a:off x="4498975" y="3021013"/>
              <a:ext cx="1365250" cy="593725"/>
            </a:xfrm>
            <a:custGeom>
              <a:avLst/>
              <a:gdLst>
                <a:gd name="T0" fmla="*/ 0 w 288"/>
                <a:gd name="T1" fmla="*/ 43 h 125"/>
                <a:gd name="T2" fmla="*/ 66 w 288"/>
                <a:gd name="T3" fmla="*/ 114 h 125"/>
                <a:gd name="T4" fmla="*/ 136 w 288"/>
                <a:gd name="T5" fmla="*/ 58 h 125"/>
                <a:gd name="T6" fmla="*/ 237 w 288"/>
                <a:gd name="T7" fmla="*/ 7 h 125"/>
                <a:gd name="T8" fmla="*/ 288 w 288"/>
                <a:gd name="T9" fmla="*/ 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125">
                  <a:moveTo>
                    <a:pt x="0" y="43"/>
                  </a:moveTo>
                  <a:cubicBezTo>
                    <a:pt x="31" y="58"/>
                    <a:pt x="32" y="104"/>
                    <a:pt x="66" y="114"/>
                  </a:cubicBezTo>
                  <a:cubicBezTo>
                    <a:pt x="102" y="125"/>
                    <a:pt x="121" y="86"/>
                    <a:pt x="136" y="58"/>
                  </a:cubicBezTo>
                  <a:cubicBezTo>
                    <a:pt x="157" y="16"/>
                    <a:pt x="190" y="0"/>
                    <a:pt x="237" y="7"/>
                  </a:cubicBezTo>
                  <a:cubicBezTo>
                    <a:pt x="253" y="9"/>
                    <a:pt x="279" y="20"/>
                    <a:pt x="288" y="25"/>
                  </a:cubicBezTo>
                </a:path>
              </a:pathLst>
            </a:custGeom>
            <a:noFill/>
            <a:ln w="1238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9" name="任意多边形 9">
              <a:extLst>
                <a:ext uri="{FF2B5EF4-FFF2-40B4-BE49-F238E27FC236}">
                  <a16:creationId xmlns:a16="http://schemas.microsoft.com/office/drawing/2014/main" id="{A995F829-EF8D-42BC-920E-D0C4D3FFE0E2}"/>
                </a:ext>
              </a:extLst>
            </p:cNvPr>
            <p:cNvSpPr/>
            <p:nvPr/>
          </p:nvSpPr>
          <p:spPr bwMode="auto">
            <a:xfrm>
              <a:off x="4327525" y="3016251"/>
              <a:ext cx="303213" cy="336550"/>
            </a:xfrm>
            <a:custGeom>
              <a:avLst/>
              <a:gdLst>
                <a:gd name="T0" fmla="*/ 0 w 64"/>
                <a:gd name="T1" fmla="*/ 41 h 71"/>
                <a:gd name="T2" fmla="*/ 38 w 64"/>
                <a:gd name="T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71">
                  <a:moveTo>
                    <a:pt x="0" y="41"/>
                  </a:moveTo>
                  <a:cubicBezTo>
                    <a:pt x="24" y="71"/>
                    <a:pt x="64" y="27"/>
                    <a:pt x="38" y="0"/>
                  </a:cubicBezTo>
                </a:path>
              </a:pathLst>
            </a:custGeom>
            <a:noFill/>
            <a:ln w="1238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0" name="任意多边形 10">
              <a:extLst>
                <a:ext uri="{FF2B5EF4-FFF2-40B4-BE49-F238E27FC236}">
                  <a16:creationId xmlns:a16="http://schemas.microsoft.com/office/drawing/2014/main" id="{88A2AD8C-7B01-49FB-AE9E-3B758A5206B5}"/>
                </a:ext>
              </a:extLst>
            </p:cNvPr>
            <p:cNvSpPr/>
            <p:nvPr/>
          </p:nvSpPr>
          <p:spPr bwMode="auto">
            <a:xfrm>
              <a:off x="5248275" y="3803651"/>
              <a:ext cx="654050" cy="1087438"/>
            </a:xfrm>
            <a:custGeom>
              <a:avLst/>
              <a:gdLst>
                <a:gd name="T0" fmla="*/ 138 w 138"/>
                <a:gd name="T1" fmla="*/ 33 h 229"/>
                <a:gd name="T2" fmla="*/ 41 w 138"/>
                <a:gd name="T3" fmla="*/ 74 h 229"/>
                <a:gd name="T4" fmla="*/ 54 w 138"/>
                <a:gd name="T5" fmla="*/ 193 h 229"/>
                <a:gd name="T6" fmla="*/ 0 w 138"/>
                <a:gd name="T7" fmla="*/ 225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8" h="229">
                  <a:moveTo>
                    <a:pt x="138" y="33"/>
                  </a:moveTo>
                  <a:cubicBezTo>
                    <a:pt x="104" y="0"/>
                    <a:pt x="52" y="38"/>
                    <a:pt x="41" y="74"/>
                  </a:cubicBezTo>
                  <a:cubicBezTo>
                    <a:pt x="28" y="116"/>
                    <a:pt x="68" y="151"/>
                    <a:pt x="54" y="193"/>
                  </a:cubicBezTo>
                  <a:cubicBezTo>
                    <a:pt x="45" y="218"/>
                    <a:pt x="25" y="229"/>
                    <a:pt x="0" y="225"/>
                  </a:cubicBezTo>
                </a:path>
              </a:pathLst>
            </a:custGeom>
            <a:noFill/>
            <a:ln w="1238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1" name="任意多边形 11">
              <a:extLst>
                <a:ext uri="{FF2B5EF4-FFF2-40B4-BE49-F238E27FC236}">
                  <a16:creationId xmlns:a16="http://schemas.microsoft.com/office/drawing/2014/main" id="{2504E517-8A39-4AE9-ABF4-AEBC46C8A958}"/>
                </a:ext>
              </a:extLst>
            </p:cNvPr>
            <p:cNvSpPr/>
            <p:nvPr/>
          </p:nvSpPr>
          <p:spPr bwMode="auto">
            <a:xfrm>
              <a:off x="4494213" y="3756026"/>
              <a:ext cx="923925" cy="1092200"/>
            </a:xfrm>
            <a:custGeom>
              <a:avLst/>
              <a:gdLst>
                <a:gd name="T0" fmla="*/ 39 w 195"/>
                <a:gd name="T1" fmla="*/ 230 h 230"/>
                <a:gd name="T2" fmla="*/ 111 w 195"/>
                <a:gd name="T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5" h="230">
                  <a:moveTo>
                    <a:pt x="39" y="230"/>
                  </a:moveTo>
                  <a:cubicBezTo>
                    <a:pt x="0" y="127"/>
                    <a:pt x="195" y="156"/>
                    <a:pt x="111" y="0"/>
                  </a:cubicBezTo>
                </a:path>
              </a:pathLst>
            </a:custGeom>
            <a:noFill/>
            <a:ln w="1238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2" name="任意多边形 12">
              <a:extLst>
                <a:ext uri="{FF2B5EF4-FFF2-40B4-BE49-F238E27FC236}">
                  <a16:creationId xmlns:a16="http://schemas.microsoft.com/office/drawing/2014/main" id="{1305F6BC-6C9E-4D82-849C-C20B63414560}"/>
                </a:ext>
              </a:extLst>
            </p:cNvPr>
            <p:cNvSpPr/>
            <p:nvPr/>
          </p:nvSpPr>
          <p:spPr bwMode="auto">
            <a:xfrm>
              <a:off x="4071938" y="3894138"/>
              <a:ext cx="606425" cy="119063"/>
            </a:xfrm>
            <a:custGeom>
              <a:avLst/>
              <a:gdLst>
                <a:gd name="T0" fmla="*/ 0 w 128"/>
                <a:gd name="T1" fmla="*/ 25 h 25"/>
                <a:gd name="T2" fmla="*/ 72 w 128"/>
                <a:gd name="T3" fmla="*/ 1 h 25"/>
                <a:gd name="T4" fmla="*/ 128 w 128"/>
                <a:gd name="T5" fmla="*/ 2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8" h="25">
                  <a:moveTo>
                    <a:pt x="0" y="25"/>
                  </a:moveTo>
                  <a:cubicBezTo>
                    <a:pt x="14" y="2"/>
                    <a:pt x="48" y="0"/>
                    <a:pt x="72" y="1"/>
                  </a:cubicBezTo>
                  <a:cubicBezTo>
                    <a:pt x="94" y="3"/>
                    <a:pt x="119" y="19"/>
                    <a:pt x="128" y="22"/>
                  </a:cubicBezTo>
                </a:path>
              </a:pathLst>
            </a:custGeom>
            <a:noFill/>
            <a:ln w="1238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3" name="任意多边形 13">
              <a:extLst>
                <a:ext uri="{FF2B5EF4-FFF2-40B4-BE49-F238E27FC236}">
                  <a16:creationId xmlns:a16="http://schemas.microsoft.com/office/drawing/2014/main" id="{05671461-5A5D-44D2-B137-50110625EFBB}"/>
                </a:ext>
              </a:extLst>
            </p:cNvPr>
            <p:cNvSpPr/>
            <p:nvPr/>
          </p:nvSpPr>
          <p:spPr bwMode="auto">
            <a:xfrm>
              <a:off x="6384925" y="1493838"/>
              <a:ext cx="1933575" cy="3865563"/>
            </a:xfrm>
            <a:custGeom>
              <a:avLst/>
              <a:gdLst>
                <a:gd name="T0" fmla="*/ 405 w 408"/>
                <a:gd name="T1" fmla="*/ 477 h 815"/>
                <a:gd name="T2" fmla="*/ 408 w 408"/>
                <a:gd name="T3" fmla="*/ 365 h 815"/>
                <a:gd name="T4" fmla="*/ 340 w 408"/>
                <a:gd name="T5" fmla="*/ 362 h 815"/>
                <a:gd name="T6" fmla="*/ 321 w 408"/>
                <a:gd name="T7" fmla="*/ 295 h 815"/>
                <a:gd name="T8" fmla="*/ 384 w 408"/>
                <a:gd name="T9" fmla="*/ 261 h 815"/>
                <a:gd name="T10" fmla="*/ 330 w 408"/>
                <a:gd name="T11" fmla="*/ 162 h 815"/>
                <a:gd name="T12" fmla="*/ 263 w 408"/>
                <a:gd name="T13" fmla="*/ 199 h 815"/>
                <a:gd name="T14" fmla="*/ 216 w 408"/>
                <a:gd name="T15" fmla="*/ 153 h 815"/>
                <a:gd name="T16" fmla="*/ 255 w 408"/>
                <a:gd name="T17" fmla="*/ 86 h 815"/>
                <a:gd name="T18" fmla="*/ 159 w 408"/>
                <a:gd name="T19" fmla="*/ 28 h 815"/>
                <a:gd name="T20" fmla="*/ 118 w 408"/>
                <a:gd name="T21" fmla="*/ 97 h 815"/>
                <a:gd name="T22" fmla="*/ 56 w 408"/>
                <a:gd name="T23" fmla="*/ 81 h 815"/>
                <a:gd name="T24" fmla="*/ 56 w 408"/>
                <a:gd name="T25" fmla="*/ 0 h 815"/>
                <a:gd name="T26" fmla="*/ 0 w 408"/>
                <a:gd name="T27" fmla="*/ 0 h 815"/>
                <a:gd name="T28" fmla="*/ 0 w 408"/>
                <a:gd name="T29" fmla="*/ 815 h 815"/>
                <a:gd name="T30" fmla="*/ 56 w 408"/>
                <a:gd name="T31" fmla="*/ 815 h 815"/>
                <a:gd name="T32" fmla="*/ 56 w 408"/>
                <a:gd name="T33" fmla="*/ 764 h 815"/>
                <a:gd name="T34" fmla="*/ 117 w 408"/>
                <a:gd name="T35" fmla="*/ 749 h 815"/>
                <a:gd name="T36" fmla="*/ 141 w 408"/>
                <a:gd name="T37" fmla="*/ 794 h 815"/>
                <a:gd name="T38" fmla="*/ 240 w 408"/>
                <a:gd name="T39" fmla="*/ 741 h 815"/>
                <a:gd name="T40" fmla="*/ 215 w 408"/>
                <a:gd name="T41" fmla="*/ 694 h 815"/>
                <a:gd name="T42" fmla="*/ 266 w 408"/>
                <a:gd name="T43" fmla="*/ 644 h 815"/>
                <a:gd name="T44" fmla="*/ 313 w 408"/>
                <a:gd name="T45" fmla="*/ 674 h 815"/>
                <a:gd name="T46" fmla="*/ 373 w 408"/>
                <a:gd name="T47" fmla="*/ 579 h 815"/>
                <a:gd name="T48" fmla="*/ 323 w 408"/>
                <a:gd name="T49" fmla="*/ 547 h 815"/>
                <a:gd name="T50" fmla="*/ 342 w 408"/>
                <a:gd name="T51" fmla="*/ 475 h 815"/>
                <a:gd name="T52" fmla="*/ 405 w 408"/>
                <a:gd name="T53" fmla="*/ 477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8" h="815">
                  <a:moveTo>
                    <a:pt x="405" y="477"/>
                  </a:moveTo>
                  <a:cubicBezTo>
                    <a:pt x="408" y="365"/>
                    <a:pt x="408" y="365"/>
                    <a:pt x="408" y="365"/>
                  </a:cubicBezTo>
                  <a:cubicBezTo>
                    <a:pt x="340" y="362"/>
                    <a:pt x="340" y="362"/>
                    <a:pt x="340" y="362"/>
                  </a:cubicBezTo>
                  <a:cubicBezTo>
                    <a:pt x="336" y="339"/>
                    <a:pt x="330" y="317"/>
                    <a:pt x="321" y="295"/>
                  </a:cubicBezTo>
                  <a:cubicBezTo>
                    <a:pt x="384" y="261"/>
                    <a:pt x="384" y="261"/>
                    <a:pt x="384" y="261"/>
                  </a:cubicBezTo>
                  <a:cubicBezTo>
                    <a:pt x="330" y="162"/>
                    <a:pt x="330" y="162"/>
                    <a:pt x="330" y="162"/>
                  </a:cubicBezTo>
                  <a:cubicBezTo>
                    <a:pt x="263" y="199"/>
                    <a:pt x="263" y="199"/>
                    <a:pt x="263" y="199"/>
                  </a:cubicBezTo>
                  <a:cubicBezTo>
                    <a:pt x="249" y="182"/>
                    <a:pt x="233" y="166"/>
                    <a:pt x="216" y="153"/>
                  </a:cubicBezTo>
                  <a:cubicBezTo>
                    <a:pt x="255" y="86"/>
                    <a:pt x="255" y="86"/>
                    <a:pt x="255" y="86"/>
                  </a:cubicBezTo>
                  <a:cubicBezTo>
                    <a:pt x="159" y="28"/>
                    <a:pt x="159" y="28"/>
                    <a:pt x="159" y="28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98" y="90"/>
                    <a:pt x="77" y="85"/>
                    <a:pt x="56" y="81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15"/>
                    <a:pt x="0" y="815"/>
                    <a:pt x="0" y="815"/>
                  </a:cubicBezTo>
                  <a:cubicBezTo>
                    <a:pt x="56" y="815"/>
                    <a:pt x="56" y="815"/>
                    <a:pt x="56" y="815"/>
                  </a:cubicBezTo>
                  <a:cubicBezTo>
                    <a:pt x="56" y="764"/>
                    <a:pt x="56" y="764"/>
                    <a:pt x="56" y="764"/>
                  </a:cubicBezTo>
                  <a:cubicBezTo>
                    <a:pt x="77" y="761"/>
                    <a:pt x="97" y="756"/>
                    <a:pt x="117" y="749"/>
                  </a:cubicBezTo>
                  <a:cubicBezTo>
                    <a:pt x="141" y="794"/>
                    <a:pt x="141" y="794"/>
                    <a:pt x="141" y="794"/>
                  </a:cubicBezTo>
                  <a:cubicBezTo>
                    <a:pt x="240" y="741"/>
                    <a:pt x="240" y="741"/>
                    <a:pt x="240" y="741"/>
                  </a:cubicBezTo>
                  <a:cubicBezTo>
                    <a:pt x="215" y="694"/>
                    <a:pt x="215" y="694"/>
                    <a:pt x="215" y="694"/>
                  </a:cubicBezTo>
                  <a:cubicBezTo>
                    <a:pt x="234" y="679"/>
                    <a:pt x="251" y="662"/>
                    <a:pt x="266" y="644"/>
                  </a:cubicBezTo>
                  <a:cubicBezTo>
                    <a:pt x="313" y="674"/>
                    <a:pt x="313" y="674"/>
                    <a:pt x="313" y="674"/>
                  </a:cubicBezTo>
                  <a:cubicBezTo>
                    <a:pt x="373" y="579"/>
                    <a:pt x="373" y="579"/>
                    <a:pt x="373" y="579"/>
                  </a:cubicBezTo>
                  <a:cubicBezTo>
                    <a:pt x="323" y="547"/>
                    <a:pt x="323" y="547"/>
                    <a:pt x="323" y="547"/>
                  </a:cubicBezTo>
                  <a:cubicBezTo>
                    <a:pt x="332" y="524"/>
                    <a:pt x="338" y="500"/>
                    <a:pt x="342" y="475"/>
                  </a:cubicBezTo>
                  <a:lnTo>
                    <a:pt x="405" y="477"/>
                  </a:lnTo>
                  <a:close/>
                </a:path>
              </a:pathLst>
            </a:custGeom>
            <a:noFill/>
            <a:ln w="1238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4" name="任意多边形 14">
              <a:extLst>
                <a:ext uri="{FF2B5EF4-FFF2-40B4-BE49-F238E27FC236}">
                  <a16:creationId xmlns:a16="http://schemas.microsoft.com/office/drawing/2014/main" id="{BF780CC2-C4BB-4557-ABC3-DF31E72D2C97}"/>
                </a:ext>
              </a:extLst>
            </p:cNvPr>
            <p:cNvSpPr/>
            <p:nvPr/>
          </p:nvSpPr>
          <p:spPr bwMode="auto">
            <a:xfrm>
              <a:off x="6384925" y="2262188"/>
              <a:ext cx="1162050" cy="2328863"/>
            </a:xfrm>
            <a:custGeom>
              <a:avLst/>
              <a:gdLst>
                <a:gd name="T0" fmla="*/ 0 w 245"/>
                <a:gd name="T1" fmla="*/ 0 h 491"/>
                <a:gd name="T2" fmla="*/ 0 w 245"/>
                <a:gd name="T3" fmla="*/ 77 h 491"/>
                <a:gd name="T4" fmla="*/ 168 w 245"/>
                <a:gd name="T5" fmla="*/ 245 h 491"/>
                <a:gd name="T6" fmla="*/ 0 w 245"/>
                <a:gd name="T7" fmla="*/ 414 h 491"/>
                <a:gd name="T8" fmla="*/ 0 w 245"/>
                <a:gd name="T9" fmla="*/ 491 h 491"/>
                <a:gd name="T10" fmla="*/ 245 w 245"/>
                <a:gd name="T11" fmla="*/ 245 h 491"/>
                <a:gd name="T12" fmla="*/ 0 w 245"/>
                <a:gd name="T13" fmla="*/ 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5" h="491">
                  <a:moveTo>
                    <a:pt x="0" y="0"/>
                  </a:moveTo>
                  <a:cubicBezTo>
                    <a:pt x="0" y="77"/>
                    <a:pt x="0" y="77"/>
                    <a:pt x="0" y="77"/>
                  </a:cubicBezTo>
                  <a:cubicBezTo>
                    <a:pt x="93" y="78"/>
                    <a:pt x="168" y="153"/>
                    <a:pt x="168" y="245"/>
                  </a:cubicBezTo>
                  <a:cubicBezTo>
                    <a:pt x="168" y="338"/>
                    <a:pt x="93" y="413"/>
                    <a:pt x="0" y="414"/>
                  </a:cubicBezTo>
                  <a:cubicBezTo>
                    <a:pt x="0" y="491"/>
                    <a:pt x="0" y="491"/>
                    <a:pt x="0" y="491"/>
                  </a:cubicBezTo>
                  <a:cubicBezTo>
                    <a:pt x="136" y="491"/>
                    <a:pt x="245" y="381"/>
                    <a:pt x="245" y="245"/>
                  </a:cubicBezTo>
                  <a:cubicBezTo>
                    <a:pt x="245" y="110"/>
                    <a:pt x="136" y="0"/>
                    <a:pt x="0" y="0"/>
                  </a:cubicBezTo>
                  <a:close/>
                </a:path>
              </a:pathLst>
            </a:custGeom>
            <a:solidFill>
              <a:srgbClr val="6FC9F3"/>
            </a:solidFill>
            <a:ln w="123825" cap="flat">
              <a:solidFill>
                <a:srgbClr val="0B318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55338506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ACB043F-3E0C-4EA3-B5B6-F9B332045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rowser / Server </a:t>
            </a:r>
            <a:r>
              <a:rPr lang="zh-CN" altLang="en-US" dirty="0"/>
              <a:t>架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A63C55B-83DB-4E66-9C8A-DE172203A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213" name="Group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D8AF02A-CB25-412F-8CC8-0A24B372DECF}"/>
              </a:ext>
            </a:extLst>
          </p:cNvPr>
          <p:cNvGrpSpPr>
            <a:grpSpLocks noChangeAspect="1"/>
          </p:cNvGrpSpPr>
          <p:nvPr/>
        </p:nvGrpSpPr>
        <p:grpSpPr>
          <a:xfrm>
            <a:off x="1125179" y="2012157"/>
            <a:ext cx="9941642" cy="3306150"/>
            <a:chOff x="1125179" y="2012157"/>
            <a:chExt cx="9941642" cy="3306150"/>
          </a:xfrm>
        </p:grpSpPr>
        <p:sp>
          <p:nvSpPr>
            <p:cNvPr id="214" name="ïśḻiḍê">
              <a:extLst>
                <a:ext uri="{FF2B5EF4-FFF2-40B4-BE49-F238E27FC236}">
                  <a16:creationId xmlns:a16="http://schemas.microsoft.com/office/drawing/2014/main" id="{B240F413-63F4-4F79-92DD-6AB82DCDCCC5}"/>
                </a:ext>
              </a:extLst>
            </p:cNvPr>
            <p:cNvSpPr/>
            <p:nvPr/>
          </p:nvSpPr>
          <p:spPr>
            <a:xfrm rot="5400000">
              <a:off x="3680459" y="2352516"/>
              <a:ext cx="1097280" cy="1097280"/>
            </a:xfrm>
            <a:custGeom>
              <a:avLst/>
              <a:gdLst>
                <a:gd name="connsiteX0" fmla="*/ 0 w 1097280"/>
                <a:gd name="connsiteY0" fmla="*/ 642208 h 1097280"/>
                <a:gd name="connsiteX1" fmla="*/ 0 w 1097280"/>
                <a:gd name="connsiteY1" fmla="*/ 455072 h 1097280"/>
                <a:gd name="connsiteX2" fmla="*/ 455072 w 1097280"/>
                <a:gd name="connsiteY2" fmla="*/ 455072 h 1097280"/>
                <a:gd name="connsiteX3" fmla="*/ 455072 w 1097280"/>
                <a:gd name="connsiteY3" fmla="*/ 0 h 1097280"/>
                <a:gd name="connsiteX4" fmla="*/ 642208 w 1097280"/>
                <a:gd name="connsiteY4" fmla="*/ 0 h 1097280"/>
                <a:gd name="connsiteX5" fmla="*/ 642208 w 1097280"/>
                <a:gd name="connsiteY5" fmla="*/ 455072 h 1097280"/>
                <a:gd name="connsiteX6" fmla="*/ 1097280 w 1097280"/>
                <a:gd name="connsiteY6" fmla="*/ 455072 h 1097280"/>
                <a:gd name="connsiteX7" fmla="*/ 1097280 w 1097280"/>
                <a:gd name="connsiteY7" fmla="*/ 642208 h 1097280"/>
                <a:gd name="connsiteX8" fmla="*/ 642208 w 1097280"/>
                <a:gd name="connsiteY8" fmla="*/ 642208 h 1097280"/>
                <a:gd name="connsiteX9" fmla="*/ 642208 w 1097280"/>
                <a:gd name="connsiteY9" fmla="*/ 1097280 h 1097280"/>
                <a:gd name="connsiteX10" fmla="*/ 455072 w 1097280"/>
                <a:gd name="connsiteY10" fmla="*/ 1097280 h 1097280"/>
                <a:gd name="connsiteX11" fmla="*/ 455072 w 1097280"/>
                <a:gd name="connsiteY11" fmla="*/ 642208 h 109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97280" h="1097280">
                  <a:moveTo>
                    <a:pt x="0" y="642208"/>
                  </a:moveTo>
                  <a:lnTo>
                    <a:pt x="0" y="455072"/>
                  </a:lnTo>
                  <a:lnTo>
                    <a:pt x="455072" y="455072"/>
                  </a:lnTo>
                  <a:lnTo>
                    <a:pt x="455072" y="0"/>
                  </a:lnTo>
                  <a:lnTo>
                    <a:pt x="642208" y="0"/>
                  </a:lnTo>
                  <a:lnTo>
                    <a:pt x="642208" y="455072"/>
                  </a:lnTo>
                  <a:lnTo>
                    <a:pt x="1097280" y="455072"/>
                  </a:lnTo>
                  <a:lnTo>
                    <a:pt x="1097280" y="642208"/>
                  </a:lnTo>
                  <a:lnTo>
                    <a:pt x="642208" y="642208"/>
                  </a:lnTo>
                  <a:lnTo>
                    <a:pt x="642208" y="1097280"/>
                  </a:lnTo>
                  <a:lnTo>
                    <a:pt x="455072" y="1097280"/>
                  </a:lnTo>
                  <a:lnTo>
                    <a:pt x="455072" y="64220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215" name="î$ľïḋé">
              <a:extLst>
                <a:ext uri="{FF2B5EF4-FFF2-40B4-BE49-F238E27FC236}">
                  <a16:creationId xmlns:a16="http://schemas.microsoft.com/office/drawing/2014/main" id="{5C142A99-6B60-499C-98B9-11DB8F3F2633}"/>
                </a:ext>
              </a:extLst>
            </p:cNvPr>
            <p:cNvGrpSpPr/>
            <p:nvPr/>
          </p:nvGrpSpPr>
          <p:grpSpPr>
            <a:xfrm>
              <a:off x="7414259" y="2612215"/>
              <a:ext cx="1097280" cy="577884"/>
              <a:chOff x="7414260" y="2503471"/>
              <a:chExt cx="1097280" cy="577884"/>
            </a:xfrm>
          </p:grpSpPr>
          <p:sp>
            <p:nvSpPr>
              <p:cNvPr id="237" name="î$1ïďe">
                <a:extLst>
                  <a:ext uri="{FF2B5EF4-FFF2-40B4-BE49-F238E27FC236}">
                    <a16:creationId xmlns:a16="http://schemas.microsoft.com/office/drawing/2014/main" id="{ABE61642-D4E2-4434-AE04-C94D161D3135}"/>
                  </a:ext>
                </a:extLst>
              </p:cNvPr>
              <p:cNvSpPr/>
              <p:nvPr/>
            </p:nvSpPr>
            <p:spPr>
              <a:xfrm>
                <a:off x="7414260" y="2503471"/>
                <a:ext cx="1097280" cy="18713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38" name="í$ḷiḓe">
                <a:extLst>
                  <a:ext uri="{FF2B5EF4-FFF2-40B4-BE49-F238E27FC236}">
                    <a16:creationId xmlns:a16="http://schemas.microsoft.com/office/drawing/2014/main" id="{FEAB1A49-7AA8-4B4E-96D3-29F3064754DA}"/>
                  </a:ext>
                </a:extLst>
              </p:cNvPr>
              <p:cNvSpPr/>
              <p:nvPr/>
            </p:nvSpPr>
            <p:spPr>
              <a:xfrm>
                <a:off x="7414260" y="2894219"/>
                <a:ext cx="1097280" cy="18713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216" name="išlíḍê">
              <a:extLst>
                <a:ext uri="{FF2B5EF4-FFF2-40B4-BE49-F238E27FC236}">
                  <a16:creationId xmlns:a16="http://schemas.microsoft.com/office/drawing/2014/main" id="{226E6AF6-F162-4487-BBA6-67F13BC3AB4A}"/>
                </a:ext>
              </a:extLst>
            </p:cNvPr>
            <p:cNvGrpSpPr/>
            <p:nvPr/>
          </p:nvGrpSpPr>
          <p:grpSpPr>
            <a:xfrm>
              <a:off x="8940800" y="2012157"/>
              <a:ext cx="1778000" cy="1778000"/>
              <a:chOff x="8940800" y="1903413"/>
              <a:chExt cx="1778000" cy="1778000"/>
            </a:xfrm>
          </p:grpSpPr>
          <p:sp>
            <p:nvSpPr>
              <p:cNvPr id="235" name="ïşļíďe">
                <a:extLst>
                  <a:ext uri="{FF2B5EF4-FFF2-40B4-BE49-F238E27FC236}">
                    <a16:creationId xmlns:a16="http://schemas.microsoft.com/office/drawing/2014/main" id="{19D37D43-A32C-4AFE-B814-65BD077340A8}"/>
                  </a:ext>
                </a:extLst>
              </p:cNvPr>
              <p:cNvSpPr/>
              <p:nvPr/>
            </p:nvSpPr>
            <p:spPr>
              <a:xfrm>
                <a:off x="8940800" y="1903413"/>
                <a:ext cx="1778000" cy="1778000"/>
              </a:xfrm>
              <a:prstGeom prst="ellipse">
                <a:avLst/>
              </a:pr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36" name="îṧlíḓé">
                <a:extLst>
                  <a:ext uri="{FF2B5EF4-FFF2-40B4-BE49-F238E27FC236}">
                    <a16:creationId xmlns:a16="http://schemas.microsoft.com/office/drawing/2014/main" id="{55A4D020-6136-4054-A2ED-4B750B32A032}"/>
                  </a:ext>
                </a:extLst>
              </p:cNvPr>
              <p:cNvSpPr/>
              <p:nvPr/>
            </p:nvSpPr>
            <p:spPr bwMode="auto">
              <a:xfrm>
                <a:off x="9475634" y="2438620"/>
                <a:ext cx="708332" cy="707586"/>
              </a:xfrm>
              <a:custGeom>
                <a:avLst/>
                <a:gdLst>
                  <a:gd name="T0" fmla="*/ 374 w 400"/>
                  <a:gd name="T1" fmla="*/ 100 h 400"/>
                  <a:gd name="T2" fmla="*/ 301 w 400"/>
                  <a:gd name="T3" fmla="*/ 27 h 400"/>
                  <a:gd name="T4" fmla="*/ 200 w 400"/>
                  <a:gd name="T5" fmla="*/ 0 h 400"/>
                  <a:gd name="T6" fmla="*/ 100 w 400"/>
                  <a:gd name="T7" fmla="*/ 27 h 400"/>
                  <a:gd name="T8" fmla="*/ 27 w 400"/>
                  <a:gd name="T9" fmla="*/ 100 h 400"/>
                  <a:gd name="T10" fmla="*/ 0 w 400"/>
                  <a:gd name="T11" fmla="*/ 200 h 400"/>
                  <a:gd name="T12" fmla="*/ 27 w 400"/>
                  <a:gd name="T13" fmla="*/ 301 h 400"/>
                  <a:gd name="T14" fmla="*/ 100 w 400"/>
                  <a:gd name="T15" fmla="*/ 374 h 400"/>
                  <a:gd name="T16" fmla="*/ 200 w 400"/>
                  <a:gd name="T17" fmla="*/ 400 h 400"/>
                  <a:gd name="T18" fmla="*/ 301 w 400"/>
                  <a:gd name="T19" fmla="*/ 374 h 400"/>
                  <a:gd name="T20" fmla="*/ 374 w 400"/>
                  <a:gd name="T21" fmla="*/ 301 h 400"/>
                  <a:gd name="T22" fmla="*/ 400 w 400"/>
                  <a:gd name="T23" fmla="*/ 200 h 400"/>
                  <a:gd name="T24" fmla="*/ 374 w 400"/>
                  <a:gd name="T25" fmla="*/ 100 h 400"/>
                  <a:gd name="T26" fmla="*/ 330 w 400"/>
                  <a:gd name="T27" fmla="*/ 170 h 400"/>
                  <a:gd name="T28" fmla="*/ 188 w 400"/>
                  <a:gd name="T29" fmla="*/ 311 h 400"/>
                  <a:gd name="T30" fmla="*/ 176 w 400"/>
                  <a:gd name="T31" fmla="*/ 316 h 400"/>
                  <a:gd name="T32" fmla="*/ 165 w 400"/>
                  <a:gd name="T33" fmla="*/ 311 h 400"/>
                  <a:gd name="T34" fmla="*/ 70 w 400"/>
                  <a:gd name="T35" fmla="*/ 217 h 400"/>
                  <a:gd name="T36" fmla="*/ 66 w 400"/>
                  <a:gd name="T37" fmla="*/ 205 h 400"/>
                  <a:gd name="T38" fmla="*/ 70 w 400"/>
                  <a:gd name="T39" fmla="*/ 193 h 400"/>
                  <a:gd name="T40" fmla="*/ 94 w 400"/>
                  <a:gd name="T41" fmla="*/ 170 h 400"/>
                  <a:gd name="T42" fmla="*/ 106 w 400"/>
                  <a:gd name="T43" fmla="*/ 165 h 400"/>
                  <a:gd name="T44" fmla="*/ 118 w 400"/>
                  <a:gd name="T45" fmla="*/ 170 h 400"/>
                  <a:gd name="T46" fmla="*/ 176 w 400"/>
                  <a:gd name="T47" fmla="*/ 229 h 400"/>
                  <a:gd name="T48" fmla="*/ 283 w 400"/>
                  <a:gd name="T49" fmla="*/ 123 h 400"/>
                  <a:gd name="T50" fmla="*/ 295 w 400"/>
                  <a:gd name="T51" fmla="*/ 118 h 400"/>
                  <a:gd name="T52" fmla="*/ 306 w 400"/>
                  <a:gd name="T53" fmla="*/ 123 h 400"/>
                  <a:gd name="T54" fmla="*/ 330 w 400"/>
                  <a:gd name="T55" fmla="*/ 146 h 400"/>
                  <a:gd name="T56" fmla="*/ 335 w 400"/>
                  <a:gd name="T57" fmla="*/ 158 h 400"/>
                  <a:gd name="T58" fmla="*/ 330 w 400"/>
                  <a:gd name="T59" fmla="*/ 170 h 400"/>
                  <a:gd name="T60" fmla="*/ 330 w 400"/>
                  <a:gd name="T61" fmla="*/ 170 h 400"/>
                  <a:gd name="T62" fmla="*/ 330 w 400"/>
                  <a:gd name="T63" fmla="*/ 17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0" h="400">
                    <a:moveTo>
                      <a:pt x="374" y="100"/>
                    </a:moveTo>
                    <a:cubicBezTo>
                      <a:pt x="356" y="69"/>
                      <a:pt x="331" y="45"/>
                      <a:pt x="301" y="27"/>
                    </a:cubicBezTo>
                    <a:cubicBezTo>
                      <a:pt x="270" y="9"/>
                      <a:pt x="237" y="0"/>
                      <a:pt x="200" y="0"/>
                    </a:cubicBezTo>
                    <a:cubicBezTo>
                      <a:pt x="164" y="0"/>
                      <a:pt x="130" y="9"/>
                      <a:pt x="100" y="27"/>
                    </a:cubicBezTo>
                    <a:cubicBezTo>
                      <a:pt x="69" y="45"/>
                      <a:pt x="45" y="69"/>
                      <a:pt x="27" y="100"/>
                    </a:cubicBezTo>
                    <a:cubicBezTo>
                      <a:pt x="9" y="130"/>
                      <a:pt x="0" y="164"/>
                      <a:pt x="0" y="200"/>
                    </a:cubicBezTo>
                    <a:cubicBezTo>
                      <a:pt x="0" y="237"/>
                      <a:pt x="9" y="270"/>
                      <a:pt x="27" y="301"/>
                    </a:cubicBezTo>
                    <a:cubicBezTo>
                      <a:pt x="45" y="331"/>
                      <a:pt x="69" y="356"/>
                      <a:pt x="100" y="374"/>
                    </a:cubicBezTo>
                    <a:cubicBezTo>
                      <a:pt x="130" y="391"/>
                      <a:pt x="164" y="400"/>
                      <a:pt x="200" y="400"/>
                    </a:cubicBezTo>
                    <a:cubicBezTo>
                      <a:pt x="237" y="400"/>
                      <a:pt x="270" y="391"/>
                      <a:pt x="301" y="374"/>
                    </a:cubicBezTo>
                    <a:cubicBezTo>
                      <a:pt x="331" y="356"/>
                      <a:pt x="356" y="331"/>
                      <a:pt x="374" y="301"/>
                    </a:cubicBezTo>
                    <a:cubicBezTo>
                      <a:pt x="392" y="270"/>
                      <a:pt x="400" y="237"/>
                      <a:pt x="400" y="200"/>
                    </a:cubicBezTo>
                    <a:cubicBezTo>
                      <a:pt x="400" y="164"/>
                      <a:pt x="392" y="130"/>
                      <a:pt x="374" y="100"/>
                    </a:cubicBezTo>
                    <a:close/>
                    <a:moveTo>
                      <a:pt x="330" y="170"/>
                    </a:moveTo>
                    <a:cubicBezTo>
                      <a:pt x="188" y="311"/>
                      <a:pt x="188" y="311"/>
                      <a:pt x="188" y="311"/>
                    </a:cubicBezTo>
                    <a:cubicBezTo>
                      <a:pt x="185" y="315"/>
                      <a:pt x="181" y="316"/>
                      <a:pt x="176" y="316"/>
                    </a:cubicBezTo>
                    <a:cubicBezTo>
                      <a:pt x="172" y="316"/>
                      <a:pt x="168" y="315"/>
                      <a:pt x="165" y="311"/>
                    </a:cubicBezTo>
                    <a:cubicBezTo>
                      <a:pt x="70" y="217"/>
                      <a:pt x="70" y="217"/>
                      <a:pt x="70" y="217"/>
                    </a:cubicBezTo>
                    <a:cubicBezTo>
                      <a:pt x="67" y="214"/>
                      <a:pt x="66" y="210"/>
                      <a:pt x="66" y="205"/>
                    </a:cubicBezTo>
                    <a:cubicBezTo>
                      <a:pt x="66" y="200"/>
                      <a:pt x="67" y="196"/>
                      <a:pt x="70" y="193"/>
                    </a:cubicBezTo>
                    <a:cubicBezTo>
                      <a:pt x="94" y="170"/>
                      <a:pt x="94" y="170"/>
                      <a:pt x="94" y="170"/>
                    </a:cubicBezTo>
                    <a:cubicBezTo>
                      <a:pt x="97" y="166"/>
                      <a:pt x="101" y="165"/>
                      <a:pt x="106" y="165"/>
                    </a:cubicBezTo>
                    <a:cubicBezTo>
                      <a:pt x="110" y="165"/>
                      <a:pt x="114" y="166"/>
                      <a:pt x="118" y="170"/>
                    </a:cubicBezTo>
                    <a:cubicBezTo>
                      <a:pt x="176" y="229"/>
                      <a:pt x="176" y="229"/>
                      <a:pt x="176" y="229"/>
                    </a:cubicBezTo>
                    <a:cubicBezTo>
                      <a:pt x="283" y="123"/>
                      <a:pt x="283" y="123"/>
                      <a:pt x="283" y="123"/>
                    </a:cubicBezTo>
                    <a:cubicBezTo>
                      <a:pt x="286" y="119"/>
                      <a:pt x="290" y="118"/>
                      <a:pt x="295" y="118"/>
                    </a:cubicBezTo>
                    <a:cubicBezTo>
                      <a:pt x="299" y="118"/>
                      <a:pt x="303" y="119"/>
                      <a:pt x="306" y="123"/>
                    </a:cubicBezTo>
                    <a:cubicBezTo>
                      <a:pt x="330" y="146"/>
                      <a:pt x="330" y="146"/>
                      <a:pt x="330" y="146"/>
                    </a:cubicBezTo>
                    <a:cubicBezTo>
                      <a:pt x="333" y="149"/>
                      <a:pt x="335" y="153"/>
                      <a:pt x="335" y="158"/>
                    </a:cubicBezTo>
                    <a:cubicBezTo>
                      <a:pt x="335" y="163"/>
                      <a:pt x="333" y="167"/>
                      <a:pt x="330" y="170"/>
                    </a:cubicBezTo>
                    <a:close/>
                    <a:moveTo>
                      <a:pt x="330" y="170"/>
                    </a:moveTo>
                    <a:cubicBezTo>
                      <a:pt x="330" y="170"/>
                      <a:pt x="330" y="170"/>
                      <a:pt x="330" y="17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217" name="íṧlîḍè">
              <a:extLst>
                <a:ext uri="{FF2B5EF4-FFF2-40B4-BE49-F238E27FC236}">
                  <a16:creationId xmlns:a16="http://schemas.microsoft.com/office/drawing/2014/main" id="{008220D7-7184-4115-B3A9-55BC4752F9CC}"/>
                </a:ext>
              </a:extLst>
            </p:cNvPr>
            <p:cNvGrpSpPr/>
            <p:nvPr/>
          </p:nvGrpSpPr>
          <p:grpSpPr>
            <a:xfrm>
              <a:off x="5206999" y="2012157"/>
              <a:ext cx="1778000" cy="1778000"/>
              <a:chOff x="5207000" y="1903413"/>
              <a:chExt cx="1778000" cy="1778000"/>
            </a:xfrm>
          </p:grpSpPr>
          <p:sp>
            <p:nvSpPr>
              <p:cNvPr id="233" name="í$ḻiďe">
                <a:extLst>
                  <a:ext uri="{FF2B5EF4-FFF2-40B4-BE49-F238E27FC236}">
                    <a16:creationId xmlns:a16="http://schemas.microsoft.com/office/drawing/2014/main" id="{3601186E-7B71-4260-8C1B-643025945F89}"/>
                  </a:ext>
                </a:extLst>
              </p:cNvPr>
              <p:cNvSpPr/>
              <p:nvPr/>
            </p:nvSpPr>
            <p:spPr>
              <a:xfrm>
                <a:off x="5207000" y="1903413"/>
                <a:ext cx="1778000" cy="17780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34" name="ïšļiďé">
                <a:extLst>
                  <a:ext uri="{FF2B5EF4-FFF2-40B4-BE49-F238E27FC236}">
                    <a16:creationId xmlns:a16="http://schemas.microsoft.com/office/drawing/2014/main" id="{8E16F189-CCD0-48A1-AE30-EC70D62BCBF0}"/>
                  </a:ext>
                </a:extLst>
              </p:cNvPr>
              <p:cNvSpPr/>
              <p:nvPr/>
            </p:nvSpPr>
            <p:spPr bwMode="auto">
              <a:xfrm>
                <a:off x="5743118" y="2511687"/>
                <a:ext cx="705764" cy="561447"/>
              </a:xfrm>
              <a:custGeom>
                <a:avLst/>
                <a:gdLst>
                  <a:gd name="T0" fmla="*/ 12296 w 12828"/>
                  <a:gd name="T1" fmla="*/ 6860 h 10203"/>
                  <a:gd name="T2" fmla="*/ 12828 w 12828"/>
                  <a:gd name="T3" fmla="*/ 6328 h 10203"/>
                  <a:gd name="T4" fmla="*/ 10593 w 12828"/>
                  <a:gd name="T5" fmla="*/ 4110 h 10203"/>
                  <a:gd name="T6" fmla="*/ 8359 w 12828"/>
                  <a:gd name="T7" fmla="*/ 6328 h 10203"/>
                  <a:gd name="T8" fmla="*/ 8890 w 12828"/>
                  <a:gd name="T9" fmla="*/ 6860 h 10203"/>
                  <a:gd name="T10" fmla="*/ 10218 w 12828"/>
                  <a:gd name="T11" fmla="*/ 5532 h 10203"/>
                  <a:gd name="T12" fmla="*/ 10218 w 12828"/>
                  <a:gd name="T13" fmla="*/ 10203 h 10203"/>
                  <a:gd name="T14" fmla="*/ 10953 w 12828"/>
                  <a:gd name="T15" fmla="*/ 10203 h 10203"/>
                  <a:gd name="T16" fmla="*/ 10953 w 12828"/>
                  <a:gd name="T17" fmla="*/ 5532 h 10203"/>
                  <a:gd name="T18" fmla="*/ 12296 w 12828"/>
                  <a:gd name="T19" fmla="*/ 6860 h 10203"/>
                  <a:gd name="T20" fmla="*/ 6671 w 12828"/>
                  <a:gd name="T21" fmla="*/ 8641 h 10203"/>
                  <a:gd name="T22" fmla="*/ 6671 w 12828"/>
                  <a:gd name="T23" fmla="*/ 3985 h 10203"/>
                  <a:gd name="T24" fmla="*/ 5921 w 12828"/>
                  <a:gd name="T25" fmla="*/ 3985 h 10203"/>
                  <a:gd name="T26" fmla="*/ 5921 w 12828"/>
                  <a:gd name="T27" fmla="*/ 8657 h 10203"/>
                  <a:gd name="T28" fmla="*/ 4593 w 12828"/>
                  <a:gd name="T29" fmla="*/ 7328 h 10203"/>
                  <a:gd name="T30" fmla="*/ 4078 w 12828"/>
                  <a:gd name="T31" fmla="*/ 7844 h 10203"/>
                  <a:gd name="T32" fmla="*/ 6296 w 12828"/>
                  <a:gd name="T33" fmla="*/ 10063 h 10203"/>
                  <a:gd name="T34" fmla="*/ 8531 w 12828"/>
                  <a:gd name="T35" fmla="*/ 7828 h 10203"/>
                  <a:gd name="T36" fmla="*/ 8000 w 12828"/>
                  <a:gd name="T37" fmla="*/ 7313 h 10203"/>
                  <a:gd name="T38" fmla="*/ 6671 w 12828"/>
                  <a:gd name="T39" fmla="*/ 8641 h 10203"/>
                  <a:gd name="T40" fmla="*/ 3718 w 12828"/>
                  <a:gd name="T41" fmla="*/ 9157 h 10203"/>
                  <a:gd name="T42" fmla="*/ 2984 w 12828"/>
                  <a:gd name="T43" fmla="*/ 9157 h 10203"/>
                  <a:gd name="T44" fmla="*/ 750 w 12828"/>
                  <a:gd name="T45" fmla="*/ 6922 h 10203"/>
                  <a:gd name="T46" fmla="*/ 2984 w 12828"/>
                  <a:gd name="T47" fmla="*/ 4688 h 10203"/>
                  <a:gd name="T48" fmla="*/ 3015 w 12828"/>
                  <a:gd name="T49" fmla="*/ 4688 h 10203"/>
                  <a:gd name="T50" fmla="*/ 3375 w 12828"/>
                  <a:gd name="T51" fmla="*/ 4688 h 10203"/>
                  <a:gd name="T52" fmla="*/ 3640 w 12828"/>
                  <a:gd name="T53" fmla="*/ 4563 h 10203"/>
                  <a:gd name="T54" fmla="*/ 3718 w 12828"/>
                  <a:gd name="T55" fmla="*/ 4141 h 10203"/>
                  <a:gd name="T56" fmla="*/ 7078 w 12828"/>
                  <a:gd name="T57" fmla="*/ 766 h 10203"/>
                  <a:gd name="T58" fmla="*/ 9343 w 12828"/>
                  <a:gd name="T59" fmla="*/ 1641 h 10203"/>
                  <a:gd name="T60" fmla="*/ 9468 w 12828"/>
                  <a:gd name="T61" fmla="*/ 1766 h 10203"/>
                  <a:gd name="T62" fmla="*/ 9796 w 12828"/>
                  <a:gd name="T63" fmla="*/ 1938 h 10203"/>
                  <a:gd name="T64" fmla="*/ 10171 w 12828"/>
                  <a:gd name="T65" fmla="*/ 1563 h 10203"/>
                  <a:gd name="T66" fmla="*/ 10015 w 12828"/>
                  <a:gd name="T67" fmla="*/ 1235 h 10203"/>
                  <a:gd name="T68" fmla="*/ 9890 w 12828"/>
                  <a:gd name="T69" fmla="*/ 1125 h 10203"/>
                  <a:gd name="T70" fmla="*/ 7078 w 12828"/>
                  <a:gd name="T71" fmla="*/ 0 h 10203"/>
                  <a:gd name="T72" fmla="*/ 2968 w 12828"/>
                  <a:gd name="T73" fmla="*/ 3907 h 10203"/>
                  <a:gd name="T74" fmla="*/ 0 w 12828"/>
                  <a:gd name="T75" fmla="*/ 6875 h 10203"/>
                  <a:gd name="T76" fmla="*/ 2968 w 12828"/>
                  <a:gd name="T77" fmla="*/ 9844 h 10203"/>
                  <a:gd name="T78" fmla="*/ 3687 w 12828"/>
                  <a:gd name="T79" fmla="*/ 9844 h 10203"/>
                  <a:gd name="T80" fmla="*/ 4062 w 12828"/>
                  <a:gd name="T81" fmla="*/ 9469 h 10203"/>
                  <a:gd name="T82" fmla="*/ 3718 w 12828"/>
                  <a:gd name="T83" fmla="*/ 9157 h 10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828" h="10203">
                    <a:moveTo>
                      <a:pt x="12296" y="6860"/>
                    </a:moveTo>
                    <a:lnTo>
                      <a:pt x="12828" y="6328"/>
                    </a:lnTo>
                    <a:lnTo>
                      <a:pt x="10593" y="4110"/>
                    </a:lnTo>
                    <a:lnTo>
                      <a:pt x="8359" y="6328"/>
                    </a:lnTo>
                    <a:lnTo>
                      <a:pt x="8890" y="6860"/>
                    </a:lnTo>
                    <a:lnTo>
                      <a:pt x="10218" y="5532"/>
                    </a:lnTo>
                    <a:lnTo>
                      <a:pt x="10218" y="10203"/>
                    </a:lnTo>
                    <a:lnTo>
                      <a:pt x="10953" y="10203"/>
                    </a:lnTo>
                    <a:lnTo>
                      <a:pt x="10953" y="5532"/>
                    </a:lnTo>
                    <a:lnTo>
                      <a:pt x="12296" y="6860"/>
                    </a:lnTo>
                    <a:close/>
                    <a:moveTo>
                      <a:pt x="6671" y="8641"/>
                    </a:moveTo>
                    <a:lnTo>
                      <a:pt x="6671" y="3985"/>
                    </a:lnTo>
                    <a:lnTo>
                      <a:pt x="5921" y="3985"/>
                    </a:lnTo>
                    <a:lnTo>
                      <a:pt x="5921" y="8657"/>
                    </a:lnTo>
                    <a:lnTo>
                      <a:pt x="4593" y="7328"/>
                    </a:lnTo>
                    <a:lnTo>
                      <a:pt x="4078" y="7844"/>
                    </a:lnTo>
                    <a:lnTo>
                      <a:pt x="6296" y="10063"/>
                    </a:lnTo>
                    <a:lnTo>
                      <a:pt x="8531" y="7828"/>
                    </a:lnTo>
                    <a:lnTo>
                      <a:pt x="8000" y="7313"/>
                    </a:lnTo>
                    <a:lnTo>
                      <a:pt x="6671" y="8641"/>
                    </a:lnTo>
                    <a:close/>
                    <a:moveTo>
                      <a:pt x="3718" y="9157"/>
                    </a:moveTo>
                    <a:lnTo>
                      <a:pt x="2984" y="9157"/>
                    </a:lnTo>
                    <a:cubicBezTo>
                      <a:pt x="1750" y="9157"/>
                      <a:pt x="750" y="8157"/>
                      <a:pt x="750" y="6922"/>
                    </a:cubicBezTo>
                    <a:cubicBezTo>
                      <a:pt x="750" y="5688"/>
                      <a:pt x="1750" y="4688"/>
                      <a:pt x="2984" y="4688"/>
                    </a:cubicBezTo>
                    <a:lnTo>
                      <a:pt x="3015" y="4688"/>
                    </a:lnTo>
                    <a:lnTo>
                      <a:pt x="3375" y="4688"/>
                    </a:lnTo>
                    <a:cubicBezTo>
                      <a:pt x="3390" y="4688"/>
                      <a:pt x="3515" y="4703"/>
                      <a:pt x="3640" y="4563"/>
                    </a:cubicBezTo>
                    <a:cubicBezTo>
                      <a:pt x="3765" y="4422"/>
                      <a:pt x="3718" y="4297"/>
                      <a:pt x="3718" y="4141"/>
                    </a:cubicBezTo>
                    <a:cubicBezTo>
                      <a:pt x="3718" y="2282"/>
                      <a:pt x="5234" y="766"/>
                      <a:pt x="7078" y="766"/>
                    </a:cubicBezTo>
                    <a:cubicBezTo>
                      <a:pt x="7953" y="766"/>
                      <a:pt x="8750" y="1094"/>
                      <a:pt x="9343" y="1641"/>
                    </a:cubicBezTo>
                    <a:cubicBezTo>
                      <a:pt x="9406" y="1703"/>
                      <a:pt x="9390" y="1703"/>
                      <a:pt x="9468" y="1766"/>
                    </a:cubicBezTo>
                    <a:cubicBezTo>
                      <a:pt x="9546" y="1875"/>
                      <a:pt x="9656" y="1938"/>
                      <a:pt x="9796" y="1938"/>
                    </a:cubicBezTo>
                    <a:cubicBezTo>
                      <a:pt x="10000" y="1938"/>
                      <a:pt x="10171" y="1766"/>
                      <a:pt x="10171" y="1563"/>
                    </a:cubicBezTo>
                    <a:cubicBezTo>
                      <a:pt x="10171" y="1438"/>
                      <a:pt x="10109" y="1328"/>
                      <a:pt x="10015" y="1235"/>
                    </a:cubicBezTo>
                    <a:cubicBezTo>
                      <a:pt x="9953" y="1172"/>
                      <a:pt x="9968" y="1188"/>
                      <a:pt x="9890" y="1125"/>
                    </a:cubicBezTo>
                    <a:cubicBezTo>
                      <a:pt x="9156" y="422"/>
                      <a:pt x="8171" y="0"/>
                      <a:pt x="7078" y="0"/>
                    </a:cubicBezTo>
                    <a:cubicBezTo>
                      <a:pt x="4875" y="0"/>
                      <a:pt x="3078" y="1735"/>
                      <a:pt x="2968" y="3907"/>
                    </a:cubicBezTo>
                    <a:cubicBezTo>
                      <a:pt x="1328" y="3907"/>
                      <a:pt x="0" y="5235"/>
                      <a:pt x="0" y="6875"/>
                    </a:cubicBezTo>
                    <a:cubicBezTo>
                      <a:pt x="0" y="8516"/>
                      <a:pt x="1328" y="9844"/>
                      <a:pt x="2968" y="9844"/>
                    </a:cubicBezTo>
                    <a:lnTo>
                      <a:pt x="3687" y="9844"/>
                    </a:lnTo>
                    <a:cubicBezTo>
                      <a:pt x="3890" y="9844"/>
                      <a:pt x="4062" y="9672"/>
                      <a:pt x="4062" y="9469"/>
                    </a:cubicBezTo>
                    <a:cubicBezTo>
                      <a:pt x="4078" y="9313"/>
                      <a:pt x="3921" y="9157"/>
                      <a:pt x="3718" y="915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218" name="ïśļiḓé">
              <a:extLst>
                <a:ext uri="{FF2B5EF4-FFF2-40B4-BE49-F238E27FC236}">
                  <a16:creationId xmlns:a16="http://schemas.microsoft.com/office/drawing/2014/main" id="{CB4C1A30-13B6-447E-9343-7DFAEB36C281}"/>
                </a:ext>
              </a:extLst>
            </p:cNvPr>
            <p:cNvGrpSpPr/>
            <p:nvPr/>
          </p:nvGrpSpPr>
          <p:grpSpPr>
            <a:xfrm>
              <a:off x="1473199" y="2012157"/>
              <a:ext cx="1778000" cy="1778000"/>
              <a:chOff x="1473200" y="1903413"/>
              <a:chExt cx="1778000" cy="1778000"/>
            </a:xfrm>
          </p:grpSpPr>
          <p:sp>
            <p:nvSpPr>
              <p:cNvPr id="231" name="íŝ1îḋé">
                <a:extLst>
                  <a:ext uri="{FF2B5EF4-FFF2-40B4-BE49-F238E27FC236}">
                    <a16:creationId xmlns:a16="http://schemas.microsoft.com/office/drawing/2014/main" id="{0549CECA-AEC2-4A2B-9E14-0DCA5F34D2AD}"/>
                  </a:ext>
                </a:extLst>
              </p:cNvPr>
              <p:cNvSpPr/>
              <p:nvPr/>
            </p:nvSpPr>
            <p:spPr>
              <a:xfrm>
                <a:off x="1473200" y="1903413"/>
                <a:ext cx="1778000" cy="17780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32" name="î$ľide">
                <a:extLst>
                  <a:ext uri="{FF2B5EF4-FFF2-40B4-BE49-F238E27FC236}">
                    <a16:creationId xmlns:a16="http://schemas.microsoft.com/office/drawing/2014/main" id="{FF1E0401-A196-4FE1-8E19-FCE9951B21FB}"/>
                  </a:ext>
                </a:extLst>
              </p:cNvPr>
              <p:cNvSpPr/>
              <p:nvPr/>
            </p:nvSpPr>
            <p:spPr bwMode="auto">
              <a:xfrm>
                <a:off x="2005933" y="2517780"/>
                <a:ext cx="712533" cy="549264"/>
              </a:xfrm>
              <a:custGeom>
                <a:avLst/>
                <a:gdLst>
                  <a:gd name="T0" fmla="*/ 16605 w 16605"/>
                  <a:gd name="T1" fmla="*/ 11070 h 12800"/>
                  <a:gd name="T2" fmla="*/ 0 w 16605"/>
                  <a:gd name="T3" fmla="*/ 11070 h 12800"/>
                  <a:gd name="T4" fmla="*/ 0 w 16605"/>
                  <a:gd name="T5" fmla="*/ 12039 h 12800"/>
                  <a:gd name="T6" fmla="*/ 1208 w 16605"/>
                  <a:gd name="T7" fmla="*/ 12800 h 12800"/>
                  <a:gd name="T8" fmla="*/ 15391 w 16605"/>
                  <a:gd name="T9" fmla="*/ 12800 h 12800"/>
                  <a:gd name="T10" fmla="*/ 16605 w 16605"/>
                  <a:gd name="T11" fmla="*/ 12039 h 12800"/>
                  <a:gd name="T12" fmla="*/ 16605 w 16605"/>
                  <a:gd name="T13" fmla="*/ 11070 h 12800"/>
                  <a:gd name="T14" fmla="*/ 9787 w 16605"/>
                  <a:gd name="T15" fmla="*/ 12219 h 12800"/>
                  <a:gd name="T16" fmla="*/ 6819 w 16605"/>
                  <a:gd name="T17" fmla="*/ 12219 h 12800"/>
                  <a:gd name="T18" fmla="*/ 6819 w 16605"/>
                  <a:gd name="T19" fmla="*/ 11734 h 12800"/>
                  <a:gd name="T20" fmla="*/ 9787 w 16605"/>
                  <a:gd name="T21" fmla="*/ 11734 h 12800"/>
                  <a:gd name="T22" fmla="*/ 9787 w 16605"/>
                  <a:gd name="T23" fmla="*/ 12219 h 12800"/>
                  <a:gd name="T24" fmla="*/ 3322 w 16605"/>
                  <a:gd name="T25" fmla="*/ 9814 h 12800"/>
                  <a:gd name="T26" fmla="*/ 13492 w 16605"/>
                  <a:gd name="T27" fmla="*/ 9814 h 12800"/>
                  <a:gd name="T28" fmla="*/ 14917 w 16605"/>
                  <a:gd name="T29" fmla="*/ 8133 h 12800"/>
                  <a:gd name="T30" fmla="*/ 14917 w 16605"/>
                  <a:gd name="T31" fmla="*/ 1681 h 12800"/>
                  <a:gd name="T32" fmla="*/ 13492 w 16605"/>
                  <a:gd name="T33" fmla="*/ 0 h 12800"/>
                  <a:gd name="T34" fmla="*/ 3322 w 16605"/>
                  <a:gd name="T35" fmla="*/ 0 h 12800"/>
                  <a:gd name="T36" fmla="*/ 1897 w 16605"/>
                  <a:gd name="T37" fmla="*/ 1681 h 12800"/>
                  <a:gd name="T38" fmla="*/ 1897 w 16605"/>
                  <a:gd name="T39" fmla="*/ 8133 h 12800"/>
                  <a:gd name="T40" fmla="*/ 3322 w 16605"/>
                  <a:gd name="T41" fmla="*/ 9814 h 12800"/>
                  <a:gd name="T42" fmla="*/ 3322 w 16605"/>
                  <a:gd name="T43" fmla="*/ 9814 h 12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605" h="12800">
                    <a:moveTo>
                      <a:pt x="16605" y="11070"/>
                    </a:moveTo>
                    <a:lnTo>
                      <a:pt x="0" y="11070"/>
                    </a:lnTo>
                    <a:lnTo>
                      <a:pt x="0" y="12039"/>
                    </a:lnTo>
                    <a:cubicBezTo>
                      <a:pt x="0" y="12455"/>
                      <a:pt x="539" y="12800"/>
                      <a:pt x="1208" y="12800"/>
                    </a:cubicBezTo>
                    <a:lnTo>
                      <a:pt x="15391" y="12800"/>
                    </a:lnTo>
                    <a:cubicBezTo>
                      <a:pt x="16066" y="12800"/>
                      <a:pt x="16605" y="12455"/>
                      <a:pt x="16605" y="12039"/>
                    </a:cubicBezTo>
                    <a:lnTo>
                      <a:pt x="16605" y="11070"/>
                    </a:lnTo>
                    <a:close/>
                    <a:moveTo>
                      <a:pt x="9787" y="12219"/>
                    </a:moveTo>
                    <a:lnTo>
                      <a:pt x="6819" y="12219"/>
                    </a:lnTo>
                    <a:lnTo>
                      <a:pt x="6819" y="11734"/>
                    </a:lnTo>
                    <a:lnTo>
                      <a:pt x="9787" y="11734"/>
                    </a:lnTo>
                    <a:lnTo>
                      <a:pt x="9787" y="12219"/>
                    </a:lnTo>
                    <a:close/>
                    <a:moveTo>
                      <a:pt x="3322" y="9814"/>
                    </a:moveTo>
                    <a:lnTo>
                      <a:pt x="13492" y="9814"/>
                    </a:lnTo>
                    <a:cubicBezTo>
                      <a:pt x="14278" y="9814"/>
                      <a:pt x="14917" y="9064"/>
                      <a:pt x="14917" y="8133"/>
                    </a:cubicBezTo>
                    <a:lnTo>
                      <a:pt x="14917" y="1681"/>
                    </a:lnTo>
                    <a:cubicBezTo>
                      <a:pt x="14928" y="755"/>
                      <a:pt x="14287" y="0"/>
                      <a:pt x="13492" y="0"/>
                    </a:cubicBezTo>
                    <a:lnTo>
                      <a:pt x="3322" y="0"/>
                    </a:lnTo>
                    <a:cubicBezTo>
                      <a:pt x="2533" y="0"/>
                      <a:pt x="1897" y="755"/>
                      <a:pt x="1897" y="1681"/>
                    </a:cubicBezTo>
                    <a:lnTo>
                      <a:pt x="1897" y="8133"/>
                    </a:lnTo>
                    <a:cubicBezTo>
                      <a:pt x="1895" y="9064"/>
                      <a:pt x="2533" y="9814"/>
                      <a:pt x="3322" y="9814"/>
                    </a:cubicBezTo>
                    <a:close/>
                    <a:moveTo>
                      <a:pt x="3322" y="9814"/>
                    </a:move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219" name="isļiḋe">
              <a:extLst>
                <a:ext uri="{FF2B5EF4-FFF2-40B4-BE49-F238E27FC236}">
                  <a16:creationId xmlns:a16="http://schemas.microsoft.com/office/drawing/2014/main" id="{FA66D3DF-6F56-4E93-A7CA-C0E066C733DF}"/>
                </a:ext>
              </a:extLst>
            </p:cNvPr>
            <p:cNvGrpSpPr/>
            <p:nvPr/>
          </p:nvGrpSpPr>
          <p:grpSpPr>
            <a:xfrm>
              <a:off x="1125179" y="4169060"/>
              <a:ext cx="2474040" cy="1149247"/>
              <a:chOff x="1138068" y="4199335"/>
              <a:chExt cx="5220379" cy="1149247"/>
            </a:xfrm>
          </p:grpSpPr>
          <p:sp>
            <p:nvSpPr>
              <p:cNvPr id="228" name="iṥľïḑé">
                <a:extLst>
                  <a:ext uri="{FF2B5EF4-FFF2-40B4-BE49-F238E27FC236}">
                    <a16:creationId xmlns:a16="http://schemas.microsoft.com/office/drawing/2014/main" id="{8474209A-C5F7-46A2-A06A-45BC854E7647}"/>
                  </a:ext>
                </a:extLst>
              </p:cNvPr>
              <p:cNvSpPr txBox="1"/>
              <p:nvPr/>
            </p:nvSpPr>
            <p:spPr>
              <a:xfrm>
                <a:off x="1138068" y="4199335"/>
                <a:ext cx="5218791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/>
                </a:pPr>
                <a:r>
                  <a:rPr kumimoji="0" lang="zh-CN" altLang="en-US" sz="2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客户端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229" name="îśļíḍé">
                <a:extLst>
                  <a:ext uri="{FF2B5EF4-FFF2-40B4-BE49-F238E27FC236}">
                    <a16:creationId xmlns:a16="http://schemas.microsoft.com/office/drawing/2014/main" id="{537B772A-58D2-435B-9F72-10C093F60495}"/>
                  </a:ext>
                </a:extLst>
              </p:cNvPr>
              <p:cNvSpPr txBox="1"/>
              <p:nvPr/>
            </p:nvSpPr>
            <p:spPr>
              <a:xfrm>
                <a:off x="1138068" y="4591847"/>
                <a:ext cx="5218790" cy="7567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基于 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React 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构建的 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Web 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环境</a:t>
                </a: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  <a:p>
                <a:pPr marL="0" marR="0" lvl="0" indent="0" algn="ctr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在本地进行代码解析与绘图</a:t>
                </a:r>
                <a:endPara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cxnSp>
            <p:nvCxnSpPr>
              <p:cNvPr id="230" name="直接连接符 229">
                <a:extLst>
                  <a:ext uri="{FF2B5EF4-FFF2-40B4-BE49-F238E27FC236}">
                    <a16:creationId xmlns:a16="http://schemas.microsoft.com/office/drawing/2014/main" id="{86F85F7F-CCEB-4BB4-BA5D-8505F5508FF7}"/>
                  </a:ext>
                </a:extLst>
              </p:cNvPr>
              <p:cNvCxnSpPr/>
              <p:nvPr/>
            </p:nvCxnSpPr>
            <p:spPr>
              <a:xfrm>
                <a:off x="1267334" y="4591847"/>
                <a:ext cx="5091113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0" name="îṩľïdê">
              <a:extLst>
                <a:ext uri="{FF2B5EF4-FFF2-40B4-BE49-F238E27FC236}">
                  <a16:creationId xmlns:a16="http://schemas.microsoft.com/office/drawing/2014/main" id="{97296814-1BB0-488D-A867-30D0EE5BD98A}"/>
                </a:ext>
              </a:extLst>
            </p:cNvPr>
            <p:cNvGrpSpPr/>
            <p:nvPr/>
          </p:nvGrpSpPr>
          <p:grpSpPr>
            <a:xfrm>
              <a:off x="4858981" y="4169060"/>
              <a:ext cx="2474040" cy="1095883"/>
              <a:chOff x="1138068" y="4199335"/>
              <a:chExt cx="5220379" cy="1095883"/>
            </a:xfrm>
          </p:grpSpPr>
          <p:sp>
            <p:nvSpPr>
              <p:cNvPr id="225" name="íṡľïdê">
                <a:extLst>
                  <a:ext uri="{FF2B5EF4-FFF2-40B4-BE49-F238E27FC236}">
                    <a16:creationId xmlns:a16="http://schemas.microsoft.com/office/drawing/2014/main" id="{BA8F83DA-0BB5-4BD6-8FEF-7648C27B2169}"/>
                  </a:ext>
                </a:extLst>
              </p:cNvPr>
              <p:cNvSpPr txBox="1"/>
              <p:nvPr/>
            </p:nvSpPr>
            <p:spPr>
              <a:xfrm>
                <a:off x="1138068" y="4199335"/>
                <a:ext cx="5218791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defTabSz="913765">
                  <a:buSzPct val="25000"/>
                  <a:defRPr/>
                </a:pPr>
                <a:r>
                  <a:rPr lang="zh-CN" altLang="en-US" sz="2000" b="1" dirty="0"/>
                  <a:t>服务端</a:t>
                </a:r>
                <a:endParaRPr lang="de-DE" altLang="zh-CN" sz="2000" b="1" dirty="0"/>
              </a:p>
            </p:txBody>
          </p:sp>
          <p:sp>
            <p:nvSpPr>
              <p:cNvPr id="226" name="îṧ1ïde">
                <a:extLst>
                  <a:ext uri="{FF2B5EF4-FFF2-40B4-BE49-F238E27FC236}">
                    <a16:creationId xmlns:a16="http://schemas.microsoft.com/office/drawing/2014/main" id="{87A73436-1D61-49B4-B19D-D5D307ACB51A}"/>
                  </a:ext>
                </a:extLst>
              </p:cNvPr>
              <p:cNvSpPr txBox="1"/>
              <p:nvPr/>
            </p:nvSpPr>
            <p:spPr>
              <a:xfrm>
                <a:off x="1138068" y="4591847"/>
                <a:ext cx="5218791" cy="7033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基于 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Golang 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的 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Iris 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后端框架</a:t>
                </a: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  <a:p>
                <a:pPr marL="0" marR="0" lvl="0" indent="0" algn="ctr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基于 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I</a:t>
                </a:r>
                <a:r>
                  <a:rPr lang="en-US" altLang="zh-CN" sz="1200" dirty="0"/>
                  <a:t>/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O 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多路复用的 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SSE 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技术</a:t>
                </a:r>
                <a:endPara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cxnSp>
            <p:nvCxnSpPr>
              <p:cNvPr id="227" name="直接连接符 226">
                <a:extLst>
                  <a:ext uri="{FF2B5EF4-FFF2-40B4-BE49-F238E27FC236}">
                    <a16:creationId xmlns:a16="http://schemas.microsoft.com/office/drawing/2014/main" id="{355217ED-029A-4AF5-8BA3-7B9D98F572C6}"/>
                  </a:ext>
                </a:extLst>
              </p:cNvPr>
              <p:cNvCxnSpPr/>
              <p:nvPr/>
            </p:nvCxnSpPr>
            <p:spPr>
              <a:xfrm>
                <a:off x="1267334" y="4591847"/>
                <a:ext cx="5091113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1" name="íṣľíḑe">
              <a:extLst>
                <a:ext uri="{FF2B5EF4-FFF2-40B4-BE49-F238E27FC236}">
                  <a16:creationId xmlns:a16="http://schemas.microsoft.com/office/drawing/2014/main" id="{894FC64C-F46D-4051-A7CF-E646F789519D}"/>
                </a:ext>
              </a:extLst>
            </p:cNvPr>
            <p:cNvGrpSpPr/>
            <p:nvPr/>
          </p:nvGrpSpPr>
          <p:grpSpPr>
            <a:xfrm>
              <a:off x="8592781" y="4169060"/>
              <a:ext cx="2474040" cy="1095883"/>
              <a:chOff x="1138068" y="4199335"/>
              <a:chExt cx="5220379" cy="1095883"/>
            </a:xfrm>
          </p:grpSpPr>
          <p:sp>
            <p:nvSpPr>
              <p:cNvPr id="222" name="išļîḓè">
                <a:extLst>
                  <a:ext uri="{FF2B5EF4-FFF2-40B4-BE49-F238E27FC236}">
                    <a16:creationId xmlns:a16="http://schemas.microsoft.com/office/drawing/2014/main" id="{65C3D9B5-DAC8-4C90-B055-58D4E2D3ACCE}"/>
                  </a:ext>
                </a:extLst>
              </p:cNvPr>
              <p:cNvSpPr txBox="1"/>
              <p:nvPr/>
            </p:nvSpPr>
            <p:spPr>
              <a:xfrm>
                <a:off x="1138068" y="4199335"/>
                <a:ext cx="5218791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defTabSz="913765">
                  <a:buSzPct val="25000"/>
                  <a:defRPr/>
                </a:pPr>
                <a:r>
                  <a:rPr lang="zh-CN" altLang="en-US" sz="2000" b="1" dirty="0"/>
                  <a:t>云代码环境</a:t>
                </a:r>
                <a:endParaRPr lang="de-DE" altLang="zh-CN" sz="2000" b="1" dirty="0"/>
              </a:p>
            </p:txBody>
          </p:sp>
          <p:sp>
            <p:nvSpPr>
              <p:cNvPr id="223" name="iś1ïďè">
                <a:extLst>
                  <a:ext uri="{FF2B5EF4-FFF2-40B4-BE49-F238E27FC236}">
                    <a16:creationId xmlns:a16="http://schemas.microsoft.com/office/drawing/2014/main" id="{F3D901AE-3577-41B2-BE07-A1B000962290}"/>
                  </a:ext>
                </a:extLst>
              </p:cNvPr>
              <p:cNvSpPr txBox="1"/>
              <p:nvPr/>
            </p:nvSpPr>
            <p:spPr>
              <a:xfrm>
                <a:off x="1138068" y="4591847"/>
                <a:ext cx="5218791" cy="7033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/>
                </a:pPr>
                <a:r>
                  <a:rPr lang="en-US" sz="1200" dirty="0"/>
                  <a:t>Everything</a:t>
                </a:r>
                <a:r>
                  <a:rPr lang="zh-CN" altLang="en-US" sz="1200" dirty="0"/>
                  <a:t> </a:t>
                </a:r>
                <a:r>
                  <a:rPr lang="en-US" altLang="zh-CN" sz="1200" dirty="0"/>
                  <a:t>is</a:t>
                </a:r>
                <a:r>
                  <a:rPr lang="zh-CN" altLang="en-US" sz="1200" dirty="0"/>
                  <a:t> </a:t>
                </a:r>
                <a:r>
                  <a:rPr lang="en-US" altLang="zh-CN" sz="1200" dirty="0"/>
                  <a:t>in</a:t>
                </a:r>
                <a:r>
                  <a:rPr lang="zh-CN" altLang="en-US" sz="1200" dirty="0"/>
                  <a:t> </a:t>
                </a:r>
                <a:r>
                  <a:rPr lang="en-US" altLang="zh-CN" sz="1200" dirty="0"/>
                  <a:t>Cloud</a:t>
                </a:r>
              </a:p>
              <a:p>
                <a:pPr marL="0" marR="0" lvl="0" indent="0" algn="ctr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无需本地安装，项目保存云端</a:t>
                </a:r>
                <a:endPara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cxnSp>
            <p:nvCxnSpPr>
              <p:cNvPr id="224" name="直接连接符 223">
                <a:extLst>
                  <a:ext uri="{FF2B5EF4-FFF2-40B4-BE49-F238E27FC236}">
                    <a16:creationId xmlns:a16="http://schemas.microsoft.com/office/drawing/2014/main" id="{3E43E3A3-35EF-4354-95D5-AF1F9DBBA24A}"/>
                  </a:ext>
                </a:extLst>
              </p:cNvPr>
              <p:cNvCxnSpPr/>
              <p:nvPr/>
            </p:nvCxnSpPr>
            <p:spPr>
              <a:xfrm>
                <a:off x="1267334" y="4591847"/>
                <a:ext cx="5091113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1" name="页脚占位符 2">
            <a:extLst>
              <a:ext uri="{FF2B5EF4-FFF2-40B4-BE49-F238E27FC236}">
                <a16:creationId xmlns:a16="http://schemas.microsoft.com/office/drawing/2014/main" id="{8E786B81-56C0-468B-844D-5E627AA49C14}"/>
              </a:ext>
            </a:extLst>
          </p:cNvPr>
          <p:cNvSpPr txBox="1">
            <a:spLocks/>
          </p:cNvSpPr>
          <p:nvPr/>
        </p:nvSpPr>
        <p:spPr>
          <a:xfrm>
            <a:off x="822324" y="63928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/>
              <a:t>软件工程原理与实践第</a:t>
            </a:r>
            <a:r>
              <a:rPr lang="en-US" altLang="zh-CN"/>
              <a:t>15</a:t>
            </a:r>
            <a:r>
              <a:rPr lang="zh-CN" altLang="en-US"/>
              <a:t>组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9565970"/>
      </p:ext>
    </p:extLst>
  </p:cSld>
  <p:clrMapOvr>
    <a:masterClrMapping/>
  </p:clrMapOvr>
  <p:transition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>
            <a:extLst>
              <a:ext uri="{FF2B5EF4-FFF2-40B4-BE49-F238E27FC236}">
                <a16:creationId xmlns:a16="http://schemas.microsoft.com/office/drawing/2014/main" id="{793DD6C3-31E9-48BD-BEFD-0D0FAD835964}"/>
              </a:ext>
            </a:extLst>
          </p:cNvPr>
          <p:cNvGrpSpPr/>
          <p:nvPr/>
        </p:nvGrpSpPr>
        <p:grpSpPr>
          <a:xfrm>
            <a:off x="1533036" y="1591943"/>
            <a:ext cx="5244256" cy="3849681"/>
            <a:chOff x="5094774" y="1591943"/>
            <a:chExt cx="5244256" cy="3849681"/>
          </a:xfrm>
        </p:grpSpPr>
        <p:sp>
          <p:nvSpPr>
            <p:cNvPr id="3" name="文本框 2">
              <a:extLst>
                <a:ext uri="{FF2B5EF4-FFF2-40B4-BE49-F238E27FC236}">
                  <a16:creationId xmlns:a16="http://schemas.microsoft.com/office/drawing/2014/main" id="{D7D9AE13-FB00-48B1-A9C0-99C931CCDD4C}"/>
                </a:ext>
              </a:extLst>
            </p:cNvPr>
            <p:cNvSpPr txBox="1"/>
            <p:nvPr/>
          </p:nvSpPr>
          <p:spPr>
            <a:xfrm>
              <a:off x="5094775" y="3358846"/>
              <a:ext cx="52442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tx1"/>
                  </a:solidFill>
                </a:rPr>
                <a:t>代码解析</a:t>
              </a:r>
              <a:endParaRPr lang="en-US" altLang="zh-CN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973DD721-61FA-4DF7-9C52-E2A53439BCF7}"/>
                </a:ext>
              </a:extLst>
            </p:cNvPr>
            <p:cNvSpPr txBox="1"/>
            <p:nvPr/>
          </p:nvSpPr>
          <p:spPr>
            <a:xfrm>
              <a:off x="5094775" y="3729289"/>
              <a:ext cx="5244253" cy="526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000" dirty="0"/>
                <a:t>使用 </a:t>
              </a:r>
              <a:r>
                <a:rPr lang="en-US" altLang="zh-CN" sz="1000" dirty="0"/>
                <a:t>Lex </a:t>
              </a:r>
              <a:r>
                <a:rPr lang="zh-CN" altLang="en-US" sz="1000" dirty="0"/>
                <a:t>进行词法分析，将代码抽象为 </a:t>
              </a:r>
              <a:r>
                <a:rPr lang="en-US" altLang="zh-CN" sz="1000" dirty="0"/>
                <a:t>Token</a:t>
              </a:r>
            </a:p>
            <a:p>
              <a:pPr>
                <a:lnSpc>
                  <a:spcPct val="150000"/>
                </a:lnSpc>
              </a:pPr>
              <a:r>
                <a:rPr lang="zh-CN" altLang="en-US" sz="1000" dirty="0"/>
                <a:t>使用 </a:t>
              </a:r>
              <a:r>
                <a:rPr lang="en-US" altLang="zh-CN" sz="1000" dirty="0" err="1"/>
                <a:t>Yacc</a:t>
              </a:r>
              <a:r>
                <a:rPr lang="en-US" altLang="zh-CN" sz="1000" dirty="0"/>
                <a:t> </a:t>
              </a:r>
              <a:r>
                <a:rPr lang="zh-CN" altLang="en-US" sz="1000" dirty="0"/>
                <a:t>进行语法分析，将 </a:t>
              </a:r>
              <a:r>
                <a:rPr lang="en-US" altLang="zh-CN" sz="1000" dirty="0"/>
                <a:t>Token </a:t>
              </a:r>
              <a:r>
                <a:rPr lang="zh-CN" altLang="en-US" sz="1000" dirty="0"/>
                <a:t>组合为 </a:t>
              </a:r>
              <a:r>
                <a:rPr lang="en-US" altLang="zh-CN" sz="1000" dirty="0"/>
                <a:t>AST</a:t>
              </a: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D95BDF21-2AF9-41E4-B56E-465259D2BCFF}"/>
                </a:ext>
              </a:extLst>
            </p:cNvPr>
            <p:cNvSpPr txBox="1"/>
            <p:nvPr/>
          </p:nvSpPr>
          <p:spPr>
            <a:xfrm>
              <a:off x="5094775" y="4776549"/>
              <a:ext cx="52442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600" b="1" dirty="0">
                  <a:solidFill>
                    <a:schemeClr val="tx1"/>
                  </a:solidFill>
                </a:rPr>
                <a:t>Canvas</a:t>
              </a:r>
              <a:r>
                <a:rPr lang="zh-CN" altLang="en-US" sz="1600" b="1" dirty="0">
                  <a:solidFill>
                    <a:schemeClr val="tx1"/>
                  </a:solidFill>
                </a:rPr>
                <a:t>绘图</a:t>
              </a:r>
              <a:endParaRPr lang="en-US" altLang="zh-CN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4F473F34-B6B4-4859-9D8C-AEA4BF6B3CEB}"/>
                </a:ext>
              </a:extLst>
            </p:cNvPr>
            <p:cNvSpPr txBox="1"/>
            <p:nvPr/>
          </p:nvSpPr>
          <p:spPr>
            <a:xfrm>
              <a:off x="5094775" y="5146992"/>
              <a:ext cx="5244253" cy="294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HTML5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原生绘图组件，性能强，稳定性高</a:t>
              </a:r>
              <a:endParaRPr kumimoji="0" lang="en-US" altLang="zh-CN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0CF8236E-49E9-4A01-8930-87CD27D2F4BD}"/>
                </a:ext>
              </a:extLst>
            </p:cNvPr>
            <p:cNvSpPr txBox="1"/>
            <p:nvPr/>
          </p:nvSpPr>
          <p:spPr>
            <a:xfrm flipH="1">
              <a:off x="5094774" y="1591943"/>
              <a:ext cx="5244251" cy="1508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400" b="1" dirty="0"/>
                <a:t>Browser</a:t>
              </a:r>
            </a:p>
            <a:p>
              <a:r>
                <a:rPr lang="en-US" altLang="zh-CN" sz="2400" b="1" dirty="0">
                  <a:solidFill>
                    <a:schemeClr val="accent1"/>
                  </a:solidFill>
                </a:rPr>
                <a:t>————————————————</a:t>
              </a:r>
            </a:p>
            <a:p>
              <a:endParaRPr lang="en-US" altLang="zh-CN" sz="240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8" name="矩形 7">
            <a:extLst>
              <a:ext uri="{FF2B5EF4-FFF2-40B4-BE49-F238E27FC236}">
                <a16:creationId xmlns:a16="http://schemas.microsoft.com/office/drawing/2014/main" id="{A6A21C24-92C8-43D9-930D-6EDE6637C4FA}"/>
              </a:ext>
            </a:extLst>
          </p:cNvPr>
          <p:cNvSpPr/>
          <p:nvPr/>
        </p:nvSpPr>
        <p:spPr>
          <a:xfrm>
            <a:off x="7535333" y="1298976"/>
            <a:ext cx="3457638" cy="538609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344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</a:t>
            </a:r>
          </a:p>
        </p:txBody>
      </p:sp>
      <p:sp>
        <p:nvSpPr>
          <p:cNvPr id="9" name="标题 8">
            <a:extLst>
              <a:ext uri="{FF2B5EF4-FFF2-40B4-BE49-F238E27FC236}">
                <a16:creationId xmlns:a16="http://schemas.microsoft.com/office/drawing/2014/main" id="{E69F4F15-B8DE-4FF7-8465-9E4A8FCAB4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关键技术</a:t>
            </a:r>
          </a:p>
        </p:txBody>
      </p:sp>
      <p:sp>
        <p:nvSpPr>
          <p:cNvPr id="11" name="页脚占位符 2">
            <a:extLst>
              <a:ext uri="{FF2B5EF4-FFF2-40B4-BE49-F238E27FC236}">
                <a16:creationId xmlns:a16="http://schemas.microsoft.com/office/drawing/2014/main" id="{4C17ACD3-F0C9-4526-B767-FC4ECAA90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6223930"/>
      </p:ext>
    </p:extLst>
  </p:cSld>
  <p:clrMapOvr>
    <a:masterClrMapping/>
  </p:clrMapOvr>
  <p:transition spd="slow">
    <p:cove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5839217" y="1591943"/>
            <a:ext cx="5244255" cy="3814526"/>
            <a:chOff x="5839217" y="1591943"/>
            <a:chExt cx="5244255" cy="3814526"/>
          </a:xfrm>
        </p:grpSpPr>
        <p:sp>
          <p:nvSpPr>
            <p:cNvPr id="3" name="文本框 2">
              <a:extLst>
                <a:ext uri="{FF2B5EF4-FFF2-40B4-BE49-F238E27FC236}">
                  <a16:creationId xmlns:a16="http://schemas.microsoft.com/office/drawing/2014/main" id="{D7D9AE13-FB00-48B1-A9C0-99C931CCDD4C}"/>
                </a:ext>
              </a:extLst>
            </p:cNvPr>
            <p:cNvSpPr txBox="1"/>
            <p:nvPr/>
          </p:nvSpPr>
          <p:spPr>
            <a:xfrm>
              <a:off x="5839217" y="2762835"/>
              <a:ext cx="52442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tx1"/>
                  </a:solidFill>
                </a:rPr>
                <a:t>基于 </a:t>
              </a:r>
              <a:r>
                <a:rPr lang="en-US" altLang="zh-CN" sz="1600" b="1" dirty="0">
                  <a:solidFill>
                    <a:schemeClr val="tx1"/>
                  </a:solidFill>
                </a:rPr>
                <a:t>Golang </a:t>
              </a:r>
              <a:r>
                <a:rPr lang="zh-CN" altLang="en-US" sz="1600" b="1" dirty="0">
                  <a:solidFill>
                    <a:schemeClr val="tx1"/>
                  </a:solidFill>
                </a:rPr>
                <a:t>的 </a:t>
              </a:r>
              <a:r>
                <a:rPr lang="en-US" altLang="zh-CN" sz="1600" b="1" dirty="0">
                  <a:solidFill>
                    <a:schemeClr val="tx1"/>
                  </a:solidFill>
                </a:rPr>
                <a:t>Iris </a:t>
              </a:r>
              <a:r>
                <a:rPr lang="zh-CN" altLang="en-US" sz="1600" b="1" dirty="0">
                  <a:solidFill>
                    <a:schemeClr val="tx1"/>
                  </a:solidFill>
                </a:rPr>
                <a:t>后端框架</a:t>
              </a:r>
              <a:endParaRPr lang="en-US" altLang="zh-CN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973DD721-61FA-4DF7-9C52-E2A53439BCF7}"/>
                </a:ext>
              </a:extLst>
            </p:cNvPr>
            <p:cNvSpPr txBox="1"/>
            <p:nvPr/>
          </p:nvSpPr>
          <p:spPr>
            <a:xfrm>
              <a:off x="5839217" y="3133278"/>
              <a:ext cx="5244253" cy="295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轻量、低延迟、高并发</a:t>
              </a:r>
              <a:endParaRPr kumimoji="0" lang="en-US" altLang="zh-CN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D95BDF21-2AF9-41E4-B56E-465259D2BCFF}"/>
                </a:ext>
              </a:extLst>
            </p:cNvPr>
            <p:cNvSpPr txBox="1"/>
            <p:nvPr/>
          </p:nvSpPr>
          <p:spPr>
            <a:xfrm>
              <a:off x="5839217" y="3694061"/>
              <a:ext cx="52442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tx1"/>
                  </a:solidFill>
                </a:rPr>
                <a:t>基于 </a:t>
              </a:r>
              <a:r>
                <a:rPr lang="en-US" altLang="zh-CN" sz="1600" b="1" dirty="0">
                  <a:solidFill>
                    <a:schemeClr val="tx1"/>
                  </a:solidFill>
                </a:rPr>
                <a:t>I/O </a:t>
              </a:r>
              <a:r>
                <a:rPr lang="zh-CN" altLang="en-US" sz="1600" b="1" dirty="0">
                  <a:solidFill>
                    <a:schemeClr val="tx1"/>
                  </a:solidFill>
                </a:rPr>
                <a:t>多路复用的 </a:t>
              </a:r>
              <a:r>
                <a:rPr lang="en-US" altLang="zh-CN" sz="1600" b="1" dirty="0">
                  <a:solidFill>
                    <a:schemeClr val="tx1"/>
                  </a:solidFill>
                </a:rPr>
                <a:t>SSE </a:t>
              </a:r>
              <a:r>
                <a:rPr lang="zh-CN" altLang="en-US" sz="1600" b="1" dirty="0">
                  <a:solidFill>
                    <a:schemeClr val="tx1"/>
                  </a:solidFill>
                </a:rPr>
                <a:t>技术</a:t>
              </a:r>
              <a:endParaRPr lang="en-US" altLang="zh-CN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4F473F34-B6B4-4859-9D8C-AEA4BF6B3CEB}"/>
                </a:ext>
              </a:extLst>
            </p:cNvPr>
            <p:cNvSpPr txBox="1"/>
            <p:nvPr/>
          </p:nvSpPr>
          <p:spPr>
            <a:xfrm>
              <a:off x="5839217" y="4064504"/>
              <a:ext cx="5244253" cy="526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通过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elect 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对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SE 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请求进行处理</a:t>
              </a:r>
              <a:endParaRPr kumimoji="0" lang="en-US" altLang="zh-CN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  <a:p>
              <a:pPr>
                <a:lnSpc>
                  <a:spcPct val="150000"/>
                </a:lnSpc>
              </a:pP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使用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Golang 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的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Channel 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数据结构能够方便地保证双人文件的一致性</a:t>
              </a:r>
              <a:endParaRPr kumimoji="0" lang="en-US" altLang="zh-CN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0CF8236E-49E9-4A01-8930-87CD27D2F4BD}"/>
                </a:ext>
              </a:extLst>
            </p:cNvPr>
            <p:cNvSpPr txBox="1"/>
            <p:nvPr/>
          </p:nvSpPr>
          <p:spPr>
            <a:xfrm flipH="1">
              <a:off x="5839217" y="1591943"/>
              <a:ext cx="5244251" cy="1138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400" b="1" dirty="0"/>
                <a:t>Server</a:t>
              </a:r>
            </a:p>
            <a:p>
              <a:r>
                <a:rPr lang="en-US" altLang="zh-CN" sz="2400" b="1" dirty="0">
                  <a:solidFill>
                    <a:schemeClr val="accent1"/>
                  </a:solidFill>
                </a:rPr>
                <a:t>————————————————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D311345A-639C-4686-B8A6-5BF12861271F}"/>
                </a:ext>
              </a:extLst>
            </p:cNvPr>
            <p:cNvSpPr txBox="1"/>
            <p:nvPr/>
          </p:nvSpPr>
          <p:spPr>
            <a:xfrm>
              <a:off x="5839217" y="4741394"/>
              <a:ext cx="52442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tx1"/>
                  </a:solidFill>
                </a:rPr>
                <a:t>基于 </a:t>
              </a:r>
              <a:r>
                <a:rPr lang="en-US" altLang="zh-CN" sz="1600" b="1" dirty="0">
                  <a:solidFill>
                    <a:schemeClr val="tx1"/>
                  </a:solidFill>
                </a:rPr>
                <a:t>GORM </a:t>
              </a:r>
              <a:r>
                <a:rPr lang="zh-CN" altLang="en-US" sz="1600" b="1" dirty="0">
                  <a:solidFill>
                    <a:schemeClr val="tx1"/>
                  </a:solidFill>
                </a:rPr>
                <a:t>的数据库管理</a:t>
              </a:r>
              <a:endParaRPr lang="en-US" altLang="zh-CN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AAF61F66-9797-497C-A8C2-922C6E51D5EF}"/>
                </a:ext>
              </a:extLst>
            </p:cNvPr>
            <p:cNvSpPr txBox="1"/>
            <p:nvPr/>
          </p:nvSpPr>
          <p:spPr>
            <a:xfrm>
              <a:off x="5839217" y="5111837"/>
              <a:ext cx="5244253" cy="294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通过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GORM 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将数据实体与数据库建立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ORM 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映射，便于数据管理</a:t>
              </a:r>
              <a:endParaRPr kumimoji="0" lang="en-US" altLang="zh-CN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sp>
        <p:nvSpPr>
          <p:cNvPr id="8" name="矩形 7">
            <a:extLst>
              <a:ext uri="{FF2B5EF4-FFF2-40B4-BE49-F238E27FC236}">
                <a16:creationId xmlns:a16="http://schemas.microsoft.com/office/drawing/2014/main" id="{50364B85-4D84-4729-BBF1-971F903D776E}"/>
              </a:ext>
            </a:extLst>
          </p:cNvPr>
          <p:cNvSpPr/>
          <p:nvPr/>
        </p:nvSpPr>
        <p:spPr>
          <a:xfrm>
            <a:off x="1210686" y="1036244"/>
            <a:ext cx="3127779" cy="538609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34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</a:t>
            </a:r>
            <a:endParaRPr lang="zh-CN" altLang="en-US" sz="34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标题 9">
            <a:extLst>
              <a:ext uri="{FF2B5EF4-FFF2-40B4-BE49-F238E27FC236}">
                <a16:creationId xmlns:a16="http://schemas.microsoft.com/office/drawing/2014/main" id="{812A0F6B-DFB4-4CC2-AFC1-3D0C1BF03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关键技术</a:t>
            </a:r>
          </a:p>
        </p:txBody>
      </p:sp>
      <p:sp>
        <p:nvSpPr>
          <p:cNvPr id="13" name="页脚占位符 2">
            <a:extLst>
              <a:ext uri="{FF2B5EF4-FFF2-40B4-BE49-F238E27FC236}">
                <a16:creationId xmlns:a16="http://schemas.microsoft.com/office/drawing/2014/main" id="{0B19CCA2-62F0-40E6-965A-0CEDD8747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9223294"/>
      </p:ext>
    </p:extLst>
  </p:cSld>
  <p:clrMapOvr>
    <a:masterClrMapping/>
  </p:clrMapOvr>
  <p:transition spd="slow">
    <p:cover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660401" y="1130300"/>
            <a:ext cx="10097245" cy="5003800"/>
            <a:chOff x="660401" y="1130300"/>
            <a:chExt cx="10097245" cy="5003800"/>
          </a:xfrm>
        </p:grpSpPr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40F65DAD-AA3C-4A71-9192-B937A470736C}"/>
                </a:ext>
              </a:extLst>
            </p:cNvPr>
            <p:cNvGrpSpPr/>
            <p:nvPr/>
          </p:nvGrpSpPr>
          <p:grpSpPr>
            <a:xfrm>
              <a:off x="660401" y="1454150"/>
              <a:ext cx="5526644" cy="4356100"/>
              <a:chOff x="660400" y="1454150"/>
              <a:chExt cx="10858499" cy="4356100"/>
            </a:xfrm>
          </p:grpSpPr>
          <p:sp>
            <p:nvSpPr>
              <p:cNvPr id="9" name="圆角矩形 8">
                <a:extLst>
                  <a:ext uri="{FF2B5EF4-FFF2-40B4-BE49-F238E27FC236}">
                    <a16:creationId xmlns:a16="http://schemas.microsoft.com/office/drawing/2014/main" id="{AC53584C-2748-48EB-8FCE-75292027D0BB}"/>
                  </a:ext>
                </a:extLst>
              </p:cNvPr>
              <p:cNvSpPr/>
              <p:nvPr/>
            </p:nvSpPr>
            <p:spPr>
              <a:xfrm>
                <a:off x="660400" y="33210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2400" b="1" dirty="0">
                    <a:solidFill>
                      <a:schemeClr val="accent1"/>
                    </a:solidFill>
                  </a:rPr>
                  <a:t>测试报告</a:t>
                </a:r>
                <a:endParaRPr lang="en-US" altLang="zh-CN" sz="24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" name="圆角矩形 9">
                <a:extLst>
                  <a:ext uri="{FF2B5EF4-FFF2-40B4-BE49-F238E27FC236}">
                    <a16:creationId xmlns:a16="http://schemas.microsoft.com/office/drawing/2014/main" id="{DDF6F91D-5F85-4D9C-AE6C-1E9154F2DEB2}"/>
                  </a:ext>
                </a:extLst>
              </p:cNvPr>
              <p:cNvSpPr/>
              <p:nvPr/>
            </p:nvSpPr>
            <p:spPr>
              <a:xfrm>
                <a:off x="660400" y="26987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架构与关键技术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1" name="圆角矩形 10">
                <a:extLst>
                  <a:ext uri="{FF2B5EF4-FFF2-40B4-BE49-F238E27FC236}">
                    <a16:creationId xmlns:a16="http://schemas.microsoft.com/office/drawing/2014/main" id="{3FCD1556-55DB-422A-9A91-03C8CA4C8CFC}"/>
                  </a:ext>
                </a:extLst>
              </p:cNvPr>
              <p:cNvSpPr/>
              <p:nvPr/>
            </p:nvSpPr>
            <p:spPr>
              <a:xfrm>
                <a:off x="660400" y="39433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经验教训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2" name="圆角矩形 11">
                <a:extLst>
                  <a:ext uri="{FF2B5EF4-FFF2-40B4-BE49-F238E27FC236}">
                    <a16:creationId xmlns:a16="http://schemas.microsoft.com/office/drawing/2014/main" id="{E9125F22-9110-4DA9-BB15-F5E756018AB3}"/>
                  </a:ext>
                </a:extLst>
              </p:cNvPr>
              <p:cNvSpPr/>
              <p:nvPr/>
            </p:nvSpPr>
            <p:spPr>
              <a:xfrm>
                <a:off x="660400" y="45656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小组分工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3" name="圆角矩形 12">
                <a:extLst>
                  <a:ext uri="{FF2B5EF4-FFF2-40B4-BE49-F238E27FC236}">
                    <a16:creationId xmlns:a16="http://schemas.microsoft.com/office/drawing/2014/main" id="{487B6CCD-FECD-4A9D-9A26-BC273CC3851B}"/>
                  </a:ext>
                </a:extLst>
              </p:cNvPr>
              <p:cNvSpPr/>
              <p:nvPr/>
            </p:nvSpPr>
            <p:spPr>
              <a:xfrm>
                <a:off x="660400" y="20764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产品演示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4" name="圆角矩形 13">
                <a:extLst>
                  <a:ext uri="{FF2B5EF4-FFF2-40B4-BE49-F238E27FC236}">
                    <a16:creationId xmlns:a16="http://schemas.microsoft.com/office/drawing/2014/main" id="{EDF8110A-8EDB-418C-B6DF-9602B875D010}"/>
                  </a:ext>
                </a:extLst>
              </p:cNvPr>
              <p:cNvSpPr/>
              <p:nvPr/>
            </p:nvSpPr>
            <p:spPr>
              <a:xfrm>
                <a:off x="660400" y="51879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致谢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sp>
            <p:nvSpPr>
              <p:cNvPr id="15" name="圆角矩形 14">
                <a:extLst>
                  <a:ext uri="{FF2B5EF4-FFF2-40B4-BE49-F238E27FC236}">
                    <a16:creationId xmlns:a16="http://schemas.microsoft.com/office/drawing/2014/main" id="{49395A25-2C00-42D1-927A-C8E332E0FB46}"/>
                  </a:ext>
                </a:extLst>
              </p:cNvPr>
              <p:cNvSpPr/>
              <p:nvPr/>
            </p:nvSpPr>
            <p:spPr>
              <a:xfrm>
                <a:off x="660400" y="14541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产品特色与创新点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296774F8-FE38-4B25-BE73-AF85310781B0}"/>
                  </a:ext>
                </a:extLst>
              </p:cNvPr>
              <p:cNvGrpSpPr/>
              <p:nvPr/>
            </p:nvGrpSpPr>
            <p:grpSpPr>
              <a:xfrm>
                <a:off x="3055917" y="2076450"/>
                <a:ext cx="6080166" cy="3111500"/>
                <a:chOff x="2802576" y="2076450"/>
                <a:chExt cx="6080166" cy="3111500"/>
              </a:xfrm>
            </p:grpSpPr>
            <p:cxnSp>
              <p:nvCxnSpPr>
                <p:cNvPr id="5" name="直接连接符 4">
                  <a:extLst>
                    <a:ext uri="{FF2B5EF4-FFF2-40B4-BE49-F238E27FC236}">
                      <a16:creationId xmlns:a16="http://schemas.microsoft.com/office/drawing/2014/main" id="{665A9CCB-14B6-4181-96D2-1E7424A398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3210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>
                  <a:extLst>
                    <a:ext uri="{FF2B5EF4-FFF2-40B4-BE49-F238E27FC236}">
                      <a16:creationId xmlns:a16="http://schemas.microsoft.com/office/drawing/2014/main" id="{2209BB7D-243A-446A-A163-08AD95BB30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9433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2" name="组合 21">
                  <a:extLst>
                    <a:ext uri="{FF2B5EF4-FFF2-40B4-BE49-F238E27FC236}">
                      <a16:creationId xmlns:a16="http://schemas.microsoft.com/office/drawing/2014/main" id="{B4DB02FD-20CA-439E-94DF-A159F531B24A}"/>
                    </a:ext>
                  </a:extLst>
                </p:cNvPr>
                <p:cNvGrpSpPr/>
                <p:nvPr/>
              </p:nvGrpSpPr>
              <p:grpSpPr>
                <a:xfrm>
                  <a:off x="3241963" y="2076450"/>
                  <a:ext cx="5201393" cy="3111500"/>
                  <a:chOff x="2802576" y="2076450"/>
                  <a:chExt cx="6080166" cy="3111500"/>
                </a:xfrm>
              </p:grpSpPr>
              <p:cxnSp>
                <p:nvCxnSpPr>
                  <p:cNvPr id="17" name="直接连接符 16">
                    <a:extLst>
                      <a:ext uri="{FF2B5EF4-FFF2-40B4-BE49-F238E27FC236}">
                        <a16:creationId xmlns:a16="http://schemas.microsoft.com/office/drawing/2014/main" id="{351CD98E-B842-421D-A69C-11F4C36899A7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45656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" name="直接连接符 18">
                    <a:extLst>
                      <a:ext uri="{FF2B5EF4-FFF2-40B4-BE49-F238E27FC236}">
                        <a16:creationId xmlns:a16="http://schemas.microsoft.com/office/drawing/2014/main" id="{7521AFC8-74E6-48C6-8BD5-E0EA6FDE7D98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26987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1" name="组合 20">
                    <a:extLst>
                      <a:ext uri="{FF2B5EF4-FFF2-40B4-BE49-F238E27FC236}">
                        <a16:creationId xmlns:a16="http://schemas.microsoft.com/office/drawing/2014/main" id="{6F854CE6-0C4E-46E6-B40C-A83741098EAA}"/>
                      </a:ext>
                    </a:extLst>
                  </p:cNvPr>
                  <p:cNvGrpSpPr/>
                  <p:nvPr/>
                </p:nvGrpSpPr>
                <p:grpSpPr>
                  <a:xfrm>
                    <a:off x="3548743" y="2076450"/>
                    <a:ext cx="5094515" cy="3111500"/>
                    <a:chOff x="2802576" y="2076450"/>
                    <a:chExt cx="6080166" cy="3111500"/>
                  </a:xfrm>
                </p:grpSpPr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:a16="http://schemas.microsoft.com/office/drawing/2014/main" id="{274C2429-0D16-4487-80BA-DF46BA86B0F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51879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0" name="直接连接符 19">
                      <a:extLst>
                        <a:ext uri="{FF2B5EF4-FFF2-40B4-BE49-F238E27FC236}">
                          <a16:creationId xmlns:a16="http://schemas.microsoft.com/office/drawing/2014/main" id="{180F0829-2591-4662-B868-7F0B2BA51C9C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20764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  <p:sp>
          <p:nvSpPr>
            <p:cNvPr id="25" name="圆角矩形 24">
              <a:extLst>
                <a:ext uri="{FF2B5EF4-FFF2-40B4-BE49-F238E27FC236}">
                  <a16:creationId xmlns:a16="http://schemas.microsoft.com/office/drawing/2014/main" id="{46D2D162-62B1-41D6-85F2-38FCC8088EB2}"/>
                </a:ext>
              </a:extLst>
            </p:cNvPr>
            <p:cNvSpPr/>
            <p:nvPr/>
          </p:nvSpPr>
          <p:spPr>
            <a:xfrm>
              <a:off x="5751807" y="1130300"/>
              <a:ext cx="5005839" cy="5003800"/>
            </a:xfrm>
            <a:prstGeom prst="roundRect">
              <a:avLst>
                <a:gd name="adj" fmla="val 5556"/>
              </a:avLst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76200">
              <a:noFill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128" name="组合 12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B616E0A-C2E6-4F79-B04C-3134FF4A1A86}"/>
              </a:ext>
            </a:extLst>
          </p:cNvPr>
          <p:cNvGrpSpPr>
            <a:grpSpLocks noChangeAspect="1"/>
          </p:cNvGrpSpPr>
          <p:nvPr/>
        </p:nvGrpSpPr>
        <p:grpSpPr>
          <a:xfrm>
            <a:off x="6250275" y="1711028"/>
            <a:ext cx="4220768" cy="3842345"/>
            <a:chOff x="3617119" y="1408113"/>
            <a:chExt cx="4957763" cy="4513263"/>
          </a:xfrm>
        </p:grpSpPr>
        <p:sp>
          <p:nvSpPr>
            <p:cNvPr id="129" name="îs1iḑè">
              <a:extLst>
                <a:ext uri="{FF2B5EF4-FFF2-40B4-BE49-F238E27FC236}">
                  <a16:creationId xmlns:a16="http://schemas.microsoft.com/office/drawing/2014/main" id="{92560073-2EB5-4159-B3F0-424BD3B90600}"/>
                </a:ext>
              </a:extLst>
            </p:cNvPr>
            <p:cNvSpPr/>
            <p:nvPr/>
          </p:nvSpPr>
          <p:spPr bwMode="auto">
            <a:xfrm>
              <a:off x="6252369" y="2063751"/>
              <a:ext cx="2322513" cy="3113088"/>
            </a:xfrm>
            <a:custGeom>
              <a:avLst/>
              <a:gdLst>
                <a:gd name="T0" fmla="*/ 0 w 1463"/>
                <a:gd name="T1" fmla="*/ 0 h 1961"/>
                <a:gd name="T2" fmla="*/ 1227 w 1463"/>
                <a:gd name="T3" fmla="*/ 0 h 1961"/>
                <a:gd name="T4" fmla="*/ 1343 w 1463"/>
                <a:gd name="T5" fmla="*/ 120 h 1961"/>
                <a:gd name="T6" fmla="*/ 1463 w 1463"/>
                <a:gd name="T7" fmla="*/ 236 h 1961"/>
                <a:gd name="T8" fmla="*/ 1463 w 1463"/>
                <a:gd name="T9" fmla="*/ 1961 h 1961"/>
                <a:gd name="T10" fmla="*/ 0 w 1463"/>
                <a:gd name="T11" fmla="*/ 1961 h 1961"/>
                <a:gd name="T12" fmla="*/ 0 w 1463"/>
                <a:gd name="T13" fmla="*/ 0 h 1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3" h="1961">
                  <a:moveTo>
                    <a:pt x="0" y="0"/>
                  </a:moveTo>
                  <a:lnTo>
                    <a:pt x="1227" y="0"/>
                  </a:lnTo>
                  <a:lnTo>
                    <a:pt x="1343" y="120"/>
                  </a:lnTo>
                  <a:lnTo>
                    <a:pt x="1463" y="236"/>
                  </a:lnTo>
                  <a:lnTo>
                    <a:pt x="1463" y="1961"/>
                  </a:lnTo>
                  <a:lnTo>
                    <a:pt x="0" y="19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ïṥ1îde">
              <a:extLst>
                <a:ext uri="{FF2B5EF4-FFF2-40B4-BE49-F238E27FC236}">
                  <a16:creationId xmlns:a16="http://schemas.microsoft.com/office/drawing/2014/main" id="{17C2A0A2-D357-440E-AC70-876237C63B2A}"/>
                </a:ext>
              </a:extLst>
            </p:cNvPr>
            <p:cNvSpPr/>
            <p:nvPr/>
          </p:nvSpPr>
          <p:spPr bwMode="auto">
            <a:xfrm>
              <a:off x="8200232" y="2063751"/>
              <a:ext cx="374650" cy="374650"/>
            </a:xfrm>
            <a:custGeom>
              <a:avLst/>
              <a:gdLst>
                <a:gd name="T0" fmla="*/ 236 w 236"/>
                <a:gd name="T1" fmla="*/ 236 h 236"/>
                <a:gd name="T2" fmla="*/ 0 w 236"/>
                <a:gd name="T3" fmla="*/ 236 h 236"/>
                <a:gd name="T4" fmla="*/ 0 w 236"/>
                <a:gd name="T5" fmla="*/ 0 h 236"/>
                <a:gd name="T6" fmla="*/ 119 w 236"/>
                <a:gd name="T7" fmla="*/ 120 h 236"/>
                <a:gd name="T8" fmla="*/ 236 w 236"/>
                <a:gd name="T9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6" h="236">
                  <a:moveTo>
                    <a:pt x="236" y="236"/>
                  </a:moveTo>
                  <a:lnTo>
                    <a:pt x="0" y="236"/>
                  </a:lnTo>
                  <a:lnTo>
                    <a:pt x="0" y="0"/>
                  </a:lnTo>
                  <a:lnTo>
                    <a:pt x="119" y="120"/>
                  </a:lnTo>
                  <a:lnTo>
                    <a:pt x="236" y="236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íṩľîďê">
              <a:extLst>
                <a:ext uri="{FF2B5EF4-FFF2-40B4-BE49-F238E27FC236}">
                  <a16:creationId xmlns:a16="http://schemas.microsoft.com/office/drawing/2014/main" id="{B5E31294-9BD8-4EA1-9184-E7448D582FCF}"/>
                </a:ext>
              </a:extLst>
            </p:cNvPr>
            <p:cNvSpPr/>
            <p:nvPr/>
          </p:nvSpPr>
          <p:spPr bwMode="auto">
            <a:xfrm>
              <a:off x="6654007" y="2981326"/>
              <a:ext cx="1577975" cy="101600"/>
            </a:xfrm>
            <a:custGeom>
              <a:avLst/>
              <a:gdLst>
                <a:gd name="T0" fmla="*/ 9 w 291"/>
                <a:gd name="T1" fmla="*/ 19 h 19"/>
                <a:gd name="T2" fmla="*/ 0 w 291"/>
                <a:gd name="T3" fmla="*/ 10 h 19"/>
                <a:gd name="T4" fmla="*/ 9 w 291"/>
                <a:gd name="T5" fmla="*/ 0 h 19"/>
                <a:gd name="T6" fmla="*/ 282 w 291"/>
                <a:gd name="T7" fmla="*/ 0 h 19"/>
                <a:gd name="T8" fmla="*/ 291 w 291"/>
                <a:gd name="T9" fmla="*/ 10 h 19"/>
                <a:gd name="T10" fmla="*/ 282 w 291"/>
                <a:gd name="T11" fmla="*/ 19 h 19"/>
                <a:gd name="T12" fmla="*/ 9 w 291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1" h="19">
                  <a:moveTo>
                    <a:pt x="9" y="19"/>
                  </a:moveTo>
                  <a:cubicBezTo>
                    <a:pt x="4" y="19"/>
                    <a:pt x="0" y="15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7" y="0"/>
                    <a:pt x="291" y="5"/>
                    <a:pt x="291" y="10"/>
                  </a:cubicBezTo>
                  <a:cubicBezTo>
                    <a:pt x="291" y="15"/>
                    <a:pt x="287" y="19"/>
                    <a:pt x="282" y="19"/>
                  </a:cubicBezTo>
                  <a:lnTo>
                    <a:pt x="9" y="19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îšḷiďe">
              <a:extLst>
                <a:ext uri="{FF2B5EF4-FFF2-40B4-BE49-F238E27FC236}">
                  <a16:creationId xmlns:a16="http://schemas.microsoft.com/office/drawing/2014/main" id="{716066D8-3D38-4F07-B534-45EF2690B7C1}"/>
                </a:ext>
              </a:extLst>
            </p:cNvPr>
            <p:cNvSpPr/>
            <p:nvPr/>
          </p:nvSpPr>
          <p:spPr bwMode="auto">
            <a:xfrm>
              <a:off x="7152482" y="3279776"/>
              <a:ext cx="1236663" cy="96838"/>
            </a:xfrm>
            <a:custGeom>
              <a:avLst/>
              <a:gdLst>
                <a:gd name="T0" fmla="*/ 9 w 228"/>
                <a:gd name="T1" fmla="*/ 18 h 18"/>
                <a:gd name="T2" fmla="*/ 0 w 228"/>
                <a:gd name="T3" fmla="*/ 9 h 18"/>
                <a:gd name="T4" fmla="*/ 9 w 228"/>
                <a:gd name="T5" fmla="*/ 0 h 18"/>
                <a:gd name="T6" fmla="*/ 218 w 228"/>
                <a:gd name="T7" fmla="*/ 0 h 18"/>
                <a:gd name="T8" fmla="*/ 228 w 228"/>
                <a:gd name="T9" fmla="*/ 9 h 18"/>
                <a:gd name="T10" fmla="*/ 218 w 228"/>
                <a:gd name="T11" fmla="*/ 18 h 18"/>
                <a:gd name="T12" fmla="*/ 9 w 228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18" y="0"/>
                    <a:pt x="218" y="0"/>
                    <a:pt x="218" y="0"/>
                  </a:cubicBezTo>
                  <a:cubicBezTo>
                    <a:pt x="224" y="0"/>
                    <a:pt x="228" y="4"/>
                    <a:pt x="228" y="9"/>
                  </a:cubicBezTo>
                  <a:cubicBezTo>
                    <a:pt x="228" y="14"/>
                    <a:pt x="224" y="18"/>
                    <a:pt x="218" y="18"/>
                  </a:cubicBezTo>
                  <a:lnTo>
                    <a:pt x="9" y="18"/>
                  </a:lnTo>
                  <a:close/>
                </a:path>
              </a:pathLst>
            </a:custGeom>
            <a:solidFill>
              <a:srgbClr val="EF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ísḻïḍé">
              <a:extLst>
                <a:ext uri="{FF2B5EF4-FFF2-40B4-BE49-F238E27FC236}">
                  <a16:creationId xmlns:a16="http://schemas.microsoft.com/office/drawing/2014/main" id="{0F1CC695-CB10-43EA-ADC7-308D222D097A}"/>
                </a:ext>
              </a:extLst>
            </p:cNvPr>
            <p:cNvSpPr/>
            <p:nvPr/>
          </p:nvSpPr>
          <p:spPr bwMode="auto">
            <a:xfrm>
              <a:off x="7006432" y="3571876"/>
              <a:ext cx="1057275" cy="98425"/>
            </a:xfrm>
            <a:custGeom>
              <a:avLst/>
              <a:gdLst>
                <a:gd name="T0" fmla="*/ 9 w 195"/>
                <a:gd name="T1" fmla="*/ 18 h 18"/>
                <a:gd name="T2" fmla="*/ 0 w 195"/>
                <a:gd name="T3" fmla="*/ 9 h 18"/>
                <a:gd name="T4" fmla="*/ 9 w 195"/>
                <a:gd name="T5" fmla="*/ 0 h 18"/>
                <a:gd name="T6" fmla="*/ 186 w 195"/>
                <a:gd name="T7" fmla="*/ 0 h 18"/>
                <a:gd name="T8" fmla="*/ 195 w 195"/>
                <a:gd name="T9" fmla="*/ 9 h 18"/>
                <a:gd name="T10" fmla="*/ 186 w 195"/>
                <a:gd name="T11" fmla="*/ 18 h 18"/>
                <a:gd name="T12" fmla="*/ 9 w 195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91" y="0"/>
                    <a:pt x="195" y="4"/>
                    <a:pt x="195" y="9"/>
                  </a:cubicBezTo>
                  <a:cubicBezTo>
                    <a:pt x="195" y="14"/>
                    <a:pt x="191" y="18"/>
                    <a:pt x="186" y="18"/>
                  </a:cubicBezTo>
                  <a:lnTo>
                    <a:pt x="9" y="18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îṧľíḓé">
              <a:extLst>
                <a:ext uri="{FF2B5EF4-FFF2-40B4-BE49-F238E27FC236}">
                  <a16:creationId xmlns:a16="http://schemas.microsoft.com/office/drawing/2014/main" id="{71729951-27CD-44FD-B5F6-AA3510C48DF5}"/>
                </a:ext>
              </a:extLst>
            </p:cNvPr>
            <p:cNvSpPr/>
            <p:nvPr/>
          </p:nvSpPr>
          <p:spPr bwMode="auto">
            <a:xfrm>
              <a:off x="7201694" y="3865563"/>
              <a:ext cx="1149350" cy="96838"/>
            </a:xfrm>
            <a:custGeom>
              <a:avLst/>
              <a:gdLst>
                <a:gd name="T0" fmla="*/ 9 w 212"/>
                <a:gd name="T1" fmla="*/ 18 h 18"/>
                <a:gd name="T2" fmla="*/ 0 w 212"/>
                <a:gd name="T3" fmla="*/ 9 h 18"/>
                <a:gd name="T4" fmla="*/ 9 w 212"/>
                <a:gd name="T5" fmla="*/ 0 h 18"/>
                <a:gd name="T6" fmla="*/ 203 w 212"/>
                <a:gd name="T7" fmla="*/ 0 h 18"/>
                <a:gd name="T8" fmla="*/ 212 w 212"/>
                <a:gd name="T9" fmla="*/ 9 h 18"/>
                <a:gd name="T10" fmla="*/ 203 w 212"/>
                <a:gd name="T11" fmla="*/ 18 h 18"/>
                <a:gd name="T12" fmla="*/ 9 w 21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2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8" y="0"/>
                    <a:pt x="212" y="4"/>
                    <a:pt x="212" y="9"/>
                  </a:cubicBezTo>
                  <a:cubicBezTo>
                    <a:pt x="212" y="14"/>
                    <a:pt x="208" y="18"/>
                    <a:pt x="203" y="18"/>
                  </a:cubicBezTo>
                  <a:lnTo>
                    <a:pt x="9" y="18"/>
                  </a:lnTo>
                  <a:close/>
                </a:path>
              </a:pathLst>
            </a:custGeom>
            <a:solidFill>
              <a:srgbClr val="EF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išḷîďe">
              <a:extLst>
                <a:ext uri="{FF2B5EF4-FFF2-40B4-BE49-F238E27FC236}">
                  <a16:creationId xmlns:a16="http://schemas.microsoft.com/office/drawing/2014/main" id="{D0D88871-6E4F-4B9C-B936-705ECBCD3318}"/>
                </a:ext>
              </a:extLst>
            </p:cNvPr>
            <p:cNvSpPr/>
            <p:nvPr/>
          </p:nvSpPr>
          <p:spPr bwMode="auto">
            <a:xfrm>
              <a:off x="7109619" y="4157663"/>
              <a:ext cx="1003300" cy="98425"/>
            </a:xfrm>
            <a:custGeom>
              <a:avLst/>
              <a:gdLst>
                <a:gd name="T0" fmla="*/ 9 w 185"/>
                <a:gd name="T1" fmla="*/ 18 h 18"/>
                <a:gd name="T2" fmla="*/ 0 w 185"/>
                <a:gd name="T3" fmla="*/ 9 h 18"/>
                <a:gd name="T4" fmla="*/ 9 w 185"/>
                <a:gd name="T5" fmla="*/ 0 h 18"/>
                <a:gd name="T6" fmla="*/ 175 w 185"/>
                <a:gd name="T7" fmla="*/ 0 h 18"/>
                <a:gd name="T8" fmla="*/ 185 w 185"/>
                <a:gd name="T9" fmla="*/ 9 h 18"/>
                <a:gd name="T10" fmla="*/ 175 w 185"/>
                <a:gd name="T11" fmla="*/ 18 h 18"/>
                <a:gd name="T12" fmla="*/ 9 w 185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80" y="0"/>
                    <a:pt x="185" y="4"/>
                    <a:pt x="185" y="9"/>
                  </a:cubicBezTo>
                  <a:cubicBezTo>
                    <a:pt x="185" y="14"/>
                    <a:pt x="180" y="18"/>
                    <a:pt x="175" y="18"/>
                  </a:cubicBezTo>
                  <a:lnTo>
                    <a:pt x="9" y="18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îŝlïďè">
              <a:extLst>
                <a:ext uri="{FF2B5EF4-FFF2-40B4-BE49-F238E27FC236}">
                  <a16:creationId xmlns:a16="http://schemas.microsoft.com/office/drawing/2014/main" id="{D15A2B80-0FBE-4873-B933-E26DD41934EE}"/>
                </a:ext>
              </a:extLst>
            </p:cNvPr>
            <p:cNvSpPr/>
            <p:nvPr/>
          </p:nvSpPr>
          <p:spPr bwMode="auto">
            <a:xfrm>
              <a:off x="6822282" y="4451351"/>
              <a:ext cx="1474788" cy="96838"/>
            </a:xfrm>
            <a:custGeom>
              <a:avLst/>
              <a:gdLst>
                <a:gd name="T0" fmla="*/ 9 w 272"/>
                <a:gd name="T1" fmla="*/ 18 h 18"/>
                <a:gd name="T2" fmla="*/ 0 w 272"/>
                <a:gd name="T3" fmla="*/ 9 h 18"/>
                <a:gd name="T4" fmla="*/ 9 w 272"/>
                <a:gd name="T5" fmla="*/ 0 h 18"/>
                <a:gd name="T6" fmla="*/ 262 w 272"/>
                <a:gd name="T7" fmla="*/ 0 h 18"/>
                <a:gd name="T8" fmla="*/ 272 w 272"/>
                <a:gd name="T9" fmla="*/ 9 h 18"/>
                <a:gd name="T10" fmla="*/ 262 w 272"/>
                <a:gd name="T11" fmla="*/ 18 h 18"/>
                <a:gd name="T12" fmla="*/ 9 w 27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67" y="0"/>
                    <a:pt x="272" y="4"/>
                    <a:pt x="272" y="9"/>
                  </a:cubicBezTo>
                  <a:cubicBezTo>
                    <a:pt x="272" y="14"/>
                    <a:pt x="267" y="18"/>
                    <a:pt x="262" y="18"/>
                  </a:cubicBezTo>
                  <a:lnTo>
                    <a:pt x="9" y="18"/>
                  </a:lnTo>
                  <a:close/>
                </a:path>
              </a:pathLst>
            </a:custGeom>
            <a:solidFill>
              <a:srgbClr val="EF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ïšļíďê">
              <a:extLst>
                <a:ext uri="{FF2B5EF4-FFF2-40B4-BE49-F238E27FC236}">
                  <a16:creationId xmlns:a16="http://schemas.microsoft.com/office/drawing/2014/main" id="{B1DB1E22-8E3F-4E71-8117-A92B233A38AD}"/>
                </a:ext>
              </a:extLst>
            </p:cNvPr>
            <p:cNvSpPr/>
            <p:nvPr/>
          </p:nvSpPr>
          <p:spPr bwMode="auto">
            <a:xfrm>
              <a:off x="4528344" y="4011613"/>
              <a:ext cx="623888" cy="547688"/>
            </a:xfrm>
            <a:prstGeom prst="rect">
              <a:avLst/>
            </a:prstGeom>
            <a:solidFill>
              <a:srgbClr val="DEB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îṩ1iḓè">
              <a:extLst>
                <a:ext uri="{FF2B5EF4-FFF2-40B4-BE49-F238E27FC236}">
                  <a16:creationId xmlns:a16="http://schemas.microsoft.com/office/drawing/2014/main" id="{74D754A5-71EF-462E-86A6-D62E1C2C7165}"/>
                </a:ext>
              </a:extLst>
            </p:cNvPr>
            <p:cNvSpPr/>
            <p:nvPr/>
          </p:nvSpPr>
          <p:spPr bwMode="auto">
            <a:xfrm>
              <a:off x="3740944" y="4298951"/>
              <a:ext cx="2192338" cy="1622425"/>
            </a:xfrm>
            <a:custGeom>
              <a:avLst/>
              <a:gdLst>
                <a:gd name="T0" fmla="*/ 83 w 404"/>
                <a:gd name="T1" fmla="*/ 0 h 299"/>
                <a:gd name="T2" fmla="*/ 145 w 404"/>
                <a:gd name="T3" fmla="*/ 0 h 299"/>
                <a:gd name="T4" fmla="*/ 145 w 404"/>
                <a:gd name="T5" fmla="*/ 1 h 299"/>
                <a:gd name="T6" fmla="*/ 145 w 404"/>
                <a:gd name="T7" fmla="*/ 12 h 299"/>
                <a:gd name="T8" fmla="*/ 181 w 404"/>
                <a:gd name="T9" fmla="*/ 48 h 299"/>
                <a:gd name="T10" fmla="*/ 202 w 404"/>
                <a:gd name="T11" fmla="*/ 48 h 299"/>
                <a:gd name="T12" fmla="*/ 224 w 404"/>
                <a:gd name="T13" fmla="*/ 48 h 299"/>
                <a:gd name="T14" fmla="*/ 260 w 404"/>
                <a:gd name="T15" fmla="*/ 12 h 299"/>
                <a:gd name="T16" fmla="*/ 260 w 404"/>
                <a:gd name="T17" fmla="*/ 1 h 299"/>
                <a:gd name="T18" fmla="*/ 260 w 404"/>
                <a:gd name="T19" fmla="*/ 0 h 299"/>
                <a:gd name="T20" fmla="*/ 321 w 404"/>
                <a:gd name="T21" fmla="*/ 0 h 299"/>
                <a:gd name="T22" fmla="*/ 354 w 404"/>
                <a:gd name="T23" fmla="*/ 33 h 299"/>
                <a:gd name="T24" fmla="*/ 401 w 404"/>
                <a:gd name="T25" fmla="*/ 266 h 299"/>
                <a:gd name="T26" fmla="*/ 368 w 404"/>
                <a:gd name="T27" fmla="*/ 299 h 299"/>
                <a:gd name="T28" fmla="*/ 202 w 404"/>
                <a:gd name="T29" fmla="*/ 299 h 299"/>
                <a:gd name="T30" fmla="*/ 36 w 404"/>
                <a:gd name="T31" fmla="*/ 299 h 299"/>
                <a:gd name="T32" fmla="*/ 4 w 404"/>
                <a:gd name="T33" fmla="*/ 266 h 299"/>
                <a:gd name="T34" fmla="*/ 51 w 404"/>
                <a:gd name="T35" fmla="*/ 33 h 299"/>
                <a:gd name="T36" fmla="*/ 83 w 404"/>
                <a:gd name="T3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4" h="299">
                  <a:moveTo>
                    <a:pt x="83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5" y="1"/>
                    <a:pt x="145" y="1"/>
                    <a:pt x="145" y="1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5" y="32"/>
                    <a:pt x="161" y="48"/>
                    <a:pt x="181" y="48"/>
                  </a:cubicBezTo>
                  <a:cubicBezTo>
                    <a:pt x="202" y="48"/>
                    <a:pt x="202" y="48"/>
                    <a:pt x="202" y="48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243" y="48"/>
                    <a:pt x="260" y="32"/>
                    <a:pt x="260" y="12"/>
                  </a:cubicBezTo>
                  <a:cubicBezTo>
                    <a:pt x="260" y="1"/>
                    <a:pt x="260" y="1"/>
                    <a:pt x="260" y="1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339" y="0"/>
                    <a:pt x="350" y="15"/>
                    <a:pt x="354" y="33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4" y="284"/>
                    <a:pt x="386" y="299"/>
                    <a:pt x="368" y="299"/>
                  </a:cubicBezTo>
                  <a:cubicBezTo>
                    <a:pt x="202" y="299"/>
                    <a:pt x="202" y="299"/>
                    <a:pt x="202" y="299"/>
                  </a:cubicBezTo>
                  <a:cubicBezTo>
                    <a:pt x="36" y="299"/>
                    <a:pt x="36" y="299"/>
                    <a:pt x="36" y="299"/>
                  </a:cubicBezTo>
                  <a:cubicBezTo>
                    <a:pt x="19" y="299"/>
                    <a:pt x="0" y="284"/>
                    <a:pt x="4" y="266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5" y="15"/>
                    <a:pt x="66" y="0"/>
                    <a:pt x="8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îS1ídè">
              <a:extLst>
                <a:ext uri="{FF2B5EF4-FFF2-40B4-BE49-F238E27FC236}">
                  <a16:creationId xmlns:a16="http://schemas.microsoft.com/office/drawing/2014/main" id="{FD400DB1-0F32-4E07-8450-A8CFABB84A63}"/>
                </a:ext>
              </a:extLst>
            </p:cNvPr>
            <p:cNvSpPr/>
            <p:nvPr/>
          </p:nvSpPr>
          <p:spPr bwMode="auto">
            <a:xfrm>
              <a:off x="4582319" y="4537076"/>
              <a:ext cx="509588" cy="1263650"/>
            </a:xfrm>
            <a:custGeom>
              <a:avLst/>
              <a:gdLst>
                <a:gd name="T0" fmla="*/ 47 w 94"/>
                <a:gd name="T1" fmla="*/ 0 h 233"/>
                <a:gd name="T2" fmla="*/ 47 w 94"/>
                <a:gd name="T3" fmla="*/ 0 h 233"/>
                <a:gd name="T4" fmla="*/ 75 w 94"/>
                <a:gd name="T5" fmla="*/ 4 h 233"/>
                <a:gd name="T6" fmla="*/ 47 w 94"/>
                <a:gd name="T7" fmla="*/ 64 h 233"/>
                <a:gd name="T8" fmla="*/ 0 w 94"/>
                <a:gd name="T9" fmla="*/ 188 h 233"/>
                <a:gd name="T10" fmla="*/ 47 w 94"/>
                <a:gd name="T11" fmla="*/ 233 h 233"/>
                <a:gd name="T12" fmla="*/ 94 w 94"/>
                <a:gd name="T13" fmla="*/ 188 h 233"/>
                <a:gd name="T14" fmla="*/ 47 w 94"/>
                <a:gd name="T15" fmla="*/ 64 h 233"/>
                <a:gd name="T16" fmla="*/ 20 w 94"/>
                <a:gd name="T17" fmla="*/ 4 h 233"/>
                <a:gd name="T18" fmla="*/ 47 w 94"/>
                <a:gd name="T19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233">
                  <a:moveTo>
                    <a:pt x="47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57" y="0"/>
                    <a:pt x="66" y="1"/>
                    <a:pt x="75" y="4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47" y="233"/>
                    <a:pt x="47" y="233"/>
                    <a:pt x="47" y="233"/>
                  </a:cubicBezTo>
                  <a:cubicBezTo>
                    <a:pt x="94" y="188"/>
                    <a:pt x="94" y="188"/>
                    <a:pt x="94" y="188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9" y="1"/>
                    <a:pt x="38" y="0"/>
                    <a:pt x="47" y="0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šḷîḑe">
              <a:extLst>
                <a:ext uri="{FF2B5EF4-FFF2-40B4-BE49-F238E27FC236}">
                  <a16:creationId xmlns:a16="http://schemas.microsoft.com/office/drawing/2014/main" id="{0C928D46-2EDA-4D52-B51F-C15258302C4A}"/>
                </a:ext>
              </a:extLst>
            </p:cNvPr>
            <p:cNvSpPr/>
            <p:nvPr/>
          </p:nvSpPr>
          <p:spPr bwMode="auto">
            <a:xfrm>
              <a:off x="4018757" y="2649538"/>
              <a:ext cx="1643063" cy="1671638"/>
            </a:xfrm>
            <a:custGeom>
              <a:avLst/>
              <a:gdLst>
                <a:gd name="T0" fmla="*/ 156 w 303"/>
                <a:gd name="T1" fmla="*/ 21 h 308"/>
                <a:gd name="T2" fmla="*/ 277 w 303"/>
                <a:gd name="T3" fmla="*/ 174 h 308"/>
                <a:gd name="T4" fmla="*/ 298 w 303"/>
                <a:gd name="T5" fmla="*/ 183 h 308"/>
                <a:gd name="T6" fmla="*/ 287 w 303"/>
                <a:gd name="T7" fmla="*/ 211 h 308"/>
                <a:gd name="T8" fmla="*/ 281 w 303"/>
                <a:gd name="T9" fmla="*/ 214 h 308"/>
                <a:gd name="T10" fmla="*/ 281 w 303"/>
                <a:gd name="T11" fmla="*/ 214 h 308"/>
                <a:gd name="T12" fmla="*/ 153 w 303"/>
                <a:gd name="T13" fmla="*/ 308 h 308"/>
                <a:gd name="T14" fmla="*/ 29 w 303"/>
                <a:gd name="T15" fmla="*/ 224 h 308"/>
                <a:gd name="T16" fmla="*/ 29 w 303"/>
                <a:gd name="T17" fmla="*/ 222 h 308"/>
                <a:gd name="T18" fmla="*/ 16 w 303"/>
                <a:gd name="T19" fmla="*/ 219 h 308"/>
                <a:gd name="T20" fmla="*/ 5 w 303"/>
                <a:gd name="T21" fmla="*/ 191 h 308"/>
                <a:gd name="T22" fmla="*/ 34 w 303"/>
                <a:gd name="T23" fmla="*/ 184 h 308"/>
                <a:gd name="T24" fmla="*/ 35 w 303"/>
                <a:gd name="T25" fmla="*/ 184 h 308"/>
                <a:gd name="T26" fmla="*/ 40 w 303"/>
                <a:gd name="T27" fmla="*/ 151 h 308"/>
                <a:gd name="T28" fmla="*/ 39 w 303"/>
                <a:gd name="T29" fmla="*/ 132 h 308"/>
                <a:gd name="T30" fmla="*/ 156 w 303"/>
                <a:gd name="T31" fmla="*/ 21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3" h="308">
                  <a:moveTo>
                    <a:pt x="156" y="21"/>
                  </a:moveTo>
                  <a:cubicBezTo>
                    <a:pt x="256" y="0"/>
                    <a:pt x="262" y="28"/>
                    <a:pt x="277" y="174"/>
                  </a:cubicBezTo>
                  <a:cubicBezTo>
                    <a:pt x="286" y="173"/>
                    <a:pt x="294" y="176"/>
                    <a:pt x="298" y="183"/>
                  </a:cubicBezTo>
                  <a:cubicBezTo>
                    <a:pt x="303" y="193"/>
                    <a:pt x="298" y="206"/>
                    <a:pt x="287" y="211"/>
                  </a:cubicBezTo>
                  <a:cubicBezTo>
                    <a:pt x="285" y="212"/>
                    <a:pt x="283" y="213"/>
                    <a:pt x="281" y="214"/>
                  </a:cubicBezTo>
                  <a:cubicBezTo>
                    <a:pt x="281" y="214"/>
                    <a:pt x="281" y="214"/>
                    <a:pt x="281" y="214"/>
                  </a:cubicBezTo>
                  <a:cubicBezTo>
                    <a:pt x="256" y="270"/>
                    <a:pt x="208" y="308"/>
                    <a:pt x="153" y="308"/>
                  </a:cubicBezTo>
                  <a:cubicBezTo>
                    <a:pt x="101" y="308"/>
                    <a:pt x="55" y="274"/>
                    <a:pt x="29" y="224"/>
                  </a:cubicBezTo>
                  <a:cubicBezTo>
                    <a:pt x="29" y="222"/>
                    <a:pt x="29" y="222"/>
                    <a:pt x="29" y="222"/>
                  </a:cubicBezTo>
                  <a:cubicBezTo>
                    <a:pt x="25" y="222"/>
                    <a:pt x="20" y="221"/>
                    <a:pt x="16" y="219"/>
                  </a:cubicBezTo>
                  <a:cubicBezTo>
                    <a:pt x="5" y="213"/>
                    <a:pt x="0" y="201"/>
                    <a:pt x="5" y="191"/>
                  </a:cubicBezTo>
                  <a:cubicBezTo>
                    <a:pt x="10" y="181"/>
                    <a:pt x="23" y="178"/>
                    <a:pt x="34" y="184"/>
                  </a:cubicBezTo>
                  <a:cubicBezTo>
                    <a:pt x="34" y="184"/>
                    <a:pt x="35" y="184"/>
                    <a:pt x="35" y="184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42" y="139"/>
                    <a:pt x="37" y="141"/>
                    <a:pt x="39" y="132"/>
                  </a:cubicBezTo>
                  <a:cubicBezTo>
                    <a:pt x="52" y="63"/>
                    <a:pt x="86" y="35"/>
                    <a:pt x="156" y="21"/>
                  </a:cubicBezTo>
                  <a:close/>
                </a:path>
              </a:pathLst>
            </a:custGeom>
            <a:solidFill>
              <a:srgbClr val="F7C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is1îḑè">
              <a:extLst>
                <a:ext uri="{FF2B5EF4-FFF2-40B4-BE49-F238E27FC236}">
                  <a16:creationId xmlns:a16="http://schemas.microsoft.com/office/drawing/2014/main" id="{28900392-A949-4E5A-9B84-854A64A83253}"/>
                </a:ext>
              </a:extLst>
            </p:cNvPr>
            <p:cNvSpPr/>
            <p:nvPr/>
          </p:nvSpPr>
          <p:spPr bwMode="auto">
            <a:xfrm>
              <a:off x="4083844" y="2427288"/>
              <a:ext cx="1539875" cy="1447800"/>
            </a:xfrm>
            <a:custGeom>
              <a:avLst/>
              <a:gdLst>
                <a:gd name="T0" fmla="*/ 18 w 284"/>
                <a:gd name="T1" fmla="*/ 267 h 267"/>
                <a:gd name="T2" fmla="*/ 0 w 284"/>
                <a:gd name="T3" fmla="*/ 94 h 267"/>
                <a:gd name="T4" fmla="*/ 60 w 284"/>
                <a:gd name="T5" fmla="*/ 33 h 267"/>
                <a:gd name="T6" fmla="*/ 66 w 284"/>
                <a:gd name="T7" fmla="*/ 49 h 267"/>
                <a:gd name="T8" fmla="*/ 91 w 284"/>
                <a:gd name="T9" fmla="*/ 23 h 267"/>
                <a:gd name="T10" fmla="*/ 97 w 284"/>
                <a:gd name="T11" fmla="*/ 34 h 267"/>
                <a:gd name="T12" fmla="*/ 133 w 284"/>
                <a:gd name="T13" fmla="*/ 4 h 267"/>
                <a:gd name="T14" fmla="*/ 137 w 284"/>
                <a:gd name="T15" fmla="*/ 23 h 267"/>
                <a:gd name="T16" fmla="*/ 196 w 284"/>
                <a:gd name="T17" fmla="*/ 0 h 267"/>
                <a:gd name="T18" fmla="*/ 194 w 284"/>
                <a:gd name="T19" fmla="*/ 23 h 267"/>
                <a:gd name="T20" fmla="*/ 261 w 284"/>
                <a:gd name="T21" fmla="*/ 19 h 267"/>
                <a:gd name="T22" fmla="*/ 253 w 284"/>
                <a:gd name="T23" fmla="*/ 50 h 267"/>
                <a:gd name="T24" fmla="*/ 284 w 284"/>
                <a:gd name="T25" fmla="*/ 77 h 267"/>
                <a:gd name="T26" fmla="*/ 268 w 284"/>
                <a:gd name="T27" fmla="*/ 257 h 267"/>
                <a:gd name="T28" fmla="*/ 230 w 284"/>
                <a:gd name="T29" fmla="*/ 112 h 267"/>
                <a:gd name="T30" fmla="*/ 46 w 284"/>
                <a:gd name="T31" fmla="*/ 165 h 267"/>
                <a:gd name="T32" fmla="*/ 18 w 284"/>
                <a:gd name="T3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4" h="267">
                  <a:moveTo>
                    <a:pt x="18" y="267"/>
                  </a:moveTo>
                  <a:cubicBezTo>
                    <a:pt x="13" y="202"/>
                    <a:pt x="5" y="159"/>
                    <a:pt x="0" y="94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133" y="4"/>
                    <a:pt x="133" y="4"/>
                    <a:pt x="133" y="4"/>
                  </a:cubicBezTo>
                  <a:cubicBezTo>
                    <a:pt x="137" y="23"/>
                    <a:pt x="137" y="23"/>
                    <a:pt x="137" y="23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261" y="19"/>
                    <a:pt x="261" y="19"/>
                    <a:pt x="261" y="19"/>
                  </a:cubicBezTo>
                  <a:cubicBezTo>
                    <a:pt x="253" y="50"/>
                    <a:pt x="253" y="50"/>
                    <a:pt x="253" y="50"/>
                  </a:cubicBezTo>
                  <a:cubicBezTo>
                    <a:pt x="284" y="77"/>
                    <a:pt x="284" y="77"/>
                    <a:pt x="284" y="77"/>
                  </a:cubicBezTo>
                  <a:cubicBezTo>
                    <a:pt x="278" y="140"/>
                    <a:pt x="274" y="194"/>
                    <a:pt x="268" y="257"/>
                  </a:cubicBezTo>
                  <a:cubicBezTo>
                    <a:pt x="250" y="202"/>
                    <a:pt x="257" y="137"/>
                    <a:pt x="230" y="112"/>
                  </a:cubicBezTo>
                  <a:cubicBezTo>
                    <a:pt x="177" y="151"/>
                    <a:pt x="107" y="157"/>
                    <a:pt x="46" y="165"/>
                  </a:cubicBezTo>
                  <a:cubicBezTo>
                    <a:pt x="36" y="206"/>
                    <a:pt x="28" y="226"/>
                    <a:pt x="18" y="267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ïṡlîdé">
              <a:extLst>
                <a:ext uri="{FF2B5EF4-FFF2-40B4-BE49-F238E27FC236}">
                  <a16:creationId xmlns:a16="http://schemas.microsoft.com/office/drawing/2014/main" id="{5D4F76F2-4714-4838-ABE9-2CDA09332ECA}"/>
                </a:ext>
              </a:extLst>
            </p:cNvPr>
            <p:cNvSpPr/>
            <p:nvPr/>
          </p:nvSpPr>
          <p:spPr bwMode="auto">
            <a:xfrm>
              <a:off x="4517232" y="4337051"/>
              <a:ext cx="639763" cy="439738"/>
            </a:xfrm>
            <a:custGeom>
              <a:avLst/>
              <a:gdLst>
                <a:gd name="T0" fmla="*/ 0 w 403"/>
                <a:gd name="T1" fmla="*/ 78 h 277"/>
                <a:gd name="T2" fmla="*/ 7 w 403"/>
                <a:gd name="T3" fmla="*/ 0 h 277"/>
                <a:gd name="T4" fmla="*/ 109 w 403"/>
                <a:gd name="T5" fmla="*/ 140 h 277"/>
                <a:gd name="T6" fmla="*/ 85 w 403"/>
                <a:gd name="T7" fmla="*/ 277 h 277"/>
                <a:gd name="T8" fmla="*/ 0 w 403"/>
                <a:gd name="T9" fmla="*/ 78 h 277"/>
                <a:gd name="T10" fmla="*/ 403 w 403"/>
                <a:gd name="T11" fmla="*/ 78 h 277"/>
                <a:gd name="T12" fmla="*/ 400 w 403"/>
                <a:gd name="T13" fmla="*/ 0 h 277"/>
                <a:gd name="T14" fmla="*/ 297 w 403"/>
                <a:gd name="T15" fmla="*/ 140 h 277"/>
                <a:gd name="T16" fmla="*/ 318 w 403"/>
                <a:gd name="T17" fmla="*/ 277 h 277"/>
                <a:gd name="T18" fmla="*/ 403 w 403"/>
                <a:gd name="T19" fmla="*/ 7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3" h="277">
                  <a:moveTo>
                    <a:pt x="0" y="78"/>
                  </a:moveTo>
                  <a:lnTo>
                    <a:pt x="7" y="0"/>
                  </a:lnTo>
                  <a:lnTo>
                    <a:pt x="109" y="140"/>
                  </a:lnTo>
                  <a:lnTo>
                    <a:pt x="85" y="277"/>
                  </a:lnTo>
                  <a:lnTo>
                    <a:pt x="0" y="78"/>
                  </a:lnTo>
                  <a:close/>
                  <a:moveTo>
                    <a:pt x="403" y="78"/>
                  </a:moveTo>
                  <a:lnTo>
                    <a:pt x="400" y="0"/>
                  </a:lnTo>
                  <a:lnTo>
                    <a:pt x="297" y="140"/>
                  </a:lnTo>
                  <a:lnTo>
                    <a:pt x="318" y="277"/>
                  </a:lnTo>
                  <a:lnTo>
                    <a:pt x="403" y="78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ï$ḷîḓè">
              <a:extLst>
                <a:ext uri="{FF2B5EF4-FFF2-40B4-BE49-F238E27FC236}">
                  <a16:creationId xmlns:a16="http://schemas.microsoft.com/office/drawing/2014/main" id="{7CB504AF-C82D-4D0F-9AE0-B0CCE2BAA126}"/>
                </a:ext>
              </a:extLst>
            </p:cNvPr>
            <p:cNvSpPr/>
            <p:nvPr/>
          </p:nvSpPr>
          <p:spPr bwMode="auto">
            <a:xfrm>
              <a:off x="5461794" y="3203576"/>
              <a:ext cx="1598613" cy="2136775"/>
            </a:xfrm>
            <a:custGeom>
              <a:avLst/>
              <a:gdLst>
                <a:gd name="T0" fmla="*/ 218 w 295"/>
                <a:gd name="T1" fmla="*/ 33 h 394"/>
                <a:gd name="T2" fmla="*/ 262 w 295"/>
                <a:gd name="T3" fmla="*/ 197 h 394"/>
                <a:gd name="T4" fmla="*/ 114 w 295"/>
                <a:gd name="T5" fmla="*/ 250 h 394"/>
                <a:gd name="T6" fmla="*/ 38 w 295"/>
                <a:gd name="T7" fmla="*/ 382 h 394"/>
                <a:gd name="T8" fmla="*/ 12 w 295"/>
                <a:gd name="T9" fmla="*/ 389 h 394"/>
                <a:gd name="T10" fmla="*/ 12 w 295"/>
                <a:gd name="T11" fmla="*/ 389 h 394"/>
                <a:gd name="T12" fmla="*/ 5 w 295"/>
                <a:gd name="T13" fmla="*/ 363 h 394"/>
                <a:gd name="T14" fmla="*/ 81 w 295"/>
                <a:gd name="T15" fmla="*/ 231 h 394"/>
                <a:gd name="T16" fmla="*/ 53 w 295"/>
                <a:gd name="T17" fmla="*/ 77 h 394"/>
                <a:gd name="T18" fmla="*/ 218 w 295"/>
                <a:gd name="T19" fmla="*/ 33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5" h="394">
                  <a:moveTo>
                    <a:pt x="218" y="33"/>
                  </a:moveTo>
                  <a:cubicBezTo>
                    <a:pt x="275" y="66"/>
                    <a:pt x="295" y="140"/>
                    <a:pt x="262" y="197"/>
                  </a:cubicBezTo>
                  <a:cubicBezTo>
                    <a:pt x="232" y="250"/>
                    <a:pt x="169" y="271"/>
                    <a:pt x="114" y="250"/>
                  </a:cubicBezTo>
                  <a:cubicBezTo>
                    <a:pt x="38" y="382"/>
                    <a:pt x="38" y="382"/>
                    <a:pt x="38" y="382"/>
                  </a:cubicBezTo>
                  <a:cubicBezTo>
                    <a:pt x="33" y="391"/>
                    <a:pt x="21" y="394"/>
                    <a:pt x="12" y="389"/>
                  </a:cubicBezTo>
                  <a:cubicBezTo>
                    <a:pt x="12" y="389"/>
                    <a:pt x="12" y="389"/>
                    <a:pt x="12" y="389"/>
                  </a:cubicBezTo>
                  <a:cubicBezTo>
                    <a:pt x="3" y="384"/>
                    <a:pt x="0" y="372"/>
                    <a:pt x="5" y="363"/>
                  </a:cubicBezTo>
                  <a:cubicBezTo>
                    <a:pt x="81" y="231"/>
                    <a:pt x="81" y="231"/>
                    <a:pt x="81" y="231"/>
                  </a:cubicBezTo>
                  <a:cubicBezTo>
                    <a:pt x="36" y="194"/>
                    <a:pt x="23" y="129"/>
                    <a:pt x="53" y="77"/>
                  </a:cubicBezTo>
                  <a:cubicBezTo>
                    <a:pt x="86" y="19"/>
                    <a:pt x="160" y="0"/>
                    <a:pt x="218" y="33"/>
                  </a:cubicBezTo>
                  <a:close/>
                </a:path>
              </a:pathLst>
            </a:custGeom>
            <a:solidFill>
              <a:srgbClr val="EF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îš1ídê">
              <a:extLst>
                <a:ext uri="{FF2B5EF4-FFF2-40B4-BE49-F238E27FC236}">
                  <a16:creationId xmlns:a16="http://schemas.microsoft.com/office/drawing/2014/main" id="{0A4CD42F-BE3C-48E4-978F-DADC8F94BAC7}"/>
                </a:ext>
              </a:extLst>
            </p:cNvPr>
            <p:cNvSpPr/>
            <p:nvPr/>
          </p:nvSpPr>
          <p:spPr bwMode="auto">
            <a:xfrm>
              <a:off x="5526882" y="3381376"/>
              <a:ext cx="1533525" cy="1958975"/>
            </a:xfrm>
            <a:custGeom>
              <a:avLst/>
              <a:gdLst>
                <a:gd name="T0" fmla="*/ 206 w 283"/>
                <a:gd name="T1" fmla="*/ 0 h 361"/>
                <a:gd name="T2" fmla="*/ 250 w 283"/>
                <a:gd name="T3" fmla="*/ 164 h 361"/>
                <a:gd name="T4" fmla="*/ 102 w 283"/>
                <a:gd name="T5" fmla="*/ 217 h 361"/>
                <a:gd name="T6" fmla="*/ 26 w 283"/>
                <a:gd name="T7" fmla="*/ 349 h 361"/>
                <a:gd name="T8" fmla="*/ 0 w 283"/>
                <a:gd name="T9" fmla="*/ 356 h 361"/>
                <a:gd name="T10" fmla="*/ 206 w 283"/>
                <a:gd name="T11" fmla="*/ 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3" h="361">
                  <a:moveTo>
                    <a:pt x="206" y="0"/>
                  </a:moveTo>
                  <a:cubicBezTo>
                    <a:pt x="263" y="33"/>
                    <a:pt x="283" y="107"/>
                    <a:pt x="250" y="164"/>
                  </a:cubicBezTo>
                  <a:cubicBezTo>
                    <a:pt x="220" y="217"/>
                    <a:pt x="157" y="238"/>
                    <a:pt x="102" y="217"/>
                  </a:cubicBezTo>
                  <a:cubicBezTo>
                    <a:pt x="26" y="349"/>
                    <a:pt x="26" y="349"/>
                    <a:pt x="26" y="349"/>
                  </a:cubicBezTo>
                  <a:cubicBezTo>
                    <a:pt x="21" y="358"/>
                    <a:pt x="9" y="361"/>
                    <a:pt x="0" y="356"/>
                  </a:cubicBezTo>
                  <a:lnTo>
                    <a:pt x="206" y="0"/>
                  </a:lnTo>
                  <a:close/>
                </a:path>
              </a:pathLst>
            </a:custGeom>
            <a:solidFill>
              <a:srgbClr val="F272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ï$ļïde">
              <a:extLst>
                <a:ext uri="{FF2B5EF4-FFF2-40B4-BE49-F238E27FC236}">
                  <a16:creationId xmlns:a16="http://schemas.microsoft.com/office/drawing/2014/main" id="{D3243FC9-E4F9-4E9B-8171-E56D2F1379BE}"/>
                </a:ext>
              </a:extLst>
            </p:cNvPr>
            <p:cNvSpPr/>
            <p:nvPr/>
          </p:nvSpPr>
          <p:spPr bwMode="auto">
            <a:xfrm>
              <a:off x="5693569" y="3316288"/>
              <a:ext cx="1247775" cy="1247775"/>
            </a:xfrm>
            <a:custGeom>
              <a:avLst/>
              <a:gdLst>
                <a:gd name="T0" fmla="*/ 165 w 230"/>
                <a:gd name="T1" fmla="*/ 28 h 230"/>
                <a:gd name="T2" fmla="*/ 202 w 230"/>
                <a:gd name="T3" fmla="*/ 166 h 230"/>
                <a:gd name="T4" fmla="*/ 64 w 230"/>
                <a:gd name="T5" fmla="*/ 202 h 230"/>
                <a:gd name="T6" fmla="*/ 28 w 230"/>
                <a:gd name="T7" fmla="*/ 65 h 230"/>
                <a:gd name="T8" fmla="*/ 165 w 230"/>
                <a:gd name="T9" fmla="*/ 28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30">
                  <a:moveTo>
                    <a:pt x="165" y="28"/>
                  </a:moveTo>
                  <a:cubicBezTo>
                    <a:pt x="214" y="56"/>
                    <a:pt x="230" y="117"/>
                    <a:pt x="202" y="166"/>
                  </a:cubicBezTo>
                  <a:cubicBezTo>
                    <a:pt x="174" y="214"/>
                    <a:pt x="113" y="230"/>
                    <a:pt x="64" y="202"/>
                  </a:cubicBezTo>
                  <a:cubicBezTo>
                    <a:pt x="16" y="175"/>
                    <a:pt x="0" y="113"/>
                    <a:pt x="28" y="65"/>
                  </a:cubicBezTo>
                  <a:cubicBezTo>
                    <a:pt x="55" y="16"/>
                    <a:pt x="117" y="0"/>
                    <a:pt x="165" y="28"/>
                  </a:cubicBezTo>
                  <a:close/>
                </a:path>
              </a:pathLst>
            </a:custGeom>
            <a:solidFill>
              <a:srgbClr val="98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îslîḋê">
              <a:extLst>
                <a:ext uri="{FF2B5EF4-FFF2-40B4-BE49-F238E27FC236}">
                  <a16:creationId xmlns:a16="http://schemas.microsoft.com/office/drawing/2014/main" id="{2697861D-FB49-4701-A75E-DC45B703CD44}"/>
                </a:ext>
              </a:extLst>
            </p:cNvPr>
            <p:cNvSpPr/>
            <p:nvPr/>
          </p:nvSpPr>
          <p:spPr bwMode="auto">
            <a:xfrm>
              <a:off x="6546057" y="3690938"/>
              <a:ext cx="249238" cy="601663"/>
            </a:xfrm>
            <a:custGeom>
              <a:avLst/>
              <a:gdLst>
                <a:gd name="T0" fmla="*/ 12 w 46"/>
                <a:gd name="T1" fmla="*/ 20 h 111"/>
                <a:gd name="T2" fmla="*/ 16 w 46"/>
                <a:gd name="T3" fmla="*/ 4 h 111"/>
                <a:gd name="T4" fmla="*/ 33 w 46"/>
                <a:gd name="T5" fmla="*/ 8 h 111"/>
                <a:gd name="T6" fmla="*/ 44 w 46"/>
                <a:gd name="T7" fmla="*/ 60 h 111"/>
                <a:gd name="T8" fmla="*/ 24 w 46"/>
                <a:gd name="T9" fmla="*/ 104 h 111"/>
                <a:gd name="T10" fmla="*/ 7 w 46"/>
                <a:gd name="T11" fmla="*/ 107 h 111"/>
                <a:gd name="T12" fmla="*/ 4 w 46"/>
                <a:gd name="T13" fmla="*/ 90 h 111"/>
                <a:gd name="T14" fmla="*/ 20 w 46"/>
                <a:gd name="T15" fmla="*/ 56 h 111"/>
                <a:gd name="T16" fmla="*/ 12 w 46"/>
                <a:gd name="T17" fmla="*/ 2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111">
                  <a:moveTo>
                    <a:pt x="12" y="20"/>
                  </a:moveTo>
                  <a:cubicBezTo>
                    <a:pt x="8" y="14"/>
                    <a:pt x="10" y="7"/>
                    <a:pt x="16" y="4"/>
                  </a:cubicBezTo>
                  <a:cubicBezTo>
                    <a:pt x="22" y="0"/>
                    <a:pt x="29" y="2"/>
                    <a:pt x="33" y="8"/>
                  </a:cubicBezTo>
                  <a:cubicBezTo>
                    <a:pt x="44" y="27"/>
                    <a:pt x="46" y="44"/>
                    <a:pt x="44" y="60"/>
                  </a:cubicBezTo>
                  <a:cubicBezTo>
                    <a:pt x="41" y="76"/>
                    <a:pt x="34" y="90"/>
                    <a:pt x="24" y="104"/>
                  </a:cubicBezTo>
                  <a:cubicBezTo>
                    <a:pt x="20" y="109"/>
                    <a:pt x="12" y="111"/>
                    <a:pt x="7" y="107"/>
                  </a:cubicBezTo>
                  <a:cubicBezTo>
                    <a:pt x="1" y="103"/>
                    <a:pt x="0" y="95"/>
                    <a:pt x="4" y="90"/>
                  </a:cubicBezTo>
                  <a:cubicBezTo>
                    <a:pt x="12" y="79"/>
                    <a:pt x="18" y="68"/>
                    <a:pt x="20" y="56"/>
                  </a:cubicBezTo>
                  <a:cubicBezTo>
                    <a:pt x="22" y="45"/>
                    <a:pt x="20" y="34"/>
                    <a:pt x="12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ïSḻïḋè">
              <a:extLst>
                <a:ext uri="{FF2B5EF4-FFF2-40B4-BE49-F238E27FC236}">
                  <a16:creationId xmlns:a16="http://schemas.microsoft.com/office/drawing/2014/main" id="{F5344EB7-37B6-4B60-BAC7-D75E22F9D668}"/>
                </a:ext>
              </a:extLst>
            </p:cNvPr>
            <p:cNvSpPr/>
            <p:nvPr/>
          </p:nvSpPr>
          <p:spPr bwMode="auto">
            <a:xfrm>
              <a:off x="5563394" y="1408113"/>
              <a:ext cx="1503363" cy="1508125"/>
            </a:xfrm>
            <a:prstGeom prst="ellipse">
              <a:avLst/>
            </a:prstGeom>
            <a:solidFill>
              <a:srgbClr val="E2F4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işḻîḍê">
              <a:extLst>
                <a:ext uri="{FF2B5EF4-FFF2-40B4-BE49-F238E27FC236}">
                  <a16:creationId xmlns:a16="http://schemas.microsoft.com/office/drawing/2014/main" id="{1AAAABA6-4600-4454-A2A1-B1E34D725906}"/>
                </a:ext>
              </a:extLst>
            </p:cNvPr>
            <p:cNvSpPr/>
            <p:nvPr/>
          </p:nvSpPr>
          <p:spPr bwMode="auto">
            <a:xfrm>
              <a:off x="5693569" y="1538288"/>
              <a:ext cx="1243013" cy="1241425"/>
            </a:xfrm>
            <a:prstGeom prst="ellipse">
              <a:avLst/>
            </a:prstGeom>
            <a:solidFill>
              <a:srgbClr val="EAF7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íS1ídé">
              <a:extLst>
                <a:ext uri="{FF2B5EF4-FFF2-40B4-BE49-F238E27FC236}">
                  <a16:creationId xmlns:a16="http://schemas.microsoft.com/office/drawing/2014/main" id="{6D6F71A7-39E5-452D-A6A5-0F7548553EEB}"/>
                </a:ext>
              </a:extLst>
            </p:cNvPr>
            <p:cNvSpPr/>
            <p:nvPr/>
          </p:nvSpPr>
          <p:spPr bwMode="auto">
            <a:xfrm>
              <a:off x="6312694" y="1538288"/>
              <a:ext cx="623888" cy="1241425"/>
            </a:xfrm>
            <a:custGeom>
              <a:avLst/>
              <a:gdLst>
                <a:gd name="T0" fmla="*/ 0 w 115"/>
                <a:gd name="T1" fmla="*/ 0 h 229"/>
                <a:gd name="T2" fmla="*/ 115 w 115"/>
                <a:gd name="T3" fmla="*/ 115 h 229"/>
                <a:gd name="T4" fmla="*/ 0 w 115"/>
                <a:gd name="T5" fmla="*/ 229 h 229"/>
                <a:gd name="T6" fmla="*/ 0 w 115"/>
                <a:gd name="T7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229">
                  <a:moveTo>
                    <a:pt x="0" y="0"/>
                  </a:moveTo>
                  <a:cubicBezTo>
                    <a:pt x="63" y="0"/>
                    <a:pt x="115" y="52"/>
                    <a:pt x="115" y="115"/>
                  </a:cubicBezTo>
                  <a:cubicBezTo>
                    <a:pt x="115" y="178"/>
                    <a:pt x="63" y="229"/>
                    <a:pt x="0" y="2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0F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ïṧ1iḓè">
              <a:extLst>
                <a:ext uri="{FF2B5EF4-FFF2-40B4-BE49-F238E27FC236}">
                  <a16:creationId xmlns:a16="http://schemas.microsoft.com/office/drawing/2014/main" id="{E6411D85-2E3F-410E-B25A-EF1B02048302}"/>
                </a:ext>
              </a:extLst>
            </p:cNvPr>
            <p:cNvSpPr/>
            <p:nvPr/>
          </p:nvSpPr>
          <p:spPr bwMode="auto">
            <a:xfrm>
              <a:off x="6025357" y="1630363"/>
              <a:ext cx="309563" cy="819150"/>
            </a:xfrm>
            <a:custGeom>
              <a:avLst/>
              <a:gdLst>
                <a:gd name="T0" fmla="*/ 164 w 195"/>
                <a:gd name="T1" fmla="*/ 328 h 516"/>
                <a:gd name="T2" fmla="*/ 164 w 195"/>
                <a:gd name="T3" fmla="*/ 0 h 516"/>
                <a:gd name="T4" fmla="*/ 195 w 195"/>
                <a:gd name="T5" fmla="*/ 0 h 516"/>
                <a:gd name="T6" fmla="*/ 195 w 195"/>
                <a:gd name="T7" fmla="*/ 335 h 516"/>
                <a:gd name="T8" fmla="*/ 191 w 195"/>
                <a:gd name="T9" fmla="*/ 345 h 516"/>
                <a:gd name="T10" fmla="*/ 20 w 195"/>
                <a:gd name="T11" fmla="*/ 516 h 516"/>
                <a:gd name="T12" fmla="*/ 0 w 195"/>
                <a:gd name="T13" fmla="*/ 492 h 516"/>
                <a:gd name="T14" fmla="*/ 164 w 195"/>
                <a:gd name="T15" fmla="*/ 328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5" h="516">
                  <a:moveTo>
                    <a:pt x="164" y="328"/>
                  </a:moveTo>
                  <a:lnTo>
                    <a:pt x="164" y="0"/>
                  </a:lnTo>
                  <a:lnTo>
                    <a:pt x="195" y="0"/>
                  </a:lnTo>
                  <a:lnTo>
                    <a:pt x="195" y="335"/>
                  </a:lnTo>
                  <a:lnTo>
                    <a:pt x="191" y="345"/>
                  </a:lnTo>
                  <a:lnTo>
                    <a:pt x="20" y="516"/>
                  </a:lnTo>
                  <a:lnTo>
                    <a:pt x="0" y="492"/>
                  </a:lnTo>
                  <a:lnTo>
                    <a:pt x="164" y="328"/>
                  </a:lnTo>
                  <a:close/>
                </a:path>
              </a:pathLst>
            </a:custGeom>
            <a:solidFill>
              <a:srgbClr val="6D93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îṧľiďê">
              <a:extLst>
                <a:ext uri="{FF2B5EF4-FFF2-40B4-BE49-F238E27FC236}">
                  <a16:creationId xmlns:a16="http://schemas.microsoft.com/office/drawing/2014/main" id="{9F243D08-4098-4246-AF62-8857B942F005}"/>
                </a:ext>
              </a:extLst>
            </p:cNvPr>
            <p:cNvSpPr/>
            <p:nvPr/>
          </p:nvSpPr>
          <p:spPr bwMode="auto">
            <a:xfrm>
              <a:off x="5623719" y="1466851"/>
              <a:ext cx="1382713" cy="1384300"/>
            </a:xfrm>
            <a:custGeom>
              <a:avLst/>
              <a:gdLst>
                <a:gd name="T0" fmla="*/ 130 w 255"/>
                <a:gd name="T1" fmla="*/ 0 h 255"/>
                <a:gd name="T2" fmla="*/ 131 w 255"/>
                <a:gd name="T3" fmla="*/ 8 h 255"/>
                <a:gd name="T4" fmla="*/ 103 w 255"/>
                <a:gd name="T5" fmla="*/ 10 h 255"/>
                <a:gd name="T6" fmla="*/ 95 w 255"/>
                <a:gd name="T7" fmla="*/ 12 h 255"/>
                <a:gd name="T8" fmla="*/ 100 w 255"/>
                <a:gd name="T9" fmla="*/ 3 h 255"/>
                <a:gd name="T10" fmla="*/ 71 w 255"/>
                <a:gd name="T11" fmla="*/ 21 h 255"/>
                <a:gd name="T12" fmla="*/ 65 w 255"/>
                <a:gd name="T13" fmla="*/ 16 h 255"/>
                <a:gd name="T14" fmla="*/ 49 w 255"/>
                <a:gd name="T15" fmla="*/ 36 h 255"/>
                <a:gd name="T16" fmla="*/ 44 w 255"/>
                <a:gd name="T17" fmla="*/ 41 h 255"/>
                <a:gd name="T18" fmla="*/ 42 w 255"/>
                <a:gd name="T19" fmla="*/ 32 h 255"/>
                <a:gd name="T20" fmla="*/ 28 w 255"/>
                <a:gd name="T21" fmla="*/ 61 h 255"/>
                <a:gd name="T22" fmla="*/ 19 w 255"/>
                <a:gd name="T23" fmla="*/ 60 h 255"/>
                <a:gd name="T24" fmla="*/ 13 w 255"/>
                <a:gd name="T25" fmla="*/ 80 h 255"/>
                <a:gd name="T26" fmla="*/ 13 w 255"/>
                <a:gd name="T27" fmla="*/ 91 h 255"/>
                <a:gd name="T28" fmla="*/ 7 w 255"/>
                <a:gd name="T29" fmla="*/ 85 h 255"/>
                <a:gd name="T30" fmla="*/ 8 w 255"/>
                <a:gd name="T31" fmla="*/ 116 h 255"/>
                <a:gd name="T32" fmla="*/ 0 w 255"/>
                <a:gd name="T33" fmla="*/ 121 h 255"/>
                <a:gd name="T34" fmla="*/ 4 w 255"/>
                <a:gd name="T35" fmla="*/ 141 h 255"/>
                <a:gd name="T36" fmla="*/ 10 w 255"/>
                <a:gd name="T37" fmla="*/ 151 h 255"/>
                <a:gd name="T38" fmla="*/ 1 w 255"/>
                <a:gd name="T39" fmla="*/ 147 h 255"/>
                <a:gd name="T40" fmla="*/ 18 w 255"/>
                <a:gd name="T41" fmla="*/ 177 h 255"/>
                <a:gd name="T42" fmla="*/ 11 w 255"/>
                <a:gd name="T43" fmla="*/ 181 h 255"/>
                <a:gd name="T44" fmla="*/ 31 w 255"/>
                <a:gd name="T45" fmla="*/ 200 h 255"/>
                <a:gd name="T46" fmla="*/ 36 w 255"/>
                <a:gd name="T47" fmla="*/ 205 h 255"/>
                <a:gd name="T48" fmla="*/ 26 w 255"/>
                <a:gd name="T49" fmla="*/ 206 h 255"/>
                <a:gd name="T50" fmla="*/ 55 w 255"/>
                <a:gd name="T51" fmla="*/ 224 h 255"/>
                <a:gd name="T52" fmla="*/ 52 w 255"/>
                <a:gd name="T53" fmla="*/ 231 h 255"/>
                <a:gd name="T54" fmla="*/ 73 w 255"/>
                <a:gd name="T55" fmla="*/ 239 h 255"/>
                <a:gd name="T56" fmla="*/ 84 w 255"/>
                <a:gd name="T57" fmla="*/ 240 h 255"/>
                <a:gd name="T58" fmla="*/ 77 w 255"/>
                <a:gd name="T59" fmla="*/ 245 h 255"/>
                <a:gd name="T60" fmla="*/ 111 w 255"/>
                <a:gd name="T61" fmla="*/ 246 h 255"/>
                <a:gd name="T62" fmla="*/ 111 w 255"/>
                <a:gd name="T63" fmla="*/ 254 h 255"/>
                <a:gd name="T64" fmla="*/ 137 w 255"/>
                <a:gd name="T65" fmla="*/ 247 h 255"/>
                <a:gd name="T66" fmla="*/ 148 w 255"/>
                <a:gd name="T67" fmla="*/ 250 h 255"/>
                <a:gd name="T68" fmla="*/ 138 w 255"/>
                <a:gd name="T69" fmla="*/ 255 h 255"/>
                <a:gd name="T70" fmla="*/ 170 w 255"/>
                <a:gd name="T71" fmla="*/ 240 h 255"/>
                <a:gd name="T72" fmla="*/ 172 w 255"/>
                <a:gd name="T73" fmla="*/ 247 h 255"/>
                <a:gd name="T74" fmla="*/ 194 w 255"/>
                <a:gd name="T75" fmla="*/ 227 h 255"/>
                <a:gd name="T76" fmla="*/ 204 w 255"/>
                <a:gd name="T77" fmla="*/ 230 h 255"/>
                <a:gd name="T78" fmla="*/ 197 w 255"/>
                <a:gd name="T79" fmla="*/ 235 h 255"/>
                <a:gd name="T80" fmla="*/ 219 w 255"/>
                <a:gd name="T81" fmla="*/ 205 h 255"/>
                <a:gd name="T82" fmla="*/ 225 w 255"/>
                <a:gd name="T83" fmla="*/ 210 h 255"/>
                <a:gd name="T84" fmla="*/ 234 w 255"/>
                <a:gd name="T85" fmla="*/ 183 h 255"/>
                <a:gd name="T86" fmla="*/ 244 w 255"/>
                <a:gd name="T87" fmla="*/ 180 h 255"/>
                <a:gd name="T88" fmla="*/ 240 w 255"/>
                <a:gd name="T89" fmla="*/ 188 h 255"/>
                <a:gd name="T90" fmla="*/ 245 w 255"/>
                <a:gd name="T91" fmla="*/ 151 h 255"/>
                <a:gd name="T92" fmla="*/ 252 w 255"/>
                <a:gd name="T93" fmla="*/ 154 h 255"/>
                <a:gd name="T94" fmla="*/ 247 w 255"/>
                <a:gd name="T95" fmla="*/ 124 h 255"/>
                <a:gd name="T96" fmla="*/ 255 w 255"/>
                <a:gd name="T97" fmla="*/ 118 h 255"/>
                <a:gd name="T98" fmla="*/ 251 w 255"/>
                <a:gd name="T99" fmla="*/ 94 h 255"/>
                <a:gd name="T100" fmla="*/ 241 w 255"/>
                <a:gd name="T101" fmla="*/ 90 h 255"/>
                <a:gd name="T102" fmla="*/ 250 w 255"/>
                <a:gd name="T103" fmla="*/ 91 h 255"/>
                <a:gd name="T104" fmla="*/ 230 w 255"/>
                <a:gd name="T105" fmla="*/ 66 h 255"/>
                <a:gd name="T106" fmla="*/ 236 w 255"/>
                <a:gd name="T107" fmla="*/ 60 h 255"/>
                <a:gd name="T108" fmla="*/ 214 w 255"/>
                <a:gd name="T109" fmla="*/ 44 h 255"/>
                <a:gd name="T110" fmla="*/ 209 w 255"/>
                <a:gd name="T111" fmla="*/ 39 h 255"/>
                <a:gd name="T112" fmla="*/ 218 w 255"/>
                <a:gd name="T113" fmla="*/ 37 h 255"/>
                <a:gd name="T114" fmla="*/ 188 w 255"/>
                <a:gd name="T115" fmla="*/ 24 h 255"/>
                <a:gd name="T116" fmla="*/ 189 w 255"/>
                <a:gd name="T117" fmla="*/ 15 h 255"/>
                <a:gd name="T118" fmla="*/ 166 w 255"/>
                <a:gd name="T119" fmla="*/ 6 h 255"/>
                <a:gd name="T120" fmla="*/ 157 w 255"/>
                <a:gd name="T121" fmla="*/ 11 h 255"/>
                <a:gd name="T122" fmla="*/ 163 w 255"/>
                <a:gd name="T123" fmla="*/ 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5" h="255">
                  <a:moveTo>
                    <a:pt x="125" y="8"/>
                  </a:moveTo>
                  <a:cubicBezTo>
                    <a:pt x="123" y="8"/>
                    <a:pt x="121" y="6"/>
                    <a:pt x="121" y="4"/>
                  </a:cubicBezTo>
                  <a:cubicBezTo>
                    <a:pt x="121" y="2"/>
                    <a:pt x="123" y="0"/>
                    <a:pt x="12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6" y="0"/>
                    <a:pt x="138" y="2"/>
                    <a:pt x="138" y="4"/>
                  </a:cubicBezTo>
                  <a:cubicBezTo>
                    <a:pt x="138" y="6"/>
                    <a:pt x="136" y="8"/>
                    <a:pt x="134" y="8"/>
                  </a:cubicBezTo>
                  <a:cubicBezTo>
                    <a:pt x="133" y="8"/>
                    <a:pt x="133" y="8"/>
                    <a:pt x="133" y="8"/>
                  </a:cubicBezTo>
                  <a:cubicBezTo>
                    <a:pt x="132" y="8"/>
                    <a:pt x="132" y="8"/>
                    <a:pt x="132" y="8"/>
                  </a:cubicBezTo>
                  <a:cubicBezTo>
                    <a:pt x="132" y="8"/>
                    <a:pt x="132" y="8"/>
                    <a:pt x="132" y="8"/>
                  </a:cubicBezTo>
                  <a:cubicBezTo>
                    <a:pt x="131" y="8"/>
                    <a:pt x="131" y="8"/>
                    <a:pt x="131" y="8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29" y="7"/>
                    <a:pt x="129" y="7"/>
                    <a:pt x="129" y="7"/>
                  </a:cubicBezTo>
                  <a:cubicBezTo>
                    <a:pt x="129" y="7"/>
                    <a:pt x="129" y="7"/>
                    <a:pt x="129" y="7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5" y="7"/>
                    <a:pt x="125" y="7"/>
                    <a:pt x="125" y="7"/>
                  </a:cubicBezTo>
                  <a:lnTo>
                    <a:pt x="125" y="8"/>
                  </a:lnTo>
                  <a:close/>
                  <a:moveTo>
                    <a:pt x="101" y="2"/>
                  </a:moveTo>
                  <a:cubicBezTo>
                    <a:pt x="103" y="2"/>
                    <a:pt x="105" y="3"/>
                    <a:pt x="106" y="5"/>
                  </a:cubicBezTo>
                  <a:cubicBezTo>
                    <a:pt x="106" y="7"/>
                    <a:pt x="105" y="10"/>
                    <a:pt x="103" y="10"/>
                  </a:cubicBezTo>
                  <a:cubicBezTo>
                    <a:pt x="102" y="10"/>
                    <a:pt x="102" y="10"/>
                    <a:pt x="102" y="10"/>
                  </a:cubicBezTo>
                  <a:cubicBezTo>
                    <a:pt x="101" y="10"/>
                    <a:pt x="101" y="10"/>
                    <a:pt x="101" y="10"/>
                  </a:cubicBezTo>
                  <a:cubicBezTo>
                    <a:pt x="101" y="10"/>
                    <a:pt x="101" y="10"/>
                    <a:pt x="101" y="10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3" y="12"/>
                    <a:pt x="91" y="11"/>
                    <a:pt x="91" y="9"/>
                  </a:cubicBezTo>
                  <a:cubicBezTo>
                    <a:pt x="90" y="7"/>
                    <a:pt x="91" y="5"/>
                    <a:pt x="93" y="4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7" y="3"/>
                    <a:pt x="97" y="3"/>
                    <a:pt x="97" y="3"/>
                  </a:cubicBezTo>
                  <a:cubicBezTo>
                    <a:pt x="97" y="3"/>
                    <a:pt x="97" y="3"/>
                    <a:pt x="97" y="3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0" y="3"/>
                    <a:pt x="100" y="3"/>
                    <a:pt x="100" y="3"/>
                  </a:cubicBezTo>
                  <a:lnTo>
                    <a:pt x="101" y="2"/>
                  </a:lnTo>
                  <a:close/>
                  <a:moveTo>
                    <a:pt x="71" y="13"/>
                  </a:moveTo>
                  <a:cubicBezTo>
                    <a:pt x="73" y="12"/>
                    <a:pt x="75" y="13"/>
                    <a:pt x="76" y="15"/>
                  </a:cubicBezTo>
                  <a:cubicBezTo>
                    <a:pt x="77" y="17"/>
                    <a:pt x="76" y="19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6" y="24"/>
                    <a:pt x="63" y="24"/>
                    <a:pt x="62" y="22"/>
                  </a:cubicBezTo>
                  <a:cubicBezTo>
                    <a:pt x="61" y="20"/>
                    <a:pt x="62" y="18"/>
                    <a:pt x="64" y="17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5" y="16"/>
                    <a:pt x="65" y="16"/>
                    <a:pt x="65" y="16"/>
                  </a:cubicBezTo>
                  <a:cubicBezTo>
                    <a:pt x="65" y="16"/>
                    <a:pt x="65" y="16"/>
                    <a:pt x="65" y="16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1" y="13"/>
                    <a:pt x="71" y="13"/>
                    <a:pt x="71" y="13"/>
                  </a:cubicBezTo>
                  <a:close/>
                  <a:moveTo>
                    <a:pt x="44" y="30"/>
                  </a:moveTo>
                  <a:cubicBezTo>
                    <a:pt x="46" y="29"/>
                    <a:pt x="48" y="29"/>
                    <a:pt x="50" y="31"/>
                  </a:cubicBezTo>
                  <a:cubicBezTo>
                    <a:pt x="51" y="33"/>
                    <a:pt x="51" y="35"/>
                    <a:pt x="49" y="36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2" y="43"/>
                    <a:pt x="40" y="43"/>
                    <a:pt x="38" y="41"/>
                  </a:cubicBezTo>
                  <a:cubicBezTo>
                    <a:pt x="37" y="40"/>
                    <a:pt x="37" y="37"/>
                    <a:pt x="38" y="36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4" y="31"/>
                    <a:pt x="44" y="31"/>
                    <a:pt x="44" y="31"/>
                  </a:cubicBezTo>
                  <a:lnTo>
                    <a:pt x="44" y="30"/>
                  </a:lnTo>
                  <a:close/>
                  <a:moveTo>
                    <a:pt x="23" y="54"/>
                  </a:moveTo>
                  <a:cubicBezTo>
                    <a:pt x="24" y="52"/>
                    <a:pt x="26" y="52"/>
                    <a:pt x="28" y="53"/>
                  </a:cubicBezTo>
                  <a:cubicBezTo>
                    <a:pt x="30" y="54"/>
                    <a:pt x="30" y="57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2"/>
                    <a:pt x="27" y="62"/>
                    <a:pt x="27" y="62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25" y="65"/>
                    <a:pt x="25" y="65"/>
                    <a:pt x="25" y="65"/>
                  </a:cubicBezTo>
                  <a:cubicBezTo>
                    <a:pt x="24" y="67"/>
                    <a:pt x="21" y="67"/>
                    <a:pt x="20" y="66"/>
                  </a:cubicBezTo>
                  <a:cubicBezTo>
                    <a:pt x="18" y="65"/>
                    <a:pt x="17" y="63"/>
                    <a:pt x="18" y="61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1" y="57"/>
                    <a:pt x="21" y="57"/>
                    <a:pt x="21" y="57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lnTo>
                    <a:pt x="23" y="54"/>
                  </a:lnTo>
                  <a:close/>
                  <a:moveTo>
                    <a:pt x="8" y="82"/>
                  </a:moveTo>
                  <a:cubicBezTo>
                    <a:pt x="8" y="80"/>
                    <a:pt x="11" y="79"/>
                    <a:pt x="13" y="80"/>
                  </a:cubicBezTo>
                  <a:cubicBezTo>
                    <a:pt x="15" y="81"/>
                    <a:pt x="16" y="83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2" y="94"/>
                    <a:pt x="10" y="96"/>
                    <a:pt x="8" y="95"/>
                  </a:cubicBezTo>
                  <a:cubicBezTo>
                    <a:pt x="6" y="94"/>
                    <a:pt x="5" y="92"/>
                    <a:pt x="5" y="90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7"/>
                    <a:pt x="6" y="87"/>
                    <a:pt x="6" y="87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8" y="83"/>
                    <a:pt x="8" y="83"/>
                    <a:pt x="8" y="83"/>
                  </a:cubicBezTo>
                  <a:lnTo>
                    <a:pt x="8" y="82"/>
                  </a:lnTo>
                  <a:close/>
                  <a:moveTo>
                    <a:pt x="0" y="114"/>
                  </a:moveTo>
                  <a:cubicBezTo>
                    <a:pt x="1" y="111"/>
                    <a:pt x="2" y="110"/>
                    <a:pt x="5" y="110"/>
                  </a:cubicBezTo>
                  <a:cubicBezTo>
                    <a:pt x="7" y="110"/>
                    <a:pt x="8" y="112"/>
                    <a:pt x="8" y="114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7" y="122"/>
                    <a:pt x="7" y="122"/>
                    <a:pt x="7" y="122"/>
                  </a:cubicBezTo>
                  <a:cubicBezTo>
                    <a:pt x="7" y="122"/>
                    <a:pt x="7" y="122"/>
                    <a:pt x="7" y="122"/>
                  </a:cubicBezTo>
                  <a:cubicBezTo>
                    <a:pt x="7" y="124"/>
                    <a:pt x="6" y="126"/>
                    <a:pt x="3" y="126"/>
                  </a:cubicBezTo>
                  <a:cubicBezTo>
                    <a:pt x="1" y="126"/>
                    <a:pt x="0" y="124"/>
                    <a:pt x="0" y="122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4"/>
                    <a:pt x="0" y="114"/>
                    <a:pt x="0" y="114"/>
                  </a:cubicBezTo>
                  <a:close/>
                  <a:moveTo>
                    <a:pt x="1" y="146"/>
                  </a:moveTo>
                  <a:cubicBezTo>
                    <a:pt x="1" y="143"/>
                    <a:pt x="2" y="142"/>
                    <a:pt x="4" y="141"/>
                  </a:cubicBezTo>
                  <a:cubicBezTo>
                    <a:pt x="6" y="141"/>
                    <a:pt x="8" y="142"/>
                    <a:pt x="9" y="14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9" y="146"/>
                    <a:pt x="9" y="146"/>
                    <a:pt x="9" y="146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9" y="148"/>
                    <a:pt x="9" y="148"/>
                    <a:pt x="9" y="148"/>
                  </a:cubicBezTo>
                  <a:cubicBezTo>
                    <a:pt x="9" y="148"/>
                    <a:pt x="9" y="148"/>
                    <a:pt x="9" y="148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9" y="150"/>
                    <a:pt x="9" y="150"/>
                    <a:pt x="9" y="150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0" y="152"/>
                    <a:pt x="10" y="152"/>
                    <a:pt x="10" y="152"/>
                  </a:cubicBezTo>
                  <a:cubicBezTo>
                    <a:pt x="10" y="154"/>
                    <a:pt x="9" y="156"/>
                    <a:pt x="7" y="157"/>
                  </a:cubicBezTo>
                  <a:cubicBezTo>
                    <a:pt x="5" y="157"/>
                    <a:pt x="3" y="156"/>
                    <a:pt x="2" y="154"/>
                  </a:cubicBezTo>
                  <a:cubicBezTo>
                    <a:pt x="2" y="153"/>
                    <a:pt x="2" y="153"/>
                    <a:pt x="2" y="153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2" y="151"/>
                    <a:pt x="2" y="151"/>
                    <a:pt x="2" y="151"/>
                  </a:cubicBezTo>
                  <a:cubicBezTo>
                    <a:pt x="2" y="151"/>
                    <a:pt x="2" y="151"/>
                    <a:pt x="2" y="151"/>
                  </a:cubicBezTo>
                  <a:cubicBezTo>
                    <a:pt x="2" y="150"/>
                    <a:pt x="2" y="150"/>
                    <a:pt x="2" y="150"/>
                  </a:cubicBezTo>
                  <a:cubicBezTo>
                    <a:pt x="1" y="149"/>
                    <a:pt x="1" y="149"/>
                    <a:pt x="1" y="149"/>
                  </a:cubicBezTo>
                  <a:cubicBezTo>
                    <a:pt x="1" y="148"/>
                    <a:pt x="1" y="148"/>
                    <a:pt x="1" y="148"/>
                  </a:cubicBezTo>
                  <a:cubicBezTo>
                    <a:pt x="1" y="147"/>
                    <a:pt x="1" y="147"/>
                    <a:pt x="1" y="147"/>
                  </a:cubicBezTo>
                  <a:cubicBezTo>
                    <a:pt x="1" y="147"/>
                    <a:pt x="1" y="147"/>
                    <a:pt x="1" y="147"/>
                  </a:cubicBezTo>
                  <a:cubicBezTo>
                    <a:pt x="1" y="146"/>
                    <a:pt x="1" y="146"/>
                    <a:pt x="1" y="146"/>
                  </a:cubicBezTo>
                  <a:close/>
                  <a:moveTo>
                    <a:pt x="9" y="176"/>
                  </a:moveTo>
                  <a:cubicBezTo>
                    <a:pt x="8" y="174"/>
                    <a:pt x="9" y="172"/>
                    <a:pt x="11" y="171"/>
                  </a:cubicBezTo>
                  <a:cubicBezTo>
                    <a:pt x="13" y="171"/>
                    <a:pt x="16" y="171"/>
                    <a:pt x="16" y="173"/>
                  </a:cubicBezTo>
                  <a:cubicBezTo>
                    <a:pt x="17" y="174"/>
                    <a:pt x="17" y="174"/>
                    <a:pt x="17" y="174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7" y="176"/>
                    <a:pt x="17" y="176"/>
                    <a:pt x="17" y="176"/>
                  </a:cubicBezTo>
                  <a:cubicBezTo>
                    <a:pt x="18" y="177"/>
                    <a:pt x="18" y="177"/>
                    <a:pt x="18" y="177"/>
                  </a:cubicBezTo>
                  <a:cubicBezTo>
                    <a:pt x="18" y="177"/>
                    <a:pt x="18" y="177"/>
                    <a:pt x="18" y="177"/>
                  </a:cubicBezTo>
                  <a:cubicBezTo>
                    <a:pt x="18" y="178"/>
                    <a:pt x="18" y="178"/>
                    <a:pt x="18" y="178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20" y="180"/>
                    <a:pt x="20" y="180"/>
                    <a:pt x="20" y="180"/>
                  </a:cubicBezTo>
                  <a:cubicBezTo>
                    <a:pt x="20" y="182"/>
                    <a:pt x="20" y="185"/>
                    <a:pt x="18" y="186"/>
                  </a:cubicBezTo>
                  <a:cubicBezTo>
                    <a:pt x="16" y="186"/>
                    <a:pt x="14" y="186"/>
                    <a:pt x="13" y="184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12" y="182"/>
                    <a:pt x="12" y="182"/>
                    <a:pt x="12" y="182"/>
                  </a:cubicBezTo>
                  <a:cubicBezTo>
                    <a:pt x="11" y="181"/>
                    <a:pt x="11" y="181"/>
                    <a:pt x="11" y="181"/>
                  </a:cubicBezTo>
                  <a:cubicBezTo>
                    <a:pt x="11" y="181"/>
                    <a:pt x="11" y="181"/>
                    <a:pt x="11" y="181"/>
                  </a:cubicBezTo>
                  <a:cubicBezTo>
                    <a:pt x="11" y="180"/>
                    <a:pt x="11" y="180"/>
                    <a:pt x="11" y="180"/>
                  </a:cubicBezTo>
                  <a:cubicBezTo>
                    <a:pt x="10" y="179"/>
                    <a:pt x="10" y="179"/>
                    <a:pt x="10" y="179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9" y="177"/>
                    <a:pt x="9" y="177"/>
                    <a:pt x="9" y="177"/>
                  </a:cubicBezTo>
                  <a:lnTo>
                    <a:pt x="9" y="176"/>
                  </a:lnTo>
                  <a:close/>
                  <a:moveTo>
                    <a:pt x="25" y="204"/>
                  </a:moveTo>
                  <a:cubicBezTo>
                    <a:pt x="24" y="203"/>
                    <a:pt x="24" y="200"/>
                    <a:pt x="26" y="199"/>
                  </a:cubicBezTo>
                  <a:cubicBezTo>
                    <a:pt x="28" y="197"/>
                    <a:pt x="30" y="198"/>
                    <a:pt x="31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2" y="200"/>
                    <a:pt x="32" y="200"/>
                    <a:pt x="32" y="200"/>
                  </a:cubicBezTo>
                  <a:cubicBezTo>
                    <a:pt x="32" y="201"/>
                    <a:pt x="32" y="201"/>
                    <a:pt x="32" y="201"/>
                  </a:cubicBezTo>
                  <a:cubicBezTo>
                    <a:pt x="33" y="201"/>
                    <a:pt x="33" y="201"/>
                    <a:pt x="33" y="201"/>
                  </a:cubicBezTo>
                  <a:cubicBezTo>
                    <a:pt x="33" y="202"/>
                    <a:pt x="33" y="202"/>
                    <a:pt x="33" y="202"/>
                  </a:cubicBezTo>
                  <a:cubicBezTo>
                    <a:pt x="34" y="203"/>
                    <a:pt x="34" y="203"/>
                    <a:pt x="34" y="203"/>
                  </a:cubicBezTo>
                  <a:cubicBezTo>
                    <a:pt x="34" y="203"/>
                    <a:pt x="34" y="203"/>
                    <a:pt x="34" y="203"/>
                  </a:cubicBezTo>
                  <a:cubicBezTo>
                    <a:pt x="35" y="204"/>
                    <a:pt x="35" y="204"/>
                    <a:pt x="35" y="204"/>
                  </a:cubicBezTo>
                  <a:cubicBezTo>
                    <a:pt x="35" y="204"/>
                    <a:pt x="35" y="204"/>
                    <a:pt x="35" y="204"/>
                  </a:cubicBezTo>
                  <a:cubicBezTo>
                    <a:pt x="35" y="205"/>
                    <a:pt x="35" y="205"/>
                    <a:pt x="35" y="205"/>
                  </a:cubicBezTo>
                  <a:cubicBezTo>
                    <a:pt x="36" y="205"/>
                    <a:pt x="36" y="205"/>
                    <a:pt x="36" y="205"/>
                  </a:cubicBezTo>
                  <a:cubicBezTo>
                    <a:pt x="36" y="205"/>
                    <a:pt x="36" y="205"/>
                    <a:pt x="36" y="205"/>
                  </a:cubicBezTo>
                  <a:cubicBezTo>
                    <a:pt x="37" y="207"/>
                    <a:pt x="37" y="209"/>
                    <a:pt x="36" y="211"/>
                  </a:cubicBezTo>
                  <a:cubicBezTo>
                    <a:pt x="34" y="212"/>
                    <a:pt x="32" y="212"/>
                    <a:pt x="30" y="210"/>
                  </a:cubicBezTo>
                  <a:cubicBezTo>
                    <a:pt x="30" y="210"/>
                    <a:pt x="30" y="210"/>
                    <a:pt x="30" y="210"/>
                  </a:cubicBezTo>
                  <a:cubicBezTo>
                    <a:pt x="30" y="210"/>
                    <a:pt x="30" y="210"/>
                    <a:pt x="30" y="210"/>
                  </a:cubicBezTo>
                  <a:cubicBezTo>
                    <a:pt x="29" y="209"/>
                    <a:pt x="29" y="209"/>
                    <a:pt x="29" y="209"/>
                  </a:cubicBezTo>
                  <a:cubicBezTo>
                    <a:pt x="29" y="209"/>
                    <a:pt x="29" y="209"/>
                    <a:pt x="29" y="209"/>
                  </a:cubicBezTo>
                  <a:cubicBezTo>
                    <a:pt x="28" y="208"/>
                    <a:pt x="28" y="208"/>
                    <a:pt x="28" y="208"/>
                  </a:cubicBezTo>
                  <a:cubicBezTo>
                    <a:pt x="28" y="207"/>
                    <a:pt x="28" y="207"/>
                    <a:pt x="28" y="207"/>
                  </a:cubicBezTo>
                  <a:cubicBezTo>
                    <a:pt x="27" y="207"/>
                    <a:pt x="27" y="207"/>
                    <a:pt x="27" y="207"/>
                  </a:cubicBezTo>
                  <a:cubicBezTo>
                    <a:pt x="27" y="206"/>
                    <a:pt x="27" y="206"/>
                    <a:pt x="27" y="206"/>
                  </a:cubicBezTo>
                  <a:cubicBezTo>
                    <a:pt x="26" y="206"/>
                    <a:pt x="26" y="206"/>
                    <a:pt x="26" y="206"/>
                  </a:cubicBezTo>
                  <a:cubicBezTo>
                    <a:pt x="26" y="205"/>
                    <a:pt x="26" y="205"/>
                    <a:pt x="26" y="205"/>
                  </a:cubicBezTo>
                  <a:cubicBezTo>
                    <a:pt x="25" y="204"/>
                    <a:pt x="25" y="204"/>
                    <a:pt x="25" y="204"/>
                  </a:cubicBezTo>
                  <a:close/>
                  <a:moveTo>
                    <a:pt x="47" y="227"/>
                  </a:moveTo>
                  <a:cubicBezTo>
                    <a:pt x="46" y="226"/>
                    <a:pt x="45" y="223"/>
                    <a:pt x="47" y="222"/>
                  </a:cubicBezTo>
                  <a:cubicBezTo>
                    <a:pt x="48" y="220"/>
                    <a:pt x="51" y="220"/>
                    <a:pt x="52" y="221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3" y="222"/>
                    <a:pt x="53" y="222"/>
                    <a:pt x="53" y="222"/>
                  </a:cubicBezTo>
                  <a:cubicBezTo>
                    <a:pt x="54" y="222"/>
                    <a:pt x="54" y="222"/>
                    <a:pt x="54" y="222"/>
                  </a:cubicBezTo>
                  <a:cubicBezTo>
                    <a:pt x="54" y="223"/>
                    <a:pt x="54" y="223"/>
                    <a:pt x="54" y="223"/>
                  </a:cubicBezTo>
                  <a:cubicBezTo>
                    <a:pt x="55" y="223"/>
                    <a:pt x="55" y="223"/>
                    <a:pt x="55" y="223"/>
                  </a:cubicBezTo>
                  <a:cubicBezTo>
                    <a:pt x="55" y="224"/>
                    <a:pt x="55" y="224"/>
                    <a:pt x="55" y="224"/>
                  </a:cubicBezTo>
                  <a:cubicBezTo>
                    <a:pt x="56" y="224"/>
                    <a:pt x="56" y="224"/>
                    <a:pt x="56" y="224"/>
                  </a:cubicBezTo>
                  <a:cubicBezTo>
                    <a:pt x="57" y="224"/>
                    <a:pt x="57" y="224"/>
                    <a:pt x="57" y="224"/>
                  </a:cubicBezTo>
                  <a:cubicBezTo>
                    <a:pt x="57" y="225"/>
                    <a:pt x="57" y="225"/>
                    <a:pt x="57" y="225"/>
                  </a:cubicBezTo>
                  <a:cubicBezTo>
                    <a:pt x="58" y="225"/>
                    <a:pt x="58" y="225"/>
                    <a:pt x="58" y="225"/>
                  </a:cubicBezTo>
                  <a:cubicBezTo>
                    <a:pt x="58" y="226"/>
                    <a:pt x="58" y="226"/>
                    <a:pt x="58" y="226"/>
                  </a:cubicBezTo>
                  <a:cubicBezTo>
                    <a:pt x="58" y="226"/>
                    <a:pt x="58" y="226"/>
                    <a:pt x="58" y="226"/>
                  </a:cubicBezTo>
                  <a:cubicBezTo>
                    <a:pt x="60" y="227"/>
                    <a:pt x="60" y="229"/>
                    <a:pt x="59" y="231"/>
                  </a:cubicBezTo>
                  <a:cubicBezTo>
                    <a:pt x="58" y="233"/>
                    <a:pt x="56" y="233"/>
                    <a:pt x="54" y="232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3" y="232"/>
                    <a:pt x="53" y="232"/>
                    <a:pt x="53" y="232"/>
                  </a:cubicBezTo>
                  <a:cubicBezTo>
                    <a:pt x="52" y="231"/>
                    <a:pt x="52" y="231"/>
                    <a:pt x="52" y="231"/>
                  </a:cubicBezTo>
                  <a:cubicBezTo>
                    <a:pt x="52" y="231"/>
                    <a:pt x="52" y="231"/>
                    <a:pt x="52" y="231"/>
                  </a:cubicBezTo>
                  <a:cubicBezTo>
                    <a:pt x="51" y="230"/>
                    <a:pt x="51" y="230"/>
                    <a:pt x="51" y="230"/>
                  </a:cubicBezTo>
                  <a:cubicBezTo>
                    <a:pt x="51" y="230"/>
                    <a:pt x="51" y="230"/>
                    <a:pt x="51" y="230"/>
                  </a:cubicBezTo>
                  <a:cubicBezTo>
                    <a:pt x="50" y="229"/>
                    <a:pt x="50" y="229"/>
                    <a:pt x="50" y="229"/>
                  </a:cubicBezTo>
                  <a:cubicBezTo>
                    <a:pt x="49" y="229"/>
                    <a:pt x="49" y="229"/>
                    <a:pt x="49" y="229"/>
                  </a:cubicBezTo>
                  <a:cubicBezTo>
                    <a:pt x="49" y="228"/>
                    <a:pt x="49" y="228"/>
                    <a:pt x="49" y="228"/>
                  </a:cubicBezTo>
                  <a:cubicBezTo>
                    <a:pt x="48" y="228"/>
                    <a:pt x="48" y="228"/>
                    <a:pt x="48" y="228"/>
                  </a:cubicBezTo>
                  <a:cubicBezTo>
                    <a:pt x="48" y="227"/>
                    <a:pt x="48" y="227"/>
                    <a:pt x="48" y="227"/>
                  </a:cubicBezTo>
                  <a:lnTo>
                    <a:pt x="47" y="227"/>
                  </a:lnTo>
                  <a:close/>
                  <a:moveTo>
                    <a:pt x="75" y="244"/>
                  </a:moveTo>
                  <a:cubicBezTo>
                    <a:pt x="73" y="243"/>
                    <a:pt x="72" y="241"/>
                    <a:pt x="73" y="239"/>
                  </a:cubicBezTo>
                  <a:cubicBezTo>
                    <a:pt x="74" y="237"/>
                    <a:pt x="76" y="236"/>
                    <a:pt x="78" y="237"/>
                  </a:cubicBezTo>
                  <a:cubicBezTo>
                    <a:pt x="78" y="237"/>
                    <a:pt x="78" y="237"/>
                    <a:pt x="78" y="237"/>
                  </a:cubicBezTo>
                  <a:cubicBezTo>
                    <a:pt x="79" y="237"/>
                    <a:pt x="79" y="237"/>
                    <a:pt x="79" y="237"/>
                  </a:cubicBezTo>
                  <a:cubicBezTo>
                    <a:pt x="80" y="238"/>
                    <a:pt x="80" y="238"/>
                    <a:pt x="80" y="238"/>
                  </a:cubicBezTo>
                  <a:cubicBezTo>
                    <a:pt x="80" y="238"/>
                    <a:pt x="80" y="238"/>
                    <a:pt x="80" y="238"/>
                  </a:cubicBezTo>
                  <a:cubicBezTo>
                    <a:pt x="81" y="238"/>
                    <a:pt x="81" y="238"/>
                    <a:pt x="81" y="238"/>
                  </a:cubicBezTo>
                  <a:cubicBezTo>
                    <a:pt x="82" y="239"/>
                    <a:pt x="82" y="239"/>
                    <a:pt x="82" y="239"/>
                  </a:cubicBezTo>
                  <a:cubicBezTo>
                    <a:pt x="82" y="239"/>
                    <a:pt x="82" y="239"/>
                    <a:pt x="82" y="239"/>
                  </a:cubicBezTo>
                  <a:cubicBezTo>
                    <a:pt x="83" y="239"/>
                    <a:pt x="83" y="239"/>
                    <a:pt x="83" y="239"/>
                  </a:cubicBezTo>
                  <a:cubicBezTo>
                    <a:pt x="84" y="239"/>
                    <a:pt x="84" y="239"/>
                    <a:pt x="84" y="239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5" y="240"/>
                    <a:pt x="85" y="240"/>
                    <a:pt x="85" y="240"/>
                  </a:cubicBezTo>
                  <a:cubicBezTo>
                    <a:pt x="87" y="241"/>
                    <a:pt x="88" y="243"/>
                    <a:pt x="87" y="245"/>
                  </a:cubicBezTo>
                  <a:cubicBezTo>
                    <a:pt x="86" y="247"/>
                    <a:pt x="84" y="248"/>
                    <a:pt x="82" y="247"/>
                  </a:cubicBezTo>
                  <a:cubicBezTo>
                    <a:pt x="82" y="247"/>
                    <a:pt x="82" y="247"/>
                    <a:pt x="82" y="247"/>
                  </a:cubicBezTo>
                  <a:cubicBezTo>
                    <a:pt x="81" y="247"/>
                    <a:pt x="81" y="247"/>
                    <a:pt x="81" y="247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79" y="246"/>
                    <a:pt x="79" y="246"/>
                    <a:pt x="79" y="246"/>
                  </a:cubicBezTo>
                  <a:cubicBezTo>
                    <a:pt x="79" y="246"/>
                    <a:pt x="79" y="246"/>
                    <a:pt x="79" y="246"/>
                  </a:cubicBezTo>
                  <a:cubicBezTo>
                    <a:pt x="78" y="245"/>
                    <a:pt x="78" y="245"/>
                    <a:pt x="78" y="245"/>
                  </a:cubicBezTo>
                  <a:cubicBezTo>
                    <a:pt x="77" y="245"/>
                    <a:pt x="77" y="245"/>
                    <a:pt x="77" y="245"/>
                  </a:cubicBezTo>
                  <a:cubicBezTo>
                    <a:pt x="77" y="245"/>
                    <a:pt x="77" y="245"/>
                    <a:pt x="77" y="245"/>
                  </a:cubicBezTo>
                  <a:cubicBezTo>
                    <a:pt x="76" y="244"/>
                    <a:pt x="76" y="244"/>
                    <a:pt x="76" y="244"/>
                  </a:cubicBezTo>
                  <a:cubicBezTo>
                    <a:pt x="75" y="244"/>
                    <a:pt x="75" y="244"/>
                    <a:pt x="75" y="244"/>
                  </a:cubicBezTo>
                  <a:close/>
                  <a:moveTo>
                    <a:pt x="105" y="253"/>
                  </a:moveTo>
                  <a:cubicBezTo>
                    <a:pt x="103" y="253"/>
                    <a:pt x="102" y="251"/>
                    <a:pt x="102" y="249"/>
                  </a:cubicBezTo>
                  <a:cubicBezTo>
                    <a:pt x="102" y="247"/>
                    <a:pt x="104" y="245"/>
                    <a:pt x="107" y="246"/>
                  </a:cubicBezTo>
                  <a:cubicBezTo>
                    <a:pt x="107" y="246"/>
                    <a:pt x="107" y="246"/>
                    <a:pt x="107" y="246"/>
                  </a:cubicBezTo>
                  <a:cubicBezTo>
                    <a:pt x="108" y="246"/>
                    <a:pt x="108" y="246"/>
                    <a:pt x="108" y="246"/>
                  </a:cubicBezTo>
                  <a:cubicBezTo>
                    <a:pt x="109" y="246"/>
                    <a:pt x="109" y="246"/>
                    <a:pt x="109" y="246"/>
                  </a:cubicBezTo>
                  <a:cubicBezTo>
                    <a:pt x="109" y="246"/>
                    <a:pt x="109" y="246"/>
                    <a:pt x="109" y="246"/>
                  </a:cubicBezTo>
                  <a:cubicBezTo>
                    <a:pt x="110" y="246"/>
                    <a:pt x="110" y="246"/>
                    <a:pt x="110" y="246"/>
                  </a:cubicBezTo>
                  <a:cubicBezTo>
                    <a:pt x="111" y="246"/>
                    <a:pt x="111" y="246"/>
                    <a:pt x="111" y="246"/>
                  </a:cubicBezTo>
                  <a:cubicBezTo>
                    <a:pt x="112" y="247"/>
                    <a:pt x="112" y="247"/>
                    <a:pt x="112" y="247"/>
                  </a:cubicBezTo>
                  <a:cubicBezTo>
                    <a:pt x="112" y="247"/>
                    <a:pt x="112" y="247"/>
                    <a:pt x="112" y="247"/>
                  </a:cubicBezTo>
                  <a:cubicBezTo>
                    <a:pt x="113" y="247"/>
                    <a:pt x="113" y="247"/>
                    <a:pt x="113" y="247"/>
                  </a:cubicBezTo>
                  <a:cubicBezTo>
                    <a:pt x="114" y="247"/>
                    <a:pt x="114" y="247"/>
                    <a:pt x="114" y="247"/>
                  </a:cubicBezTo>
                  <a:cubicBezTo>
                    <a:pt x="114" y="247"/>
                    <a:pt x="114" y="247"/>
                    <a:pt x="114" y="247"/>
                  </a:cubicBezTo>
                  <a:cubicBezTo>
                    <a:pt x="116" y="247"/>
                    <a:pt x="118" y="249"/>
                    <a:pt x="117" y="251"/>
                  </a:cubicBezTo>
                  <a:cubicBezTo>
                    <a:pt x="117" y="253"/>
                    <a:pt x="115" y="255"/>
                    <a:pt x="113" y="255"/>
                  </a:cubicBezTo>
                  <a:cubicBezTo>
                    <a:pt x="113" y="255"/>
                    <a:pt x="113" y="255"/>
                    <a:pt x="113" y="255"/>
                  </a:cubicBezTo>
                  <a:cubicBezTo>
                    <a:pt x="112" y="254"/>
                    <a:pt x="112" y="254"/>
                    <a:pt x="112" y="254"/>
                  </a:cubicBezTo>
                  <a:cubicBezTo>
                    <a:pt x="112" y="254"/>
                    <a:pt x="112" y="254"/>
                    <a:pt x="112" y="254"/>
                  </a:cubicBezTo>
                  <a:cubicBezTo>
                    <a:pt x="111" y="254"/>
                    <a:pt x="111" y="254"/>
                    <a:pt x="111" y="254"/>
                  </a:cubicBezTo>
                  <a:cubicBezTo>
                    <a:pt x="110" y="254"/>
                    <a:pt x="110" y="254"/>
                    <a:pt x="110" y="254"/>
                  </a:cubicBezTo>
                  <a:cubicBezTo>
                    <a:pt x="109" y="254"/>
                    <a:pt x="109" y="254"/>
                    <a:pt x="109" y="254"/>
                  </a:cubicBezTo>
                  <a:cubicBezTo>
                    <a:pt x="108" y="254"/>
                    <a:pt x="108" y="254"/>
                    <a:pt x="108" y="254"/>
                  </a:cubicBezTo>
                  <a:cubicBezTo>
                    <a:pt x="107" y="254"/>
                    <a:pt x="107" y="254"/>
                    <a:pt x="107" y="254"/>
                  </a:cubicBezTo>
                  <a:cubicBezTo>
                    <a:pt x="107" y="254"/>
                    <a:pt x="107" y="254"/>
                    <a:pt x="107" y="254"/>
                  </a:cubicBezTo>
                  <a:cubicBezTo>
                    <a:pt x="106" y="253"/>
                    <a:pt x="106" y="253"/>
                    <a:pt x="106" y="253"/>
                  </a:cubicBezTo>
                  <a:lnTo>
                    <a:pt x="105" y="253"/>
                  </a:lnTo>
                  <a:close/>
                  <a:moveTo>
                    <a:pt x="137" y="255"/>
                  </a:moveTo>
                  <a:cubicBezTo>
                    <a:pt x="135" y="255"/>
                    <a:pt x="133" y="253"/>
                    <a:pt x="133" y="251"/>
                  </a:cubicBezTo>
                  <a:cubicBezTo>
                    <a:pt x="133" y="249"/>
                    <a:pt x="134" y="247"/>
                    <a:pt x="137" y="247"/>
                  </a:cubicBezTo>
                  <a:cubicBezTo>
                    <a:pt x="137" y="247"/>
                    <a:pt x="137" y="247"/>
                    <a:pt x="137" y="247"/>
                  </a:cubicBezTo>
                  <a:cubicBezTo>
                    <a:pt x="138" y="247"/>
                    <a:pt x="138" y="247"/>
                    <a:pt x="138" y="247"/>
                  </a:cubicBezTo>
                  <a:cubicBezTo>
                    <a:pt x="138" y="247"/>
                    <a:pt x="138" y="247"/>
                    <a:pt x="138" y="247"/>
                  </a:cubicBezTo>
                  <a:cubicBezTo>
                    <a:pt x="139" y="247"/>
                    <a:pt x="139" y="247"/>
                    <a:pt x="139" y="247"/>
                  </a:cubicBezTo>
                  <a:cubicBezTo>
                    <a:pt x="140" y="247"/>
                    <a:pt x="140" y="247"/>
                    <a:pt x="140" y="247"/>
                  </a:cubicBezTo>
                  <a:cubicBezTo>
                    <a:pt x="141" y="247"/>
                    <a:pt x="141" y="247"/>
                    <a:pt x="141" y="247"/>
                  </a:cubicBezTo>
                  <a:cubicBezTo>
                    <a:pt x="142" y="247"/>
                    <a:pt x="142" y="247"/>
                    <a:pt x="142" y="247"/>
                  </a:cubicBezTo>
                  <a:cubicBezTo>
                    <a:pt x="142" y="247"/>
                    <a:pt x="142" y="247"/>
                    <a:pt x="142" y="247"/>
                  </a:cubicBezTo>
                  <a:cubicBezTo>
                    <a:pt x="143" y="247"/>
                    <a:pt x="143" y="247"/>
                    <a:pt x="143" y="247"/>
                  </a:cubicBezTo>
                  <a:cubicBezTo>
                    <a:pt x="144" y="246"/>
                    <a:pt x="144" y="246"/>
                    <a:pt x="144" y="246"/>
                  </a:cubicBezTo>
                  <a:cubicBezTo>
                    <a:pt x="144" y="246"/>
                    <a:pt x="144" y="246"/>
                    <a:pt x="144" y="246"/>
                  </a:cubicBezTo>
                  <a:cubicBezTo>
                    <a:pt x="146" y="246"/>
                    <a:pt x="148" y="248"/>
                    <a:pt x="148" y="250"/>
                  </a:cubicBezTo>
                  <a:cubicBezTo>
                    <a:pt x="149" y="252"/>
                    <a:pt x="147" y="254"/>
                    <a:pt x="145" y="254"/>
                  </a:cubicBezTo>
                  <a:cubicBezTo>
                    <a:pt x="145" y="254"/>
                    <a:pt x="145" y="254"/>
                    <a:pt x="145" y="254"/>
                  </a:cubicBezTo>
                  <a:cubicBezTo>
                    <a:pt x="144" y="254"/>
                    <a:pt x="144" y="254"/>
                    <a:pt x="144" y="254"/>
                  </a:cubicBezTo>
                  <a:cubicBezTo>
                    <a:pt x="143" y="254"/>
                    <a:pt x="143" y="254"/>
                    <a:pt x="143" y="254"/>
                  </a:cubicBezTo>
                  <a:cubicBezTo>
                    <a:pt x="142" y="254"/>
                    <a:pt x="142" y="254"/>
                    <a:pt x="142" y="254"/>
                  </a:cubicBezTo>
                  <a:cubicBezTo>
                    <a:pt x="142" y="255"/>
                    <a:pt x="142" y="255"/>
                    <a:pt x="142" y="255"/>
                  </a:cubicBezTo>
                  <a:cubicBezTo>
                    <a:pt x="141" y="255"/>
                    <a:pt x="141" y="255"/>
                    <a:pt x="141" y="255"/>
                  </a:cubicBezTo>
                  <a:cubicBezTo>
                    <a:pt x="140" y="255"/>
                    <a:pt x="140" y="255"/>
                    <a:pt x="140" y="255"/>
                  </a:cubicBezTo>
                  <a:cubicBezTo>
                    <a:pt x="139" y="255"/>
                    <a:pt x="139" y="255"/>
                    <a:pt x="139" y="255"/>
                  </a:cubicBezTo>
                  <a:cubicBezTo>
                    <a:pt x="138" y="255"/>
                    <a:pt x="138" y="255"/>
                    <a:pt x="138" y="255"/>
                  </a:cubicBezTo>
                  <a:cubicBezTo>
                    <a:pt x="138" y="255"/>
                    <a:pt x="138" y="255"/>
                    <a:pt x="138" y="255"/>
                  </a:cubicBezTo>
                  <a:lnTo>
                    <a:pt x="137" y="255"/>
                  </a:lnTo>
                  <a:close/>
                  <a:moveTo>
                    <a:pt x="168" y="248"/>
                  </a:moveTo>
                  <a:cubicBezTo>
                    <a:pt x="167" y="249"/>
                    <a:pt x="164" y="248"/>
                    <a:pt x="164" y="246"/>
                  </a:cubicBezTo>
                  <a:cubicBezTo>
                    <a:pt x="163" y="244"/>
                    <a:pt x="164" y="242"/>
                    <a:pt x="166" y="241"/>
                  </a:cubicBezTo>
                  <a:cubicBezTo>
                    <a:pt x="166" y="241"/>
                    <a:pt x="166" y="241"/>
                    <a:pt x="166" y="241"/>
                  </a:cubicBezTo>
                  <a:cubicBezTo>
                    <a:pt x="167" y="241"/>
                    <a:pt x="167" y="241"/>
                    <a:pt x="167" y="241"/>
                  </a:cubicBezTo>
                  <a:cubicBezTo>
                    <a:pt x="168" y="241"/>
                    <a:pt x="168" y="241"/>
                    <a:pt x="168" y="241"/>
                  </a:cubicBezTo>
                  <a:cubicBezTo>
                    <a:pt x="168" y="240"/>
                    <a:pt x="168" y="240"/>
                    <a:pt x="168" y="240"/>
                  </a:cubicBezTo>
                  <a:cubicBezTo>
                    <a:pt x="169" y="240"/>
                    <a:pt x="169" y="240"/>
                    <a:pt x="169" y="240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1" y="239"/>
                    <a:pt x="171" y="239"/>
                    <a:pt x="171" y="239"/>
                  </a:cubicBezTo>
                  <a:cubicBezTo>
                    <a:pt x="172" y="239"/>
                    <a:pt x="172" y="239"/>
                    <a:pt x="172" y="239"/>
                  </a:cubicBezTo>
                  <a:cubicBezTo>
                    <a:pt x="172" y="239"/>
                    <a:pt x="172" y="239"/>
                    <a:pt x="172" y="239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5" y="238"/>
                    <a:pt x="177" y="239"/>
                    <a:pt x="178" y="241"/>
                  </a:cubicBezTo>
                  <a:cubicBezTo>
                    <a:pt x="179" y="243"/>
                    <a:pt x="178" y="245"/>
                    <a:pt x="176" y="246"/>
                  </a:cubicBezTo>
                  <a:cubicBezTo>
                    <a:pt x="175" y="246"/>
                    <a:pt x="175" y="246"/>
                    <a:pt x="175" y="246"/>
                  </a:cubicBezTo>
                  <a:cubicBezTo>
                    <a:pt x="175" y="246"/>
                    <a:pt x="175" y="246"/>
                    <a:pt x="175" y="246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3" y="247"/>
                    <a:pt x="173" y="247"/>
                    <a:pt x="173" y="247"/>
                  </a:cubicBezTo>
                  <a:cubicBezTo>
                    <a:pt x="172" y="247"/>
                    <a:pt x="172" y="247"/>
                    <a:pt x="172" y="247"/>
                  </a:cubicBezTo>
                  <a:cubicBezTo>
                    <a:pt x="172" y="247"/>
                    <a:pt x="172" y="247"/>
                    <a:pt x="172" y="247"/>
                  </a:cubicBezTo>
                  <a:cubicBezTo>
                    <a:pt x="171" y="248"/>
                    <a:pt x="171" y="248"/>
                    <a:pt x="171" y="248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9" y="248"/>
                    <a:pt x="169" y="248"/>
                    <a:pt x="169" y="248"/>
                  </a:cubicBezTo>
                  <a:lnTo>
                    <a:pt x="168" y="248"/>
                  </a:lnTo>
                  <a:close/>
                  <a:moveTo>
                    <a:pt x="197" y="235"/>
                  </a:moveTo>
                  <a:cubicBezTo>
                    <a:pt x="196" y="236"/>
                    <a:pt x="193" y="235"/>
                    <a:pt x="192" y="233"/>
                  </a:cubicBezTo>
                  <a:cubicBezTo>
                    <a:pt x="191" y="232"/>
                    <a:pt x="191" y="229"/>
                    <a:pt x="193" y="228"/>
                  </a:cubicBezTo>
                  <a:cubicBezTo>
                    <a:pt x="194" y="228"/>
                    <a:pt x="194" y="228"/>
                    <a:pt x="194" y="228"/>
                  </a:cubicBezTo>
                  <a:cubicBezTo>
                    <a:pt x="194" y="227"/>
                    <a:pt x="194" y="227"/>
                    <a:pt x="194" y="227"/>
                  </a:cubicBezTo>
                  <a:cubicBezTo>
                    <a:pt x="195" y="227"/>
                    <a:pt x="195" y="227"/>
                    <a:pt x="195" y="227"/>
                  </a:cubicBezTo>
                  <a:cubicBezTo>
                    <a:pt x="195" y="226"/>
                    <a:pt x="195" y="226"/>
                    <a:pt x="195" y="226"/>
                  </a:cubicBezTo>
                  <a:cubicBezTo>
                    <a:pt x="196" y="226"/>
                    <a:pt x="196" y="226"/>
                    <a:pt x="196" y="226"/>
                  </a:cubicBezTo>
                  <a:cubicBezTo>
                    <a:pt x="197" y="226"/>
                    <a:pt x="197" y="226"/>
                    <a:pt x="197" y="226"/>
                  </a:cubicBezTo>
                  <a:cubicBezTo>
                    <a:pt x="197" y="225"/>
                    <a:pt x="197" y="225"/>
                    <a:pt x="197" y="225"/>
                  </a:cubicBezTo>
                  <a:cubicBezTo>
                    <a:pt x="198" y="225"/>
                    <a:pt x="198" y="225"/>
                    <a:pt x="198" y="225"/>
                  </a:cubicBezTo>
                  <a:cubicBezTo>
                    <a:pt x="198" y="224"/>
                    <a:pt x="198" y="224"/>
                    <a:pt x="198" y="224"/>
                  </a:cubicBezTo>
                  <a:cubicBezTo>
                    <a:pt x="199" y="224"/>
                    <a:pt x="199" y="224"/>
                    <a:pt x="199" y="224"/>
                  </a:cubicBezTo>
                  <a:cubicBezTo>
                    <a:pt x="199" y="224"/>
                    <a:pt x="199" y="224"/>
                    <a:pt x="199" y="224"/>
                  </a:cubicBezTo>
                  <a:cubicBezTo>
                    <a:pt x="201" y="222"/>
                    <a:pt x="203" y="223"/>
                    <a:pt x="205" y="224"/>
                  </a:cubicBezTo>
                  <a:cubicBezTo>
                    <a:pt x="206" y="226"/>
                    <a:pt x="206" y="229"/>
                    <a:pt x="204" y="230"/>
                  </a:cubicBezTo>
                  <a:cubicBezTo>
                    <a:pt x="204" y="230"/>
                    <a:pt x="204" y="230"/>
                    <a:pt x="204" y="230"/>
                  </a:cubicBezTo>
                  <a:cubicBezTo>
                    <a:pt x="203" y="231"/>
                    <a:pt x="203" y="231"/>
                    <a:pt x="203" y="231"/>
                  </a:cubicBezTo>
                  <a:cubicBezTo>
                    <a:pt x="202" y="231"/>
                    <a:pt x="202" y="231"/>
                    <a:pt x="202" y="231"/>
                  </a:cubicBezTo>
                  <a:cubicBezTo>
                    <a:pt x="202" y="231"/>
                    <a:pt x="202" y="231"/>
                    <a:pt x="202" y="231"/>
                  </a:cubicBezTo>
                  <a:cubicBezTo>
                    <a:pt x="201" y="232"/>
                    <a:pt x="201" y="232"/>
                    <a:pt x="201" y="232"/>
                  </a:cubicBezTo>
                  <a:cubicBezTo>
                    <a:pt x="200" y="232"/>
                    <a:pt x="200" y="232"/>
                    <a:pt x="200" y="232"/>
                  </a:cubicBezTo>
                  <a:cubicBezTo>
                    <a:pt x="200" y="233"/>
                    <a:pt x="200" y="233"/>
                    <a:pt x="200" y="233"/>
                  </a:cubicBezTo>
                  <a:cubicBezTo>
                    <a:pt x="199" y="233"/>
                    <a:pt x="199" y="233"/>
                    <a:pt x="199" y="233"/>
                  </a:cubicBezTo>
                  <a:cubicBezTo>
                    <a:pt x="199" y="234"/>
                    <a:pt x="199" y="234"/>
                    <a:pt x="199" y="234"/>
                  </a:cubicBezTo>
                  <a:cubicBezTo>
                    <a:pt x="198" y="234"/>
                    <a:pt x="198" y="234"/>
                    <a:pt x="198" y="234"/>
                  </a:cubicBezTo>
                  <a:lnTo>
                    <a:pt x="197" y="235"/>
                  </a:lnTo>
                  <a:close/>
                  <a:moveTo>
                    <a:pt x="222" y="214"/>
                  </a:moveTo>
                  <a:cubicBezTo>
                    <a:pt x="220" y="215"/>
                    <a:pt x="218" y="215"/>
                    <a:pt x="216" y="214"/>
                  </a:cubicBezTo>
                  <a:cubicBezTo>
                    <a:pt x="215" y="213"/>
                    <a:pt x="214" y="210"/>
                    <a:pt x="216" y="209"/>
                  </a:cubicBezTo>
                  <a:cubicBezTo>
                    <a:pt x="216" y="208"/>
                    <a:pt x="216" y="208"/>
                    <a:pt x="216" y="208"/>
                  </a:cubicBezTo>
                  <a:cubicBezTo>
                    <a:pt x="216" y="208"/>
                    <a:pt x="216" y="208"/>
                    <a:pt x="216" y="208"/>
                  </a:cubicBezTo>
                  <a:cubicBezTo>
                    <a:pt x="217" y="207"/>
                    <a:pt x="217" y="207"/>
                    <a:pt x="217" y="207"/>
                  </a:cubicBezTo>
                  <a:cubicBezTo>
                    <a:pt x="217" y="207"/>
                    <a:pt x="217" y="207"/>
                    <a:pt x="217" y="207"/>
                  </a:cubicBezTo>
                  <a:cubicBezTo>
                    <a:pt x="218" y="206"/>
                    <a:pt x="218" y="206"/>
                    <a:pt x="218" y="206"/>
                  </a:cubicBezTo>
                  <a:cubicBezTo>
                    <a:pt x="218" y="206"/>
                    <a:pt x="218" y="206"/>
                    <a:pt x="218" y="206"/>
                  </a:cubicBezTo>
                  <a:cubicBezTo>
                    <a:pt x="219" y="205"/>
                    <a:pt x="219" y="205"/>
                    <a:pt x="219" y="205"/>
                  </a:cubicBezTo>
                  <a:cubicBezTo>
                    <a:pt x="219" y="205"/>
                    <a:pt x="219" y="205"/>
                    <a:pt x="219" y="205"/>
                  </a:cubicBezTo>
                  <a:cubicBezTo>
                    <a:pt x="220" y="204"/>
                    <a:pt x="220" y="204"/>
                    <a:pt x="220" y="204"/>
                  </a:cubicBezTo>
                  <a:cubicBezTo>
                    <a:pt x="220" y="204"/>
                    <a:pt x="220" y="204"/>
                    <a:pt x="220" y="204"/>
                  </a:cubicBezTo>
                  <a:cubicBezTo>
                    <a:pt x="221" y="203"/>
                    <a:pt x="221" y="203"/>
                    <a:pt x="221" y="203"/>
                  </a:cubicBezTo>
                  <a:cubicBezTo>
                    <a:pt x="221" y="203"/>
                    <a:pt x="221" y="203"/>
                    <a:pt x="221" y="203"/>
                  </a:cubicBezTo>
                  <a:cubicBezTo>
                    <a:pt x="222" y="201"/>
                    <a:pt x="225" y="201"/>
                    <a:pt x="226" y="202"/>
                  </a:cubicBezTo>
                  <a:cubicBezTo>
                    <a:pt x="228" y="204"/>
                    <a:pt x="228" y="206"/>
                    <a:pt x="227" y="208"/>
                  </a:cubicBezTo>
                  <a:cubicBezTo>
                    <a:pt x="227" y="208"/>
                    <a:pt x="227" y="208"/>
                    <a:pt x="227" y="208"/>
                  </a:cubicBezTo>
                  <a:cubicBezTo>
                    <a:pt x="226" y="208"/>
                    <a:pt x="226" y="208"/>
                    <a:pt x="226" y="208"/>
                  </a:cubicBezTo>
                  <a:cubicBezTo>
                    <a:pt x="226" y="209"/>
                    <a:pt x="226" y="209"/>
                    <a:pt x="226" y="209"/>
                  </a:cubicBezTo>
                  <a:cubicBezTo>
                    <a:pt x="225" y="210"/>
                    <a:pt x="225" y="210"/>
                    <a:pt x="225" y="210"/>
                  </a:cubicBezTo>
                  <a:cubicBezTo>
                    <a:pt x="225" y="210"/>
                    <a:pt x="225" y="210"/>
                    <a:pt x="225" y="210"/>
                  </a:cubicBezTo>
                  <a:cubicBezTo>
                    <a:pt x="224" y="211"/>
                    <a:pt x="224" y="211"/>
                    <a:pt x="224" y="211"/>
                  </a:cubicBezTo>
                  <a:cubicBezTo>
                    <a:pt x="224" y="211"/>
                    <a:pt x="224" y="211"/>
                    <a:pt x="224" y="211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3" y="213"/>
                    <a:pt x="223" y="213"/>
                    <a:pt x="223" y="213"/>
                  </a:cubicBezTo>
                  <a:cubicBezTo>
                    <a:pt x="222" y="213"/>
                    <a:pt x="222" y="213"/>
                    <a:pt x="222" y="213"/>
                  </a:cubicBezTo>
                  <a:cubicBezTo>
                    <a:pt x="222" y="214"/>
                    <a:pt x="222" y="214"/>
                    <a:pt x="222" y="214"/>
                  </a:cubicBezTo>
                  <a:close/>
                  <a:moveTo>
                    <a:pt x="240" y="188"/>
                  </a:moveTo>
                  <a:cubicBezTo>
                    <a:pt x="239" y="190"/>
                    <a:pt x="237" y="190"/>
                    <a:pt x="235" y="189"/>
                  </a:cubicBezTo>
                  <a:cubicBezTo>
                    <a:pt x="233" y="188"/>
                    <a:pt x="232" y="186"/>
                    <a:pt x="233" y="184"/>
                  </a:cubicBezTo>
                  <a:cubicBezTo>
                    <a:pt x="233" y="184"/>
                    <a:pt x="233" y="184"/>
                    <a:pt x="233" y="184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34" y="182"/>
                    <a:pt x="234" y="182"/>
                    <a:pt x="234" y="182"/>
                  </a:cubicBezTo>
                  <a:cubicBezTo>
                    <a:pt x="234" y="182"/>
                    <a:pt x="234" y="182"/>
                    <a:pt x="234" y="182"/>
                  </a:cubicBezTo>
                  <a:cubicBezTo>
                    <a:pt x="235" y="181"/>
                    <a:pt x="235" y="181"/>
                    <a:pt x="235" y="181"/>
                  </a:cubicBezTo>
                  <a:cubicBezTo>
                    <a:pt x="235" y="180"/>
                    <a:pt x="235" y="180"/>
                    <a:pt x="235" y="180"/>
                  </a:cubicBezTo>
                  <a:cubicBezTo>
                    <a:pt x="235" y="180"/>
                    <a:pt x="235" y="180"/>
                    <a:pt x="235" y="180"/>
                  </a:cubicBezTo>
                  <a:cubicBezTo>
                    <a:pt x="236" y="179"/>
                    <a:pt x="236" y="179"/>
                    <a:pt x="236" y="179"/>
                  </a:cubicBezTo>
                  <a:cubicBezTo>
                    <a:pt x="236" y="178"/>
                    <a:pt x="236" y="178"/>
                    <a:pt x="236" y="178"/>
                  </a:cubicBezTo>
                  <a:cubicBezTo>
                    <a:pt x="236" y="178"/>
                    <a:pt x="236" y="178"/>
                    <a:pt x="236" y="178"/>
                  </a:cubicBezTo>
                  <a:cubicBezTo>
                    <a:pt x="237" y="177"/>
                    <a:pt x="237" y="177"/>
                    <a:pt x="237" y="177"/>
                  </a:cubicBezTo>
                  <a:cubicBezTo>
                    <a:pt x="237" y="175"/>
                    <a:pt x="240" y="174"/>
                    <a:pt x="242" y="175"/>
                  </a:cubicBezTo>
                  <a:cubicBezTo>
                    <a:pt x="244" y="176"/>
                    <a:pt x="245" y="178"/>
                    <a:pt x="244" y="180"/>
                  </a:cubicBezTo>
                  <a:cubicBezTo>
                    <a:pt x="243" y="181"/>
                    <a:pt x="243" y="181"/>
                    <a:pt x="243" y="181"/>
                  </a:cubicBezTo>
                  <a:cubicBezTo>
                    <a:pt x="243" y="182"/>
                    <a:pt x="243" y="182"/>
                    <a:pt x="243" y="182"/>
                  </a:cubicBezTo>
                  <a:cubicBezTo>
                    <a:pt x="243" y="183"/>
                    <a:pt x="243" y="183"/>
                    <a:pt x="243" y="183"/>
                  </a:cubicBezTo>
                  <a:cubicBezTo>
                    <a:pt x="242" y="183"/>
                    <a:pt x="242" y="183"/>
                    <a:pt x="242" y="183"/>
                  </a:cubicBezTo>
                  <a:cubicBezTo>
                    <a:pt x="242" y="184"/>
                    <a:pt x="242" y="184"/>
                    <a:pt x="242" y="184"/>
                  </a:cubicBezTo>
                  <a:cubicBezTo>
                    <a:pt x="242" y="185"/>
                    <a:pt x="242" y="185"/>
                    <a:pt x="242" y="185"/>
                  </a:cubicBezTo>
                  <a:cubicBezTo>
                    <a:pt x="241" y="185"/>
                    <a:pt x="241" y="185"/>
                    <a:pt x="241" y="185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241" y="187"/>
                    <a:pt x="241" y="187"/>
                    <a:pt x="241" y="187"/>
                  </a:cubicBezTo>
                  <a:cubicBezTo>
                    <a:pt x="240" y="187"/>
                    <a:pt x="240" y="187"/>
                    <a:pt x="240" y="187"/>
                  </a:cubicBezTo>
                  <a:lnTo>
                    <a:pt x="240" y="188"/>
                  </a:lnTo>
                  <a:close/>
                  <a:moveTo>
                    <a:pt x="252" y="158"/>
                  </a:moveTo>
                  <a:cubicBezTo>
                    <a:pt x="251" y="160"/>
                    <a:pt x="249" y="161"/>
                    <a:pt x="247" y="161"/>
                  </a:cubicBezTo>
                  <a:cubicBezTo>
                    <a:pt x="245" y="160"/>
                    <a:pt x="243" y="158"/>
                    <a:pt x="244" y="156"/>
                  </a:cubicBezTo>
                  <a:cubicBezTo>
                    <a:pt x="244" y="156"/>
                    <a:pt x="244" y="156"/>
                    <a:pt x="244" y="156"/>
                  </a:cubicBezTo>
                  <a:cubicBezTo>
                    <a:pt x="244" y="155"/>
                    <a:pt x="244" y="155"/>
                    <a:pt x="244" y="155"/>
                  </a:cubicBezTo>
                  <a:cubicBezTo>
                    <a:pt x="244" y="154"/>
                    <a:pt x="244" y="154"/>
                    <a:pt x="244" y="154"/>
                  </a:cubicBezTo>
                  <a:cubicBezTo>
                    <a:pt x="245" y="154"/>
                    <a:pt x="245" y="154"/>
                    <a:pt x="245" y="154"/>
                  </a:cubicBezTo>
                  <a:cubicBezTo>
                    <a:pt x="245" y="153"/>
                    <a:pt x="245" y="153"/>
                    <a:pt x="245" y="153"/>
                  </a:cubicBezTo>
                  <a:cubicBezTo>
                    <a:pt x="245" y="152"/>
                    <a:pt x="245" y="152"/>
                    <a:pt x="245" y="152"/>
                  </a:cubicBezTo>
                  <a:cubicBezTo>
                    <a:pt x="245" y="151"/>
                    <a:pt x="245" y="151"/>
                    <a:pt x="245" y="151"/>
                  </a:cubicBezTo>
                  <a:cubicBezTo>
                    <a:pt x="245" y="151"/>
                    <a:pt x="245" y="151"/>
                    <a:pt x="245" y="151"/>
                  </a:cubicBezTo>
                  <a:cubicBezTo>
                    <a:pt x="245" y="150"/>
                    <a:pt x="245" y="150"/>
                    <a:pt x="245" y="150"/>
                  </a:cubicBezTo>
                  <a:cubicBezTo>
                    <a:pt x="245" y="149"/>
                    <a:pt x="245" y="149"/>
                    <a:pt x="245" y="149"/>
                  </a:cubicBezTo>
                  <a:cubicBezTo>
                    <a:pt x="246" y="149"/>
                    <a:pt x="246" y="149"/>
                    <a:pt x="246" y="149"/>
                  </a:cubicBezTo>
                  <a:cubicBezTo>
                    <a:pt x="246" y="146"/>
                    <a:pt x="248" y="145"/>
                    <a:pt x="250" y="145"/>
                  </a:cubicBezTo>
                  <a:cubicBezTo>
                    <a:pt x="252" y="146"/>
                    <a:pt x="254" y="148"/>
                    <a:pt x="253" y="150"/>
                  </a:cubicBezTo>
                  <a:cubicBezTo>
                    <a:pt x="253" y="151"/>
                    <a:pt x="253" y="151"/>
                    <a:pt x="253" y="151"/>
                  </a:cubicBezTo>
                  <a:cubicBezTo>
                    <a:pt x="253" y="151"/>
                    <a:pt x="253" y="151"/>
                    <a:pt x="253" y="151"/>
                  </a:cubicBezTo>
                  <a:cubicBezTo>
                    <a:pt x="253" y="152"/>
                    <a:pt x="253" y="152"/>
                    <a:pt x="253" y="152"/>
                  </a:cubicBezTo>
                  <a:cubicBezTo>
                    <a:pt x="253" y="153"/>
                    <a:pt x="253" y="153"/>
                    <a:pt x="253" y="153"/>
                  </a:cubicBezTo>
                  <a:cubicBezTo>
                    <a:pt x="252" y="154"/>
                    <a:pt x="252" y="154"/>
                    <a:pt x="252" y="154"/>
                  </a:cubicBezTo>
                  <a:cubicBezTo>
                    <a:pt x="252" y="154"/>
                    <a:pt x="252" y="154"/>
                    <a:pt x="252" y="154"/>
                  </a:cubicBezTo>
                  <a:cubicBezTo>
                    <a:pt x="252" y="155"/>
                    <a:pt x="252" y="155"/>
                    <a:pt x="252" y="155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52" y="157"/>
                    <a:pt x="252" y="157"/>
                    <a:pt x="252" y="157"/>
                  </a:cubicBezTo>
                  <a:cubicBezTo>
                    <a:pt x="252" y="157"/>
                    <a:pt x="252" y="157"/>
                    <a:pt x="252" y="157"/>
                  </a:cubicBezTo>
                  <a:lnTo>
                    <a:pt x="252" y="158"/>
                  </a:lnTo>
                  <a:close/>
                  <a:moveTo>
                    <a:pt x="255" y="126"/>
                  </a:moveTo>
                  <a:cubicBezTo>
                    <a:pt x="255" y="128"/>
                    <a:pt x="253" y="130"/>
                    <a:pt x="251" y="130"/>
                  </a:cubicBezTo>
                  <a:cubicBezTo>
                    <a:pt x="249" y="130"/>
                    <a:pt x="247" y="128"/>
                    <a:pt x="247" y="126"/>
                  </a:cubicBezTo>
                  <a:cubicBezTo>
                    <a:pt x="247" y="126"/>
                    <a:pt x="247" y="126"/>
                    <a:pt x="247" y="126"/>
                  </a:cubicBezTo>
                  <a:cubicBezTo>
                    <a:pt x="247" y="125"/>
                    <a:pt x="247" y="125"/>
                    <a:pt x="247" y="125"/>
                  </a:cubicBezTo>
                  <a:cubicBezTo>
                    <a:pt x="247" y="124"/>
                    <a:pt x="247" y="124"/>
                    <a:pt x="247" y="124"/>
                  </a:cubicBezTo>
                  <a:cubicBezTo>
                    <a:pt x="247" y="123"/>
                    <a:pt x="247" y="123"/>
                    <a:pt x="247" y="123"/>
                  </a:cubicBezTo>
                  <a:cubicBezTo>
                    <a:pt x="247" y="122"/>
                    <a:pt x="247" y="122"/>
                    <a:pt x="247" y="122"/>
                  </a:cubicBezTo>
                  <a:cubicBezTo>
                    <a:pt x="247" y="122"/>
                    <a:pt x="247" y="122"/>
                    <a:pt x="247" y="122"/>
                  </a:cubicBezTo>
                  <a:cubicBezTo>
                    <a:pt x="247" y="121"/>
                    <a:pt x="247" y="121"/>
                    <a:pt x="247" y="121"/>
                  </a:cubicBezTo>
                  <a:cubicBezTo>
                    <a:pt x="247" y="120"/>
                    <a:pt x="247" y="120"/>
                    <a:pt x="247" y="120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7" y="116"/>
                    <a:pt x="248" y="115"/>
                    <a:pt x="251" y="114"/>
                  </a:cubicBezTo>
                  <a:cubicBezTo>
                    <a:pt x="253" y="114"/>
                    <a:pt x="255" y="116"/>
                    <a:pt x="255" y="118"/>
                  </a:cubicBezTo>
                  <a:cubicBezTo>
                    <a:pt x="255" y="118"/>
                    <a:pt x="255" y="118"/>
                    <a:pt x="255" y="118"/>
                  </a:cubicBezTo>
                  <a:cubicBezTo>
                    <a:pt x="255" y="119"/>
                    <a:pt x="255" y="119"/>
                    <a:pt x="255" y="119"/>
                  </a:cubicBezTo>
                  <a:cubicBezTo>
                    <a:pt x="255" y="120"/>
                    <a:pt x="255" y="120"/>
                    <a:pt x="255" y="120"/>
                  </a:cubicBezTo>
                  <a:cubicBezTo>
                    <a:pt x="255" y="121"/>
                    <a:pt x="255" y="121"/>
                    <a:pt x="255" y="121"/>
                  </a:cubicBezTo>
                  <a:cubicBezTo>
                    <a:pt x="255" y="121"/>
                    <a:pt x="255" y="121"/>
                    <a:pt x="255" y="121"/>
                  </a:cubicBezTo>
                  <a:cubicBezTo>
                    <a:pt x="255" y="122"/>
                    <a:pt x="255" y="122"/>
                    <a:pt x="255" y="122"/>
                  </a:cubicBezTo>
                  <a:cubicBezTo>
                    <a:pt x="255" y="123"/>
                    <a:pt x="255" y="123"/>
                    <a:pt x="255" y="123"/>
                  </a:cubicBezTo>
                  <a:cubicBezTo>
                    <a:pt x="255" y="124"/>
                    <a:pt x="255" y="124"/>
                    <a:pt x="255" y="124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5" y="125"/>
                    <a:pt x="255" y="125"/>
                    <a:pt x="255" y="125"/>
                  </a:cubicBezTo>
                  <a:lnTo>
                    <a:pt x="255" y="126"/>
                  </a:lnTo>
                  <a:close/>
                  <a:moveTo>
                    <a:pt x="251" y="94"/>
                  </a:moveTo>
                  <a:cubicBezTo>
                    <a:pt x="251" y="96"/>
                    <a:pt x="250" y="99"/>
                    <a:pt x="248" y="99"/>
                  </a:cubicBezTo>
                  <a:cubicBezTo>
                    <a:pt x="246" y="100"/>
                    <a:pt x="244" y="98"/>
                    <a:pt x="243" y="96"/>
                  </a:cubicBezTo>
                  <a:cubicBezTo>
                    <a:pt x="243" y="96"/>
                    <a:pt x="243" y="96"/>
                    <a:pt x="243" y="96"/>
                  </a:cubicBezTo>
                  <a:cubicBezTo>
                    <a:pt x="243" y="95"/>
                    <a:pt x="243" y="95"/>
                    <a:pt x="243" y="95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42" y="94"/>
                    <a:pt x="242" y="94"/>
                    <a:pt x="242" y="94"/>
                  </a:cubicBezTo>
                  <a:cubicBezTo>
                    <a:pt x="242" y="93"/>
                    <a:pt x="242" y="93"/>
                    <a:pt x="242" y="93"/>
                  </a:cubicBezTo>
                  <a:cubicBezTo>
                    <a:pt x="242" y="92"/>
                    <a:pt x="242" y="92"/>
                    <a:pt x="242" y="92"/>
                  </a:cubicBezTo>
                  <a:cubicBezTo>
                    <a:pt x="242" y="91"/>
                    <a:pt x="242" y="91"/>
                    <a:pt x="242" y="91"/>
                  </a:cubicBezTo>
                  <a:cubicBezTo>
                    <a:pt x="242" y="91"/>
                    <a:pt x="242" y="91"/>
                    <a:pt x="242" y="91"/>
                  </a:cubicBezTo>
                  <a:cubicBezTo>
                    <a:pt x="241" y="90"/>
                    <a:pt x="241" y="90"/>
                    <a:pt x="241" y="90"/>
                  </a:cubicBezTo>
                  <a:cubicBezTo>
                    <a:pt x="241" y="89"/>
                    <a:pt x="241" y="89"/>
                    <a:pt x="241" y="89"/>
                  </a:cubicBezTo>
                  <a:cubicBezTo>
                    <a:pt x="241" y="89"/>
                    <a:pt x="241" y="89"/>
                    <a:pt x="241" y="89"/>
                  </a:cubicBezTo>
                  <a:cubicBezTo>
                    <a:pt x="240" y="87"/>
                    <a:pt x="242" y="85"/>
                    <a:pt x="243" y="84"/>
                  </a:cubicBezTo>
                  <a:cubicBezTo>
                    <a:pt x="246" y="83"/>
                    <a:pt x="248" y="85"/>
                    <a:pt x="248" y="87"/>
                  </a:cubicBezTo>
                  <a:cubicBezTo>
                    <a:pt x="249" y="87"/>
                    <a:pt x="249" y="87"/>
                    <a:pt x="249" y="87"/>
                  </a:cubicBezTo>
                  <a:cubicBezTo>
                    <a:pt x="249" y="88"/>
                    <a:pt x="249" y="88"/>
                    <a:pt x="249" y="88"/>
                  </a:cubicBezTo>
                  <a:cubicBezTo>
                    <a:pt x="249" y="88"/>
                    <a:pt x="249" y="88"/>
                    <a:pt x="249" y="88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9" y="90"/>
                    <a:pt x="249" y="90"/>
                    <a:pt x="249" y="90"/>
                  </a:cubicBezTo>
                  <a:cubicBezTo>
                    <a:pt x="250" y="91"/>
                    <a:pt x="250" y="91"/>
                    <a:pt x="250" y="91"/>
                  </a:cubicBezTo>
                  <a:cubicBezTo>
                    <a:pt x="250" y="91"/>
                    <a:pt x="250" y="91"/>
                    <a:pt x="250" y="91"/>
                  </a:cubicBezTo>
                  <a:cubicBezTo>
                    <a:pt x="250" y="92"/>
                    <a:pt x="250" y="92"/>
                    <a:pt x="250" y="92"/>
                  </a:cubicBezTo>
                  <a:cubicBezTo>
                    <a:pt x="250" y="93"/>
                    <a:pt x="250" y="93"/>
                    <a:pt x="250" y="93"/>
                  </a:cubicBezTo>
                  <a:cubicBezTo>
                    <a:pt x="251" y="94"/>
                    <a:pt x="251" y="94"/>
                    <a:pt x="251" y="94"/>
                  </a:cubicBezTo>
                  <a:close/>
                  <a:moveTo>
                    <a:pt x="239" y="65"/>
                  </a:moveTo>
                  <a:cubicBezTo>
                    <a:pt x="240" y="67"/>
                    <a:pt x="239" y="69"/>
                    <a:pt x="237" y="70"/>
                  </a:cubicBezTo>
                  <a:cubicBezTo>
                    <a:pt x="235" y="71"/>
                    <a:pt x="233" y="70"/>
                    <a:pt x="232" y="69"/>
                  </a:cubicBezTo>
                  <a:cubicBezTo>
                    <a:pt x="232" y="68"/>
                    <a:pt x="232" y="68"/>
                    <a:pt x="232" y="68"/>
                  </a:cubicBezTo>
                  <a:cubicBezTo>
                    <a:pt x="231" y="67"/>
                    <a:pt x="231" y="67"/>
                    <a:pt x="231" y="67"/>
                  </a:cubicBezTo>
                  <a:cubicBezTo>
                    <a:pt x="231" y="67"/>
                    <a:pt x="231" y="67"/>
                    <a:pt x="231" y="67"/>
                  </a:cubicBezTo>
                  <a:cubicBezTo>
                    <a:pt x="231" y="66"/>
                    <a:pt x="231" y="66"/>
                    <a:pt x="231" y="66"/>
                  </a:cubicBezTo>
                  <a:cubicBezTo>
                    <a:pt x="230" y="66"/>
                    <a:pt x="230" y="66"/>
                    <a:pt x="230" y="66"/>
                  </a:cubicBezTo>
                  <a:cubicBezTo>
                    <a:pt x="230" y="65"/>
                    <a:pt x="230" y="65"/>
                    <a:pt x="230" y="65"/>
                  </a:cubicBezTo>
                  <a:cubicBezTo>
                    <a:pt x="229" y="64"/>
                    <a:pt x="229" y="64"/>
                    <a:pt x="229" y="64"/>
                  </a:cubicBezTo>
                  <a:cubicBezTo>
                    <a:pt x="229" y="64"/>
                    <a:pt x="229" y="64"/>
                    <a:pt x="229" y="64"/>
                  </a:cubicBezTo>
                  <a:cubicBezTo>
                    <a:pt x="229" y="63"/>
                    <a:pt x="229" y="63"/>
                    <a:pt x="229" y="63"/>
                  </a:cubicBezTo>
                  <a:cubicBezTo>
                    <a:pt x="228" y="62"/>
                    <a:pt x="228" y="62"/>
                    <a:pt x="228" y="62"/>
                  </a:cubicBezTo>
                  <a:cubicBezTo>
                    <a:pt x="228" y="62"/>
                    <a:pt x="228" y="62"/>
                    <a:pt x="228" y="62"/>
                  </a:cubicBezTo>
                  <a:cubicBezTo>
                    <a:pt x="227" y="60"/>
                    <a:pt x="227" y="58"/>
                    <a:pt x="229" y="57"/>
                  </a:cubicBezTo>
                  <a:cubicBezTo>
                    <a:pt x="231" y="56"/>
                    <a:pt x="233" y="56"/>
                    <a:pt x="234" y="58"/>
                  </a:cubicBezTo>
                  <a:cubicBezTo>
                    <a:pt x="235" y="58"/>
                    <a:pt x="235" y="58"/>
                    <a:pt x="235" y="58"/>
                  </a:cubicBezTo>
                  <a:cubicBezTo>
                    <a:pt x="235" y="59"/>
                    <a:pt x="235" y="59"/>
                    <a:pt x="235" y="59"/>
                  </a:cubicBezTo>
                  <a:cubicBezTo>
                    <a:pt x="236" y="60"/>
                    <a:pt x="236" y="60"/>
                    <a:pt x="236" y="60"/>
                  </a:cubicBezTo>
                  <a:cubicBezTo>
                    <a:pt x="236" y="60"/>
                    <a:pt x="236" y="60"/>
                    <a:pt x="236" y="60"/>
                  </a:cubicBezTo>
                  <a:cubicBezTo>
                    <a:pt x="236" y="61"/>
                    <a:pt x="236" y="61"/>
                    <a:pt x="236" y="61"/>
                  </a:cubicBezTo>
                  <a:cubicBezTo>
                    <a:pt x="237" y="62"/>
                    <a:pt x="237" y="62"/>
                    <a:pt x="237" y="62"/>
                  </a:cubicBezTo>
                  <a:cubicBezTo>
                    <a:pt x="237" y="62"/>
                    <a:pt x="237" y="62"/>
                    <a:pt x="237" y="62"/>
                  </a:cubicBezTo>
                  <a:cubicBezTo>
                    <a:pt x="238" y="63"/>
                    <a:pt x="238" y="63"/>
                    <a:pt x="238" y="63"/>
                  </a:cubicBezTo>
                  <a:cubicBezTo>
                    <a:pt x="238" y="64"/>
                    <a:pt x="238" y="64"/>
                    <a:pt x="238" y="64"/>
                  </a:cubicBezTo>
                  <a:cubicBezTo>
                    <a:pt x="238" y="64"/>
                    <a:pt x="238" y="64"/>
                    <a:pt x="238" y="64"/>
                  </a:cubicBezTo>
                  <a:lnTo>
                    <a:pt x="239" y="65"/>
                  </a:lnTo>
                  <a:close/>
                  <a:moveTo>
                    <a:pt x="220" y="39"/>
                  </a:moveTo>
                  <a:cubicBezTo>
                    <a:pt x="221" y="41"/>
                    <a:pt x="221" y="43"/>
                    <a:pt x="219" y="45"/>
                  </a:cubicBezTo>
                  <a:cubicBezTo>
                    <a:pt x="218" y="46"/>
                    <a:pt x="215" y="46"/>
                    <a:pt x="214" y="44"/>
                  </a:cubicBezTo>
                  <a:cubicBezTo>
                    <a:pt x="214" y="44"/>
                    <a:pt x="214" y="44"/>
                    <a:pt x="214" y="44"/>
                  </a:cubicBezTo>
                  <a:cubicBezTo>
                    <a:pt x="213" y="44"/>
                    <a:pt x="213" y="44"/>
                    <a:pt x="213" y="44"/>
                  </a:cubicBezTo>
                  <a:cubicBezTo>
                    <a:pt x="213" y="43"/>
                    <a:pt x="213" y="43"/>
                    <a:pt x="213" y="43"/>
                  </a:cubicBezTo>
                  <a:cubicBezTo>
                    <a:pt x="212" y="43"/>
                    <a:pt x="212" y="43"/>
                    <a:pt x="212" y="43"/>
                  </a:cubicBezTo>
                  <a:cubicBezTo>
                    <a:pt x="212" y="42"/>
                    <a:pt x="212" y="42"/>
                    <a:pt x="212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0" y="41"/>
                    <a:pt x="210" y="41"/>
                    <a:pt x="210" y="41"/>
                  </a:cubicBezTo>
                  <a:cubicBezTo>
                    <a:pt x="210" y="40"/>
                    <a:pt x="210" y="40"/>
                    <a:pt x="210" y="40"/>
                  </a:cubicBezTo>
                  <a:cubicBezTo>
                    <a:pt x="209" y="40"/>
                    <a:pt x="209" y="40"/>
                    <a:pt x="209" y="40"/>
                  </a:cubicBezTo>
                  <a:cubicBezTo>
                    <a:pt x="209" y="39"/>
                    <a:pt x="209" y="39"/>
                    <a:pt x="209" y="39"/>
                  </a:cubicBezTo>
                  <a:cubicBezTo>
                    <a:pt x="209" y="39"/>
                    <a:pt x="209" y="39"/>
                    <a:pt x="209" y="39"/>
                  </a:cubicBezTo>
                  <a:cubicBezTo>
                    <a:pt x="207" y="38"/>
                    <a:pt x="207" y="35"/>
                    <a:pt x="208" y="34"/>
                  </a:cubicBezTo>
                  <a:cubicBezTo>
                    <a:pt x="210" y="32"/>
                    <a:pt x="212" y="32"/>
                    <a:pt x="214" y="33"/>
                  </a:cubicBezTo>
                  <a:cubicBezTo>
                    <a:pt x="214" y="34"/>
                    <a:pt x="214" y="34"/>
                    <a:pt x="214" y="34"/>
                  </a:cubicBezTo>
                  <a:cubicBezTo>
                    <a:pt x="215" y="34"/>
                    <a:pt x="215" y="34"/>
                    <a:pt x="215" y="34"/>
                  </a:cubicBezTo>
                  <a:cubicBezTo>
                    <a:pt x="215" y="35"/>
                    <a:pt x="215" y="35"/>
                    <a:pt x="215" y="35"/>
                  </a:cubicBezTo>
                  <a:cubicBezTo>
                    <a:pt x="216" y="35"/>
                    <a:pt x="216" y="35"/>
                    <a:pt x="216" y="35"/>
                  </a:cubicBezTo>
                  <a:cubicBezTo>
                    <a:pt x="216" y="36"/>
                    <a:pt x="216" y="36"/>
                    <a:pt x="216" y="36"/>
                  </a:cubicBezTo>
                  <a:cubicBezTo>
                    <a:pt x="217" y="36"/>
                    <a:pt x="217" y="36"/>
                    <a:pt x="217" y="36"/>
                  </a:cubicBezTo>
                  <a:cubicBezTo>
                    <a:pt x="217" y="37"/>
                    <a:pt x="217" y="37"/>
                    <a:pt x="217" y="37"/>
                  </a:cubicBezTo>
                  <a:cubicBezTo>
                    <a:pt x="218" y="37"/>
                    <a:pt x="218" y="37"/>
                    <a:pt x="218" y="37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19" y="38"/>
                    <a:pt x="219" y="38"/>
                    <a:pt x="219" y="38"/>
                  </a:cubicBezTo>
                  <a:cubicBezTo>
                    <a:pt x="220" y="39"/>
                    <a:pt x="220" y="39"/>
                    <a:pt x="220" y="39"/>
                  </a:cubicBezTo>
                  <a:close/>
                  <a:moveTo>
                    <a:pt x="195" y="19"/>
                  </a:moveTo>
                  <a:cubicBezTo>
                    <a:pt x="197" y="20"/>
                    <a:pt x="197" y="22"/>
                    <a:pt x="196" y="24"/>
                  </a:cubicBezTo>
                  <a:cubicBezTo>
                    <a:pt x="195" y="26"/>
                    <a:pt x="192" y="27"/>
                    <a:pt x="191" y="25"/>
                  </a:cubicBezTo>
                  <a:cubicBezTo>
                    <a:pt x="190" y="25"/>
                    <a:pt x="190" y="25"/>
                    <a:pt x="190" y="25"/>
                  </a:cubicBezTo>
                  <a:cubicBezTo>
                    <a:pt x="190" y="25"/>
                    <a:pt x="190" y="25"/>
                    <a:pt x="190" y="25"/>
                  </a:cubicBezTo>
                  <a:cubicBezTo>
                    <a:pt x="189" y="25"/>
                    <a:pt x="189" y="25"/>
                    <a:pt x="189" y="25"/>
                  </a:cubicBezTo>
                  <a:cubicBezTo>
                    <a:pt x="189" y="24"/>
                    <a:pt x="189" y="24"/>
                    <a:pt x="189" y="24"/>
                  </a:cubicBezTo>
                  <a:cubicBezTo>
                    <a:pt x="188" y="24"/>
                    <a:pt x="188" y="24"/>
                    <a:pt x="188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87" y="23"/>
                    <a:pt x="187" y="23"/>
                    <a:pt x="187" y="23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85" y="22"/>
                    <a:pt x="185" y="22"/>
                    <a:pt x="185" y="22"/>
                  </a:cubicBezTo>
                  <a:cubicBezTo>
                    <a:pt x="185" y="22"/>
                    <a:pt x="185" y="22"/>
                    <a:pt x="185" y="22"/>
                  </a:cubicBezTo>
                  <a:cubicBezTo>
                    <a:pt x="184" y="22"/>
                    <a:pt x="184" y="22"/>
                    <a:pt x="184" y="22"/>
                  </a:cubicBezTo>
                  <a:cubicBezTo>
                    <a:pt x="184" y="22"/>
                    <a:pt x="184" y="22"/>
                    <a:pt x="184" y="22"/>
                  </a:cubicBezTo>
                  <a:cubicBezTo>
                    <a:pt x="182" y="21"/>
                    <a:pt x="181" y="18"/>
                    <a:pt x="182" y="16"/>
                  </a:cubicBezTo>
                  <a:cubicBezTo>
                    <a:pt x="184" y="15"/>
                    <a:pt x="186" y="14"/>
                    <a:pt x="188" y="15"/>
                  </a:cubicBezTo>
                  <a:cubicBezTo>
                    <a:pt x="188" y="15"/>
                    <a:pt x="188" y="15"/>
                    <a:pt x="188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7"/>
                    <a:pt x="191" y="17"/>
                    <a:pt x="191" y="17"/>
                  </a:cubicBezTo>
                  <a:cubicBezTo>
                    <a:pt x="192" y="17"/>
                    <a:pt x="192" y="17"/>
                    <a:pt x="192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9"/>
                    <a:pt x="194" y="19"/>
                    <a:pt x="194" y="19"/>
                  </a:cubicBezTo>
                  <a:lnTo>
                    <a:pt x="195" y="19"/>
                  </a:lnTo>
                  <a:close/>
                  <a:moveTo>
                    <a:pt x="166" y="6"/>
                  </a:moveTo>
                  <a:cubicBezTo>
                    <a:pt x="168" y="6"/>
                    <a:pt x="169" y="8"/>
                    <a:pt x="168" y="10"/>
                  </a:cubicBezTo>
                  <a:cubicBezTo>
                    <a:pt x="168" y="12"/>
                    <a:pt x="165" y="14"/>
                    <a:pt x="163" y="13"/>
                  </a:cubicBezTo>
                  <a:cubicBezTo>
                    <a:pt x="163" y="13"/>
                    <a:pt x="163" y="13"/>
                    <a:pt x="163" y="13"/>
                  </a:cubicBezTo>
                  <a:cubicBezTo>
                    <a:pt x="162" y="13"/>
                    <a:pt x="162" y="13"/>
                    <a:pt x="162" y="13"/>
                  </a:cubicBezTo>
                  <a:cubicBezTo>
                    <a:pt x="161" y="12"/>
                    <a:pt x="161" y="12"/>
                    <a:pt x="161" y="12"/>
                  </a:cubicBezTo>
                  <a:cubicBezTo>
                    <a:pt x="161" y="12"/>
                    <a:pt x="161" y="12"/>
                    <a:pt x="161" y="12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8" y="11"/>
                    <a:pt x="158" y="11"/>
                    <a:pt x="158" y="11"/>
                  </a:cubicBezTo>
                  <a:cubicBezTo>
                    <a:pt x="157" y="11"/>
                    <a:pt x="157" y="11"/>
                    <a:pt x="157" y="11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4" y="10"/>
                    <a:pt x="153" y="8"/>
                    <a:pt x="153" y="6"/>
                  </a:cubicBezTo>
                  <a:cubicBezTo>
                    <a:pt x="154" y="4"/>
                    <a:pt x="156" y="3"/>
                    <a:pt x="158" y="3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61" y="4"/>
                    <a:pt x="161" y="4"/>
                    <a:pt x="161" y="4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63" y="5"/>
                    <a:pt x="163" y="5"/>
                    <a:pt x="163" y="5"/>
                  </a:cubicBezTo>
                  <a:cubicBezTo>
                    <a:pt x="163" y="5"/>
                    <a:pt x="163" y="5"/>
                    <a:pt x="163" y="5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5" y="5"/>
                    <a:pt x="165" y="5"/>
                    <a:pt x="165" y="5"/>
                  </a:cubicBezTo>
                  <a:lnTo>
                    <a:pt x="166" y="6"/>
                  </a:lnTo>
                  <a:close/>
                </a:path>
              </a:pathLst>
            </a:custGeom>
            <a:solidFill>
              <a:srgbClr val="6D93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íś1ïďê">
              <a:extLst>
                <a:ext uri="{FF2B5EF4-FFF2-40B4-BE49-F238E27FC236}">
                  <a16:creationId xmlns:a16="http://schemas.microsoft.com/office/drawing/2014/main" id="{870023A8-18CC-4AFC-819D-740FE37FDF23}"/>
                </a:ext>
              </a:extLst>
            </p:cNvPr>
            <p:cNvSpPr/>
            <p:nvPr/>
          </p:nvSpPr>
          <p:spPr bwMode="auto">
            <a:xfrm>
              <a:off x="4252119" y="1743076"/>
              <a:ext cx="585788" cy="558800"/>
            </a:xfrm>
            <a:custGeom>
              <a:avLst/>
              <a:gdLst>
                <a:gd name="T0" fmla="*/ 58 w 108"/>
                <a:gd name="T1" fmla="*/ 3 h 103"/>
                <a:gd name="T2" fmla="*/ 71 w 108"/>
                <a:gd name="T3" fmla="*/ 35 h 103"/>
                <a:gd name="T4" fmla="*/ 104 w 108"/>
                <a:gd name="T5" fmla="*/ 36 h 103"/>
                <a:gd name="T6" fmla="*/ 108 w 108"/>
                <a:gd name="T7" fmla="*/ 41 h 103"/>
                <a:gd name="T8" fmla="*/ 106 w 108"/>
                <a:gd name="T9" fmla="*/ 44 h 103"/>
                <a:gd name="T10" fmla="*/ 106 w 108"/>
                <a:gd name="T11" fmla="*/ 44 h 103"/>
                <a:gd name="T12" fmla="*/ 79 w 108"/>
                <a:gd name="T13" fmla="*/ 66 h 103"/>
                <a:gd name="T14" fmla="*/ 89 w 108"/>
                <a:gd name="T15" fmla="*/ 98 h 103"/>
                <a:gd name="T16" fmla="*/ 86 w 108"/>
                <a:gd name="T17" fmla="*/ 103 h 103"/>
                <a:gd name="T18" fmla="*/ 82 w 108"/>
                <a:gd name="T19" fmla="*/ 102 h 103"/>
                <a:gd name="T20" fmla="*/ 53 w 108"/>
                <a:gd name="T21" fmla="*/ 84 h 103"/>
                <a:gd name="T22" fmla="*/ 26 w 108"/>
                <a:gd name="T23" fmla="*/ 102 h 103"/>
                <a:gd name="T24" fmla="*/ 20 w 108"/>
                <a:gd name="T25" fmla="*/ 101 h 103"/>
                <a:gd name="T26" fmla="*/ 19 w 108"/>
                <a:gd name="T27" fmla="*/ 98 h 103"/>
                <a:gd name="T28" fmla="*/ 28 w 108"/>
                <a:gd name="T29" fmla="*/ 64 h 103"/>
                <a:gd name="T30" fmla="*/ 2 w 108"/>
                <a:gd name="T31" fmla="*/ 44 h 103"/>
                <a:gd name="T32" fmla="*/ 1 w 108"/>
                <a:gd name="T33" fmla="*/ 38 h 103"/>
                <a:gd name="T34" fmla="*/ 4 w 108"/>
                <a:gd name="T35" fmla="*/ 36 h 103"/>
                <a:gd name="T36" fmla="*/ 4 w 108"/>
                <a:gd name="T37" fmla="*/ 36 h 103"/>
                <a:gd name="T38" fmla="*/ 39 w 108"/>
                <a:gd name="T39" fmla="*/ 34 h 103"/>
                <a:gd name="T40" fmla="*/ 50 w 108"/>
                <a:gd name="T41" fmla="*/ 3 h 103"/>
                <a:gd name="T42" fmla="*/ 55 w 108"/>
                <a:gd name="T43" fmla="*/ 1 h 103"/>
                <a:gd name="T44" fmla="*/ 58 w 108"/>
                <a:gd name="T45" fmla="*/ 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" h="103">
                  <a:moveTo>
                    <a:pt x="58" y="3"/>
                  </a:moveTo>
                  <a:cubicBezTo>
                    <a:pt x="71" y="35"/>
                    <a:pt x="71" y="35"/>
                    <a:pt x="71" y="35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6" y="36"/>
                    <a:pt x="108" y="38"/>
                    <a:pt x="108" y="41"/>
                  </a:cubicBezTo>
                  <a:cubicBezTo>
                    <a:pt x="108" y="42"/>
                    <a:pt x="107" y="43"/>
                    <a:pt x="106" y="44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9" y="100"/>
                    <a:pt x="88" y="102"/>
                    <a:pt x="86" y="103"/>
                  </a:cubicBezTo>
                  <a:cubicBezTo>
                    <a:pt x="84" y="103"/>
                    <a:pt x="83" y="103"/>
                    <a:pt x="82" y="102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4" y="103"/>
                    <a:pt x="21" y="103"/>
                    <a:pt x="20" y="101"/>
                  </a:cubicBezTo>
                  <a:cubicBezTo>
                    <a:pt x="19" y="100"/>
                    <a:pt x="19" y="99"/>
                    <a:pt x="19" y="98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0" y="42"/>
                    <a:pt x="0" y="40"/>
                    <a:pt x="1" y="38"/>
                  </a:cubicBezTo>
                  <a:cubicBezTo>
                    <a:pt x="2" y="37"/>
                    <a:pt x="3" y="36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1" y="1"/>
                    <a:pt x="53" y="0"/>
                    <a:pt x="55" y="1"/>
                  </a:cubicBezTo>
                  <a:cubicBezTo>
                    <a:pt x="57" y="1"/>
                    <a:pt x="57" y="2"/>
                    <a:pt x="58" y="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íŝļîḋe">
              <a:extLst>
                <a:ext uri="{FF2B5EF4-FFF2-40B4-BE49-F238E27FC236}">
                  <a16:creationId xmlns:a16="http://schemas.microsoft.com/office/drawing/2014/main" id="{C268EC21-F022-420C-9996-198E0C1C0D6E}"/>
                </a:ext>
              </a:extLst>
            </p:cNvPr>
            <p:cNvSpPr/>
            <p:nvPr/>
          </p:nvSpPr>
          <p:spPr bwMode="auto">
            <a:xfrm>
              <a:off x="4876007" y="1743076"/>
              <a:ext cx="585788" cy="558800"/>
            </a:xfrm>
            <a:custGeom>
              <a:avLst/>
              <a:gdLst>
                <a:gd name="T0" fmla="*/ 58 w 108"/>
                <a:gd name="T1" fmla="*/ 3 h 103"/>
                <a:gd name="T2" fmla="*/ 71 w 108"/>
                <a:gd name="T3" fmla="*/ 35 h 103"/>
                <a:gd name="T4" fmla="*/ 104 w 108"/>
                <a:gd name="T5" fmla="*/ 36 h 103"/>
                <a:gd name="T6" fmla="*/ 108 w 108"/>
                <a:gd name="T7" fmla="*/ 41 h 103"/>
                <a:gd name="T8" fmla="*/ 107 w 108"/>
                <a:gd name="T9" fmla="*/ 44 h 103"/>
                <a:gd name="T10" fmla="*/ 107 w 108"/>
                <a:gd name="T11" fmla="*/ 44 h 103"/>
                <a:gd name="T12" fmla="*/ 80 w 108"/>
                <a:gd name="T13" fmla="*/ 66 h 103"/>
                <a:gd name="T14" fmla="*/ 89 w 108"/>
                <a:gd name="T15" fmla="*/ 98 h 103"/>
                <a:gd name="T16" fmla="*/ 86 w 108"/>
                <a:gd name="T17" fmla="*/ 103 h 103"/>
                <a:gd name="T18" fmla="*/ 83 w 108"/>
                <a:gd name="T19" fmla="*/ 102 h 103"/>
                <a:gd name="T20" fmla="*/ 53 w 108"/>
                <a:gd name="T21" fmla="*/ 84 h 103"/>
                <a:gd name="T22" fmla="*/ 26 w 108"/>
                <a:gd name="T23" fmla="*/ 102 h 103"/>
                <a:gd name="T24" fmla="*/ 20 w 108"/>
                <a:gd name="T25" fmla="*/ 101 h 103"/>
                <a:gd name="T26" fmla="*/ 20 w 108"/>
                <a:gd name="T27" fmla="*/ 98 h 103"/>
                <a:gd name="T28" fmla="*/ 28 w 108"/>
                <a:gd name="T29" fmla="*/ 64 h 103"/>
                <a:gd name="T30" fmla="*/ 2 w 108"/>
                <a:gd name="T31" fmla="*/ 44 h 103"/>
                <a:gd name="T32" fmla="*/ 2 w 108"/>
                <a:gd name="T33" fmla="*/ 38 h 103"/>
                <a:gd name="T34" fmla="*/ 5 w 108"/>
                <a:gd name="T35" fmla="*/ 36 h 103"/>
                <a:gd name="T36" fmla="*/ 5 w 108"/>
                <a:gd name="T37" fmla="*/ 36 h 103"/>
                <a:gd name="T38" fmla="*/ 39 w 108"/>
                <a:gd name="T39" fmla="*/ 34 h 103"/>
                <a:gd name="T40" fmla="*/ 51 w 108"/>
                <a:gd name="T41" fmla="*/ 3 h 103"/>
                <a:gd name="T42" fmla="*/ 56 w 108"/>
                <a:gd name="T43" fmla="*/ 1 h 103"/>
                <a:gd name="T44" fmla="*/ 58 w 108"/>
                <a:gd name="T45" fmla="*/ 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" h="103">
                  <a:moveTo>
                    <a:pt x="58" y="3"/>
                  </a:moveTo>
                  <a:cubicBezTo>
                    <a:pt x="71" y="35"/>
                    <a:pt x="71" y="35"/>
                    <a:pt x="71" y="35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6" y="36"/>
                    <a:pt x="108" y="38"/>
                    <a:pt x="108" y="41"/>
                  </a:cubicBezTo>
                  <a:cubicBezTo>
                    <a:pt x="108" y="42"/>
                    <a:pt x="108" y="43"/>
                    <a:pt x="107" y="4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90" y="100"/>
                    <a:pt x="88" y="102"/>
                    <a:pt x="86" y="103"/>
                  </a:cubicBezTo>
                  <a:cubicBezTo>
                    <a:pt x="85" y="103"/>
                    <a:pt x="84" y="103"/>
                    <a:pt x="83" y="102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4" y="103"/>
                    <a:pt x="22" y="103"/>
                    <a:pt x="20" y="101"/>
                  </a:cubicBezTo>
                  <a:cubicBezTo>
                    <a:pt x="20" y="100"/>
                    <a:pt x="20" y="99"/>
                    <a:pt x="20" y="98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" y="42"/>
                    <a:pt x="0" y="40"/>
                    <a:pt x="2" y="38"/>
                  </a:cubicBezTo>
                  <a:cubicBezTo>
                    <a:pt x="2" y="37"/>
                    <a:pt x="4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4" y="0"/>
                    <a:pt x="56" y="1"/>
                  </a:cubicBezTo>
                  <a:cubicBezTo>
                    <a:pt x="57" y="1"/>
                    <a:pt x="58" y="2"/>
                    <a:pt x="58" y="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ïṩḷîḍê">
              <a:extLst>
                <a:ext uri="{FF2B5EF4-FFF2-40B4-BE49-F238E27FC236}">
                  <a16:creationId xmlns:a16="http://schemas.microsoft.com/office/drawing/2014/main" id="{A76EA3C7-3738-461D-8A49-3587F06D4F11}"/>
                </a:ext>
              </a:extLst>
            </p:cNvPr>
            <p:cNvSpPr/>
            <p:nvPr/>
          </p:nvSpPr>
          <p:spPr bwMode="auto">
            <a:xfrm>
              <a:off x="3617119" y="1743076"/>
              <a:ext cx="579438" cy="558800"/>
            </a:xfrm>
            <a:custGeom>
              <a:avLst/>
              <a:gdLst>
                <a:gd name="T0" fmla="*/ 58 w 107"/>
                <a:gd name="T1" fmla="*/ 3 h 103"/>
                <a:gd name="T2" fmla="*/ 71 w 107"/>
                <a:gd name="T3" fmla="*/ 35 h 103"/>
                <a:gd name="T4" fmla="*/ 103 w 107"/>
                <a:gd name="T5" fmla="*/ 36 h 103"/>
                <a:gd name="T6" fmla="*/ 107 w 107"/>
                <a:gd name="T7" fmla="*/ 41 h 103"/>
                <a:gd name="T8" fmla="*/ 106 w 107"/>
                <a:gd name="T9" fmla="*/ 44 h 103"/>
                <a:gd name="T10" fmla="*/ 106 w 107"/>
                <a:gd name="T11" fmla="*/ 44 h 103"/>
                <a:gd name="T12" fmla="*/ 79 w 107"/>
                <a:gd name="T13" fmla="*/ 66 h 103"/>
                <a:gd name="T14" fmla="*/ 88 w 107"/>
                <a:gd name="T15" fmla="*/ 98 h 103"/>
                <a:gd name="T16" fmla="*/ 86 w 107"/>
                <a:gd name="T17" fmla="*/ 103 h 103"/>
                <a:gd name="T18" fmla="*/ 82 w 107"/>
                <a:gd name="T19" fmla="*/ 102 h 103"/>
                <a:gd name="T20" fmla="*/ 53 w 107"/>
                <a:gd name="T21" fmla="*/ 84 h 103"/>
                <a:gd name="T22" fmla="*/ 26 w 107"/>
                <a:gd name="T23" fmla="*/ 102 h 103"/>
                <a:gd name="T24" fmla="*/ 20 w 107"/>
                <a:gd name="T25" fmla="*/ 101 h 103"/>
                <a:gd name="T26" fmla="*/ 19 w 107"/>
                <a:gd name="T27" fmla="*/ 98 h 103"/>
                <a:gd name="T28" fmla="*/ 28 w 107"/>
                <a:gd name="T29" fmla="*/ 64 h 103"/>
                <a:gd name="T30" fmla="*/ 2 w 107"/>
                <a:gd name="T31" fmla="*/ 44 h 103"/>
                <a:gd name="T32" fmla="*/ 1 w 107"/>
                <a:gd name="T33" fmla="*/ 38 h 103"/>
                <a:gd name="T34" fmla="*/ 4 w 107"/>
                <a:gd name="T35" fmla="*/ 36 h 103"/>
                <a:gd name="T36" fmla="*/ 4 w 107"/>
                <a:gd name="T37" fmla="*/ 36 h 103"/>
                <a:gd name="T38" fmla="*/ 39 w 107"/>
                <a:gd name="T39" fmla="*/ 34 h 103"/>
                <a:gd name="T40" fmla="*/ 50 w 107"/>
                <a:gd name="T41" fmla="*/ 3 h 103"/>
                <a:gd name="T42" fmla="*/ 55 w 107"/>
                <a:gd name="T43" fmla="*/ 1 h 103"/>
                <a:gd name="T44" fmla="*/ 58 w 107"/>
                <a:gd name="T45" fmla="*/ 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103">
                  <a:moveTo>
                    <a:pt x="58" y="3"/>
                  </a:moveTo>
                  <a:cubicBezTo>
                    <a:pt x="71" y="35"/>
                    <a:pt x="71" y="35"/>
                    <a:pt x="71" y="35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6" y="36"/>
                    <a:pt x="107" y="38"/>
                    <a:pt x="107" y="41"/>
                  </a:cubicBezTo>
                  <a:cubicBezTo>
                    <a:pt x="107" y="42"/>
                    <a:pt x="107" y="43"/>
                    <a:pt x="106" y="44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9" y="100"/>
                    <a:pt x="88" y="102"/>
                    <a:pt x="86" y="103"/>
                  </a:cubicBezTo>
                  <a:cubicBezTo>
                    <a:pt x="84" y="103"/>
                    <a:pt x="83" y="103"/>
                    <a:pt x="82" y="102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4" y="103"/>
                    <a:pt x="21" y="103"/>
                    <a:pt x="20" y="101"/>
                  </a:cubicBezTo>
                  <a:cubicBezTo>
                    <a:pt x="19" y="100"/>
                    <a:pt x="19" y="99"/>
                    <a:pt x="19" y="98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0" y="42"/>
                    <a:pt x="0" y="40"/>
                    <a:pt x="1" y="38"/>
                  </a:cubicBezTo>
                  <a:cubicBezTo>
                    <a:pt x="2" y="37"/>
                    <a:pt x="3" y="36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1" y="1"/>
                    <a:pt x="53" y="0"/>
                    <a:pt x="55" y="1"/>
                  </a:cubicBezTo>
                  <a:cubicBezTo>
                    <a:pt x="56" y="1"/>
                    <a:pt x="57" y="2"/>
                    <a:pt x="58" y="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iś1îḑè">
              <a:extLst>
                <a:ext uri="{FF2B5EF4-FFF2-40B4-BE49-F238E27FC236}">
                  <a16:creationId xmlns:a16="http://schemas.microsoft.com/office/drawing/2014/main" id="{1F233D30-BCD4-41BB-8A69-0CF63F621BE7}"/>
                </a:ext>
              </a:extLst>
            </p:cNvPr>
            <p:cNvSpPr/>
            <p:nvPr/>
          </p:nvSpPr>
          <p:spPr bwMode="auto">
            <a:xfrm>
              <a:off x="4310857" y="1803401"/>
              <a:ext cx="466725" cy="450850"/>
            </a:xfrm>
            <a:custGeom>
              <a:avLst/>
              <a:gdLst>
                <a:gd name="T0" fmla="*/ 81 w 86"/>
                <a:gd name="T1" fmla="*/ 29 h 83"/>
                <a:gd name="T2" fmla="*/ 57 w 86"/>
                <a:gd name="T3" fmla="*/ 28 h 83"/>
                <a:gd name="T4" fmla="*/ 57 w 86"/>
                <a:gd name="T5" fmla="*/ 28 h 83"/>
                <a:gd name="T6" fmla="*/ 47 w 86"/>
                <a:gd name="T7" fmla="*/ 4 h 83"/>
                <a:gd name="T8" fmla="*/ 42 w 86"/>
                <a:gd name="T9" fmla="*/ 1 h 83"/>
                <a:gd name="T10" fmla="*/ 39 w 86"/>
                <a:gd name="T11" fmla="*/ 4 h 83"/>
                <a:gd name="T12" fmla="*/ 31 w 86"/>
                <a:gd name="T13" fmla="*/ 27 h 83"/>
                <a:gd name="T14" fmla="*/ 31 w 86"/>
                <a:gd name="T15" fmla="*/ 27 h 83"/>
                <a:gd name="T16" fmla="*/ 4 w 86"/>
                <a:gd name="T17" fmla="*/ 29 h 83"/>
                <a:gd name="T18" fmla="*/ 0 w 86"/>
                <a:gd name="T19" fmla="*/ 33 h 83"/>
                <a:gd name="T20" fmla="*/ 2 w 86"/>
                <a:gd name="T21" fmla="*/ 36 h 83"/>
                <a:gd name="T22" fmla="*/ 21 w 86"/>
                <a:gd name="T23" fmla="*/ 51 h 83"/>
                <a:gd name="T24" fmla="*/ 21 w 86"/>
                <a:gd name="T25" fmla="*/ 51 h 83"/>
                <a:gd name="T26" fmla="*/ 15 w 86"/>
                <a:gd name="T27" fmla="*/ 77 h 83"/>
                <a:gd name="T28" fmla="*/ 18 w 86"/>
                <a:gd name="T29" fmla="*/ 82 h 83"/>
                <a:gd name="T30" fmla="*/ 21 w 86"/>
                <a:gd name="T31" fmla="*/ 82 h 83"/>
                <a:gd name="T32" fmla="*/ 42 w 86"/>
                <a:gd name="T33" fmla="*/ 68 h 83"/>
                <a:gd name="T34" fmla="*/ 64 w 86"/>
                <a:gd name="T35" fmla="*/ 82 h 83"/>
                <a:gd name="T36" fmla="*/ 70 w 86"/>
                <a:gd name="T37" fmla="*/ 81 h 83"/>
                <a:gd name="T38" fmla="*/ 71 w 86"/>
                <a:gd name="T39" fmla="*/ 77 h 83"/>
                <a:gd name="T40" fmla="*/ 64 w 86"/>
                <a:gd name="T41" fmla="*/ 54 h 83"/>
                <a:gd name="T42" fmla="*/ 84 w 86"/>
                <a:gd name="T43" fmla="*/ 36 h 83"/>
                <a:gd name="T44" fmla="*/ 85 w 86"/>
                <a:gd name="T45" fmla="*/ 31 h 83"/>
                <a:gd name="T46" fmla="*/ 81 w 86"/>
                <a:gd name="T47" fmla="*/ 2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83">
                  <a:moveTo>
                    <a:pt x="81" y="29"/>
                  </a:moveTo>
                  <a:cubicBezTo>
                    <a:pt x="57" y="28"/>
                    <a:pt x="57" y="28"/>
                    <a:pt x="57" y="28"/>
                  </a:cubicBezTo>
                  <a:cubicBezTo>
                    <a:pt x="57" y="28"/>
                    <a:pt x="57" y="28"/>
                    <a:pt x="57" y="28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6" y="1"/>
                    <a:pt x="44" y="0"/>
                    <a:pt x="42" y="1"/>
                  </a:cubicBezTo>
                  <a:cubicBezTo>
                    <a:pt x="40" y="2"/>
                    <a:pt x="40" y="3"/>
                    <a:pt x="39" y="4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0" y="31"/>
                    <a:pt x="0" y="33"/>
                  </a:cubicBezTo>
                  <a:cubicBezTo>
                    <a:pt x="1" y="35"/>
                    <a:pt x="1" y="36"/>
                    <a:pt x="2" y="36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4" y="79"/>
                    <a:pt x="16" y="82"/>
                    <a:pt x="18" y="82"/>
                  </a:cubicBezTo>
                  <a:cubicBezTo>
                    <a:pt x="19" y="83"/>
                    <a:pt x="20" y="82"/>
                    <a:pt x="21" y="82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66" y="83"/>
                    <a:pt x="69" y="83"/>
                    <a:pt x="70" y="81"/>
                  </a:cubicBezTo>
                  <a:cubicBezTo>
                    <a:pt x="71" y="80"/>
                    <a:pt x="71" y="78"/>
                    <a:pt x="71" y="77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6" y="35"/>
                    <a:pt x="86" y="32"/>
                    <a:pt x="85" y="31"/>
                  </a:cubicBezTo>
                  <a:cubicBezTo>
                    <a:pt x="84" y="30"/>
                    <a:pt x="83" y="29"/>
                    <a:pt x="81" y="29"/>
                  </a:cubicBez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ïṣlîdé">
              <a:extLst>
                <a:ext uri="{FF2B5EF4-FFF2-40B4-BE49-F238E27FC236}">
                  <a16:creationId xmlns:a16="http://schemas.microsoft.com/office/drawing/2014/main" id="{90F091F3-48C1-476B-A5C1-E71305474AF0}"/>
                </a:ext>
              </a:extLst>
            </p:cNvPr>
            <p:cNvSpPr/>
            <p:nvPr/>
          </p:nvSpPr>
          <p:spPr bwMode="auto">
            <a:xfrm>
              <a:off x="3675857" y="1803401"/>
              <a:ext cx="466725" cy="450850"/>
            </a:xfrm>
            <a:custGeom>
              <a:avLst/>
              <a:gdLst>
                <a:gd name="T0" fmla="*/ 81 w 86"/>
                <a:gd name="T1" fmla="*/ 29 h 83"/>
                <a:gd name="T2" fmla="*/ 57 w 86"/>
                <a:gd name="T3" fmla="*/ 28 h 83"/>
                <a:gd name="T4" fmla="*/ 57 w 86"/>
                <a:gd name="T5" fmla="*/ 28 h 83"/>
                <a:gd name="T6" fmla="*/ 47 w 86"/>
                <a:gd name="T7" fmla="*/ 4 h 83"/>
                <a:gd name="T8" fmla="*/ 41 w 86"/>
                <a:gd name="T9" fmla="*/ 1 h 83"/>
                <a:gd name="T10" fmla="*/ 39 w 86"/>
                <a:gd name="T11" fmla="*/ 4 h 83"/>
                <a:gd name="T12" fmla="*/ 31 w 86"/>
                <a:gd name="T13" fmla="*/ 27 h 83"/>
                <a:gd name="T14" fmla="*/ 31 w 86"/>
                <a:gd name="T15" fmla="*/ 27 h 83"/>
                <a:gd name="T16" fmla="*/ 4 w 86"/>
                <a:gd name="T17" fmla="*/ 29 h 83"/>
                <a:gd name="T18" fmla="*/ 0 w 86"/>
                <a:gd name="T19" fmla="*/ 33 h 83"/>
                <a:gd name="T20" fmla="*/ 2 w 86"/>
                <a:gd name="T21" fmla="*/ 36 h 83"/>
                <a:gd name="T22" fmla="*/ 21 w 86"/>
                <a:gd name="T23" fmla="*/ 51 h 83"/>
                <a:gd name="T24" fmla="*/ 21 w 86"/>
                <a:gd name="T25" fmla="*/ 51 h 83"/>
                <a:gd name="T26" fmla="*/ 15 w 86"/>
                <a:gd name="T27" fmla="*/ 77 h 83"/>
                <a:gd name="T28" fmla="*/ 18 w 86"/>
                <a:gd name="T29" fmla="*/ 82 h 83"/>
                <a:gd name="T30" fmla="*/ 21 w 86"/>
                <a:gd name="T31" fmla="*/ 82 h 83"/>
                <a:gd name="T32" fmla="*/ 42 w 86"/>
                <a:gd name="T33" fmla="*/ 68 h 83"/>
                <a:gd name="T34" fmla="*/ 64 w 86"/>
                <a:gd name="T35" fmla="*/ 82 h 83"/>
                <a:gd name="T36" fmla="*/ 70 w 86"/>
                <a:gd name="T37" fmla="*/ 81 h 83"/>
                <a:gd name="T38" fmla="*/ 70 w 86"/>
                <a:gd name="T39" fmla="*/ 77 h 83"/>
                <a:gd name="T40" fmla="*/ 64 w 86"/>
                <a:gd name="T41" fmla="*/ 54 h 83"/>
                <a:gd name="T42" fmla="*/ 84 w 86"/>
                <a:gd name="T43" fmla="*/ 36 h 83"/>
                <a:gd name="T44" fmla="*/ 85 w 86"/>
                <a:gd name="T45" fmla="*/ 31 h 83"/>
                <a:gd name="T46" fmla="*/ 81 w 86"/>
                <a:gd name="T47" fmla="*/ 2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83">
                  <a:moveTo>
                    <a:pt x="81" y="29"/>
                  </a:moveTo>
                  <a:cubicBezTo>
                    <a:pt x="57" y="28"/>
                    <a:pt x="57" y="28"/>
                    <a:pt x="57" y="28"/>
                  </a:cubicBezTo>
                  <a:cubicBezTo>
                    <a:pt x="57" y="28"/>
                    <a:pt x="57" y="28"/>
                    <a:pt x="57" y="28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6" y="1"/>
                    <a:pt x="44" y="0"/>
                    <a:pt x="41" y="1"/>
                  </a:cubicBezTo>
                  <a:cubicBezTo>
                    <a:pt x="40" y="2"/>
                    <a:pt x="40" y="3"/>
                    <a:pt x="39" y="4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0" y="31"/>
                    <a:pt x="0" y="33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4" y="79"/>
                    <a:pt x="16" y="82"/>
                    <a:pt x="18" y="82"/>
                  </a:cubicBezTo>
                  <a:cubicBezTo>
                    <a:pt x="19" y="83"/>
                    <a:pt x="20" y="82"/>
                    <a:pt x="21" y="82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66" y="83"/>
                    <a:pt x="69" y="83"/>
                    <a:pt x="70" y="81"/>
                  </a:cubicBezTo>
                  <a:cubicBezTo>
                    <a:pt x="71" y="80"/>
                    <a:pt x="71" y="78"/>
                    <a:pt x="70" y="77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6" y="35"/>
                    <a:pt x="86" y="32"/>
                    <a:pt x="85" y="31"/>
                  </a:cubicBezTo>
                  <a:cubicBezTo>
                    <a:pt x="84" y="30"/>
                    <a:pt x="83" y="29"/>
                    <a:pt x="81" y="29"/>
                  </a:cubicBez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is1iḋe">
              <a:extLst>
                <a:ext uri="{FF2B5EF4-FFF2-40B4-BE49-F238E27FC236}">
                  <a16:creationId xmlns:a16="http://schemas.microsoft.com/office/drawing/2014/main" id="{15EF3786-5D9C-4BAB-A089-787108515E31}"/>
                </a:ext>
              </a:extLst>
            </p:cNvPr>
            <p:cNvSpPr/>
            <p:nvPr/>
          </p:nvSpPr>
          <p:spPr bwMode="auto">
            <a:xfrm>
              <a:off x="4941094" y="1808163"/>
              <a:ext cx="227013" cy="446088"/>
            </a:xfrm>
            <a:custGeom>
              <a:avLst/>
              <a:gdLst>
                <a:gd name="T0" fmla="*/ 41 w 42"/>
                <a:gd name="T1" fmla="*/ 0 h 82"/>
                <a:gd name="T2" fmla="*/ 39 w 42"/>
                <a:gd name="T3" fmla="*/ 3 h 82"/>
                <a:gd name="T4" fmla="*/ 30 w 42"/>
                <a:gd name="T5" fmla="*/ 26 h 82"/>
                <a:gd name="T6" fmla="*/ 30 w 42"/>
                <a:gd name="T7" fmla="*/ 26 h 82"/>
                <a:gd name="T8" fmla="*/ 4 w 42"/>
                <a:gd name="T9" fmla="*/ 28 h 82"/>
                <a:gd name="T10" fmla="*/ 0 w 42"/>
                <a:gd name="T11" fmla="*/ 32 h 82"/>
                <a:gd name="T12" fmla="*/ 2 w 42"/>
                <a:gd name="T13" fmla="*/ 35 h 82"/>
                <a:gd name="T14" fmla="*/ 21 w 42"/>
                <a:gd name="T15" fmla="*/ 50 h 82"/>
                <a:gd name="T16" fmla="*/ 21 w 42"/>
                <a:gd name="T17" fmla="*/ 50 h 82"/>
                <a:gd name="T18" fmla="*/ 15 w 42"/>
                <a:gd name="T19" fmla="*/ 76 h 82"/>
                <a:gd name="T20" fmla="*/ 18 w 42"/>
                <a:gd name="T21" fmla="*/ 81 h 82"/>
                <a:gd name="T22" fmla="*/ 21 w 42"/>
                <a:gd name="T23" fmla="*/ 81 h 82"/>
                <a:gd name="T24" fmla="*/ 41 w 42"/>
                <a:gd name="T25" fmla="*/ 67 h 82"/>
                <a:gd name="T26" fmla="*/ 42 w 42"/>
                <a:gd name="T27" fmla="*/ 68 h 82"/>
                <a:gd name="T28" fmla="*/ 42 w 42"/>
                <a:gd name="T29" fmla="*/ 0 h 82"/>
                <a:gd name="T30" fmla="*/ 41 w 42"/>
                <a:gd name="T3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82">
                  <a:moveTo>
                    <a:pt x="41" y="0"/>
                  </a:moveTo>
                  <a:cubicBezTo>
                    <a:pt x="40" y="1"/>
                    <a:pt x="39" y="2"/>
                    <a:pt x="39" y="3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28"/>
                    <a:pt x="0" y="30"/>
                    <a:pt x="0" y="32"/>
                  </a:cubicBezTo>
                  <a:cubicBezTo>
                    <a:pt x="0" y="34"/>
                    <a:pt x="1" y="35"/>
                    <a:pt x="2" y="35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4" y="78"/>
                    <a:pt x="15" y="81"/>
                    <a:pt x="18" y="81"/>
                  </a:cubicBezTo>
                  <a:cubicBezTo>
                    <a:pt x="19" y="82"/>
                    <a:pt x="20" y="81"/>
                    <a:pt x="21" y="81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1" y="0"/>
                  </a:cubicBez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34907776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CFC7FE4-B0FE-4340-93F9-766760F30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1C86F772-ED6B-4E8A-B17D-857EB4BE7A2A}"/>
              </a:ext>
            </a:extLst>
          </p:cNvPr>
          <p:cNvGrpSpPr/>
          <p:nvPr/>
        </p:nvGrpSpPr>
        <p:grpSpPr>
          <a:xfrm>
            <a:off x="666750" y="1290226"/>
            <a:ext cx="10858500" cy="4656346"/>
            <a:chOff x="666750" y="1290226"/>
            <a:chExt cx="10858500" cy="4656346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FFF4A329-7CA1-4CC5-9D11-E9F0BE0B3D64}"/>
                </a:ext>
              </a:extLst>
            </p:cNvPr>
            <p:cNvSpPr/>
            <p:nvPr/>
          </p:nvSpPr>
          <p:spPr>
            <a:xfrm>
              <a:off x="666750" y="1290226"/>
              <a:ext cx="10858500" cy="548654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algn="ctr">
                <a:buSzPct val="25000"/>
              </a:pPr>
              <a:r>
                <a:rPr lang="zh-CN" altLang="en-US" sz="3200" b="1" dirty="0"/>
                <a:t>总览</a:t>
              </a:r>
              <a:endParaRPr lang="en-US" altLang="zh-CN" sz="3200" b="1" dirty="0"/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9200876B-6A9A-49F8-AF19-4DA6A268B410}"/>
                </a:ext>
              </a:extLst>
            </p:cNvPr>
            <p:cNvSpPr txBox="1"/>
            <p:nvPr/>
          </p:nvSpPr>
          <p:spPr>
            <a:xfrm>
              <a:off x="666750" y="1838880"/>
              <a:ext cx="10858500" cy="7853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  <a:buSzPct val="25000"/>
              </a:pPr>
              <a:r>
                <a:rPr lang="zh-CN" altLang="en-US" sz="1600" dirty="0"/>
                <a:t>测试覆盖率高</a:t>
              </a:r>
              <a:endParaRPr lang="en-US" altLang="zh-CN" sz="1600" dirty="0"/>
            </a:p>
            <a:p>
              <a:pPr algn="ctr">
                <a:lnSpc>
                  <a:spcPct val="150000"/>
                </a:lnSpc>
                <a:buSzPct val="25000"/>
              </a:pPr>
              <a:r>
                <a:rPr lang="zh-CN" altLang="en-US" sz="1600" dirty="0"/>
                <a:t>测试伊始发现了许多错误，但在返工阶段均已修复，故正确率</a:t>
              </a:r>
              <a:r>
                <a:rPr lang="en-US" altLang="zh-CN" sz="1600" dirty="0"/>
                <a:t>100%</a:t>
              </a:r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556309C-5FF5-40F7-8929-02F78CD2A717}"/>
                </a:ext>
              </a:extLst>
            </p:cNvPr>
            <p:cNvGrpSpPr/>
            <p:nvPr/>
          </p:nvGrpSpPr>
          <p:grpSpPr>
            <a:xfrm>
              <a:off x="1678630" y="3072726"/>
              <a:ext cx="8834740" cy="2873846"/>
              <a:chOff x="1198733" y="3136226"/>
              <a:chExt cx="8834740" cy="2873846"/>
            </a:xfrm>
          </p:grpSpPr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99B8D8FA-97B3-424B-A2C1-EEA79D30EE0C}"/>
                  </a:ext>
                </a:extLst>
              </p:cNvPr>
              <p:cNvGrpSpPr/>
              <p:nvPr/>
            </p:nvGrpSpPr>
            <p:grpSpPr>
              <a:xfrm>
                <a:off x="1198733" y="3136226"/>
                <a:ext cx="2248911" cy="2873846"/>
                <a:chOff x="1198733" y="3298354"/>
                <a:chExt cx="2248911" cy="2873846"/>
              </a:xfrm>
            </p:grpSpPr>
            <p:grpSp>
              <p:nvGrpSpPr>
                <p:cNvPr id="24" name="组合 23">
                  <a:extLst>
                    <a:ext uri="{FF2B5EF4-FFF2-40B4-BE49-F238E27FC236}">
                      <a16:creationId xmlns:a16="http://schemas.microsoft.com/office/drawing/2014/main" id="{240C309E-E0C3-4A92-9AB3-965684EA2E65}"/>
                    </a:ext>
                  </a:extLst>
                </p:cNvPr>
                <p:cNvGrpSpPr/>
                <p:nvPr/>
              </p:nvGrpSpPr>
              <p:grpSpPr>
                <a:xfrm>
                  <a:off x="1363391" y="3298354"/>
                  <a:ext cx="1919590" cy="1919591"/>
                  <a:chOff x="4309353" y="1809344"/>
                  <a:chExt cx="2948697" cy="2948697"/>
                </a:xfrm>
              </p:grpSpPr>
              <p:sp>
                <p:nvSpPr>
                  <p:cNvPr id="28" name="椭圆 27">
                    <a:extLst>
                      <a:ext uri="{FF2B5EF4-FFF2-40B4-BE49-F238E27FC236}">
                        <a16:creationId xmlns:a16="http://schemas.microsoft.com/office/drawing/2014/main" id="{DA0338D0-18A9-45EC-81F1-5B89B9A67D6D}"/>
                      </a:ext>
                    </a:extLst>
                  </p:cNvPr>
                  <p:cNvSpPr/>
                  <p:nvPr/>
                </p:nvSpPr>
                <p:spPr>
                  <a:xfrm>
                    <a:off x="4392645" y="1892636"/>
                    <a:ext cx="2782111" cy="2782111"/>
                  </a:xfrm>
                  <a:prstGeom prst="ellipse">
                    <a:avLst/>
                  </a:prstGeom>
                  <a:noFill/>
                  <a:ln w="12700" cap="rnd">
                    <a:solidFill>
                      <a:schemeClr val="bg1">
                        <a:lumMod val="85000"/>
                      </a:schemeClr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algn="ctr" defTabSz="914354"/>
                    <a:endParaRPr lang="zh-CN" altLang="en-US" sz="2000" b="1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9" name="空心弧 28">
                    <a:extLst>
                      <a:ext uri="{FF2B5EF4-FFF2-40B4-BE49-F238E27FC236}">
                        <a16:creationId xmlns:a16="http://schemas.microsoft.com/office/drawing/2014/main" id="{6AB19423-02A8-4911-A710-6D21B10E1756}"/>
                      </a:ext>
                    </a:extLst>
                  </p:cNvPr>
                  <p:cNvSpPr/>
                  <p:nvPr/>
                </p:nvSpPr>
                <p:spPr>
                  <a:xfrm>
                    <a:off x="4309353" y="1809344"/>
                    <a:ext cx="2948697" cy="2948697"/>
                  </a:xfrm>
                  <a:prstGeom prst="blockArc">
                    <a:avLst>
                      <a:gd name="adj1" fmla="val 16138455"/>
                      <a:gd name="adj2" fmla="val 15948604"/>
                      <a:gd name="adj3" fmla="val 4344"/>
                    </a:avLst>
                  </a:prstGeom>
                  <a:solidFill>
                    <a:schemeClr val="accent1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algn="ctr" defTabSz="914354"/>
                    <a:endParaRPr lang="zh-CN" altLang="en-US" sz="20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25" name="矩形 24">
                  <a:extLst>
                    <a:ext uri="{FF2B5EF4-FFF2-40B4-BE49-F238E27FC236}">
                      <a16:creationId xmlns:a16="http://schemas.microsoft.com/office/drawing/2014/main" id="{27884841-3427-4B45-8F8F-D789C204AB3B}"/>
                    </a:ext>
                  </a:extLst>
                </p:cNvPr>
                <p:cNvSpPr/>
                <p:nvPr/>
              </p:nvSpPr>
              <p:spPr>
                <a:xfrm>
                  <a:off x="1639975" y="4169955"/>
                  <a:ext cx="1366426" cy="56396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85000" lnSpcReduction="10000"/>
                </a:bodyPr>
                <a:lstStyle/>
                <a:p>
                  <a:pPr lvl="0" algn="ctr" fontAlgn="base">
                    <a:spcBef>
                      <a:spcPct val="0"/>
                    </a:spcBef>
                    <a:spcAft>
                      <a:spcPct val="0"/>
                    </a:spcAft>
                    <a:tabLst>
                      <a:tab pos="227965" algn="l"/>
                    </a:tabLst>
                    <a:defRPr/>
                  </a:pPr>
                  <a:r>
                    <a:rPr lang="en-US" altLang="zh-CN" sz="3600" b="1" dirty="0"/>
                    <a:t>99.7%</a:t>
                  </a:r>
                </a:p>
              </p:txBody>
            </p:sp>
            <p:sp>
              <p:nvSpPr>
                <p:cNvPr id="26" name="矩形 25">
                  <a:extLst>
                    <a:ext uri="{FF2B5EF4-FFF2-40B4-BE49-F238E27FC236}">
                      <a16:creationId xmlns:a16="http://schemas.microsoft.com/office/drawing/2014/main" id="{C023FD5C-E5F3-43CB-B48B-42BA22B98E28}"/>
                    </a:ext>
                  </a:extLst>
                </p:cNvPr>
                <p:cNvSpPr/>
                <p:nvPr/>
              </p:nvSpPr>
              <p:spPr>
                <a:xfrm>
                  <a:off x="1510268" y="3823098"/>
                  <a:ext cx="1600199" cy="39676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 fontAlgn="base">
                    <a:spcBef>
                      <a:spcPct val="0"/>
                    </a:spcBef>
                    <a:spcAft>
                      <a:spcPct val="0"/>
                    </a:spcAft>
                    <a:tabLst>
                      <a:tab pos="227965" algn="l"/>
                    </a:tabLst>
                    <a:defRPr/>
                  </a:pPr>
                  <a:r>
                    <a:rPr lang="zh-CN" altLang="en-US" sz="1400" b="1" dirty="0"/>
                    <a:t>后端覆盖率</a:t>
                  </a:r>
                  <a:endParaRPr lang="en-US" altLang="zh-CN" sz="1400" b="1" dirty="0"/>
                </a:p>
              </p:txBody>
            </p:sp>
            <p:sp>
              <p:nvSpPr>
                <p:cNvPr id="27" name="矩形 26">
                  <a:extLst>
                    <a:ext uri="{FF2B5EF4-FFF2-40B4-BE49-F238E27FC236}">
                      <a16:creationId xmlns:a16="http://schemas.microsoft.com/office/drawing/2014/main" id="{6FCE141C-218D-442D-B985-7FFB97BB065E}"/>
                    </a:ext>
                  </a:extLst>
                </p:cNvPr>
                <p:cNvSpPr/>
                <p:nvPr/>
              </p:nvSpPr>
              <p:spPr>
                <a:xfrm>
                  <a:off x="1198733" y="5304437"/>
                  <a:ext cx="2248911" cy="86776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 lIns="91440" tIns="45720" rIns="91440" bIns="45720" anchor="t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  <a:defRPr/>
                  </a:pPr>
                  <a:r>
                    <a:rPr lang="zh-CN" altLang="en-US" sz="1100" dirty="0"/>
                    <a:t>后端单元测试</a:t>
                  </a:r>
                  <a:endParaRPr lang="en-US" altLang="zh-CN" sz="1100" dirty="0"/>
                </a:p>
                <a:p>
                  <a:pPr lvl="0" algn="ctr">
                    <a:lnSpc>
                      <a:spcPct val="120000"/>
                    </a:lnSpc>
                    <a:defRPr/>
                  </a:pPr>
                  <a:r>
                    <a:rPr lang="zh-CN" altLang="en-US" sz="1100" dirty="0"/>
                    <a:t>由于传统工具</a:t>
                  </a:r>
                  <a:endParaRPr lang="en-US" altLang="zh-CN" sz="1100" dirty="0"/>
                </a:p>
                <a:p>
                  <a:pPr lvl="0" algn="ctr">
                    <a:lnSpc>
                      <a:spcPct val="120000"/>
                    </a:lnSpc>
                    <a:defRPr/>
                  </a:pPr>
                  <a:r>
                    <a:rPr lang="zh-CN" altLang="en-US" sz="1100" dirty="0"/>
                    <a:t>无法测试</a:t>
                  </a:r>
                  <a:r>
                    <a:rPr lang="en-US" altLang="zh-CN" sz="1100" dirty="0"/>
                    <a:t>HTTP</a:t>
                  </a:r>
                  <a:r>
                    <a:rPr lang="zh-CN" altLang="en-US" sz="1100" dirty="0"/>
                    <a:t>长连接</a:t>
                  </a:r>
                  <a:endParaRPr lang="en-US" altLang="zh-CN" sz="1100" dirty="0"/>
                </a:p>
                <a:p>
                  <a:pPr lvl="0" algn="ctr">
                    <a:lnSpc>
                      <a:spcPct val="120000"/>
                    </a:lnSpc>
                    <a:defRPr/>
                  </a:pPr>
                  <a:r>
                    <a:rPr lang="zh-CN" altLang="en-US" sz="1100" dirty="0"/>
                    <a:t>我们将房间测试移至系统测试</a:t>
                  </a:r>
                  <a:endParaRPr lang="en-US" altLang="zh-CN" sz="1100" dirty="0"/>
                </a:p>
              </p:txBody>
            </p:sp>
          </p:grpSp>
          <p:grpSp>
            <p:nvGrpSpPr>
              <p:cNvPr id="10" name="组合 9">
                <a:extLst>
                  <a:ext uri="{FF2B5EF4-FFF2-40B4-BE49-F238E27FC236}">
                    <a16:creationId xmlns:a16="http://schemas.microsoft.com/office/drawing/2014/main" id="{3F2F7672-F9C5-4DE0-BEE9-D0B953DF28D1}"/>
                  </a:ext>
                </a:extLst>
              </p:cNvPr>
              <p:cNvGrpSpPr/>
              <p:nvPr/>
            </p:nvGrpSpPr>
            <p:grpSpPr>
              <a:xfrm>
                <a:off x="4491648" y="3136226"/>
                <a:ext cx="2248911" cy="2873846"/>
                <a:chOff x="1198733" y="3298354"/>
                <a:chExt cx="2248911" cy="2873846"/>
              </a:xfrm>
            </p:grpSpPr>
            <p:grpSp>
              <p:nvGrpSpPr>
                <p:cNvPr id="18" name="组合 17">
                  <a:extLst>
                    <a:ext uri="{FF2B5EF4-FFF2-40B4-BE49-F238E27FC236}">
                      <a16:creationId xmlns:a16="http://schemas.microsoft.com/office/drawing/2014/main" id="{3C255A39-0D7F-4910-8BE1-877AD6C743B4}"/>
                    </a:ext>
                  </a:extLst>
                </p:cNvPr>
                <p:cNvGrpSpPr/>
                <p:nvPr/>
              </p:nvGrpSpPr>
              <p:grpSpPr>
                <a:xfrm>
                  <a:off x="1363393" y="3298354"/>
                  <a:ext cx="1919591" cy="1919591"/>
                  <a:chOff x="4309353" y="1809344"/>
                  <a:chExt cx="2948697" cy="2948697"/>
                </a:xfrm>
              </p:grpSpPr>
              <p:sp>
                <p:nvSpPr>
                  <p:cNvPr id="22" name="椭圆 21">
                    <a:extLst>
                      <a:ext uri="{FF2B5EF4-FFF2-40B4-BE49-F238E27FC236}">
                        <a16:creationId xmlns:a16="http://schemas.microsoft.com/office/drawing/2014/main" id="{70C33355-2680-4943-8FDD-8718B98F286E}"/>
                      </a:ext>
                    </a:extLst>
                  </p:cNvPr>
                  <p:cNvSpPr/>
                  <p:nvPr/>
                </p:nvSpPr>
                <p:spPr>
                  <a:xfrm>
                    <a:off x="4392646" y="1892637"/>
                    <a:ext cx="2782111" cy="2782111"/>
                  </a:xfrm>
                  <a:prstGeom prst="ellipse">
                    <a:avLst/>
                  </a:prstGeom>
                  <a:noFill/>
                  <a:ln w="12700" cap="rnd">
                    <a:solidFill>
                      <a:schemeClr val="bg1">
                        <a:lumMod val="85000"/>
                      </a:schemeClr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algn="ctr" defTabSz="914354"/>
                    <a:endParaRPr lang="zh-CN" altLang="en-US" sz="2000" b="1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3" name="空心弧 22">
                    <a:extLst>
                      <a:ext uri="{FF2B5EF4-FFF2-40B4-BE49-F238E27FC236}">
                        <a16:creationId xmlns:a16="http://schemas.microsoft.com/office/drawing/2014/main" id="{77A28114-F13B-4966-B5BB-ACA2EF35B238}"/>
                      </a:ext>
                    </a:extLst>
                  </p:cNvPr>
                  <p:cNvSpPr/>
                  <p:nvPr/>
                </p:nvSpPr>
                <p:spPr>
                  <a:xfrm rot="3636841" flipH="1">
                    <a:off x="4309353" y="1809344"/>
                    <a:ext cx="2948697" cy="2948697"/>
                  </a:xfrm>
                  <a:prstGeom prst="blockArc">
                    <a:avLst>
                      <a:gd name="adj1" fmla="val 2031"/>
                      <a:gd name="adj2" fmla="val 0"/>
                      <a:gd name="adj3" fmla="val 5000"/>
                    </a:avLst>
                  </a:prstGeom>
                  <a:solidFill>
                    <a:schemeClr val="accent2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algn="ctr" defTabSz="914354"/>
                    <a:endParaRPr lang="zh-CN" altLang="en-US" sz="20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9" name="矩形 18">
                  <a:extLst>
                    <a:ext uri="{FF2B5EF4-FFF2-40B4-BE49-F238E27FC236}">
                      <a16:creationId xmlns:a16="http://schemas.microsoft.com/office/drawing/2014/main" id="{7D0680A6-C96E-457F-B1DD-249D39B63FF8}"/>
                    </a:ext>
                  </a:extLst>
                </p:cNvPr>
                <p:cNvSpPr/>
                <p:nvPr/>
              </p:nvSpPr>
              <p:spPr>
                <a:xfrm>
                  <a:off x="1639975" y="4169955"/>
                  <a:ext cx="1366426" cy="56396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tabLst>
                      <a:tab pos="227965" algn="l"/>
                    </a:tabLst>
                    <a:defRPr/>
                  </a:pPr>
                  <a:r>
                    <a:rPr lang="en-US" altLang="zh-CN" sz="3300" b="1" dirty="0"/>
                    <a:t>100%</a:t>
                  </a:r>
                </a:p>
              </p:txBody>
            </p:sp>
            <p:sp>
              <p:nvSpPr>
                <p:cNvPr id="20" name="矩形 19">
                  <a:extLst>
                    <a:ext uri="{FF2B5EF4-FFF2-40B4-BE49-F238E27FC236}">
                      <a16:creationId xmlns:a16="http://schemas.microsoft.com/office/drawing/2014/main" id="{EA34C361-C3FC-4695-859E-FE38DB7DB890}"/>
                    </a:ext>
                  </a:extLst>
                </p:cNvPr>
                <p:cNvSpPr/>
                <p:nvPr/>
              </p:nvSpPr>
              <p:spPr>
                <a:xfrm>
                  <a:off x="1639975" y="3823098"/>
                  <a:ext cx="1366426" cy="39676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>
                  <a:normAutofit fontScale="925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 fontAlgn="base">
                    <a:spcBef>
                      <a:spcPct val="0"/>
                    </a:spcBef>
                    <a:spcAft>
                      <a:spcPct val="0"/>
                    </a:spcAft>
                    <a:tabLst>
                      <a:tab pos="227965" algn="l"/>
                    </a:tabLst>
                    <a:defRPr/>
                  </a:pPr>
                  <a:r>
                    <a:rPr lang="zh-CN" altLang="en-US" sz="1400" b="1" dirty="0"/>
                    <a:t>系统测试正确率</a:t>
                  </a:r>
                  <a:endParaRPr lang="en-US" altLang="zh-CN" sz="1400" b="1" dirty="0"/>
                </a:p>
              </p:txBody>
            </p:sp>
            <p:sp>
              <p:nvSpPr>
                <p:cNvPr id="21" name="矩形 20">
                  <a:extLst>
                    <a:ext uri="{FF2B5EF4-FFF2-40B4-BE49-F238E27FC236}">
                      <a16:creationId xmlns:a16="http://schemas.microsoft.com/office/drawing/2014/main" id="{A009976A-7E9A-47BE-809D-DBB47EBD84FA}"/>
                    </a:ext>
                  </a:extLst>
                </p:cNvPr>
                <p:cNvSpPr/>
                <p:nvPr/>
              </p:nvSpPr>
              <p:spPr>
                <a:xfrm>
                  <a:off x="1198733" y="5304437"/>
                  <a:ext cx="2248911" cy="86776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 lIns="91440" tIns="45720" rIns="91440" bIns="45720" anchor="t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  <a:defRPr/>
                  </a:pPr>
                  <a:r>
                    <a:rPr lang="zh-CN" altLang="en-US" sz="1100" dirty="0"/>
                    <a:t>系统测试</a:t>
                  </a:r>
                  <a:endParaRPr lang="en-US" altLang="zh-CN" sz="1100" dirty="0"/>
                </a:p>
                <a:p>
                  <a:pPr lvl="0" algn="ctr">
                    <a:lnSpc>
                      <a:spcPct val="120000"/>
                    </a:lnSpc>
                    <a:defRPr/>
                  </a:pPr>
                  <a:r>
                    <a:rPr lang="zh-CN" altLang="en-US" sz="1100" dirty="0"/>
                    <a:t>包含了对整个系统的</a:t>
                  </a:r>
                  <a:endParaRPr lang="en-US" altLang="zh-CN" sz="1100" dirty="0"/>
                </a:p>
                <a:p>
                  <a:pPr lvl="0" algn="ctr">
                    <a:lnSpc>
                      <a:spcPct val="120000"/>
                    </a:lnSpc>
                    <a:defRPr/>
                  </a:pPr>
                  <a:r>
                    <a:rPr lang="zh-CN" altLang="en-US" sz="1100" dirty="0"/>
                    <a:t>功能性与非功能性测试</a:t>
                  </a:r>
                  <a:endParaRPr lang="en-US" altLang="zh-CN" sz="1100" dirty="0"/>
                </a:p>
              </p:txBody>
            </p:sp>
          </p:grpSp>
          <p:grpSp>
            <p:nvGrpSpPr>
              <p:cNvPr id="11" name="组合 10">
                <a:extLst>
                  <a:ext uri="{FF2B5EF4-FFF2-40B4-BE49-F238E27FC236}">
                    <a16:creationId xmlns:a16="http://schemas.microsoft.com/office/drawing/2014/main" id="{E06DBE9B-E9C5-4E9E-9672-D979A9081905}"/>
                  </a:ext>
                </a:extLst>
              </p:cNvPr>
              <p:cNvGrpSpPr/>
              <p:nvPr/>
            </p:nvGrpSpPr>
            <p:grpSpPr>
              <a:xfrm>
                <a:off x="7784562" y="3136226"/>
                <a:ext cx="2248911" cy="2873846"/>
                <a:chOff x="1198733" y="3298354"/>
                <a:chExt cx="2248911" cy="2873846"/>
              </a:xfrm>
            </p:grpSpPr>
            <p:grpSp>
              <p:nvGrpSpPr>
                <p:cNvPr id="12" name="组合 11">
                  <a:extLst>
                    <a:ext uri="{FF2B5EF4-FFF2-40B4-BE49-F238E27FC236}">
                      <a16:creationId xmlns:a16="http://schemas.microsoft.com/office/drawing/2014/main" id="{B29332CD-F76E-4BEC-ADB1-F99A9E49A9AA}"/>
                    </a:ext>
                  </a:extLst>
                </p:cNvPr>
                <p:cNvGrpSpPr/>
                <p:nvPr/>
              </p:nvGrpSpPr>
              <p:grpSpPr>
                <a:xfrm>
                  <a:off x="1363393" y="3298354"/>
                  <a:ext cx="1919591" cy="1919591"/>
                  <a:chOff x="4309353" y="1809344"/>
                  <a:chExt cx="2948697" cy="2948697"/>
                </a:xfrm>
              </p:grpSpPr>
              <p:sp>
                <p:nvSpPr>
                  <p:cNvPr id="16" name="椭圆 15">
                    <a:extLst>
                      <a:ext uri="{FF2B5EF4-FFF2-40B4-BE49-F238E27FC236}">
                        <a16:creationId xmlns:a16="http://schemas.microsoft.com/office/drawing/2014/main" id="{107CAF4F-D603-4676-ABEE-51383E29BCD7}"/>
                      </a:ext>
                    </a:extLst>
                  </p:cNvPr>
                  <p:cNvSpPr/>
                  <p:nvPr/>
                </p:nvSpPr>
                <p:spPr>
                  <a:xfrm>
                    <a:off x="4392646" y="1892637"/>
                    <a:ext cx="2782111" cy="2782111"/>
                  </a:xfrm>
                  <a:prstGeom prst="ellipse">
                    <a:avLst/>
                  </a:prstGeom>
                  <a:noFill/>
                  <a:ln w="12700" cap="rnd">
                    <a:solidFill>
                      <a:schemeClr val="bg1">
                        <a:lumMod val="85000"/>
                      </a:schemeClr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algn="ctr" defTabSz="914354"/>
                    <a:endParaRPr lang="zh-CN" altLang="en-US" sz="2000" b="1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7" name="空心弧 16">
                    <a:extLst>
                      <a:ext uri="{FF2B5EF4-FFF2-40B4-BE49-F238E27FC236}">
                        <a16:creationId xmlns:a16="http://schemas.microsoft.com/office/drawing/2014/main" id="{C2F11876-6940-4F00-82EE-25A926813D7D}"/>
                      </a:ext>
                    </a:extLst>
                  </p:cNvPr>
                  <p:cNvSpPr/>
                  <p:nvPr/>
                </p:nvSpPr>
                <p:spPr>
                  <a:xfrm rot="3636841" flipH="1">
                    <a:off x="4309353" y="1809344"/>
                    <a:ext cx="2948697" cy="2948697"/>
                  </a:xfrm>
                  <a:prstGeom prst="blockArc">
                    <a:avLst>
                      <a:gd name="adj1" fmla="val 2830"/>
                      <a:gd name="adj2" fmla="val 0"/>
                      <a:gd name="adj3" fmla="val 5000"/>
                    </a:avLst>
                  </a:prstGeom>
                  <a:solidFill>
                    <a:schemeClr val="accent3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rmAutofit/>
                  </a:bodyPr>
                  <a:lstStyle/>
                  <a:p>
                    <a:pPr algn="ctr" defTabSz="914354"/>
                    <a:endParaRPr lang="zh-CN" altLang="en-US" sz="20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3" name="矩形 12">
                  <a:extLst>
                    <a:ext uri="{FF2B5EF4-FFF2-40B4-BE49-F238E27FC236}">
                      <a16:creationId xmlns:a16="http://schemas.microsoft.com/office/drawing/2014/main" id="{9A7FE3B3-2210-41C6-B0AF-5E0253841707}"/>
                    </a:ext>
                  </a:extLst>
                </p:cNvPr>
                <p:cNvSpPr/>
                <p:nvPr/>
              </p:nvSpPr>
              <p:spPr>
                <a:xfrm>
                  <a:off x="1639975" y="4169955"/>
                  <a:ext cx="1366426" cy="56396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tabLst>
                      <a:tab pos="227965" algn="l"/>
                    </a:tabLst>
                    <a:defRPr/>
                  </a:pPr>
                  <a:r>
                    <a:rPr lang="en-US" altLang="zh-CN" sz="3300" b="1" dirty="0"/>
                    <a:t>100%</a:t>
                  </a:r>
                </a:p>
              </p:txBody>
            </p:sp>
            <p:sp>
              <p:nvSpPr>
                <p:cNvPr id="14" name="矩形 13">
                  <a:extLst>
                    <a:ext uri="{FF2B5EF4-FFF2-40B4-BE49-F238E27FC236}">
                      <a16:creationId xmlns:a16="http://schemas.microsoft.com/office/drawing/2014/main" id="{CDD777B6-673C-4BE9-A073-5460879A0004}"/>
                    </a:ext>
                  </a:extLst>
                </p:cNvPr>
                <p:cNvSpPr/>
                <p:nvPr/>
              </p:nvSpPr>
              <p:spPr>
                <a:xfrm>
                  <a:off x="1639975" y="3823098"/>
                  <a:ext cx="1366426" cy="39676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 fontAlgn="base">
                    <a:spcBef>
                      <a:spcPct val="0"/>
                    </a:spcBef>
                    <a:spcAft>
                      <a:spcPct val="0"/>
                    </a:spcAft>
                    <a:tabLst>
                      <a:tab pos="227965" algn="l"/>
                    </a:tabLst>
                    <a:defRPr/>
                  </a:pPr>
                  <a:r>
                    <a:rPr lang="zh-CN" altLang="en-US" sz="1400" b="1" dirty="0"/>
                    <a:t>端到端正确率</a:t>
                  </a:r>
                  <a:endParaRPr lang="en-US" altLang="zh-CN" sz="1400" b="1" dirty="0"/>
                </a:p>
              </p:txBody>
            </p:sp>
            <p:sp>
              <p:nvSpPr>
                <p:cNvPr id="15" name="矩形 14">
                  <a:extLst>
                    <a:ext uri="{FF2B5EF4-FFF2-40B4-BE49-F238E27FC236}">
                      <a16:creationId xmlns:a16="http://schemas.microsoft.com/office/drawing/2014/main" id="{C9064DC9-2423-4FBD-85C7-957429D1D49A}"/>
                    </a:ext>
                  </a:extLst>
                </p:cNvPr>
                <p:cNvSpPr/>
                <p:nvPr/>
              </p:nvSpPr>
              <p:spPr>
                <a:xfrm>
                  <a:off x="1198733" y="5304437"/>
                  <a:ext cx="2248911" cy="867763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 lIns="91440" tIns="45720" rIns="91440" bIns="45720" anchor="t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  <a:defRPr/>
                  </a:pPr>
                  <a:r>
                    <a:rPr lang="zh-CN" altLang="en-US" sz="1100" dirty="0"/>
                    <a:t>端到端测试</a:t>
                  </a:r>
                  <a:endParaRPr lang="en-US" altLang="zh-CN" sz="1100" dirty="0"/>
                </a:p>
                <a:p>
                  <a:pPr lvl="0" algn="ctr">
                    <a:lnSpc>
                      <a:spcPct val="120000"/>
                    </a:lnSpc>
                    <a:defRPr/>
                  </a:pPr>
                  <a:r>
                    <a:rPr lang="zh-CN" altLang="en-US" sz="1100" dirty="0"/>
                    <a:t>使用 </a:t>
                  </a:r>
                  <a:r>
                    <a:rPr lang="en-US" altLang="zh-CN" sz="1100" dirty="0"/>
                    <a:t>Cypress </a:t>
                  </a:r>
                  <a:r>
                    <a:rPr lang="zh-CN" altLang="en-US" sz="1100" dirty="0"/>
                    <a:t>工具</a:t>
                  </a:r>
                  <a:endParaRPr lang="en-US" altLang="zh-CN" sz="1100" dirty="0"/>
                </a:p>
                <a:p>
                  <a:pPr lvl="0" algn="ctr">
                    <a:lnSpc>
                      <a:spcPct val="120000"/>
                    </a:lnSpc>
                    <a:defRPr/>
                  </a:pPr>
                  <a:r>
                    <a:rPr lang="zh-CN" altLang="en-US" sz="1100" dirty="0"/>
                    <a:t>对登陆等常用功能进行简单测试</a:t>
                  </a:r>
                  <a:endParaRPr lang="en-US" altLang="zh-CN" sz="1100" dirty="0"/>
                </a:p>
                <a:p>
                  <a:pPr lvl="0" algn="ctr">
                    <a:lnSpc>
                      <a:spcPct val="120000"/>
                    </a:lnSpc>
                    <a:defRPr/>
                  </a:pPr>
                  <a:r>
                    <a:rPr lang="zh-CN" altLang="en-US" sz="1100" dirty="0"/>
                    <a:t>主要用于返工后初步正确性检验</a:t>
                  </a:r>
                  <a:endParaRPr lang="en-US" altLang="zh-CN" sz="1100" dirty="0"/>
                </a:p>
              </p:txBody>
            </p:sp>
          </p:grpSp>
        </p:grpSp>
      </p:grpSp>
      <p:sp>
        <p:nvSpPr>
          <p:cNvPr id="31" name="标题 30">
            <a:extLst>
              <a:ext uri="{FF2B5EF4-FFF2-40B4-BE49-F238E27FC236}">
                <a16:creationId xmlns:a16="http://schemas.microsoft.com/office/drawing/2014/main" id="{5FD34BE7-A372-4567-85F1-9451FC9277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测试</a:t>
            </a:r>
          </a:p>
        </p:txBody>
      </p:sp>
      <p:sp>
        <p:nvSpPr>
          <p:cNvPr id="30" name="页脚占位符 2">
            <a:extLst>
              <a:ext uri="{FF2B5EF4-FFF2-40B4-BE49-F238E27FC236}">
                <a16:creationId xmlns:a16="http://schemas.microsoft.com/office/drawing/2014/main" id="{813C7A3E-2DF3-44F4-92BE-EEB65E123D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7101808"/>
      </p:ext>
    </p:extLst>
  </p:cSld>
  <p:clrMapOvr>
    <a:masterClrMapping/>
  </p:clrMapOvr>
  <p:transition spd="slow">
    <p:cover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62EE90C-5482-455F-AACE-B3B31B1F4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测试结果展示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E4C12FC-C222-476A-9686-2E746ABDC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1F83F3FD-BDF2-4CD1-BF24-17CF36182E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1658051"/>
              </p:ext>
            </p:extLst>
          </p:nvPr>
        </p:nvGraphicFramePr>
        <p:xfrm>
          <a:off x="1967705" y="1493817"/>
          <a:ext cx="8254999" cy="23907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8867">
                  <a:extLst>
                    <a:ext uri="{9D8B030D-6E8A-4147-A177-3AD203B41FA5}">
                      <a16:colId xmlns:a16="http://schemas.microsoft.com/office/drawing/2014/main" val="4118552006"/>
                    </a:ext>
                  </a:extLst>
                </a:gridCol>
                <a:gridCol w="1638930">
                  <a:extLst>
                    <a:ext uri="{9D8B030D-6E8A-4147-A177-3AD203B41FA5}">
                      <a16:colId xmlns:a16="http://schemas.microsoft.com/office/drawing/2014/main" val="21877175"/>
                    </a:ext>
                  </a:extLst>
                </a:gridCol>
                <a:gridCol w="1867618">
                  <a:extLst>
                    <a:ext uri="{9D8B030D-6E8A-4147-A177-3AD203B41FA5}">
                      <a16:colId xmlns:a16="http://schemas.microsoft.com/office/drawing/2014/main" val="3385655114"/>
                    </a:ext>
                  </a:extLst>
                </a:gridCol>
                <a:gridCol w="2299584">
                  <a:extLst>
                    <a:ext uri="{9D8B030D-6E8A-4147-A177-3AD203B41FA5}">
                      <a16:colId xmlns:a16="http://schemas.microsoft.com/office/drawing/2014/main" val="4157825650"/>
                    </a:ext>
                  </a:extLst>
                </a:gridCol>
              </a:tblGrid>
              <a:tr h="21907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u="none" strike="noStrike">
                          <a:effectLst/>
                        </a:rPr>
                        <a:t>类别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用例数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通过数</a:t>
                      </a:r>
                      <a:endParaRPr lang="zh-CN" altLang="en-US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通过率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96209315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u="none" strike="noStrike">
                          <a:effectLst/>
                        </a:rPr>
                        <a:t>功能测试</a:t>
                      </a:r>
                      <a:endParaRPr lang="zh-CN" altLang="en-US" sz="1200" b="0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29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29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100.00%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17323612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u="none" strike="noStrike">
                          <a:effectLst/>
                        </a:rPr>
                        <a:t>性能测试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7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7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100.00%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86419593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u="none" strike="noStrike">
                          <a:effectLst/>
                        </a:rPr>
                        <a:t>易用性测试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100.00%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84438880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u="none" strike="noStrike">
                          <a:effectLst/>
                        </a:rPr>
                        <a:t>可靠性测试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5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5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100.00%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42949943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u="none" strike="noStrike">
                          <a:effectLst/>
                        </a:rPr>
                        <a:t>安全性测试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100.00%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08523447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u="none" strike="noStrike">
                          <a:effectLst/>
                        </a:rPr>
                        <a:t>兼容性测试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5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5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100.00%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45390071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u="none" strike="noStrike">
                          <a:effectLst/>
                        </a:rPr>
                        <a:t>界面测试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7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</a:rPr>
                        <a:t>7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100.00%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67427312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u="none" strike="noStrike">
                          <a:effectLst/>
                        </a:rPr>
                        <a:t>压力测试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5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5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100.00%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2803044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u="none" strike="noStrike">
                          <a:effectLst/>
                        </a:rPr>
                        <a:t>部署测试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100.00%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8362267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u="none" strike="noStrike">
                          <a:effectLst/>
                        </a:rPr>
                        <a:t>合计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59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>
                          <a:effectLst/>
                        </a:rPr>
                        <a:t>59</a:t>
                      </a:r>
                      <a:endParaRPr lang="en-US" altLang="zh-CN" sz="1200" b="0" i="0" u="none" strike="noStrike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u="none" strike="noStrike" dirty="0">
                          <a:effectLst/>
                        </a:rPr>
                        <a:t>100.00%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40677147"/>
                  </a:ext>
                </a:extLst>
              </a:tr>
            </a:tbl>
          </a:graphicData>
        </a:graphic>
      </p:graphicFrame>
      <p:pic>
        <p:nvPicPr>
          <p:cNvPr id="7" name="图片 6" descr="屏幕上有字&#10;&#10;描述已自动生成">
            <a:extLst>
              <a:ext uri="{FF2B5EF4-FFF2-40B4-BE49-F238E27FC236}">
                <a16:creationId xmlns:a16="http://schemas.microsoft.com/office/drawing/2014/main" id="{524390C8-4666-4503-B6FB-F9512A61E0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880" y="4349709"/>
            <a:ext cx="10706650" cy="1587582"/>
          </a:xfrm>
          <a:prstGeom prst="rect">
            <a:avLst/>
          </a:prstGeom>
        </p:spPr>
      </p:pic>
      <p:sp>
        <p:nvSpPr>
          <p:cNvPr id="8" name="页脚占位符 2">
            <a:extLst>
              <a:ext uri="{FF2B5EF4-FFF2-40B4-BE49-F238E27FC236}">
                <a16:creationId xmlns:a16="http://schemas.microsoft.com/office/drawing/2014/main" id="{403308DE-CAA4-4BD9-BA5B-2C15AB59F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</a:p>
        </p:txBody>
      </p:sp>
    </p:spTree>
    <p:extLst>
      <p:ext uri="{BB962C8B-B14F-4D97-AF65-F5344CB8AC3E}">
        <p14:creationId xmlns:p14="http://schemas.microsoft.com/office/powerpoint/2010/main" val="2540285083"/>
      </p:ext>
    </p:extLst>
  </p:cSld>
  <p:clrMapOvr>
    <a:masterClrMapping/>
  </p:clrMapOvr>
  <p:transition spd="slow">
    <p:cover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660401" y="1130300"/>
            <a:ext cx="10097245" cy="5003800"/>
            <a:chOff x="660401" y="1130300"/>
            <a:chExt cx="10097245" cy="5003800"/>
          </a:xfrm>
        </p:grpSpPr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40F65DAD-AA3C-4A71-9192-B937A470736C}"/>
                </a:ext>
              </a:extLst>
            </p:cNvPr>
            <p:cNvGrpSpPr/>
            <p:nvPr/>
          </p:nvGrpSpPr>
          <p:grpSpPr>
            <a:xfrm>
              <a:off x="660401" y="1454150"/>
              <a:ext cx="5526644" cy="4356100"/>
              <a:chOff x="660400" y="1454150"/>
              <a:chExt cx="10858499" cy="4356100"/>
            </a:xfrm>
          </p:grpSpPr>
          <p:sp>
            <p:nvSpPr>
              <p:cNvPr id="9" name="圆角矩形 8">
                <a:extLst>
                  <a:ext uri="{FF2B5EF4-FFF2-40B4-BE49-F238E27FC236}">
                    <a16:creationId xmlns:a16="http://schemas.microsoft.com/office/drawing/2014/main" id="{AC53584C-2748-48EB-8FCE-75292027D0BB}"/>
                  </a:ext>
                </a:extLst>
              </p:cNvPr>
              <p:cNvSpPr/>
              <p:nvPr/>
            </p:nvSpPr>
            <p:spPr>
              <a:xfrm>
                <a:off x="660400" y="33210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2400" b="1" dirty="0">
                    <a:solidFill>
                      <a:schemeClr val="accent1"/>
                    </a:solidFill>
                  </a:rPr>
                  <a:t>经验教训</a:t>
                </a:r>
                <a:endParaRPr lang="en-US" altLang="zh-CN" sz="24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" name="圆角矩形 9">
                <a:extLst>
                  <a:ext uri="{FF2B5EF4-FFF2-40B4-BE49-F238E27FC236}">
                    <a16:creationId xmlns:a16="http://schemas.microsoft.com/office/drawing/2014/main" id="{DDF6F91D-5F85-4D9C-AE6C-1E9154F2DEB2}"/>
                  </a:ext>
                </a:extLst>
              </p:cNvPr>
              <p:cNvSpPr/>
              <p:nvPr/>
            </p:nvSpPr>
            <p:spPr>
              <a:xfrm>
                <a:off x="660400" y="26987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测试报告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1" name="圆角矩形 10">
                <a:extLst>
                  <a:ext uri="{FF2B5EF4-FFF2-40B4-BE49-F238E27FC236}">
                    <a16:creationId xmlns:a16="http://schemas.microsoft.com/office/drawing/2014/main" id="{3FCD1556-55DB-422A-9A91-03C8CA4C8CFC}"/>
                  </a:ext>
                </a:extLst>
              </p:cNvPr>
              <p:cNvSpPr/>
              <p:nvPr/>
            </p:nvSpPr>
            <p:spPr>
              <a:xfrm>
                <a:off x="660400" y="39433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小组分工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2" name="圆角矩形 11">
                <a:extLst>
                  <a:ext uri="{FF2B5EF4-FFF2-40B4-BE49-F238E27FC236}">
                    <a16:creationId xmlns:a16="http://schemas.microsoft.com/office/drawing/2014/main" id="{E9125F22-9110-4DA9-BB15-F5E756018AB3}"/>
                  </a:ext>
                </a:extLst>
              </p:cNvPr>
              <p:cNvSpPr/>
              <p:nvPr/>
            </p:nvSpPr>
            <p:spPr>
              <a:xfrm>
                <a:off x="660400" y="45656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致谢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3" name="圆角矩形 12">
                <a:extLst>
                  <a:ext uri="{FF2B5EF4-FFF2-40B4-BE49-F238E27FC236}">
                    <a16:creationId xmlns:a16="http://schemas.microsoft.com/office/drawing/2014/main" id="{487B6CCD-FECD-4A9D-9A26-BC273CC3851B}"/>
                  </a:ext>
                </a:extLst>
              </p:cNvPr>
              <p:cNvSpPr/>
              <p:nvPr/>
            </p:nvSpPr>
            <p:spPr>
              <a:xfrm>
                <a:off x="660400" y="20764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架构与关键技术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4" name="圆角矩形 13">
                <a:extLst>
                  <a:ext uri="{FF2B5EF4-FFF2-40B4-BE49-F238E27FC236}">
                    <a16:creationId xmlns:a16="http://schemas.microsoft.com/office/drawing/2014/main" id="{EDF8110A-8EDB-418C-B6DF-9602B875D010}"/>
                  </a:ext>
                </a:extLst>
              </p:cNvPr>
              <p:cNvSpPr/>
              <p:nvPr/>
            </p:nvSpPr>
            <p:spPr>
              <a:xfrm>
                <a:off x="660400" y="51879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产品特色与创新点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sp>
            <p:nvSpPr>
              <p:cNvPr id="15" name="圆角矩形 14">
                <a:extLst>
                  <a:ext uri="{FF2B5EF4-FFF2-40B4-BE49-F238E27FC236}">
                    <a16:creationId xmlns:a16="http://schemas.microsoft.com/office/drawing/2014/main" id="{49395A25-2C00-42D1-927A-C8E332E0FB46}"/>
                  </a:ext>
                </a:extLst>
              </p:cNvPr>
              <p:cNvSpPr/>
              <p:nvPr/>
            </p:nvSpPr>
            <p:spPr>
              <a:xfrm>
                <a:off x="660400" y="14541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产品演示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296774F8-FE38-4B25-BE73-AF85310781B0}"/>
                  </a:ext>
                </a:extLst>
              </p:cNvPr>
              <p:cNvGrpSpPr/>
              <p:nvPr/>
            </p:nvGrpSpPr>
            <p:grpSpPr>
              <a:xfrm>
                <a:off x="3055917" y="2076450"/>
                <a:ext cx="6080166" cy="3111500"/>
                <a:chOff x="2802576" y="2076450"/>
                <a:chExt cx="6080166" cy="3111500"/>
              </a:xfrm>
            </p:grpSpPr>
            <p:cxnSp>
              <p:nvCxnSpPr>
                <p:cNvPr id="5" name="直接连接符 4">
                  <a:extLst>
                    <a:ext uri="{FF2B5EF4-FFF2-40B4-BE49-F238E27FC236}">
                      <a16:creationId xmlns:a16="http://schemas.microsoft.com/office/drawing/2014/main" id="{665A9CCB-14B6-4181-96D2-1E7424A398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3210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>
                  <a:extLst>
                    <a:ext uri="{FF2B5EF4-FFF2-40B4-BE49-F238E27FC236}">
                      <a16:creationId xmlns:a16="http://schemas.microsoft.com/office/drawing/2014/main" id="{2209BB7D-243A-446A-A163-08AD95BB30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9433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2" name="组合 21">
                  <a:extLst>
                    <a:ext uri="{FF2B5EF4-FFF2-40B4-BE49-F238E27FC236}">
                      <a16:creationId xmlns:a16="http://schemas.microsoft.com/office/drawing/2014/main" id="{B4DB02FD-20CA-439E-94DF-A159F531B24A}"/>
                    </a:ext>
                  </a:extLst>
                </p:cNvPr>
                <p:cNvGrpSpPr/>
                <p:nvPr/>
              </p:nvGrpSpPr>
              <p:grpSpPr>
                <a:xfrm>
                  <a:off x="3241963" y="2076450"/>
                  <a:ext cx="5201393" cy="3111500"/>
                  <a:chOff x="2802576" y="2076450"/>
                  <a:chExt cx="6080166" cy="3111500"/>
                </a:xfrm>
              </p:grpSpPr>
              <p:cxnSp>
                <p:nvCxnSpPr>
                  <p:cNvPr id="17" name="直接连接符 16">
                    <a:extLst>
                      <a:ext uri="{FF2B5EF4-FFF2-40B4-BE49-F238E27FC236}">
                        <a16:creationId xmlns:a16="http://schemas.microsoft.com/office/drawing/2014/main" id="{351CD98E-B842-421D-A69C-11F4C36899A7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45656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" name="直接连接符 18">
                    <a:extLst>
                      <a:ext uri="{FF2B5EF4-FFF2-40B4-BE49-F238E27FC236}">
                        <a16:creationId xmlns:a16="http://schemas.microsoft.com/office/drawing/2014/main" id="{7521AFC8-74E6-48C6-8BD5-E0EA6FDE7D98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26987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1" name="组合 20">
                    <a:extLst>
                      <a:ext uri="{FF2B5EF4-FFF2-40B4-BE49-F238E27FC236}">
                        <a16:creationId xmlns:a16="http://schemas.microsoft.com/office/drawing/2014/main" id="{6F854CE6-0C4E-46E6-B40C-A83741098EAA}"/>
                      </a:ext>
                    </a:extLst>
                  </p:cNvPr>
                  <p:cNvGrpSpPr/>
                  <p:nvPr/>
                </p:nvGrpSpPr>
                <p:grpSpPr>
                  <a:xfrm>
                    <a:off x="3548743" y="2076450"/>
                    <a:ext cx="5094515" cy="3111500"/>
                    <a:chOff x="2802576" y="2076450"/>
                    <a:chExt cx="6080166" cy="3111500"/>
                  </a:xfrm>
                </p:grpSpPr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:a16="http://schemas.microsoft.com/office/drawing/2014/main" id="{274C2429-0D16-4487-80BA-DF46BA86B0F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51879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0" name="直接连接符 19">
                      <a:extLst>
                        <a:ext uri="{FF2B5EF4-FFF2-40B4-BE49-F238E27FC236}">
                          <a16:creationId xmlns:a16="http://schemas.microsoft.com/office/drawing/2014/main" id="{180F0829-2591-4662-B868-7F0B2BA51C9C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20764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  <p:sp>
          <p:nvSpPr>
            <p:cNvPr id="25" name="圆角矩形 24">
              <a:extLst>
                <a:ext uri="{FF2B5EF4-FFF2-40B4-BE49-F238E27FC236}">
                  <a16:creationId xmlns:a16="http://schemas.microsoft.com/office/drawing/2014/main" id="{46D2D162-62B1-41D6-85F2-38FCC8088EB2}"/>
                </a:ext>
              </a:extLst>
            </p:cNvPr>
            <p:cNvSpPr/>
            <p:nvPr/>
          </p:nvSpPr>
          <p:spPr>
            <a:xfrm>
              <a:off x="5751807" y="1130300"/>
              <a:ext cx="5005839" cy="5003800"/>
            </a:xfrm>
            <a:prstGeom prst="roundRect">
              <a:avLst>
                <a:gd name="adj" fmla="val 5556"/>
              </a:avLst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76200">
              <a:noFill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918" name="组合 91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30B217B-F20C-41BC-8B3D-050558261D48}"/>
              </a:ext>
            </a:extLst>
          </p:cNvPr>
          <p:cNvGrpSpPr>
            <a:grpSpLocks noChangeAspect="1"/>
          </p:cNvGrpSpPr>
          <p:nvPr/>
        </p:nvGrpSpPr>
        <p:grpSpPr>
          <a:xfrm>
            <a:off x="6250277" y="1570518"/>
            <a:ext cx="4220770" cy="4123367"/>
            <a:chOff x="3929063" y="1301750"/>
            <a:chExt cx="4333876" cy="4233863"/>
          </a:xfrm>
        </p:grpSpPr>
        <p:sp>
          <p:nvSpPr>
            <p:cNvPr id="919" name="ïṧ1îḑê">
              <a:extLst>
                <a:ext uri="{FF2B5EF4-FFF2-40B4-BE49-F238E27FC236}">
                  <a16:creationId xmlns:a16="http://schemas.microsoft.com/office/drawing/2014/main" id="{E2C17FFE-412E-4A31-9089-40C831317EBA}"/>
                </a:ext>
              </a:extLst>
            </p:cNvPr>
            <p:cNvSpPr/>
            <p:nvPr/>
          </p:nvSpPr>
          <p:spPr bwMode="auto">
            <a:xfrm>
              <a:off x="4186238" y="2517775"/>
              <a:ext cx="3975100" cy="2105025"/>
            </a:xfrm>
            <a:custGeom>
              <a:avLst/>
              <a:gdLst>
                <a:gd name="T0" fmla="*/ 1565 w 1711"/>
                <a:gd name="T1" fmla="*/ 87 h 908"/>
                <a:gd name="T2" fmla="*/ 1093 w 1711"/>
                <a:gd name="T3" fmla="*/ 378 h 908"/>
                <a:gd name="T4" fmla="*/ 1034 w 1711"/>
                <a:gd name="T5" fmla="*/ 325 h 908"/>
                <a:gd name="T6" fmla="*/ 579 w 1711"/>
                <a:gd name="T7" fmla="*/ 598 h 908"/>
                <a:gd name="T8" fmla="*/ 524 w 1711"/>
                <a:gd name="T9" fmla="*/ 553 h 908"/>
                <a:gd name="T10" fmla="*/ 3 w 1711"/>
                <a:gd name="T11" fmla="*/ 897 h 908"/>
                <a:gd name="T12" fmla="*/ 2 w 1711"/>
                <a:gd name="T13" fmla="*/ 906 h 908"/>
                <a:gd name="T14" fmla="*/ 7 w 1711"/>
                <a:gd name="T15" fmla="*/ 908 h 908"/>
                <a:gd name="T16" fmla="*/ 10 w 1711"/>
                <a:gd name="T17" fmla="*/ 907 h 908"/>
                <a:gd name="T18" fmla="*/ 523 w 1711"/>
                <a:gd name="T19" fmla="*/ 568 h 908"/>
                <a:gd name="T20" fmla="*/ 578 w 1711"/>
                <a:gd name="T21" fmla="*/ 613 h 908"/>
                <a:gd name="T22" fmla="*/ 1032 w 1711"/>
                <a:gd name="T23" fmla="*/ 340 h 908"/>
                <a:gd name="T24" fmla="*/ 1092 w 1711"/>
                <a:gd name="T25" fmla="*/ 393 h 908"/>
                <a:gd name="T26" fmla="*/ 1564 w 1711"/>
                <a:gd name="T27" fmla="*/ 101 h 908"/>
                <a:gd name="T28" fmla="*/ 1565 w 1711"/>
                <a:gd name="T29" fmla="*/ 87 h 908"/>
                <a:gd name="T30" fmla="*/ 1705 w 1711"/>
                <a:gd name="T31" fmla="*/ 0 h 908"/>
                <a:gd name="T32" fmla="*/ 1573 w 1711"/>
                <a:gd name="T33" fmla="*/ 81 h 908"/>
                <a:gd name="T34" fmla="*/ 1572 w 1711"/>
                <a:gd name="T35" fmla="*/ 96 h 908"/>
                <a:gd name="T36" fmla="*/ 1711 w 1711"/>
                <a:gd name="T37" fmla="*/ 11 h 908"/>
                <a:gd name="T38" fmla="*/ 1705 w 1711"/>
                <a:gd name="T39" fmla="*/ 0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11" h="908">
                  <a:moveTo>
                    <a:pt x="1565" y="87"/>
                  </a:moveTo>
                  <a:cubicBezTo>
                    <a:pt x="1093" y="378"/>
                    <a:pt x="1093" y="378"/>
                    <a:pt x="1093" y="378"/>
                  </a:cubicBezTo>
                  <a:cubicBezTo>
                    <a:pt x="1034" y="325"/>
                    <a:pt x="1034" y="325"/>
                    <a:pt x="1034" y="325"/>
                  </a:cubicBezTo>
                  <a:cubicBezTo>
                    <a:pt x="579" y="598"/>
                    <a:pt x="579" y="598"/>
                    <a:pt x="579" y="598"/>
                  </a:cubicBezTo>
                  <a:cubicBezTo>
                    <a:pt x="524" y="553"/>
                    <a:pt x="524" y="553"/>
                    <a:pt x="524" y="553"/>
                  </a:cubicBezTo>
                  <a:cubicBezTo>
                    <a:pt x="3" y="897"/>
                    <a:pt x="3" y="897"/>
                    <a:pt x="3" y="897"/>
                  </a:cubicBezTo>
                  <a:cubicBezTo>
                    <a:pt x="1" y="899"/>
                    <a:pt x="0" y="903"/>
                    <a:pt x="2" y="906"/>
                  </a:cubicBezTo>
                  <a:cubicBezTo>
                    <a:pt x="3" y="907"/>
                    <a:pt x="5" y="908"/>
                    <a:pt x="7" y="908"/>
                  </a:cubicBezTo>
                  <a:cubicBezTo>
                    <a:pt x="8" y="908"/>
                    <a:pt x="9" y="908"/>
                    <a:pt x="10" y="907"/>
                  </a:cubicBezTo>
                  <a:cubicBezTo>
                    <a:pt x="523" y="568"/>
                    <a:pt x="523" y="568"/>
                    <a:pt x="523" y="568"/>
                  </a:cubicBezTo>
                  <a:cubicBezTo>
                    <a:pt x="578" y="613"/>
                    <a:pt x="578" y="613"/>
                    <a:pt x="578" y="613"/>
                  </a:cubicBezTo>
                  <a:cubicBezTo>
                    <a:pt x="1032" y="340"/>
                    <a:pt x="1032" y="340"/>
                    <a:pt x="1032" y="340"/>
                  </a:cubicBezTo>
                  <a:cubicBezTo>
                    <a:pt x="1092" y="393"/>
                    <a:pt x="1092" y="393"/>
                    <a:pt x="1092" y="393"/>
                  </a:cubicBezTo>
                  <a:cubicBezTo>
                    <a:pt x="1564" y="101"/>
                    <a:pt x="1564" y="101"/>
                    <a:pt x="1564" y="101"/>
                  </a:cubicBezTo>
                  <a:cubicBezTo>
                    <a:pt x="1565" y="87"/>
                    <a:pt x="1565" y="87"/>
                    <a:pt x="1565" y="87"/>
                  </a:cubicBezTo>
                  <a:moveTo>
                    <a:pt x="1705" y="0"/>
                  </a:moveTo>
                  <a:cubicBezTo>
                    <a:pt x="1573" y="81"/>
                    <a:pt x="1573" y="81"/>
                    <a:pt x="1573" y="81"/>
                  </a:cubicBezTo>
                  <a:cubicBezTo>
                    <a:pt x="1572" y="96"/>
                    <a:pt x="1572" y="96"/>
                    <a:pt x="1572" y="96"/>
                  </a:cubicBezTo>
                  <a:cubicBezTo>
                    <a:pt x="1711" y="11"/>
                    <a:pt x="1711" y="11"/>
                    <a:pt x="1711" y="11"/>
                  </a:cubicBezTo>
                  <a:cubicBezTo>
                    <a:pt x="1705" y="0"/>
                    <a:pt x="1705" y="0"/>
                    <a:pt x="1705" y="0"/>
                  </a:cubicBezTo>
                </a:path>
              </a:pathLst>
            </a:custGeom>
            <a:solidFill>
              <a:srgbClr val="62C8FB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0" name="îsľîdè">
              <a:extLst>
                <a:ext uri="{FF2B5EF4-FFF2-40B4-BE49-F238E27FC236}">
                  <a16:creationId xmlns:a16="http://schemas.microsoft.com/office/drawing/2014/main" id="{EBCBF499-0568-4532-B7AD-91F57DBF1000}"/>
                </a:ext>
              </a:extLst>
            </p:cNvPr>
            <p:cNvSpPr/>
            <p:nvPr/>
          </p:nvSpPr>
          <p:spPr bwMode="auto">
            <a:xfrm>
              <a:off x="8108951" y="2447925"/>
              <a:ext cx="153988" cy="155575"/>
            </a:xfrm>
            <a:custGeom>
              <a:avLst/>
              <a:gdLst>
                <a:gd name="T0" fmla="*/ 7 w 66"/>
                <a:gd name="T1" fmla="*/ 0 h 67"/>
                <a:gd name="T2" fmla="*/ 2 w 66"/>
                <a:gd name="T3" fmla="*/ 8 h 67"/>
                <a:gd name="T4" fmla="*/ 16 w 66"/>
                <a:gd name="T5" fmla="*/ 30 h 67"/>
                <a:gd name="T6" fmla="*/ 22 w 66"/>
                <a:gd name="T7" fmla="*/ 41 h 67"/>
                <a:gd name="T8" fmla="*/ 36 w 66"/>
                <a:gd name="T9" fmla="*/ 64 h 67"/>
                <a:gd name="T10" fmla="*/ 41 w 66"/>
                <a:gd name="T11" fmla="*/ 67 h 67"/>
                <a:gd name="T12" fmla="*/ 46 w 66"/>
                <a:gd name="T13" fmla="*/ 63 h 67"/>
                <a:gd name="T14" fmla="*/ 65 w 66"/>
                <a:gd name="T15" fmla="*/ 13 h 67"/>
                <a:gd name="T16" fmla="*/ 60 w 66"/>
                <a:gd name="T17" fmla="*/ 6 h 67"/>
                <a:gd name="T18" fmla="*/ 8 w 66"/>
                <a:gd name="T19" fmla="*/ 0 h 67"/>
                <a:gd name="T20" fmla="*/ 7 w 66"/>
                <a:gd name="T2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67">
                  <a:moveTo>
                    <a:pt x="7" y="0"/>
                  </a:moveTo>
                  <a:cubicBezTo>
                    <a:pt x="3" y="0"/>
                    <a:pt x="0" y="5"/>
                    <a:pt x="2" y="8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7" y="66"/>
                    <a:pt x="39" y="67"/>
                    <a:pt x="41" y="67"/>
                  </a:cubicBezTo>
                  <a:cubicBezTo>
                    <a:pt x="43" y="67"/>
                    <a:pt x="45" y="65"/>
                    <a:pt x="46" y="6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0"/>
                    <a:pt x="64" y="6"/>
                    <a:pt x="60" y="6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62C8FB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1" name="îṧḻiḋê">
              <a:extLst>
                <a:ext uri="{FF2B5EF4-FFF2-40B4-BE49-F238E27FC236}">
                  <a16:creationId xmlns:a16="http://schemas.microsoft.com/office/drawing/2014/main" id="{B54C8FCE-B1B8-479D-A4D9-A33A1D943DF1}"/>
                </a:ext>
              </a:extLst>
            </p:cNvPr>
            <p:cNvSpPr/>
            <p:nvPr/>
          </p:nvSpPr>
          <p:spPr bwMode="auto">
            <a:xfrm>
              <a:off x="7294563" y="1889125"/>
              <a:ext cx="255588" cy="287338"/>
            </a:xfrm>
            <a:custGeom>
              <a:avLst/>
              <a:gdLst>
                <a:gd name="T0" fmla="*/ 100 w 110"/>
                <a:gd name="T1" fmla="*/ 44 h 124"/>
                <a:gd name="T2" fmla="*/ 52 w 110"/>
                <a:gd name="T3" fmla="*/ 122 h 124"/>
                <a:gd name="T4" fmla="*/ 0 w 110"/>
                <a:gd name="T5" fmla="*/ 64 h 124"/>
                <a:gd name="T6" fmla="*/ 58 w 110"/>
                <a:gd name="T7" fmla="*/ 0 h 124"/>
                <a:gd name="T8" fmla="*/ 100 w 110"/>
                <a:gd name="T9" fmla="*/ 4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24">
                  <a:moveTo>
                    <a:pt x="100" y="44"/>
                  </a:moveTo>
                  <a:cubicBezTo>
                    <a:pt x="105" y="89"/>
                    <a:pt x="110" y="118"/>
                    <a:pt x="52" y="122"/>
                  </a:cubicBezTo>
                  <a:cubicBezTo>
                    <a:pt x="23" y="124"/>
                    <a:pt x="0" y="99"/>
                    <a:pt x="0" y="64"/>
                  </a:cubicBezTo>
                  <a:cubicBezTo>
                    <a:pt x="0" y="29"/>
                    <a:pt x="29" y="0"/>
                    <a:pt x="58" y="0"/>
                  </a:cubicBezTo>
                  <a:cubicBezTo>
                    <a:pt x="87" y="0"/>
                    <a:pt x="96" y="7"/>
                    <a:pt x="100" y="44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2" name="îṡ1ïdè">
              <a:extLst>
                <a:ext uri="{FF2B5EF4-FFF2-40B4-BE49-F238E27FC236}">
                  <a16:creationId xmlns:a16="http://schemas.microsoft.com/office/drawing/2014/main" id="{CF6C6DD9-AC00-4475-B3B9-54F8982D1EF5}"/>
                </a:ext>
              </a:extLst>
            </p:cNvPr>
            <p:cNvSpPr/>
            <p:nvPr/>
          </p:nvSpPr>
          <p:spPr bwMode="auto">
            <a:xfrm>
              <a:off x="7296151" y="2205038"/>
              <a:ext cx="566738" cy="384175"/>
            </a:xfrm>
            <a:custGeom>
              <a:avLst/>
              <a:gdLst>
                <a:gd name="T0" fmla="*/ 117 w 244"/>
                <a:gd name="T1" fmla="*/ 102 h 166"/>
                <a:gd name="T2" fmla="*/ 238 w 244"/>
                <a:gd name="T3" fmla="*/ 0 h 166"/>
                <a:gd name="T4" fmla="*/ 236 w 244"/>
                <a:gd name="T5" fmla="*/ 49 h 166"/>
                <a:gd name="T6" fmla="*/ 215 w 244"/>
                <a:gd name="T7" fmla="*/ 75 h 166"/>
                <a:gd name="T8" fmla="*/ 133 w 244"/>
                <a:gd name="T9" fmla="*/ 154 h 166"/>
                <a:gd name="T10" fmla="*/ 116 w 244"/>
                <a:gd name="T11" fmla="*/ 165 h 166"/>
                <a:gd name="T12" fmla="*/ 93 w 244"/>
                <a:gd name="T13" fmla="*/ 155 h 166"/>
                <a:gd name="T14" fmla="*/ 37 w 244"/>
                <a:gd name="T15" fmla="*/ 100 h 166"/>
                <a:gd name="T16" fmla="*/ 6 w 244"/>
                <a:gd name="T17" fmla="*/ 92 h 166"/>
                <a:gd name="T18" fmla="*/ 13 w 244"/>
                <a:gd name="T19" fmla="*/ 45 h 166"/>
                <a:gd name="T20" fmla="*/ 44 w 244"/>
                <a:gd name="T21" fmla="*/ 15 h 166"/>
                <a:gd name="T22" fmla="*/ 74 w 244"/>
                <a:gd name="T23" fmla="*/ 41 h 166"/>
                <a:gd name="T24" fmla="*/ 117 w 244"/>
                <a:gd name="T25" fmla="*/ 10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4" h="166">
                  <a:moveTo>
                    <a:pt x="117" y="102"/>
                  </a:moveTo>
                  <a:cubicBezTo>
                    <a:pt x="143" y="87"/>
                    <a:pt x="202" y="33"/>
                    <a:pt x="238" y="0"/>
                  </a:cubicBezTo>
                  <a:cubicBezTo>
                    <a:pt x="244" y="10"/>
                    <a:pt x="241" y="39"/>
                    <a:pt x="236" y="49"/>
                  </a:cubicBezTo>
                  <a:cubicBezTo>
                    <a:pt x="231" y="59"/>
                    <a:pt x="223" y="67"/>
                    <a:pt x="215" y="75"/>
                  </a:cubicBezTo>
                  <a:cubicBezTo>
                    <a:pt x="184" y="105"/>
                    <a:pt x="164" y="125"/>
                    <a:pt x="133" y="154"/>
                  </a:cubicBezTo>
                  <a:cubicBezTo>
                    <a:pt x="128" y="159"/>
                    <a:pt x="122" y="164"/>
                    <a:pt x="116" y="165"/>
                  </a:cubicBezTo>
                  <a:cubicBezTo>
                    <a:pt x="107" y="166"/>
                    <a:pt x="99" y="160"/>
                    <a:pt x="93" y="155"/>
                  </a:cubicBezTo>
                  <a:cubicBezTo>
                    <a:pt x="75" y="140"/>
                    <a:pt x="55" y="115"/>
                    <a:pt x="37" y="100"/>
                  </a:cubicBezTo>
                  <a:cubicBezTo>
                    <a:pt x="27" y="92"/>
                    <a:pt x="10" y="103"/>
                    <a:pt x="6" y="92"/>
                  </a:cubicBezTo>
                  <a:cubicBezTo>
                    <a:pt x="0" y="76"/>
                    <a:pt x="4" y="59"/>
                    <a:pt x="13" y="45"/>
                  </a:cubicBezTo>
                  <a:cubicBezTo>
                    <a:pt x="19" y="36"/>
                    <a:pt x="34" y="17"/>
                    <a:pt x="44" y="15"/>
                  </a:cubicBezTo>
                  <a:cubicBezTo>
                    <a:pt x="56" y="12"/>
                    <a:pt x="67" y="32"/>
                    <a:pt x="74" y="41"/>
                  </a:cubicBezTo>
                  <a:cubicBezTo>
                    <a:pt x="79" y="47"/>
                    <a:pt x="104" y="87"/>
                    <a:pt x="117" y="102"/>
                  </a:cubicBezTo>
                  <a:close/>
                </a:path>
              </a:pathLst>
            </a:custGeom>
            <a:solidFill>
              <a:srgbClr val="3B4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3" name="íSľíďè">
              <a:extLst>
                <a:ext uri="{FF2B5EF4-FFF2-40B4-BE49-F238E27FC236}">
                  <a16:creationId xmlns:a16="http://schemas.microsoft.com/office/drawing/2014/main" id="{B50F931F-DB80-4FBF-8943-2C7866613851}"/>
                </a:ext>
              </a:extLst>
            </p:cNvPr>
            <p:cNvSpPr/>
            <p:nvPr/>
          </p:nvSpPr>
          <p:spPr bwMode="auto">
            <a:xfrm>
              <a:off x="7178676" y="2693988"/>
              <a:ext cx="581025" cy="754063"/>
            </a:xfrm>
            <a:custGeom>
              <a:avLst/>
              <a:gdLst>
                <a:gd name="T0" fmla="*/ 249 w 250"/>
                <a:gd name="T1" fmla="*/ 17 h 325"/>
                <a:gd name="T2" fmla="*/ 232 w 250"/>
                <a:gd name="T3" fmla="*/ 316 h 325"/>
                <a:gd name="T4" fmla="*/ 198 w 250"/>
                <a:gd name="T5" fmla="*/ 318 h 325"/>
                <a:gd name="T6" fmla="*/ 183 w 250"/>
                <a:gd name="T7" fmla="*/ 87 h 325"/>
                <a:gd name="T8" fmla="*/ 4 w 250"/>
                <a:gd name="T9" fmla="*/ 126 h 325"/>
                <a:gd name="T10" fmla="*/ 16 w 250"/>
                <a:gd name="T11" fmla="*/ 48 h 325"/>
                <a:gd name="T12" fmla="*/ 65 w 250"/>
                <a:gd name="T13" fmla="*/ 26 h 325"/>
                <a:gd name="T14" fmla="*/ 232 w 250"/>
                <a:gd name="T15" fmla="*/ 1 h 325"/>
                <a:gd name="T16" fmla="*/ 249 w 250"/>
                <a:gd name="T17" fmla="*/ 17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325">
                  <a:moveTo>
                    <a:pt x="249" y="17"/>
                  </a:moveTo>
                  <a:cubicBezTo>
                    <a:pt x="250" y="112"/>
                    <a:pt x="246" y="223"/>
                    <a:pt x="232" y="316"/>
                  </a:cubicBezTo>
                  <a:cubicBezTo>
                    <a:pt x="221" y="325"/>
                    <a:pt x="209" y="319"/>
                    <a:pt x="198" y="318"/>
                  </a:cubicBezTo>
                  <a:cubicBezTo>
                    <a:pt x="193" y="249"/>
                    <a:pt x="188" y="155"/>
                    <a:pt x="183" y="87"/>
                  </a:cubicBezTo>
                  <a:cubicBezTo>
                    <a:pt x="125" y="107"/>
                    <a:pt x="65" y="120"/>
                    <a:pt x="4" y="126"/>
                  </a:cubicBezTo>
                  <a:cubicBezTo>
                    <a:pt x="0" y="126"/>
                    <a:pt x="12" y="54"/>
                    <a:pt x="16" y="48"/>
                  </a:cubicBezTo>
                  <a:cubicBezTo>
                    <a:pt x="27" y="30"/>
                    <a:pt x="46" y="30"/>
                    <a:pt x="65" y="26"/>
                  </a:cubicBezTo>
                  <a:cubicBezTo>
                    <a:pt x="120" y="14"/>
                    <a:pt x="176" y="6"/>
                    <a:pt x="232" y="1"/>
                  </a:cubicBezTo>
                  <a:cubicBezTo>
                    <a:pt x="241" y="0"/>
                    <a:pt x="249" y="8"/>
                    <a:pt x="249" y="17"/>
                  </a:cubicBezTo>
                  <a:close/>
                </a:path>
              </a:pathLst>
            </a:custGeom>
            <a:solidFill>
              <a:srgbClr val="3B4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4" name="íŝḻïḍê">
              <a:extLst>
                <a:ext uri="{FF2B5EF4-FFF2-40B4-BE49-F238E27FC236}">
                  <a16:creationId xmlns:a16="http://schemas.microsoft.com/office/drawing/2014/main" id="{2BB83390-20A7-4878-B87B-C98155D9BF49}"/>
                </a:ext>
              </a:extLst>
            </p:cNvPr>
            <p:cNvSpPr/>
            <p:nvPr/>
          </p:nvSpPr>
          <p:spPr bwMode="auto">
            <a:xfrm>
              <a:off x="6942138" y="2795588"/>
              <a:ext cx="438150" cy="915988"/>
            </a:xfrm>
            <a:custGeom>
              <a:avLst/>
              <a:gdLst>
                <a:gd name="T0" fmla="*/ 12 w 189"/>
                <a:gd name="T1" fmla="*/ 15 h 395"/>
                <a:gd name="T2" fmla="*/ 104 w 189"/>
                <a:gd name="T3" fmla="*/ 210 h 395"/>
                <a:gd name="T4" fmla="*/ 11 w 189"/>
                <a:gd name="T5" fmla="*/ 372 h 395"/>
                <a:gd name="T6" fmla="*/ 18 w 189"/>
                <a:gd name="T7" fmla="*/ 394 h 395"/>
                <a:gd name="T8" fmla="*/ 166 w 189"/>
                <a:gd name="T9" fmla="*/ 243 h 395"/>
                <a:gd name="T10" fmla="*/ 170 w 189"/>
                <a:gd name="T11" fmla="*/ 175 h 395"/>
                <a:gd name="T12" fmla="*/ 150 w 189"/>
                <a:gd name="T13" fmla="*/ 48 h 395"/>
                <a:gd name="T14" fmla="*/ 104 w 189"/>
                <a:gd name="T15" fmla="*/ 12 h 395"/>
                <a:gd name="T16" fmla="*/ 71 w 189"/>
                <a:gd name="T17" fmla="*/ 9 h 395"/>
                <a:gd name="T18" fmla="*/ 23 w 189"/>
                <a:gd name="T19" fmla="*/ 6 h 395"/>
                <a:gd name="T20" fmla="*/ 12 w 189"/>
                <a:gd name="T21" fmla="*/ 1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9" h="395">
                  <a:moveTo>
                    <a:pt x="12" y="15"/>
                  </a:moveTo>
                  <a:cubicBezTo>
                    <a:pt x="40" y="121"/>
                    <a:pt x="104" y="195"/>
                    <a:pt x="104" y="210"/>
                  </a:cubicBezTo>
                  <a:cubicBezTo>
                    <a:pt x="104" y="220"/>
                    <a:pt x="38" y="316"/>
                    <a:pt x="11" y="372"/>
                  </a:cubicBezTo>
                  <a:cubicBezTo>
                    <a:pt x="0" y="395"/>
                    <a:pt x="24" y="379"/>
                    <a:pt x="18" y="394"/>
                  </a:cubicBezTo>
                  <a:cubicBezTo>
                    <a:pt x="75" y="337"/>
                    <a:pt x="108" y="301"/>
                    <a:pt x="166" y="243"/>
                  </a:cubicBezTo>
                  <a:cubicBezTo>
                    <a:pt x="189" y="219"/>
                    <a:pt x="176" y="205"/>
                    <a:pt x="170" y="175"/>
                  </a:cubicBezTo>
                  <a:cubicBezTo>
                    <a:pt x="163" y="141"/>
                    <a:pt x="153" y="56"/>
                    <a:pt x="150" y="48"/>
                  </a:cubicBezTo>
                  <a:cubicBezTo>
                    <a:pt x="146" y="35"/>
                    <a:pt x="116" y="20"/>
                    <a:pt x="104" y="12"/>
                  </a:cubicBezTo>
                  <a:cubicBezTo>
                    <a:pt x="94" y="6"/>
                    <a:pt x="82" y="6"/>
                    <a:pt x="71" y="9"/>
                  </a:cubicBezTo>
                  <a:cubicBezTo>
                    <a:pt x="60" y="12"/>
                    <a:pt x="33" y="0"/>
                    <a:pt x="23" y="6"/>
                  </a:cubicBezTo>
                  <a:lnTo>
                    <a:pt x="12" y="15"/>
                  </a:lnTo>
                  <a:close/>
                </a:path>
              </a:pathLst>
            </a:custGeom>
            <a:solidFill>
              <a:srgbClr val="3B4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5" name="îšlïďe">
              <a:extLst>
                <a:ext uri="{FF2B5EF4-FFF2-40B4-BE49-F238E27FC236}">
                  <a16:creationId xmlns:a16="http://schemas.microsoft.com/office/drawing/2014/main" id="{3DD7B488-F368-4F2E-A25D-4CABADAD2884}"/>
                </a:ext>
              </a:extLst>
            </p:cNvPr>
            <p:cNvSpPr/>
            <p:nvPr/>
          </p:nvSpPr>
          <p:spPr bwMode="auto">
            <a:xfrm>
              <a:off x="4672013" y="4929188"/>
              <a:ext cx="557213" cy="606425"/>
            </a:xfrm>
            <a:prstGeom prst="rect">
              <a:avLst/>
            </a:prstGeom>
            <a:solidFill>
              <a:srgbClr val="62C8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6" name="ïṩḻíḑé">
              <a:extLst>
                <a:ext uri="{FF2B5EF4-FFF2-40B4-BE49-F238E27FC236}">
                  <a16:creationId xmlns:a16="http://schemas.microsoft.com/office/drawing/2014/main" id="{92F5567D-8B59-46F8-AAEC-C3223A7793A2}"/>
                </a:ext>
              </a:extLst>
            </p:cNvPr>
            <p:cNvSpPr/>
            <p:nvPr/>
          </p:nvSpPr>
          <p:spPr bwMode="auto">
            <a:xfrm>
              <a:off x="4672013" y="4929188"/>
              <a:ext cx="557213" cy="606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7" name="í$ľîḑè">
              <a:extLst>
                <a:ext uri="{FF2B5EF4-FFF2-40B4-BE49-F238E27FC236}">
                  <a16:creationId xmlns:a16="http://schemas.microsoft.com/office/drawing/2014/main" id="{01035B34-79D3-4773-AE5B-B24C5BD13CD2}"/>
                </a:ext>
              </a:extLst>
            </p:cNvPr>
            <p:cNvSpPr/>
            <p:nvPr/>
          </p:nvSpPr>
          <p:spPr bwMode="auto">
            <a:xfrm>
              <a:off x="3929063" y="5241925"/>
              <a:ext cx="557213" cy="293688"/>
            </a:xfrm>
            <a:prstGeom prst="rect">
              <a:avLst/>
            </a:prstGeom>
            <a:solidFill>
              <a:srgbClr val="62C8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8" name="ísḷïḋé">
              <a:extLst>
                <a:ext uri="{FF2B5EF4-FFF2-40B4-BE49-F238E27FC236}">
                  <a16:creationId xmlns:a16="http://schemas.microsoft.com/office/drawing/2014/main" id="{EB99FF45-6696-412C-88A7-29F80344CFC3}"/>
                </a:ext>
              </a:extLst>
            </p:cNvPr>
            <p:cNvSpPr/>
            <p:nvPr/>
          </p:nvSpPr>
          <p:spPr bwMode="auto">
            <a:xfrm>
              <a:off x="3929063" y="5241925"/>
              <a:ext cx="557213" cy="293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9" name="íṩ1ïḋè">
              <a:extLst>
                <a:ext uri="{FF2B5EF4-FFF2-40B4-BE49-F238E27FC236}">
                  <a16:creationId xmlns:a16="http://schemas.microsoft.com/office/drawing/2014/main" id="{5E50878E-3D7B-4F5B-9B94-DD9E8EBEC4B1}"/>
                </a:ext>
              </a:extLst>
            </p:cNvPr>
            <p:cNvSpPr/>
            <p:nvPr/>
          </p:nvSpPr>
          <p:spPr bwMode="auto">
            <a:xfrm>
              <a:off x="5413376" y="4565650"/>
              <a:ext cx="557213" cy="969963"/>
            </a:xfrm>
            <a:prstGeom prst="rect">
              <a:avLst/>
            </a:prstGeom>
            <a:solidFill>
              <a:srgbClr val="62C8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0" name="íṥľiḍè">
              <a:extLst>
                <a:ext uri="{FF2B5EF4-FFF2-40B4-BE49-F238E27FC236}">
                  <a16:creationId xmlns:a16="http://schemas.microsoft.com/office/drawing/2014/main" id="{932D324F-71B4-483B-9B45-3587D1BD1E4C}"/>
                </a:ext>
              </a:extLst>
            </p:cNvPr>
            <p:cNvSpPr/>
            <p:nvPr/>
          </p:nvSpPr>
          <p:spPr bwMode="auto">
            <a:xfrm>
              <a:off x="5413376" y="4565650"/>
              <a:ext cx="557213" cy="969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1" name="ïŝļïďé">
              <a:extLst>
                <a:ext uri="{FF2B5EF4-FFF2-40B4-BE49-F238E27FC236}">
                  <a16:creationId xmlns:a16="http://schemas.microsoft.com/office/drawing/2014/main" id="{1C1B58C6-48CF-4871-9FE1-5BF34E33E8DC}"/>
                </a:ext>
              </a:extLst>
            </p:cNvPr>
            <p:cNvSpPr/>
            <p:nvPr/>
          </p:nvSpPr>
          <p:spPr bwMode="auto">
            <a:xfrm>
              <a:off x="6156326" y="4230688"/>
              <a:ext cx="557213" cy="1304925"/>
            </a:xfrm>
            <a:prstGeom prst="rect">
              <a:avLst/>
            </a:prstGeom>
            <a:solidFill>
              <a:srgbClr val="62C8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2" name="íSļïďê">
              <a:extLst>
                <a:ext uri="{FF2B5EF4-FFF2-40B4-BE49-F238E27FC236}">
                  <a16:creationId xmlns:a16="http://schemas.microsoft.com/office/drawing/2014/main" id="{AE1E7A5E-468C-4276-AAF5-4B1371726B12}"/>
                </a:ext>
              </a:extLst>
            </p:cNvPr>
            <p:cNvSpPr/>
            <p:nvPr/>
          </p:nvSpPr>
          <p:spPr bwMode="auto">
            <a:xfrm>
              <a:off x="6156326" y="4230688"/>
              <a:ext cx="557213" cy="1304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3" name="iṧ1îḍè">
              <a:extLst>
                <a:ext uri="{FF2B5EF4-FFF2-40B4-BE49-F238E27FC236}">
                  <a16:creationId xmlns:a16="http://schemas.microsoft.com/office/drawing/2014/main" id="{C7C83F14-D03D-4646-95F4-D2E15D350A08}"/>
                </a:ext>
              </a:extLst>
            </p:cNvPr>
            <p:cNvSpPr/>
            <p:nvPr/>
          </p:nvSpPr>
          <p:spPr bwMode="auto">
            <a:xfrm>
              <a:off x="6897688" y="3786188"/>
              <a:ext cx="557213" cy="1749425"/>
            </a:xfrm>
            <a:prstGeom prst="rect">
              <a:avLst/>
            </a:prstGeom>
            <a:solidFill>
              <a:srgbClr val="62C8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4" name="iṧļîḑè">
              <a:extLst>
                <a:ext uri="{FF2B5EF4-FFF2-40B4-BE49-F238E27FC236}">
                  <a16:creationId xmlns:a16="http://schemas.microsoft.com/office/drawing/2014/main" id="{171EC064-F129-490B-9093-B648A619D815}"/>
                </a:ext>
              </a:extLst>
            </p:cNvPr>
            <p:cNvSpPr/>
            <p:nvPr/>
          </p:nvSpPr>
          <p:spPr bwMode="auto">
            <a:xfrm>
              <a:off x="6897688" y="3786188"/>
              <a:ext cx="557213" cy="1749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5" name="iSlíďê">
              <a:extLst>
                <a:ext uri="{FF2B5EF4-FFF2-40B4-BE49-F238E27FC236}">
                  <a16:creationId xmlns:a16="http://schemas.microsoft.com/office/drawing/2014/main" id="{21F23015-80EB-44C2-85FB-F1D501AD6FEB}"/>
                </a:ext>
              </a:extLst>
            </p:cNvPr>
            <p:cNvSpPr/>
            <p:nvPr/>
          </p:nvSpPr>
          <p:spPr bwMode="auto">
            <a:xfrm>
              <a:off x="7640638" y="3487738"/>
              <a:ext cx="557213" cy="2047875"/>
            </a:xfrm>
            <a:prstGeom prst="rect">
              <a:avLst/>
            </a:prstGeom>
            <a:solidFill>
              <a:srgbClr val="62C8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6" name="iśḷiḓê">
              <a:extLst>
                <a:ext uri="{FF2B5EF4-FFF2-40B4-BE49-F238E27FC236}">
                  <a16:creationId xmlns:a16="http://schemas.microsoft.com/office/drawing/2014/main" id="{C5FBAD7A-D90E-473F-9EC9-F73E6173C580}"/>
                </a:ext>
              </a:extLst>
            </p:cNvPr>
            <p:cNvSpPr/>
            <p:nvPr/>
          </p:nvSpPr>
          <p:spPr bwMode="auto">
            <a:xfrm>
              <a:off x="7640638" y="3487738"/>
              <a:ext cx="557213" cy="2047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7" name="ïṥliḍe">
              <a:extLst>
                <a:ext uri="{FF2B5EF4-FFF2-40B4-BE49-F238E27FC236}">
                  <a16:creationId xmlns:a16="http://schemas.microsoft.com/office/drawing/2014/main" id="{BBCFAFAD-622B-44A6-9487-A4B815C396C5}"/>
                </a:ext>
              </a:extLst>
            </p:cNvPr>
            <p:cNvSpPr/>
            <p:nvPr/>
          </p:nvSpPr>
          <p:spPr bwMode="auto">
            <a:xfrm>
              <a:off x="6958013" y="2136775"/>
              <a:ext cx="488950" cy="752475"/>
            </a:xfrm>
            <a:custGeom>
              <a:avLst/>
              <a:gdLst>
                <a:gd name="T0" fmla="*/ 19 w 211"/>
                <a:gd name="T1" fmla="*/ 324 h 324"/>
                <a:gd name="T2" fmla="*/ 194 w 211"/>
                <a:gd name="T3" fmla="*/ 259 h 324"/>
                <a:gd name="T4" fmla="*/ 208 w 211"/>
                <a:gd name="T5" fmla="*/ 55 h 324"/>
                <a:gd name="T6" fmla="*/ 142 w 211"/>
                <a:gd name="T7" fmla="*/ 48 h 324"/>
                <a:gd name="T8" fmla="*/ 70 w 211"/>
                <a:gd name="T9" fmla="*/ 140 h 324"/>
                <a:gd name="T10" fmla="*/ 8 w 211"/>
                <a:gd name="T11" fmla="*/ 296 h 324"/>
                <a:gd name="T12" fmla="*/ 19 w 211"/>
                <a:gd name="T13" fmla="*/ 32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1" h="324">
                  <a:moveTo>
                    <a:pt x="19" y="324"/>
                  </a:moveTo>
                  <a:cubicBezTo>
                    <a:pt x="169" y="324"/>
                    <a:pt x="194" y="259"/>
                    <a:pt x="194" y="259"/>
                  </a:cubicBezTo>
                  <a:cubicBezTo>
                    <a:pt x="194" y="259"/>
                    <a:pt x="211" y="71"/>
                    <a:pt x="208" y="55"/>
                  </a:cubicBezTo>
                  <a:cubicBezTo>
                    <a:pt x="200" y="0"/>
                    <a:pt x="165" y="21"/>
                    <a:pt x="142" y="48"/>
                  </a:cubicBezTo>
                  <a:cubicBezTo>
                    <a:pt x="118" y="75"/>
                    <a:pt x="89" y="109"/>
                    <a:pt x="70" y="140"/>
                  </a:cubicBezTo>
                  <a:cubicBezTo>
                    <a:pt x="47" y="179"/>
                    <a:pt x="13" y="251"/>
                    <a:pt x="8" y="296"/>
                  </a:cubicBezTo>
                  <a:cubicBezTo>
                    <a:pt x="6" y="316"/>
                    <a:pt x="0" y="324"/>
                    <a:pt x="19" y="3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8" name="iṥļíḓè">
              <a:extLst>
                <a:ext uri="{FF2B5EF4-FFF2-40B4-BE49-F238E27FC236}">
                  <a16:creationId xmlns:a16="http://schemas.microsoft.com/office/drawing/2014/main" id="{814BD828-978F-4B52-AB87-084E8CA58FFD}"/>
                </a:ext>
              </a:extLst>
            </p:cNvPr>
            <p:cNvSpPr/>
            <p:nvPr/>
          </p:nvSpPr>
          <p:spPr bwMode="auto">
            <a:xfrm>
              <a:off x="6086476" y="3449638"/>
              <a:ext cx="581025" cy="735013"/>
            </a:xfrm>
            <a:custGeom>
              <a:avLst/>
              <a:gdLst>
                <a:gd name="T0" fmla="*/ 248 w 250"/>
                <a:gd name="T1" fmla="*/ 20 h 317"/>
                <a:gd name="T2" fmla="*/ 227 w 250"/>
                <a:gd name="T3" fmla="*/ 316 h 317"/>
                <a:gd name="T4" fmla="*/ 194 w 250"/>
                <a:gd name="T5" fmla="*/ 316 h 317"/>
                <a:gd name="T6" fmla="*/ 183 w 250"/>
                <a:gd name="T7" fmla="*/ 86 h 317"/>
                <a:gd name="T8" fmla="*/ 4 w 250"/>
                <a:gd name="T9" fmla="*/ 126 h 317"/>
                <a:gd name="T10" fmla="*/ 16 w 250"/>
                <a:gd name="T11" fmla="*/ 47 h 317"/>
                <a:gd name="T12" fmla="*/ 65 w 250"/>
                <a:gd name="T13" fmla="*/ 25 h 317"/>
                <a:gd name="T14" fmla="*/ 227 w 250"/>
                <a:gd name="T15" fmla="*/ 1 h 317"/>
                <a:gd name="T16" fmla="*/ 248 w 250"/>
                <a:gd name="T17" fmla="*/ 2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317">
                  <a:moveTo>
                    <a:pt x="248" y="20"/>
                  </a:moveTo>
                  <a:cubicBezTo>
                    <a:pt x="250" y="112"/>
                    <a:pt x="241" y="225"/>
                    <a:pt x="227" y="316"/>
                  </a:cubicBezTo>
                  <a:cubicBezTo>
                    <a:pt x="208" y="316"/>
                    <a:pt x="214" y="317"/>
                    <a:pt x="194" y="316"/>
                  </a:cubicBezTo>
                  <a:cubicBezTo>
                    <a:pt x="189" y="247"/>
                    <a:pt x="188" y="155"/>
                    <a:pt x="183" y="86"/>
                  </a:cubicBezTo>
                  <a:cubicBezTo>
                    <a:pt x="125" y="106"/>
                    <a:pt x="65" y="120"/>
                    <a:pt x="4" y="126"/>
                  </a:cubicBezTo>
                  <a:cubicBezTo>
                    <a:pt x="0" y="126"/>
                    <a:pt x="11" y="54"/>
                    <a:pt x="16" y="47"/>
                  </a:cubicBezTo>
                  <a:cubicBezTo>
                    <a:pt x="26" y="30"/>
                    <a:pt x="46" y="29"/>
                    <a:pt x="65" y="25"/>
                  </a:cubicBezTo>
                  <a:cubicBezTo>
                    <a:pt x="118" y="14"/>
                    <a:pt x="173" y="6"/>
                    <a:pt x="227" y="1"/>
                  </a:cubicBezTo>
                  <a:cubicBezTo>
                    <a:pt x="238" y="0"/>
                    <a:pt x="248" y="9"/>
                    <a:pt x="248" y="20"/>
                  </a:cubicBezTo>
                  <a:close/>
                </a:path>
              </a:pathLst>
            </a:custGeom>
            <a:solidFill>
              <a:srgbClr val="3B4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9" name="íṧ1iďé">
              <a:extLst>
                <a:ext uri="{FF2B5EF4-FFF2-40B4-BE49-F238E27FC236}">
                  <a16:creationId xmlns:a16="http://schemas.microsoft.com/office/drawing/2014/main" id="{A8414B11-58E4-4098-BF6F-BCF2F8114322}"/>
                </a:ext>
              </a:extLst>
            </p:cNvPr>
            <p:cNvSpPr/>
            <p:nvPr/>
          </p:nvSpPr>
          <p:spPr bwMode="auto">
            <a:xfrm>
              <a:off x="6556376" y="1301750"/>
              <a:ext cx="1374775" cy="623888"/>
            </a:xfrm>
            <a:custGeom>
              <a:avLst/>
              <a:gdLst>
                <a:gd name="T0" fmla="*/ 592 w 592"/>
                <a:gd name="T1" fmla="*/ 41 h 269"/>
                <a:gd name="T2" fmla="*/ 579 w 592"/>
                <a:gd name="T3" fmla="*/ 210 h 269"/>
                <a:gd name="T4" fmla="*/ 459 w 592"/>
                <a:gd name="T5" fmla="*/ 151 h 269"/>
                <a:gd name="T6" fmla="*/ 342 w 592"/>
                <a:gd name="T7" fmla="*/ 193 h 269"/>
                <a:gd name="T8" fmla="*/ 229 w 592"/>
                <a:gd name="T9" fmla="*/ 246 h 269"/>
                <a:gd name="T10" fmla="*/ 0 w 592"/>
                <a:gd name="T11" fmla="*/ 180 h 269"/>
                <a:gd name="T12" fmla="*/ 106 w 592"/>
                <a:gd name="T13" fmla="*/ 164 h 269"/>
                <a:gd name="T14" fmla="*/ 17 w 592"/>
                <a:gd name="T15" fmla="*/ 69 h 269"/>
                <a:gd name="T16" fmla="*/ 156 w 592"/>
                <a:gd name="T17" fmla="*/ 105 h 269"/>
                <a:gd name="T18" fmla="*/ 341 w 592"/>
                <a:gd name="T19" fmla="*/ 81 h 269"/>
                <a:gd name="T20" fmla="*/ 349 w 592"/>
                <a:gd name="T21" fmla="*/ 76 h 269"/>
                <a:gd name="T22" fmla="*/ 460 w 592"/>
                <a:gd name="T23" fmla="*/ 16 h 269"/>
                <a:gd name="T24" fmla="*/ 592 w 592"/>
                <a:gd name="T25" fmla="*/ 41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2" h="269">
                  <a:moveTo>
                    <a:pt x="592" y="41"/>
                  </a:moveTo>
                  <a:cubicBezTo>
                    <a:pt x="579" y="210"/>
                    <a:pt x="579" y="210"/>
                    <a:pt x="579" y="210"/>
                  </a:cubicBezTo>
                  <a:cubicBezTo>
                    <a:pt x="556" y="176"/>
                    <a:pt x="501" y="147"/>
                    <a:pt x="459" y="151"/>
                  </a:cubicBezTo>
                  <a:cubicBezTo>
                    <a:pt x="418" y="154"/>
                    <a:pt x="379" y="173"/>
                    <a:pt x="342" y="193"/>
                  </a:cubicBezTo>
                  <a:cubicBezTo>
                    <a:pt x="306" y="213"/>
                    <a:pt x="270" y="235"/>
                    <a:pt x="229" y="246"/>
                  </a:cubicBezTo>
                  <a:cubicBezTo>
                    <a:pt x="149" y="269"/>
                    <a:pt x="56" y="242"/>
                    <a:pt x="0" y="180"/>
                  </a:cubicBezTo>
                  <a:cubicBezTo>
                    <a:pt x="40" y="182"/>
                    <a:pt x="77" y="192"/>
                    <a:pt x="106" y="164"/>
                  </a:cubicBezTo>
                  <a:cubicBezTo>
                    <a:pt x="69" y="151"/>
                    <a:pt x="39" y="101"/>
                    <a:pt x="17" y="69"/>
                  </a:cubicBezTo>
                  <a:cubicBezTo>
                    <a:pt x="61" y="86"/>
                    <a:pt x="108" y="99"/>
                    <a:pt x="156" y="105"/>
                  </a:cubicBezTo>
                  <a:cubicBezTo>
                    <a:pt x="219" y="114"/>
                    <a:pt x="283" y="108"/>
                    <a:pt x="341" y="81"/>
                  </a:cubicBezTo>
                  <a:cubicBezTo>
                    <a:pt x="344" y="79"/>
                    <a:pt x="347" y="78"/>
                    <a:pt x="349" y="76"/>
                  </a:cubicBezTo>
                  <a:cubicBezTo>
                    <a:pt x="387" y="57"/>
                    <a:pt x="420" y="30"/>
                    <a:pt x="460" y="16"/>
                  </a:cubicBezTo>
                  <a:cubicBezTo>
                    <a:pt x="502" y="0"/>
                    <a:pt x="564" y="5"/>
                    <a:pt x="592" y="41"/>
                  </a:cubicBezTo>
                  <a:close/>
                </a:path>
              </a:pathLst>
            </a:custGeom>
            <a:solidFill>
              <a:srgbClr val="C232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0" name="îsliďê">
              <a:extLst>
                <a:ext uri="{FF2B5EF4-FFF2-40B4-BE49-F238E27FC236}">
                  <a16:creationId xmlns:a16="http://schemas.microsoft.com/office/drawing/2014/main" id="{5BDC32E1-26E2-4B51-8991-1AE83BD438D0}"/>
                </a:ext>
              </a:extLst>
            </p:cNvPr>
            <p:cNvSpPr/>
            <p:nvPr/>
          </p:nvSpPr>
          <p:spPr bwMode="auto">
            <a:xfrm>
              <a:off x="7772401" y="1370013"/>
              <a:ext cx="168275" cy="2012950"/>
            </a:xfrm>
            <a:custGeom>
              <a:avLst/>
              <a:gdLst>
                <a:gd name="T0" fmla="*/ 64 w 72"/>
                <a:gd name="T1" fmla="*/ 4 h 868"/>
                <a:gd name="T2" fmla="*/ 0 w 72"/>
                <a:gd name="T3" fmla="*/ 864 h 868"/>
                <a:gd name="T4" fmla="*/ 4 w 72"/>
                <a:gd name="T5" fmla="*/ 868 h 868"/>
                <a:gd name="T6" fmla="*/ 8 w 72"/>
                <a:gd name="T7" fmla="*/ 864 h 868"/>
                <a:gd name="T8" fmla="*/ 72 w 72"/>
                <a:gd name="T9" fmla="*/ 5 h 868"/>
                <a:gd name="T10" fmla="*/ 68 w 72"/>
                <a:gd name="T11" fmla="*/ 0 h 868"/>
                <a:gd name="T12" fmla="*/ 64 w 72"/>
                <a:gd name="T13" fmla="*/ 4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868">
                  <a:moveTo>
                    <a:pt x="64" y="4"/>
                  </a:moveTo>
                  <a:cubicBezTo>
                    <a:pt x="0" y="864"/>
                    <a:pt x="0" y="864"/>
                    <a:pt x="0" y="864"/>
                  </a:cubicBezTo>
                  <a:cubicBezTo>
                    <a:pt x="0" y="866"/>
                    <a:pt x="1" y="868"/>
                    <a:pt x="4" y="868"/>
                  </a:cubicBezTo>
                  <a:cubicBezTo>
                    <a:pt x="6" y="868"/>
                    <a:pt x="8" y="867"/>
                    <a:pt x="8" y="864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1" y="1"/>
                    <a:pt x="68" y="0"/>
                  </a:cubicBezTo>
                  <a:cubicBezTo>
                    <a:pt x="66" y="0"/>
                    <a:pt x="64" y="2"/>
                    <a:pt x="64" y="4"/>
                  </a:cubicBezTo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1" name="íş1îḓé">
              <a:extLst>
                <a:ext uri="{FF2B5EF4-FFF2-40B4-BE49-F238E27FC236}">
                  <a16:creationId xmlns:a16="http://schemas.microsoft.com/office/drawing/2014/main" id="{DF5B4745-A01F-4EF3-91F6-B76EB7ACFAF3}"/>
                </a:ext>
              </a:extLst>
            </p:cNvPr>
            <p:cNvSpPr/>
            <p:nvPr/>
          </p:nvSpPr>
          <p:spPr bwMode="auto">
            <a:xfrm>
              <a:off x="5543551" y="3548063"/>
              <a:ext cx="636588" cy="898525"/>
            </a:xfrm>
            <a:custGeom>
              <a:avLst/>
              <a:gdLst>
                <a:gd name="T0" fmla="*/ 141 w 274"/>
                <a:gd name="T1" fmla="*/ 194 h 388"/>
                <a:gd name="T2" fmla="*/ 132 w 274"/>
                <a:gd name="T3" fmla="*/ 232 h 388"/>
                <a:gd name="T4" fmla="*/ 6 w 274"/>
                <a:gd name="T5" fmla="*/ 366 h 388"/>
                <a:gd name="T6" fmla="*/ 19 w 274"/>
                <a:gd name="T7" fmla="*/ 388 h 388"/>
                <a:gd name="T8" fmla="*/ 30 w 274"/>
                <a:gd name="T9" fmla="*/ 374 h 388"/>
                <a:gd name="T10" fmla="*/ 219 w 274"/>
                <a:gd name="T11" fmla="*/ 250 h 388"/>
                <a:gd name="T12" fmla="*/ 239 w 274"/>
                <a:gd name="T13" fmla="*/ 196 h 388"/>
                <a:gd name="T14" fmla="*/ 270 w 274"/>
                <a:gd name="T15" fmla="*/ 44 h 388"/>
                <a:gd name="T16" fmla="*/ 267 w 274"/>
                <a:gd name="T17" fmla="*/ 12 h 388"/>
                <a:gd name="T18" fmla="*/ 241 w 274"/>
                <a:gd name="T19" fmla="*/ 4 h 388"/>
                <a:gd name="T20" fmla="*/ 150 w 274"/>
                <a:gd name="T21" fmla="*/ 42 h 388"/>
                <a:gd name="T22" fmla="*/ 141 w 274"/>
                <a:gd name="T23" fmla="*/ 194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388">
                  <a:moveTo>
                    <a:pt x="141" y="194"/>
                  </a:moveTo>
                  <a:cubicBezTo>
                    <a:pt x="140" y="207"/>
                    <a:pt x="139" y="221"/>
                    <a:pt x="132" y="232"/>
                  </a:cubicBezTo>
                  <a:cubicBezTo>
                    <a:pt x="125" y="242"/>
                    <a:pt x="57" y="316"/>
                    <a:pt x="6" y="366"/>
                  </a:cubicBezTo>
                  <a:cubicBezTo>
                    <a:pt x="0" y="372"/>
                    <a:pt x="19" y="388"/>
                    <a:pt x="19" y="388"/>
                  </a:cubicBezTo>
                  <a:cubicBezTo>
                    <a:pt x="19" y="388"/>
                    <a:pt x="25" y="377"/>
                    <a:pt x="30" y="374"/>
                  </a:cubicBezTo>
                  <a:cubicBezTo>
                    <a:pt x="97" y="323"/>
                    <a:pt x="206" y="268"/>
                    <a:pt x="219" y="250"/>
                  </a:cubicBezTo>
                  <a:cubicBezTo>
                    <a:pt x="231" y="235"/>
                    <a:pt x="235" y="215"/>
                    <a:pt x="239" y="196"/>
                  </a:cubicBezTo>
                  <a:cubicBezTo>
                    <a:pt x="249" y="145"/>
                    <a:pt x="260" y="94"/>
                    <a:pt x="270" y="44"/>
                  </a:cubicBezTo>
                  <a:cubicBezTo>
                    <a:pt x="273" y="33"/>
                    <a:pt x="274" y="20"/>
                    <a:pt x="267" y="12"/>
                  </a:cubicBezTo>
                  <a:cubicBezTo>
                    <a:pt x="261" y="5"/>
                    <a:pt x="250" y="4"/>
                    <a:pt x="241" y="4"/>
                  </a:cubicBezTo>
                  <a:cubicBezTo>
                    <a:pt x="207" y="4"/>
                    <a:pt x="155" y="0"/>
                    <a:pt x="150" y="42"/>
                  </a:cubicBezTo>
                  <a:cubicBezTo>
                    <a:pt x="143" y="92"/>
                    <a:pt x="144" y="144"/>
                    <a:pt x="141" y="194"/>
                  </a:cubicBezTo>
                  <a:close/>
                </a:path>
              </a:pathLst>
            </a:custGeom>
            <a:solidFill>
              <a:srgbClr val="3B4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2" name="isḻiďê">
              <a:extLst>
                <a:ext uri="{FF2B5EF4-FFF2-40B4-BE49-F238E27FC236}">
                  <a16:creationId xmlns:a16="http://schemas.microsoft.com/office/drawing/2014/main" id="{F670604B-0B39-495D-83F4-3533981527F7}"/>
                </a:ext>
              </a:extLst>
            </p:cNvPr>
            <p:cNvSpPr/>
            <p:nvPr/>
          </p:nvSpPr>
          <p:spPr bwMode="auto">
            <a:xfrm>
              <a:off x="6819901" y="2216150"/>
              <a:ext cx="539750" cy="635000"/>
            </a:xfrm>
            <a:custGeom>
              <a:avLst/>
              <a:gdLst>
                <a:gd name="T0" fmla="*/ 223 w 232"/>
                <a:gd name="T1" fmla="*/ 30 h 274"/>
                <a:gd name="T2" fmla="*/ 221 w 232"/>
                <a:gd name="T3" fmla="*/ 33 h 274"/>
                <a:gd name="T4" fmla="*/ 189 w 232"/>
                <a:gd name="T5" fmla="*/ 60 h 274"/>
                <a:gd name="T6" fmla="*/ 188 w 232"/>
                <a:gd name="T7" fmla="*/ 60 h 274"/>
                <a:gd name="T8" fmla="*/ 120 w 232"/>
                <a:gd name="T9" fmla="*/ 85 h 274"/>
                <a:gd name="T10" fmla="*/ 49 w 232"/>
                <a:gd name="T11" fmla="*/ 166 h 274"/>
                <a:gd name="T12" fmla="*/ 22 w 232"/>
                <a:gd name="T13" fmla="*/ 272 h 274"/>
                <a:gd name="T14" fmla="*/ 15 w 232"/>
                <a:gd name="T15" fmla="*/ 274 h 274"/>
                <a:gd name="T16" fmla="*/ 10 w 232"/>
                <a:gd name="T17" fmla="*/ 272 h 274"/>
                <a:gd name="T18" fmla="*/ 5 w 232"/>
                <a:gd name="T19" fmla="*/ 266 h 274"/>
                <a:gd name="T20" fmla="*/ 1 w 232"/>
                <a:gd name="T21" fmla="*/ 243 h 274"/>
                <a:gd name="T22" fmla="*/ 12 w 232"/>
                <a:gd name="T23" fmla="*/ 164 h 274"/>
                <a:gd name="T24" fmla="*/ 47 w 232"/>
                <a:gd name="T25" fmla="*/ 84 h 274"/>
                <a:gd name="T26" fmla="*/ 127 w 232"/>
                <a:gd name="T27" fmla="*/ 23 h 274"/>
                <a:gd name="T28" fmla="*/ 201 w 232"/>
                <a:gd name="T29" fmla="*/ 1 h 274"/>
                <a:gd name="T30" fmla="*/ 214 w 232"/>
                <a:gd name="T31" fmla="*/ 0 h 274"/>
                <a:gd name="T32" fmla="*/ 216 w 232"/>
                <a:gd name="T33" fmla="*/ 1 h 274"/>
                <a:gd name="T34" fmla="*/ 223 w 232"/>
                <a:gd name="T35" fmla="*/ 3 h 274"/>
                <a:gd name="T36" fmla="*/ 223 w 232"/>
                <a:gd name="T37" fmla="*/ 3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2" h="274">
                  <a:moveTo>
                    <a:pt x="223" y="30"/>
                  </a:moveTo>
                  <a:cubicBezTo>
                    <a:pt x="222" y="31"/>
                    <a:pt x="222" y="32"/>
                    <a:pt x="221" y="33"/>
                  </a:cubicBezTo>
                  <a:cubicBezTo>
                    <a:pt x="212" y="45"/>
                    <a:pt x="196" y="56"/>
                    <a:pt x="189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67" y="70"/>
                    <a:pt x="142" y="74"/>
                    <a:pt x="120" y="85"/>
                  </a:cubicBezTo>
                  <a:cubicBezTo>
                    <a:pt x="88" y="101"/>
                    <a:pt x="64" y="132"/>
                    <a:pt x="49" y="166"/>
                  </a:cubicBezTo>
                  <a:cubicBezTo>
                    <a:pt x="35" y="199"/>
                    <a:pt x="29" y="236"/>
                    <a:pt x="22" y="272"/>
                  </a:cubicBezTo>
                  <a:cubicBezTo>
                    <a:pt x="20" y="274"/>
                    <a:pt x="18" y="274"/>
                    <a:pt x="15" y="274"/>
                  </a:cubicBezTo>
                  <a:cubicBezTo>
                    <a:pt x="13" y="274"/>
                    <a:pt x="12" y="273"/>
                    <a:pt x="10" y="272"/>
                  </a:cubicBezTo>
                  <a:cubicBezTo>
                    <a:pt x="8" y="270"/>
                    <a:pt x="6" y="268"/>
                    <a:pt x="5" y="266"/>
                  </a:cubicBezTo>
                  <a:cubicBezTo>
                    <a:pt x="2" y="260"/>
                    <a:pt x="0" y="250"/>
                    <a:pt x="1" y="243"/>
                  </a:cubicBezTo>
                  <a:cubicBezTo>
                    <a:pt x="5" y="216"/>
                    <a:pt x="6" y="191"/>
                    <a:pt x="12" y="164"/>
                  </a:cubicBezTo>
                  <a:cubicBezTo>
                    <a:pt x="18" y="136"/>
                    <a:pt x="32" y="107"/>
                    <a:pt x="47" y="84"/>
                  </a:cubicBezTo>
                  <a:cubicBezTo>
                    <a:pt x="66" y="55"/>
                    <a:pt x="95" y="35"/>
                    <a:pt x="127" y="23"/>
                  </a:cubicBezTo>
                  <a:cubicBezTo>
                    <a:pt x="139" y="18"/>
                    <a:pt x="176" y="4"/>
                    <a:pt x="201" y="1"/>
                  </a:cubicBezTo>
                  <a:cubicBezTo>
                    <a:pt x="206" y="0"/>
                    <a:pt x="211" y="0"/>
                    <a:pt x="214" y="0"/>
                  </a:cubicBezTo>
                  <a:cubicBezTo>
                    <a:pt x="215" y="0"/>
                    <a:pt x="216" y="0"/>
                    <a:pt x="216" y="1"/>
                  </a:cubicBezTo>
                  <a:cubicBezTo>
                    <a:pt x="219" y="1"/>
                    <a:pt x="222" y="2"/>
                    <a:pt x="223" y="3"/>
                  </a:cubicBezTo>
                  <a:cubicBezTo>
                    <a:pt x="232" y="11"/>
                    <a:pt x="229" y="20"/>
                    <a:pt x="223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3" name="iSľíḑê">
              <a:extLst>
                <a:ext uri="{FF2B5EF4-FFF2-40B4-BE49-F238E27FC236}">
                  <a16:creationId xmlns:a16="http://schemas.microsoft.com/office/drawing/2014/main" id="{4F592E18-6F1C-4B89-B482-98B3A2796C4E}"/>
                </a:ext>
              </a:extLst>
            </p:cNvPr>
            <p:cNvSpPr/>
            <p:nvPr/>
          </p:nvSpPr>
          <p:spPr bwMode="auto">
            <a:xfrm>
              <a:off x="4852988" y="3835400"/>
              <a:ext cx="423863" cy="1063625"/>
            </a:xfrm>
            <a:custGeom>
              <a:avLst/>
              <a:gdLst>
                <a:gd name="T0" fmla="*/ 108 w 182"/>
                <a:gd name="T1" fmla="*/ 258 h 459"/>
                <a:gd name="T2" fmla="*/ 80 w 182"/>
                <a:gd name="T3" fmla="*/ 449 h 459"/>
                <a:gd name="T4" fmla="*/ 112 w 182"/>
                <a:gd name="T5" fmla="*/ 446 h 459"/>
                <a:gd name="T6" fmla="*/ 180 w 182"/>
                <a:gd name="T7" fmla="*/ 225 h 459"/>
                <a:gd name="T8" fmla="*/ 180 w 182"/>
                <a:gd name="T9" fmla="*/ 214 h 459"/>
                <a:gd name="T10" fmla="*/ 96 w 182"/>
                <a:gd name="T11" fmla="*/ 36 h 459"/>
                <a:gd name="T12" fmla="*/ 77 w 182"/>
                <a:gd name="T13" fmla="*/ 13 h 459"/>
                <a:gd name="T14" fmla="*/ 39 w 182"/>
                <a:gd name="T15" fmla="*/ 17 h 459"/>
                <a:gd name="T16" fmla="*/ 23 w 182"/>
                <a:gd name="T17" fmla="*/ 136 h 459"/>
                <a:gd name="T18" fmla="*/ 108 w 182"/>
                <a:gd name="T19" fmla="*/ 258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459">
                  <a:moveTo>
                    <a:pt x="108" y="258"/>
                  </a:moveTo>
                  <a:cubicBezTo>
                    <a:pt x="106" y="275"/>
                    <a:pt x="89" y="400"/>
                    <a:pt x="80" y="449"/>
                  </a:cubicBezTo>
                  <a:cubicBezTo>
                    <a:pt x="94" y="459"/>
                    <a:pt x="100" y="458"/>
                    <a:pt x="112" y="446"/>
                  </a:cubicBezTo>
                  <a:cubicBezTo>
                    <a:pt x="122" y="435"/>
                    <a:pt x="171" y="260"/>
                    <a:pt x="180" y="225"/>
                  </a:cubicBezTo>
                  <a:cubicBezTo>
                    <a:pt x="182" y="222"/>
                    <a:pt x="181" y="218"/>
                    <a:pt x="180" y="214"/>
                  </a:cubicBezTo>
                  <a:cubicBezTo>
                    <a:pt x="177" y="203"/>
                    <a:pt x="122" y="84"/>
                    <a:pt x="96" y="36"/>
                  </a:cubicBezTo>
                  <a:cubicBezTo>
                    <a:pt x="94" y="33"/>
                    <a:pt x="80" y="16"/>
                    <a:pt x="77" y="13"/>
                  </a:cubicBezTo>
                  <a:cubicBezTo>
                    <a:pt x="63" y="0"/>
                    <a:pt x="50" y="9"/>
                    <a:pt x="39" y="17"/>
                  </a:cubicBezTo>
                  <a:cubicBezTo>
                    <a:pt x="14" y="39"/>
                    <a:pt x="0" y="101"/>
                    <a:pt x="23" y="136"/>
                  </a:cubicBezTo>
                  <a:cubicBezTo>
                    <a:pt x="33" y="151"/>
                    <a:pt x="105" y="244"/>
                    <a:pt x="108" y="258"/>
                  </a:cubicBezTo>
                  <a:close/>
                </a:path>
              </a:pathLst>
            </a:custGeom>
            <a:solidFill>
              <a:srgbClr val="3B4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4" name="ïŝlïde">
              <a:extLst>
                <a:ext uri="{FF2B5EF4-FFF2-40B4-BE49-F238E27FC236}">
                  <a16:creationId xmlns:a16="http://schemas.microsoft.com/office/drawing/2014/main" id="{F028C579-AFCB-4243-85C5-09387DFA6332}"/>
                </a:ext>
              </a:extLst>
            </p:cNvPr>
            <p:cNvSpPr/>
            <p:nvPr/>
          </p:nvSpPr>
          <p:spPr bwMode="auto">
            <a:xfrm>
              <a:off x="4240213" y="3916363"/>
              <a:ext cx="798513" cy="1033463"/>
            </a:xfrm>
            <a:custGeom>
              <a:avLst/>
              <a:gdLst>
                <a:gd name="T0" fmla="*/ 36 w 344"/>
                <a:gd name="T1" fmla="*/ 428 h 446"/>
                <a:gd name="T2" fmla="*/ 251 w 344"/>
                <a:gd name="T3" fmla="*/ 253 h 446"/>
                <a:gd name="T4" fmla="*/ 341 w 344"/>
                <a:gd name="T5" fmla="*/ 29 h 446"/>
                <a:gd name="T6" fmla="*/ 210 w 344"/>
                <a:gd name="T7" fmla="*/ 22 h 446"/>
                <a:gd name="T8" fmla="*/ 188 w 344"/>
                <a:gd name="T9" fmla="*/ 227 h 446"/>
                <a:gd name="T10" fmla="*/ 20 w 344"/>
                <a:gd name="T11" fmla="*/ 413 h 446"/>
                <a:gd name="T12" fmla="*/ 36 w 344"/>
                <a:gd name="T13" fmla="*/ 428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4" h="446">
                  <a:moveTo>
                    <a:pt x="36" y="428"/>
                  </a:moveTo>
                  <a:cubicBezTo>
                    <a:pt x="88" y="388"/>
                    <a:pt x="210" y="299"/>
                    <a:pt x="251" y="253"/>
                  </a:cubicBezTo>
                  <a:cubicBezTo>
                    <a:pt x="331" y="107"/>
                    <a:pt x="344" y="49"/>
                    <a:pt x="341" y="29"/>
                  </a:cubicBezTo>
                  <a:cubicBezTo>
                    <a:pt x="337" y="0"/>
                    <a:pt x="242" y="21"/>
                    <a:pt x="210" y="22"/>
                  </a:cubicBezTo>
                  <a:cubicBezTo>
                    <a:pt x="190" y="23"/>
                    <a:pt x="188" y="227"/>
                    <a:pt x="188" y="227"/>
                  </a:cubicBezTo>
                  <a:cubicBezTo>
                    <a:pt x="188" y="227"/>
                    <a:pt x="54" y="370"/>
                    <a:pt x="20" y="413"/>
                  </a:cubicBezTo>
                  <a:cubicBezTo>
                    <a:pt x="0" y="437"/>
                    <a:pt x="12" y="446"/>
                    <a:pt x="36" y="428"/>
                  </a:cubicBezTo>
                  <a:close/>
                </a:path>
              </a:pathLst>
            </a:custGeom>
            <a:solidFill>
              <a:srgbClr val="3B4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5" name="ïSľiḋé">
              <a:extLst>
                <a:ext uri="{FF2B5EF4-FFF2-40B4-BE49-F238E27FC236}">
                  <a16:creationId xmlns:a16="http://schemas.microsoft.com/office/drawing/2014/main" id="{03C0C466-C19B-4E08-917E-4AE58508759B}"/>
                </a:ext>
              </a:extLst>
            </p:cNvPr>
            <p:cNvSpPr/>
            <p:nvPr/>
          </p:nvSpPr>
          <p:spPr bwMode="auto">
            <a:xfrm>
              <a:off x="5910263" y="2894013"/>
              <a:ext cx="450850" cy="765175"/>
            </a:xfrm>
            <a:custGeom>
              <a:avLst/>
              <a:gdLst>
                <a:gd name="T0" fmla="*/ 170 w 194"/>
                <a:gd name="T1" fmla="*/ 291 h 330"/>
                <a:gd name="T2" fmla="*/ 190 w 194"/>
                <a:gd name="T3" fmla="*/ 113 h 330"/>
                <a:gd name="T4" fmla="*/ 189 w 194"/>
                <a:gd name="T5" fmla="*/ 55 h 330"/>
                <a:gd name="T6" fmla="*/ 123 w 194"/>
                <a:gd name="T7" fmla="*/ 53 h 330"/>
                <a:gd name="T8" fmla="*/ 64 w 194"/>
                <a:gd name="T9" fmla="*/ 117 h 330"/>
                <a:gd name="T10" fmla="*/ 0 w 194"/>
                <a:gd name="T11" fmla="*/ 304 h 330"/>
                <a:gd name="T12" fmla="*/ 170 w 194"/>
                <a:gd name="T13" fmla="*/ 291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" h="330">
                  <a:moveTo>
                    <a:pt x="170" y="291"/>
                  </a:moveTo>
                  <a:cubicBezTo>
                    <a:pt x="189" y="238"/>
                    <a:pt x="194" y="185"/>
                    <a:pt x="190" y="113"/>
                  </a:cubicBezTo>
                  <a:cubicBezTo>
                    <a:pt x="189" y="97"/>
                    <a:pt x="191" y="71"/>
                    <a:pt x="189" y="55"/>
                  </a:cubicBezTo>
                  <a:cubicBezTo>
                    <a:pt x="180" y="0"/>
                    <a:pt x="146" y="25"/>
                    <a:pt x="123" y="53"/>
                  </a:cubicBezTo>
                  <a:cubicBezTo>
                    <a:pt x="100" y="80"/>
                    <a:pt x="82" y="86"/>
                    <a:pt x="64" y="117"/>
                  </a:cubicBezTo>
                  <a:cubicBezTo>
                    <a:pt x="40" y="156"/>
                    <a:pt x="5" y="259"/>
                    <a:pt x="0" y="304"/>
                  </a:cubicBezTo>
                  <a:cubicBezTo>
                    <a:pt x="47" y="329"/>
                    <a:pt x="157" y="330"/>
                    <a:pt x="170" y="2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6" name="ïŝļíḑé">
              <a:extLst>
                <a:ext uri="{FF2B5EF4-FFF2-40B4-BE49-F238E27FC236}">
                  <a16:creationId xmlns:a16="http://schemas.microsoft.com/office/drawing/2014/main" id="{FC892545-81B7-4EDE-8F70-86BD1188E617}"/>
                </a:ext>
              </a:extLst>
            </p:cNvPr>
            <p:cNvSpPr/>
            <p:nvPr/>
          </p:nvSpPr>
          <p:spPr bwMode="auto">
            <a:xfrm>
              <a:off x="5703888" y="2976563"/>
              <a:ext cx="552450" cy="633413"/>
            </a:xfrm>
            <a:custGeom>
              <a:avLst/>
              <a:gdLst>
                <a:gd name="T0" fmla="*/ 230 w 238"/>
                <a:gd name="T1" fmla="*/ 29 h 273"/>
                <a:gd name="T2" fmla="*/ 228 w 238"/>
                <a:gd name="T3" fmla="*/ 32 h 273"/>
                <a:gd name="T4" fmla="*/ 195 w 238"/>
                <a:gd name="T5" fmla="*/ 60 h 273"/>
                <a:gd name="T6" fmla="*/ 89 w 238"/>
                <a:gd name="T7" fmla="*/ 109 h 273"/>
                <a:gd name="T8" fmla="*/ 60 w 238"/>
                <a:gd name="T9" fmla="*/ 168 h 273"/>
                <a:gd name="T10" fmla="*/ 33 w 238"/>
                <a:gd name="T11" fmla="*/ 259 h 273"/>
                <a:gd name="T12" fmla="*/ 12 w 238"/>
                <a:gd name="T13" fmla="*/ 267 h 273"/>
                <a:gd name="T14" fmla="*/ 11 w 238"/>
                <a:gd name="T15" fmla="*/ 246 h 273"/>
                <a:gd name="T16" fmla="*/ 5 w 238"/>
                <a:gd name="T17" fmla="*/ 227 h 273"/>
                <a:gd name="T18" fmla="*/ 53 w 238"/>
                <a:gd name="T19" fmla="*/ 84 h 273"/>
                <a:gd name="T20" fmla="*/ 134 w 238"/>
                <a:gd name="T21" fmla="*/ 23 h 273"/>
                <a:gd name="T22" fmla="*/ 217 w 238"/>
                <a:gd name="T23" fmla="*/ 1 h 273"/>
                <a:gd name="T24" fmla="*/ 226 w 238"/>
                <a:gd name="T25" fmla="*/ 2 h 273"/>
                <a:gd name="T26" fmla="*/ 226 w 238"/>
                <a:gd name="T27" fmla="*/ 2 h 273"/>
                <a:gd name="T28" fmla="*/ 230 w 238"/>
                <a:gd name="T29" fmla="*/ 4 h 273"/>
                <a:gd name="T30" fmla="*/ 230 w 238"/>
                <a:gd name="T31" fmla="*/ 29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8" h="273">
                  <a:moveTo>
                    <a:pt x="230" y="29"/>
                  </a:moveTo>
                  <a:cubicBezTo>
                    <a:pt x="229" y="30"/>
                    <a:pt x="229" y="31"/>
                    <a:pt x="228" y="32"/>
                  </a:cubicBezTo>
                  <a:cubicBezTo>
                    <a:pt x="218" y="45"/>
                    <a:pt x="203" y="56"/>
                    <a:pt x="195" y="60"/>
                  </a:cubicBezTo>
                  <a:cubicBezTo>
                    <a:pt x="173" y="71"/>
                    <a:pt x="98" y="97"/>
                    <a:pt x="89" y="109"/>
                  </a:cubicBezTo>
                  <a:cubicBezTo>
                    <a:pt x="75" y="125"/>
                    <a:pt x="68" y="148"/>
                    <a:pt x="60" y="168"/>
                  </a:cubicBezTo>
                  <a:cubicBezTo>
                    <a:pt x="45" y="202"/>
                    <a:pt x="30" y="230"/>
                    <a:pt x="33" y="259"/>
                  </a:cubicBezTo>
                  <a:cubicBezTo>
                    <a:pt x="27" y="263"/>
                    <a:pt x="15" y="273"/>
                    <a:pt x="12" y="267"/>
                  </a:cubicBezTo>
                  <a:cubicBezTo>
                    <a:pt x="9" y="261"/>
                    <a:pt x="13" y="253"/>
                    <a:pt x="11" y="246"/>
                  </a:cubicBezTo>
                  <a:cubicBezTo>
                    <a:pt x="6" y="232"/>
                    <a:pt x="0" y="254"/>
                    <a:pt x="5" y="227"/>
                  </a:cubicBezTo>
                  <a:cubicBezTo>
                    <a:pt x="11" y="199"/>
                    <a:pt x="38" y="108"/>
                    <a:pt x="53" y="84"/>
                  </a:cubicBezTo>
                  <a:cubicBezTo>
                    <a:pt x="72" y="55"/>
                    <a:pt x="102" y="36"/>
                    <a:pt x="134" y="23"/>
                  </a:cubicBezTo>
                  <a:cubicBezTo>
                    <a:pt x="147" y="18"/>
                    <a:pt x="193" y="0"/>
                    <a:pt x="217" y="1"/>
                  </a:cubicBezTo>
                  <a:cubicBezTo>
                    <a:pt x="220" y="1"/>
                    <a:pt x="223" y="1"/>
                    <a:pt x="226" y="2"/>
                  </a:cubicBezTo>
                  <a:cubicBezTo>
                    <a:pt x="226" y="2"/>
                    <a:pt x="226" y="2"/>
                    <a:pt x="226" y="2"/>
                  </a:cubicBezTo>
                  <a:cubicBezTo>
                    <a:pt x="227" y="2"/>
                    <a:pt x="229" y="3"/>
                    <a:pt x="230" y="4"/>
                  </a:cubicBezTo>
                  <a:cubicBezTo>
                    <a:pt x="238" y="11"/>
                    <a:pt x="236" y="20"/>
                    <a:pt x="230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7" name="iṥḷïḋé">
              <a:extLst>
                <a:ext uri="{FF2B5EF4-FFF2-40B4-BE49-F238E27FC236}">
                  <a16:creationId xmlns:a16="http://schemas.microsoft.com/office/drawing/2014/main" id="{F317748B-1D9A-4938-8044-3E9E4BDB9AA7}"/>
                </a:ext>
              </a:extLst>
            </p:cNvPr>
            <p:cNvSpPr/>
            <p:nvPr/>
          </p:nvSpPr>
          <p:spPr bwMode="auto">
            <a:xfrm>
              <a:off x="4449763" y="3398838"/>
              <a:ext cx="541338" cy="639763"/>
            </a:xfrm>
            <a:custGeom>
              <a:avLst/>
              <a:gdLst>
                <a:gd name="T0" fmla="*/ 225 w 233"/>
                <a:gd name="T1" fmla="*/ 29 h 276"/>
                <a:gd name="T2" fmla="*/ 223 w 233"/>
                <a:gd name="T3" fmla="*/ 32 h 276"/>
                <a:gd name="T4" fmla="*/ 190 w 233"/>
                <a:gd name="T5" fmla="*/ 59 h 276"/>
                <a:gd name="T6" fmla="*/ 74 w 233"/>
                <a:gd name="T7" fmla="*/ 127 h 276"/>
                <a:gd name="T8" fmla="*/ 24 w 233"/>
                <a:gd name="T9" fmla="*/ 272 h 276"/>
                <a:gd name="T10" fmla="*/ 6 w 233"/>
                <a:gd name="T11" fmla="*/ 266 h 276"/>
                <a:gd name="T12" fmla="*/ 5 w 233"/>
                <a:gd name="T13" fmla="*/ 246 h 276"/>
                <a:gd name="T14" fmla="*/ 2 w 233"/>
                <a:gd name="T15" fmla="*/ 235 h 276"/>
                <a:gd name="T16" fmla="*/ 48 w 233"/>
                <a:gd name="T17" fmla="*/ 83 h 276"/>
                <a:gd name="T18" fmla="*/ 128 w 233"/>
                <a:gd name="T19" fmla="*/ 23 h 276"/>
                <a:gd name="T20" fmla="*/ 212 w 233"/>
                <a:gd name="T21" fmla="*/ 0 h 276"/>
                <a:gd name="T22" fmla="*/ 221 w 233"/>
                <a:gd name="T23" fmla="*/ 1 h 276"/>
                <a:gd name="T24" fmla="*/ 221 w 233"/>
                <a:gd name="T25" fmla="*/ 1 h 276"/>
                <a:gd name="T26" fmla="*/ 224 w 233"/>
                <a:gd name="T27" fmla="*/ 3 h 276"/>
                <a:gd name="T28" fmla="*/ 225 w 233"/>
                <a:gd name="T29" fmla="*/ 2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76">
                  <a:moveTo>
                    <a:pt x="225" y="29"/>
                  </a:moveTo>
                  <a:cubicBezTo>
                    <a:pt x="224" y="30"/>
                    <a:pt x="224" y="31"/>
                    <a:pt x="223" y="32"/>
                  </a:cubicBezTo>
                  <a:cubicBezTo>
                    <a:pt x="213" y="44"/>
                    <a:pt x="197" y="56"/>
                    <a:pt x="190" y="59"/>
                  </a:cubicBezTo>
                  <a:cubicBezTo>
                    <a:pt x="168" y="70"/>
                    <a:pt x="84" y="116"/>
                    <a:pt x="74" y="127"/>
                  </a:cubicBezTo>
                  <a:cubicBezTo>
                    <a:pt x="61" y="143"/>
                    <a:pt x="20" y="243"/>
                    <a:pt x="24" y="272"/>
                  </a:cubicBezTo>
                  <a:cubicBezTo>
                    <a:pt x="18" y="276"/>
                    <a:pt x="10" y="272"/>
                    <a:pt x="6" y="266"/>
                  </a:cubicBezTo>
                  <a:cubicBezTo>
                    <a:pt x="3" y="260"/>
                    <a:pt x="7" y="252"/>
                    <a:pt x="5" y="246"/>
                  </a:cubicBezTo>
                  <a:cubicBezTo>
                    <a:pt x="1" y="232"/>
                    <a:pt x="0" y="263"/>
                    <a:pt x="2" y="235"/>
                  </a:cubicBezTo>
                  <a:cubicBezTo>
                    <a:pt x="6" y="179"/>
                    <a:pt x="33" y="107"/>
                    <a:pt x="48" y="83"/>
                  </a:cubicBezTo>
                  <a:cubicBezTo>
                    <a:pt x="67" y="55"/>
                    <a:pt x="97" y="35"/>
                    <a:pt x="128" y="23"/>
                  </a:cubicBezTo>
                  <a:cubicBezTo>
                    <a:pt x="142" y="18"/>
                    <a:pt x="188" y="0"/>
                    <a:pt x="212" y="0"/>
                  </a:cubicBezTo>
                  <a:cubicBezTo>
                    <a:pt x="215" y="0"/>
                    <a:pt x="218" y="0"/>
                    <a:pt x="221" y="1"/>
                  </a:cubicBezTo>
                  <a:cubicBezTo>
                    <a:pt x="221" y="1"/>
                    <a:pt x="221" y="1"/>
                    <a:pt x="221" y="1"/>
                  </a:cubicBezTo>
                  <a:cubicBezTo>
                    <a:pt x="222" y="2"/>
                    <a:pt x="224" y="2"/>
                    <a:pt x="224" y="3"/>
                  </a:cubicBezTo>
                  <a:cubicBezTo>
                    <a:pt x="233" y="10"/>
                    <a:pt x="231" y="19"/>
                    <a:pt x="225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8" name="í$ḻidê">
              <a:extLst>
                <a:ext uri="{FF2B5EF4-FFF2-40B4-BE49-F238E27FC236}">
                  <a16:creationId xmlns:a16="http://schemas.microsoft.com/office/drawing/2014/main" id="{4BD6649A-07A8-4596-A59D-35C92F99C28E}"/>
                </a:ext>
              </a:extLst>
            </p:cNvPr>
            <p:cNvSpPr/>
            <p:nvPr/>
          </p:nvSpPr>
          <p:spPr bwMode="auto">
            <a:xfrm>
              <a:off x="6281738" y="2784475"/>
              <a:ext cx="701675" cy="382588"/>
            </a:xfrm>
            <a:custGeom>
              <a:avLst/>
              <a:gdLst>
                <a:gd name="T0" fmla="*/ 4 w 302"/>
                <a:gd name="T1" fmla="*/ 92 h 165"/>
                <a:gd name="T2" fmla="*/ 1 w 302"/>
                <a:gd name="T3" fmla="*/ 127 h 165"/>
                <a:gd name="T4" fmla="*/ 18 w 302"/>
                <a:gd name="T5" fmla="*/ 156 h 165"/>
                <a:gd name="T6" fmla="*/ 69 w 302"/>
                <a:gd name="T7" fmla="*/ 152 h 165"/>
                <a:gd name="T8" fmla="*/ 245 w 302"/>
                <a:gd name="T9" fmla="*/ 0 h 165"/>
                <a:gd name="T10" fmla="*/ 4 w 302"/>
                <a:gd name="T11" fmla="*/ 9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165">
                  <a:moveTo>
                    <a:pt x="4" y="92"/>
                  </a:moveTo>
                  <a:cubicBezTo>
                    <a:pt x="2" y="103"/>
                    <a:pt x="0" y="115"/>
                    <a:pt x="1" y="127"/>
                  </a:cubicBezTo>
                  <a:cubicBezTo>
                    <a:pt x="2" y="138"/>
                    <a:pt x="8" y="150"/>
                    <a:pt x="18" y="156"/>
                  </a:cubicBezTo>
                  <a:cubicBezTo>
                    <a:pt x="33" y="165"/>
                    <a:pt x="53" y="159"/>
                    <a:pt x="69" y="152"/>
                  </a:cubicBezTo>
                  <a:cubicBezTo>
                    <a:pt x="85" y="146"/>
                    <a:pt x="302" y="30"/>
                    <a:pt x="245" y="0"/>
                  </a:cubicBezTo>
                  <a:cubicBezTo>
                    <a:pt x="248" y="2"/>
                    <a:pt x="1" y="108"/>
                    <a:pt x="4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9" name="iṡļide">
              <a:extLst>
                <a:ext uri="{FF2B5EF4-FFF2-40B4-BE49-F238E27FC236}">
                  <a16:creationId xmlns:a16="http://schemas.microsoft.com/office/drawing/2014/main" id="{45EC5E97-E7B0-4D64-93FC-9F53DF7BC61A}"/>
                </a:ext>
              </a:extLst>
            </p:cNvPr>
            <p:cNvSpPr/>
            <p:nvPr/>
          </p:nvSpPr>
          <p:spPr bwMode="auto">
            <a:xfrm>
              <a:off x="4676776" y="3297238"/>
              <a:ext cx="420688" cy="749300"/>
            </a:xfrm>
            <a:custGeom>
              <a:avLst/>
              <a:gdLst>
                <a:gd name="T0" fmla="*/ 172 w 181"/>
                <a:gd name="T1" fmla="*/ 268 h 323"/>
                <a:gd name="T2" fmla="*/ 171 w 181"/>
                <a:gd name="T3" fmla="*/ 264 h 323"/>
                <a:gd name="T4" fmla="*/ 176 w 181"/>
                <a:gd name="T5" fmla="*/ 98 h 323"/>
                <a:gd name="T6" fmla="*/ 158 w 181"/>
                <a:gd name="T7" fmla="*/ 51 h 323"/>
                <a:gd name="T8" fmla="*/ 75 w 181"/>
                <a:gd name="T9" fmla="*/ 65 h 323"/>
                <a:gd name="T10" fmla="*/ 26 w 181"/>
                <a:gd name="T11" fmla="*/ 153 h 323"/>
                <a:gd name="T12" fmla="*/ 6 w 181"/>
                <a:gd name="T13" fmla="*/ 320 h 323"/>
                <a:gd name="T14" fmla="*/ 167 w 181"/>
                <a:gd name="T15" fmla="*/ 270 h 323"/>
                <a:gd name="T16" fmla="*/ 172 w 181"/>
                <a:gd name="T17" fmla="*/ 268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323">
                  <a:moveTo>
                    <a:pt x="172" y="268"/>
                  </a:moveTo>
                  <a:cubicBezTo>
                    <a:pt x="172" y="268"/>
                    <a:pt x="172" y="266"/>
                    <a:pt x="171" y="264"/>
                  </a:cubicBezTo>
                  <a:cubicBezTo>
                    <a:pt x="164" y="210"/>
                    <a:pt x="181" y="153"/>
                    <a:pt x="176" y="98"/>
                  </a:cubicBezTo>
                  <a:cubicBezTo>
                    <a:pt x="175" y="82"/>
                    <a:pt x="165" y="65"/>
                    <a:pt x="158" y="51"/>
                  </a:cubicBezTo>
                  <a:cubicBezTo>
                    <a:pt x="136" y="0"/>
                    <a:pt x="90" y="33"/>
                    <a:pt x="75" y="65"/>
                  </a:cubicBezTo>
                  <a:cubicBezTo>
                    <a:pt x="59" y="97"/>
                    <a:pt x="36" y="119"/>
                    <a:pt x="26" y="153"/>
                  </a:cubicBezTo>
                  <a:cubicBezTo>
                    <a:pt x="13" y="197"/>
                    <a:pt x="0" y="275"/>
                    <a:pt x="6" y="320"/>
                  </a:cubicBezTo>
                  <a:cubicBezTo>
                    <a:pt x="33" y="323"/>
                    <a:pt x="137" y="280"/>
                    <a:pt x="167" y="270"/>
                  </a:cubicBezTo>
                  <a:cubicBezTo>
                    <a:pt x="169" y="269"/>
                    <a:pt x="172" y="268"/>
                    <a:pt x="172" y="2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0" name="îṣḷïḓê">
              <a:extLst>
                <a:ext uri="{FF2B5EF4-FFF2-40B4-BE49-F238E27FC236}">
                  <a16:creationId xmlns:a16="http://schemas.microsoft.com/office/drawing/2014/main" id="{89CE59AF-1E26-42E0-890D-A67DFD698AEB}"/>
                </a:ext>
              </a:extLst>
            </p:cNvPr>
            <p:cNvSpPr/>
            <p:nvPr/>
          </p:nvSpPr>
          <p:spPr bwMode="auto">
            <a:xfrm>
              <a:off x="4930776" y="3297238"/>
              <a:ext cx="57150" cy="77788"/>
            </a:xfrm>
            <a:prstGeom prst="ellipse">
              <a:avLst/>
            </a:prstGeom>
            <a:solidFill>
              <a:srgbClr val="852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1" name="íšḷíḍe">
              <a:extLst>
                <a:ext uri="{FF2B5EF4-FFF2-40B4-BE49-F238E27FC236}">
                  <a16:creationId xmlns:a16="http://schemas.microsoft.com/office/drawing/2014/main" id="{AD7F3300-ECBE-496C-81A4-6256F6BB3719}"/>
                </a:ext>
              </a:extLst>
            </p:cNvPr>
            <p:cNvSpPr/>
            <p:nvPr/>
          </p:nvSpPr>
          <p:spPr bwMode="auto">
            <a:xfrm>
              <a:off x="7385051" y="2273300"/>
              <a:ext cx="84138" cy="515938"/>
            </a:xfrm>
            <a:custGeom>
              <a:avLst/>
              <a:gdLst>
                <a:gd name="T0" fmla="*/ 25 w 36"/>
                <a:gd name="T1" fmla="*/ 66 h 222"/>
                <a:gd name="T2" fmla="*/ 25 w 36"/>
                <a:gd name="T3" fmla="*/ 207 h 222"/>
                <a:gd name="T4" fmla="*/ 0 w 36"/>
                <a:gd name="T5" fmla="*/ 222 h 222"/>
                <a:gd name="T6" fmla="*/ 24 w 36"/>
                <a:gd name="T7" fmla="*/ 0 h 222"/>
                <a:gd name="T8" fmla="*/ 25 w 36"/>
                <a:gd name="T9" fmla="*/ 6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2">
                  <a:moveTo>
                    <a:pt x="25" y="66"/>
                  </a:moveTo>
                  <a:cubicBezTo>
                    <a:pt x="25" y="66"/>
                    <a:pt x="36" y="130"/>
                    <a:pt x="25" y="207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0" y="222"/>
                    <a:pt x="18" y="38"/>
                    <a:pt x="24" y="0"/>
                  </a:cubicBezTo>
                  <a:lnTo>
                    <a:pt x="25" y="66"/>
                  </a:lnTo>
                  <a:close/>
                </a:path>
              </a:pathLst>
            </a:custGeom>
            <a:solidFill>
              <a:srgbClr val="3B4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2" name="íṣľïḋe">
              <a:extLst>
                <a:ext uri="{FF2B5EF4-FFF2-40B4-BE49-F238E27FC236}">
                  <a16:creationId xmlns:a16="http://schemas.microsoft.com/office/drawing/2014/main" id="{F5B880A8-9129-484D-828C-413294FA9118}"/>
                </a:ext>
              </a:extLst>
            </p:cNvPr>
            <p:cNvSpPr/>
            <p:nvPr/>
          </p:nvSpPr>
          <p:spPr bwMode="auto">
            <a:xfrm>
              <a:off x="7361238" y="2262188"/>
              <a:ext cx="123825" cy="200025"/>
            </a:xfrm>
            <a:custGeom>
              <a:avLst/>
              <a:gdLst>
                <a:gd name="T0" fmla="*/ 23 w 53"/>
                <a:gd name="T1" fmla="*/ 0 h 86"/>
                <a:gd name="T2" fmla="*/ 0 w 53"/>
                <a:gd name="T3" fmla="*/ 23 h 86"/>
                <a:gd name="T4" fmla="*/ 17 w 53"/>
                <a:gd name="T5" fmla="*/ 18 h 86"/>
                <a:gd name="T6" fmla="*/ 35 w 53"/>
                <a:gd name="T7" fmla="*/ 24 h 86"/>
                <a:gd name="T8" fmla="*/ 52 w 53"/>
                <a:gd name="T9" fmla="*/ 61 h 86"/>
                <a:gd name="T10" fmla="*/ 53 w 53"/>
                <a:gd name="T11" fmla="*/ 78 h 86"/>
                <a:gd name="T12" fmla="*/ 36 w 53"/>
                <a:gd name="T13" fmla="*/ 86 h 86"/>
                <a:gd name="T14" fmla="*/ 44 w 53"/>
                <a:gd name="T15" fmla="*/ 82 h 86"/>
                <a:gd name="T16" fmla="*/ 49 w 53"/>
                <a:gd name="T17" fmla="*/ 74 h 86"/>
                <a:gd name="T18" fmla="*/ 52 w 53"/>
                <a:gd name="T19" fmla="*/ 61 h 86"/>
                <a:gd name="T20" fmla="*/ 50 w 53"/>
                <a:gd name="T21" fmla="*/ 44 h 86"/>
                <a:gd name="T22" fmla="*/ 32 w 53"/>
                <a:gd name="T23" fmla="*/ 16 h 86"/>
                <a:gd name="T24" fmla="*/ 23 w 53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86">
                  <a:moveTo>
                    <a:pt x="23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4" y="22"/>
                    <a:pt x="16" y="18"/>
                    <a:pt x="17" y="18"/>
                  </a:cubicBezTo>
                  <a:cubicBezTo>
                    <a:pt x="22" y="25"/>
                    <a:pt x="31" y="23"/>
                    <a:pt x="35" y="24"/>
                  </a:cubicBezTo>
                  <a:cubicBezTo>
                    <a:pt x="36" y="24"/>
                    <a:pt x="51" y="51"/>
                    <a:pt x="52" y="61"/>
                  </a:cubicBezTo>
                  <a:cubicBezTo>
                    <a:pt x="53" y="65"/>
                    <a:pt x="53" y="73"/>
                    <a:pt x="53" y="78"/>
                  </a:cubicBezTo>
                  <a:cubicBezTo>
                    <a:pt x="52" y="83"/>
                    <a:pt x="40" y="83"/>
                    <a:pt x="36" y="86"/>
                  </a:cubicBezTo>
                  <a:cubicBezTo>
                    <a:pt x="39" y="86"/>
                    <a:pt x="42" y="84"/>
                    <a:pt x="44" y="82"/>
                  </a:cubicBezTo>
                  <a:cubicBezTo>
                    <a:pt x="46" y="79"/>
                    <a:pt x="47" y="76"/>
                    <a:pt x="49" y="74"/>
                  </a:cubicBezTo>
                  <a:cubicBezTo>
                    <a:pt x="50" y="69"/>
                    <a:pt x="52" y="65"/>
                    <a:pt x="52" y="61"/>
                  </a:cubicBezTo>
                  <a:cubicBezTo>
                    <a:pt x="53" y="55"/>
                    <a:pt x="52" y="49"/>
                    <a:pt x="50" y="44"/>
                  </a:cubicBezTo>
                  <a:cubicBezTo>
                    <a:pt x="46" y="34"/>
                    <a:pt x="40" y="24"/>
                    <a:pt x="32" y="16"/>
                  </a:cubicBezTo>
                  <a:cubicBezTo>
                    <a:pt x="27" y="12"/>
                    <a:pt x="26" y="5"/>
                    <a:pt x="23" y="0"/>
                  </a:cubicBezTo>
                  <a:close/>
                </a:path>
              </a:pathLst>
            </a:custGeom>
            <a:solidFill>
              <a:srgbClr val="D1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3" name="ísľîḍê">
              <a:extLst>
                <a:ext uri="{FF2B5EF4-FFF2-40B4-BE49-F238E27FC236}">
                  <a16:creationId xmlns:a16="http://schemas.microsoft.com/office/drawing/2014/main" id="{E24C3558-5817-4EA0-BA0C-2AECFA3B35BD}"/>
                </a:ext>
              </a:extLst>
            </p:cNvPr>
            <p:cNvSpPr/>
            <p:nvPr/>
          </p:nvSpPr>
          <p:spPr bwMode="auto">
            <a:xfrm>
              <a:off x="4978401" y="3409950"/>
              <a:ext cx="720725" cy="287338"/>
            </a:xfrm>
            <a:custGeom>
              <a:avLst/>
              <a:gdLst>
                <a:gd name="T0" fmla="*/ 28 w 310"/>
                <a:gd name="T1" fmla="*/ 0 h 124"/>
                <a:gd name="T2" fmla="*/ 7 w 310"/>
                <a:gd name="T3" fmla="*/ 35 h 124"/>
                <a:gd name="T4" fmla="*/ 5 w 310"/>
                <a:gd name="T5" fmla="*/ 70 h 124"/>
                <a:gd name="T6" fmla="*/ 34 w 310"/>
                <a:gd name="T7" fmla="*/ 72 h 124"/>
                <a:gd name="T8" fmla="*/ 280 w 310"/>
                <a:gd name="T9" fmla="*/ 67 h 124"/>
                <a:gd name="T10" fmla="*/ 28 w 310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0" h="124">
                  <a:moveTo>
                    <a:pt x="28" y="0"/>
                  </a:moveTo>
                  <a:cubicBezTo>
                    <a:pt x="28" y="0"/>
                    <a:pt x="13" y="25"/>
                    <a:pt x="7" y="35"/>
                  </a:cubicBezTo>
                  <a:cubicBezTo>
                    <a:pt x="2" y="46"/>
                    <a:pt x="0" y="59"/>
                    <a:pt x="5" y="70"/>
                  </a:cubicBezTo>
                  <a:cubicBezTo>
                    <a:pt x="12" y="86"/>
                    <a:pt x="17" y="70"/>
                    <a:pt x="34" y="72"/>
                  </a:cubicBezTo>
                  <a:cubicBezTo>
                    <a:pt x="245" y="87"/>
                    <a:pt x="310" y="124"/>
                    <a:pt x="280" y="67"/>
                  </a:cubicBezTo>
                  <a:cubicBezTo>
                    <a:pt x="282" y="70"/>
                    <a:pt x="28" y="0"/>
                    <a:pt x="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4" name="iṧḻîďê">
              <a:extLst>
                <a:ext uri="{FF2B5EF4-FFF2-40B4-BE49-F238E27FC236}">
                  <a16:creationId xmlns:a16="http://schemas.microsoft.com/office/drawing/2014/main" id="{9C905D4C-B4E3-495A-83C0-5F6F488518C4}"/>
                </a:ext>
              </a:extLst>
            </p:cNvPr>
            <p:cNvSpPr/>
            <p:nvPr/>
          </p:nvSpPr>
          <p:spPr bwMode="auto">
            <a:xfrm>
              <a:off x="7324726" y="2303463"/>
              <a:ext cx="90488" cy="517525"/>
            </a:xfrm>
            <a:custGeom>
              <a:avLst/>
              <a:gdLst>
                <a:gd name="T0" fmla="*/ 39 w 39"/>
                <a:gd name="T1" fmla="*/ 0 h 223"/>
                <a:gd name="T2" fmla="*/ 33 w 39"/>
                <a:gd name="T3" fmla="*/ 56 h 223"/>
                <a:gd name="T4" fmla="*/ 25 w 39"/>
                <a:gd name="T5" fmla="*/ 112 h 223"/>
                <a:gd name="T6" fmla="*/ 14 w 39"/>
                <a:gd name="T7" fmla="*/ 168 h 223"/>
                <a:gd name="T8" fmla="*/ 0 w 39"/>
                <a:gd name="T9" fmla="*/ 223 h 223"/>
                <a:gd name="T10" fmla="*/ 3 w 39"/>
                <a:gd name="T11" fmla="*/ 209 h 223"/>
                <a:gd name="T12" fmla="*/ 6 w 39"/>
                <a:gd name="T13" fmla="*/ 195 h 223"/>
                <a:gd name="T14" fmla="*/ 11 w 39"/>
                <a:gd name="T15" fmla="*/ 167 h 223"/>
                <a:gd name="T16" fmla="*/ 21 w 39"/>
                <a:gd name="T17" fmla="*/ 112 h 223"/>
                <a:gd name="T18" fmla="*/ 30 w 39"/>
                <a:gd name="T19" fmla="*/ 56 h 223"/>
                <a:gd name="T20" fmla="*/ 39 w 39"/>
                <a:gd name="T21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23">
                  <a:moveTo>
                    <a:pt x="39" y="0"/>
                  </a:moveTo>
                  <a:cubicBezTo>
                    <a:pt x="37" y="19"/>
                    <a:pt x="35" y="38"/>
                    <a:pt x="33" y="56"/>
                  </a:cubicBezTo>
                  <a:cubicBezTo>
                    <a:pt x="31" y="75"/>
                    <a:pt x="28" y="94"/>
                    <a:pt x="25" y="112"/>
                  </a:cubicBezTo>
                  <a:cubicBezTo>
                    <a:pt x="22" y="131"/>
                    <a:pt x="18" y="149"/>
                    <a:pt x="14" y="168"/>
                  </a:cubicBezTo>
                  <a:cubicBezTo>
                    <a:pt x="10" y="186"/>
                    <a:pt x="6" y="205"/>
                    <a:pt x="0" y="223"/>
                  </a:cubicBezTo>
                  <a:cubicBezTo>
                    <a:pt x="3" y="209"/>
                    <a:pt x="3" y="209"/>
                    <a:pt x="3" y="209"/>
                  </a:cubicBezTo>
                  <a:cubicBezTo>
                    <a:pt x="4" y="204"/>
                    <a:pt x="5" y="199"/>
                    <a:pt x="6" y="195"/>
                  </a:cubicBezTo>
                  <a:cubicBezTo>
                    <a:pt x="8" y="186"/>
                    <a:pt x="10" y="176"/>
                    <a:pt x="11" y="167"/>
                  </a:cubicBezTo>
                  <a:cubicBezTo>
                    <a:pt x="15" y="149"/>
                    <a:pt x="18" y="130"/>
                    <a:pt x="21" y="112"/>
                  </a:cubicBezTo>
                  <a:cubicBezTo>
                    <a:pt x="24" y="93"/>
                    <a:pt x="27" y="74"/>
                    <a:pt x="30" y="56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D1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5" name="iṥļíďê">
              <a:extLst>
                <a:ext uri="{FF2B5EF4-FFF2-40B4-BE49-F238E27FC236}">
                  <a16:creationId xmlns:a16="http://schemas.microsoft.com/office/drawing/2014/main" id="{0135A585-DB48-4697-93A4-0B32AEC132B1}"/>
                </a:ext>
              </a:extLst>
            </p:cNvPr>
            <p:cNvSpPr/>
            <p:nvPr/>
          </p:nvSpPr>
          <p:spPr bwMode="auto">
            <a:xfrm>
              <a:off x="4956176" y="3308350"/>
              <a:ext cx="95250" cy="169863"/>
            </a:xfrm>
            <a:custGeom>
              <a:avLst/>
              <a:gdLst>
                <a:gd name="T0" fmla="*/ 0 w 41"/>
                <a:gd name="T1" fmla="*/ 26 h 73"/>
                <a:gd name="T2" fmla="*/ 34 w 41"/>
                <a:gd name="T3" fmla="*/ 73 h 73"/>
                <a:gd name="T4" fmla="*/ 41 w 41"/>
                <a:gd name="T5" fmla="*/ 0 h 73"/>
                <a:gd name="T6" fmla="*/ 18 w 41"/>
                <a:gd name="T7" fmla="*/ 2 h 73"/>
                <a:gd name="T8" fmla="*/ 11 w 41"/>
                <a:gd name="T9" fmla="*/ 3 h 73"/>
                <a:gd name="T10" fmla="*/ 4 w 41"/>
                <a:gd name="T11" fmla="*/ 1 h 73"/>
                <a:gd name="T12" fmla="*/ 2 w 41"/>
                <a:gd name="T13" fmla="*/ 12 h 73"/>
                <a:gd name="T14" fmla="*/ 0 w 41"/>
                <a:gd name="T15" fmla="*/ 2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73">
                  <a:moveTo>
                    <a:pt x="0" y="26"/>
                  </a:moveTo>
                  <a:cubicBezTo>
                    <a:pt x="7" y="34"/>
                    <a:pt x="20" y="73"/>
                    <a:pt x="34" y="73"/>
                  </a:cubicBezTo>
                  <a:cubicBezTo>
                    <a:pt x="36" y="63"/>
                    <a:pt x="41" y="10"/>
                    <a:pt x="41" y="0"/>
                  </a:cubicBezTo>
                  <a:cubicBezTo>
                    <a:pt x="41" y="1"/>
                    <a:pt x="20" y="2"/>
                    <a:pt x="18" y="2"/>
                  </a:cubicBezTo>
                  <a:cubicBezTo>
                    <a:pt x="16" y="2"/>
                    <a:pt x="13" y="3"/>
                    <a:pt x="11" y="3"/>
                  </a:cubicBezTo>
                  <a:cubicBezTo>
                    <a:pt x="9" y="3"/>
                    <a:pt x="4" y="1"/>
                    <a:pt x="4" y="1"/>
                  </a:cubicBezTo>
                  <a:cubicBezTo>
                    <a:pt x="4" y="1"/>
                    <a:pt x="3" y="9"/>
                    <a:pt x="2" y="12"/>
                  </a:cubicBezTo>
                  <a:cubicBezTo>
                    <a:pt x="2" y="17"/>
                    <a:pt x="1" y="21"/>
                    <a:pt x="0" y="26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6" name="ïsḻïḑè">
              <a:extLst>
                <a:ext uri="{FF2B5EF4-FFF2-40B4-BE49-F238E27FC236}">
                  <a16:creationId xmlns:a16="http://schemas.microsoft.com/office/drawing/2014/main" id="{F44CE039-6A17-4EA3-8B1B-D3EB73CC25C2}"/>
                </a:ext>
              </a:extLst>
            </p:cNvPr>
            <p:cNvSpPr/>
            <p:nvPr/>
          </p:nvSpPr>
          <p:spPr bwMode="auto">
            <a:xfrm>
              <a:off x="7213601" y="1757363"/>
              <a:ext cx="346075" cy="414338"/>
            </a:xfrm>
            <a:custGeom>
              <a:avLst/>
              <a:gdLst>
                <a:gd name="T0" fmla="*/ 79 w 149"/>
                <a:gd name="T1" fmla="*/ 102 h 179"/>
                <a:gd name="T2" fmla="*/ 124 w 149"/>
                <a:gd name="T3" fmla="*/ 75 h 179"/>
                <a:gd name="T4" fmla="*/ 147 w 149"/>
                <a:gd name="T5" fmla="*/ 39 h 179"/>
                <a:gd name="T6" fmla="*/ 137 w 149"/>
                <a:gd name="T7" fmla="*/ 3 h 179"/>
                <a:gd name="T8" fmla="*/ 135 w 149"/>
                <a:gd name="T9" fmla="*/ 1 h 179"/>
                <a:gd name="T10" fmla="*/ 130 w 149"/>
                <a:gd name="T11" fmla="*/ 2 h 179"/>
                <a:gd name="T12" fmla="*/ 106 w 149"/>
                <a:gd name="T13" fmla="*/ 16 h 179"/>
                <a:gd name="T14" fmla="*/ 54 w 149"/>
                <a:gd name="T15" fmla="*/ 30 h 179"/>
                <a:gd name="T16" fmla="*/ 1 w 149"/>
                <a:gd name="T17" fmla="*/ 94 h 179"/>
                <a:gd name="T18" fmla="*/ 18 w 149"/>
                <a:gd name="T19" fmla="*/ 140 h 179"/>
                <a:gd name="T20" fmla="*/ 34 w 149"/>
                <a:gd name="T21" fmla="*/ 159 h 179"/>
                <a:gd name="T22" fmla="*/ 49 w 149"/>
                <a:gd name="T23" fmla="*/ 179 h 179"/>
                <a:gd name="T24" fmla="*/ 59 w 149"/>
                <a:gd name="T25" fmla="*/ 176 h 179"/>
                <a:gd name="T26" fmla="*/ 62 w 149"/>
                <a:gd name="T27" fmla="*/ 171 h 179"/>
                <a:gd name="T28" fmla="*/ 61 w 149"/>
                <a:gd name="T29" fmla="*/ 167 h 179"/>
                <a:gd name="T30" fmla="*/ 57 w 149"/>
                <a:gd name="T31" fmla="*/ 142 h 179"/>
                <a:gd name="T32" fmla="*/ 52 w 149"/>
                <a:gd name="T33" fmla="*/ 139 h 179"/>
                <a:gd name="T34" fmla="*/ 46 w 149"/>
                <a:gd name="T35" fmla="*/ 137 h 179"/>
                <a:gd name="T36" fmla="*/ 40 w 149"/>
                <a:gd name="T37" fmla="*/ 120 h 179"/>
                <a:gd name="T38" fmla="*/ 48 w 149"/>
                <a:gd name="T39" fmla="*/ 116 h 179"/>
                <a:gd name="T40" fmla="*/ 58 w 149"/>
                <a:gd name="T41" fmla="*/ 120 h 179"/>
                <a:gd name="T42" fmla="*/ 64 w 149"/>
                <a:gd name="T43" fmla="*/ 128 h 179"/>
                <a:gd name="T44" fmla="*/ 62 w 149"/>
                <a:gd name="T45" fmla="*/ 113 h 179"/>
                <a:gd name="T46" fmla="*/ 63 w 149"/>
                <a:gd name="T47" fmla="*/ 110 h 179"/>
                <a:gd name="T48" fmla="*/ 65 w 149"/>
                <a:gd name="T49" fmla="*/ 109 h 179"/>
                <a:gd name="T50" fmla="*/ 79 w 149"/>
                <a:gd name="T51" fmla="*/ 10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9" h="179">
                  <a:moveTo>
                    <a:pt x="79" y="102"/>
                  </a:moveTo>
                  <a:cubicBezTo>
                    <a:pt x="94" y="94"/>
                    <a:pt x="109" y="85"/>
                    <a:pt x="124" y="75"/>
                  </a:cubicBezTo>
                  <a:cubicBezTo>
                    <a:pt x="136" y="66"/>
                    <a:pt x="145" y="54"/>
                    <a:pt x="147" y="39"/>
                  </a:cubicBezTo>
                  <a:cubicBezTo>
                    <a:pt x="149" y="26"/>
                    <a:pt x="145" y="13"/>
                    <a:pt x="137" y="3"/>
                  </a:cubicBezTo>
                  <a:cubicBezTo>
                    <a:pt x="137" y="2"/>
                    <a:pt x="136" y="1"/>
                    <a:pt x="135" y="1"/>
                  </a:cubicBezTo>
                  <a:cubicBezTo>
                    <a:pt x="133" y="0"/>
                    <a:pt x="132" y="1"/>
                    <a:pt x="130" y="2"/>
                  </a:cubicBezTo>
                  <a:cubicBezTo>
                    <a:pt x="122" y="7"/>
                    <a:pt x="114" y="12"/>
                    <a:pt x="106" y="16"/>
                  </a:cubicBezTo>
                  <a:cubicBezTo>
                    <a:pt x="89" y="24"/>
                    <a:pt x="71" y="23"/>
                    <a:pt x="54" y="30"/>
                  </a:cubicBezTo>
                  <a:cubicBezTo>
                    <a:pt x="27" y="41"/>
                    <a:pt x="2" y="64"/>
                    <a:pt x="1" y="94"/>
                  </a:cubicBezTo>
                  <a:cubicBezTo>
                    <a:pt x="0" y="111"/>
                    <a:pt x="8" y="127"/>
                    <a:pt x="18" y="140"/>
                  </a:cubicBezTo>
                  <a:cubicBezTo>
                    <a:pt x="23" y="147"/>
                    <a:pt x="29" y="153"/>
                    <a:pt x="34" y="159"/>
                  </a:cubicBezTo>
                  <a:cubicBezTo>
                    <a:pt x="36" y="162"/>
                    <a:pt x="48" y="179"/>
                    <a:pt x="49" y="179"/>
                  </a:cubicBezTo>
                  <a:cubicBezTo>
                    <a:pt x="53" y="179"/>
                    <a:pt x="56" y="177"/>
                    <a:pt x="59" y="176"/>
                  </a:cubicBezTo>
                  <a:cubicBezTo>
                    <a:pt x="62" y="175"/>
                    <a:pt x="63" y="174"/>
                    <a:pt x="62" y="171"/>
                  </a:cubicBezTo>
                  <a:cubicBezTo>
                    <a:pt x="62" y="170"/>
                    <a:pt x="61" y="169"/>
                    <a:pt x="61" y="167"/>
                  </a:cubicBezTo>
                  <a:cubicBezTo>
                    <a:pt x="61" y="157"/>
                    <a:pt x="56" y="150"/>
                    <a:pt x="57" y="142"/>
                  </a:cubicBezTo>
                  <a:cubicBezTo>
                    <a:pt x="57" y="140"/>
                    <a:pt x="53" y="139"/>
                    <a:pt x="52" y="139"/>
                  </a:cubicBezTo>
                  <a:cubicBezTo>
                    <a:pt x="50" y="138"/>
                    <a:pt x="48" y="138"/>
                    <a:pt x="46" y="137"/>
                  </a:cubicBezTo>
                  <a:cubicBezTo>
                    <a:pt x="41" y="134"/>
                    <a:pt x="35" y="126"/>
                    <a:pt x="40" y="120"/>
                  </a:cubicBezTo>
                  <a:cubicBezTo>
                    <a:pt x="42" y="117"/>
                    <a:pt x="45" y="116"/>
                    <a:pt x="48" y="116"/>
                  </a:cubicBezTo>
                  <a:cubicBezTo>
                    <a:pt x="52" y="117"/>
                    <a:pt x="55" y="118"/>
                    <a:pt x="58" y="120"/>
                  </a:cubicBezTo>
                  <a:cubicBezTo>
                    <a:pt x="60" y="123"/>
                    <a:pt x="62" y="125"/>
                    <a:pt x="64" y="128"/>
                  </a:cubicBezTo>
                  <a:cubicBezTo>
                    <a:pt x="64" y="123"/>
                    <a:pt x="62" y="118"/>
                    <a:pt x="62" y="113"/>
                  </a:cubicBezTo>
                  <a:cubicBezTo>
                    <a:pt x="62" y="112"/>
                    <a:pt x="62" y="111"/>
                    <a:pt x="63" y="110"/>
                  </a:cubicBezTo>
                  <a:cubicBezTo>
                    <a:pt x="63" y="109"/>
                    <a:pt x="64" y="109"/>
                    <a:pt x="65" y="109"/>
                  </a:cubicBezTo>
                  <a:cubicBezTo>
                    <a:pt x="70" y="106"/>
                    <a:pt x="74" y="104"/>
                    <a:pt x="79" y="102"/>
                  </a:cubicBezTo>
                  <a:close/>
                </a:path>
              </a:pathLst>
            </a:custGeom>
            <a:solidFill>
              <a:srgbClr val="852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7" name="ï$ḻïḓè">
              <a:extLst>
                <a:ext uri="{FF2B5EF4-FFF2-40B4-BE49-F238E27FC236}">
                  <a16:creationId xmlns:a16="http://schemas.microsoft.com/office/drawing/2014/main" id="{AD0BA78D-6C50-4F64-93A9-CB2205A70294}"/>
                </a:ext>
              </a:extLst>
            </p:cNvPr>
            <p:cNvSpPr/>
            <p:nvPr/>
          </p:nvSpPr>
          <p:spPr bwMode="auto">
            <a:xfrm>
              <a:off x="6207126" y="2670175"/>
              <a:ext cx="271463" cy="315913"/>
            </a:xfrm>
            <a:custGeom>
              <a:avLst/>
              <a:gdLst>
                <a:gd name="T0" fmla="*/ 111 w 117"/>
                <a:gd name="T1" fmla="*/ 61 h 136"/>
                <a:gd name="T2" fmla="*/ 45 w 117"/>
                <a:gd name="T3" fmla="*/ 124 h 136"/>
                <a:gd name="T4" fmla="*/ 10 w 117"/>
                <a:gd name="T5" fmla="*/ 55 h 136"/>
                <a:gd name="T6" fmla="*/ 82 w 117"/>
                <a:gd name="T7" fmla="*/ 8 h 136"/>
                <a:gd name="T8" fmla="*/ 111 w 117"/>
                <a:gd name="T9" fmla="*/ 6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136">
                  <a:moveTo>
                    <a:pt x="111" y="61"/>
                  </a:moveTo>
                  <a:cubicBezTo>
                    <a:pt x="104" y="106"/>
                    <a:pt x="101" y="136"/>
                    <a:pt x="45" y="124"/>
                  </a:cubicBezTo>
                  <a:cubicBezTo>
                    <a:pt x="16" y="119"/>
                    <a:pt x="0" y="89"/>
                    <a:pt x="10" y="55"/>
                  </a:cubicBezTo>
                  <a:cubicBezTo>
                    <a:pt x="19" y="21"/>
                    <a:pt x="54" y="0"/>
                    <a:pt x="82" y="8"/>
                  </a:cubicBezTo>
                  <a:cubicBezTo>
                    <a:pt x="110" y="16"/>
                    <a:pt x="117" y="25"/>
                    <a:pt x="111" y="61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8" name="íṡ1îďe">
              <a:extLst>
                <a:ext uri="{FF2B5EF4-FFF2-40B4-BE49-F238E27FC236}">
                  <a16:creationId xmlns:a16="http://schemas.microsoft.com/office/drawing/2014/main" id="{94D573FE-B0EA-44F8-A5C3-525E42769E78}"/>
                </a:ext>
              </a:extLst>
            </p:cNvPr>
            <p:cNvSpPr/>
            <p:nvPr/>
          </p:nvSpPr>
          <p:spPr bwMode="auto">
            <a:xfrm>
              <a:off x="6149976" y="2579688"/>
              <a:ext cx="406400" cy="346075"/>
            </a:xfrm>
            <a:custGeom>
              <a:avLst/>
              <a:gdLst>
                <a:gd name="T0" fmla="*/ 83 w 175"/>
                <a:gd name="T1" fmla="*/ 92 h 149"/>
                <a:gd name="T2" fmla="*/ 92 w 175"/>
                <a:gd name="T3" fmla="*/ 86 h 149"/>
                <a:gd name="T4" fmla="*/ 96 w 175"/>
                <a:gd name="T5" fmla="*/ 85 h 149"/>
                <a:gd name="T6" fmla="*/ 101 w 175"/>
                <a:gd name="T7" fmla="*/ 86 h 149"/>
                <a:gd name="T8" fmla="*/ 112 w 175"/>
                <a:gd name="T9" fmla="*/ 85 h 149"/>
                <a:gd name="T10" fmla="*/ 122 w 175"/>
                <a:gd name="T11" fmla="*/ 79 h 149"/>
                <a:gd name="T12" fmla="*/ 126 w 175"/>
                <a:gd name="T13" fmla="*/ 75 h 149"/>
                <a:gd name="T14" fmla="*/ 132 w 175"/>
                <a:gd name="T15" fmla="*/ 72 h 149"/>
                <a:gd name="T16" fmla="*/ 164 w 175"/>
                <a:gd name="T17" fmla="*/ 20 h 149"/>
                <a:gd name="T18" fmla="*/ 147 w 175"/>
                <a:gd name="T19" fmla="*/ 3 h 149"/>
                <a:gd name="T20" fmla="*/ 123 w 175"/>
                <a:gd name="T21" fmla="*/ 1 h 149"/>
                <a:gd name="T22" fmla="*/ 111 w 175"/>
                <a:gd name="T23" fmla="*/ 4 h 149"/>
                <a:gd name="T24" fmla="*/ 106 w 175"/>
                <a:gd name="T25" fmla="*/ 7 h 149"/>
                <a:gd name="T26" fmla="*/ 104 w 175"/>
                <a:gd name="T27" fmla="*/ 8 h 149"/>
                <a:gd name="T28" fmla="*/ 101 w 175"/>
                <a:gd name="T29" fmla="*/ 8 h 149"/>
                <a:gd name="T30" fmla="*/ 76 w 175"/>
                <a:gd name="T31" fmla="*/ 3 h 149"/>
                <a:gd name="T32" fmla="*/ 66 w 175"/>
                <a:gd name="T33" fmla="*/ 6 h 149"/>
                <a:gd name="T34" fmla="*/ 60 w 175"/>
                <a:gd name="T35" fmla="*/ 11 h 149"/>
                <a:gd name="T36" fmla="*/ 47 w 175"/>
                <a:gd name="T37" fmla="*/ 12 h 149"/>
                <a:gd name="T38" fmla="*/ 30 w 175"/>
                <a:gd name="T39" fmla="*/ 16 h 149"/>
                <a:gd name="T40" fmla="*/ 17 w 175"/>
                <a:gd name="T41" fmla="*/ 34 h 149"/>
                <a:gd name="T42" fmla="*/ 16 w 175"/>
                <a:gd name="T43" fmla="*/ 40 h 149"/>
                <a:gd name="T44" fmla="*/ 12 w 175"/>
                <a:gd name="T45" fmla="*/ 43 h 149"/>
                <a:gd name="T46" fmla="*/ 4 w 175"/>
                <a:gd name="T47" fmla="*/ 52 h 149"/>
                <a:gd name="T48" fmla="*/ 0 w 175"/>
                <a:gd name="T49" fmla="*/ 68 h 149"/>
                <a:gd name="T50" fmla="*/ 4 w 175"/>
                <a:gd name="T51" fmla="*/ 86 h 149"/>
                <a:gd name="T52" fmla="*/ 7 w 175"/>
                <a:gd name="T53" fmla="*/ 91 h 149"/>
                <a:gd name="T54" fmla="*/ 6 w 175"/>
                <a:gd name="T55" fmla="*/ 96 h 149"/>
                <a:gd name="T56" fmla="*/ 7 w 175"/>
                <a:gd name="T57" fmla="*/ 108 h 149"/>
                <a:gd name="T58" fmla="*/ 10 w 175"/>
                <a:gd name="T59" fmla="*/ 113 h 149"/>
                <a:gd name="T60" fmla="*/ 15 w 175"/>
                <a:gd name="T61" fmla="*/ 119 h 149"/>
                <a:gd name="T62" fmla="*/ 15 w 175"/>
                <a:gd name="T63" fmla="*/ 127 h 149"/>
                <a:gd name="T64" fmla="*/ 22 w 175"/>
                <a:gd name="T65" fmla="*/ 142 h 149"/>
                <a:gd name="T66" fmla="*/ 46 w 175"/>
                <a:gd name="T67" fmla="*/ 145 h 149"/>
                <a:gd name="T68" fmla="*/ 49 w 175"/>
                <a:gd name="T69" fmla="*/ 133 h 149"/>
                <a:gd name="T70" fmla="*/ 50 w 175"/>
                <a:gd name="T71" fmla="*/ 119 h 149"/>
                <a:gd name="T72" fmla="*/ 46 w 175"/>
                <a:gd name="T73" fmla="*/ 116 h 149"/>
                <a:gd name="T74" fmla="*/ 41 w 175"/>
                <a:gd name="T75" fmla="*/ 111 h 149"/>
                <a:gd name="T76" fmla="*/ 39 w 175"/>
                <a:gd name="T77" fmla="*/ 94 h 149"/>
                <a:gd name="T78" fmla="*/ 48 w 175"/>
                <a:gd name="T79" fmla="*/ 93 h 149"/>
                <a:gd name="T80" fmla="*/ 56 w 175"/>
                <a:gd name="T81" fmla="*/ 99 h 149"/>
                <a:gd name="T82" fmla="*/ 61 w 175"/>
                <a:gd name="T83" fmla="*/ 108 h 149"/>
                <a:gd name="T84" fmla="*/ 63 w 175"/>
                <a:gd name="T85" fmla="*/ 93 h 149"/>
                <a:gd name="T86" fmla="*/ 64 w 175"/>
                <a:gd name="T87" fmla="*/ 91 h 149"/>
                <a:gd name="T88" fmla="*/ 72 w 175"/>
                <a:gd name="T89" fmla="*/ 91 h 149"/>
                <a:gd name="T90" fmla="*/ 82 w 175"/>
                <a:gd name="T91" fmla="*/ 92 h 149"/>
                <a:gd name="T92" fmla="*/ 83 w 175"/>
                <a:gd name="T93" fmla="*/ 9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5" h="149">
                  <a:moveTo>
                    <a:pt x="83" y="92"/>
                  </a:moveTo>
                  <a:cubicBezTo>
                    <a:pt x="86" y="91"/>
                    <a:pt x="90" y="89"/>
                    <a:pt x="92" y="86"/>
                  </a:cubicBezTo>
                  <a:cubicBezTo>
                    <a:pt x="94" y="85"/>
                    <a:pt x="94" y="84"/>
                    <a:pt x="96" y="85"/>
                  </a:cubicBezTo>
                  <a:cubicBezTo>
                    <a:pt x="98" y="85"/>
                    <a:pt x="99" y="86"/>
                    <a:pt x="101" y="86"/>
                  </a:cubicBezTo>
                  <a:cubicBezTo>
                    <a:pt x="105" y="86"/>
                    <a:pt x="108" y="86"/>
                    <a:pt x="112" y="85"/>
                  </a:cubicBezTo>
                  <a:cubicBezTo>
                    <a:pt x="116" y="84"/>
                    <a:pt x="119" y="82"/>
                    <a:pt x="122" y="79"/>
                  </a:cubicBezTo>
                  <a:cubicBezTo>
                    <a:pt x="123" y="78"/>
                    <a:pt x="124" y="76"/>
                    <a:pt x="126" y="75"/>
                  </a:cubicBezTo>
                  <a:cubicBezTo>
                    <a:pt x="127" y="73"/>
                    <a:pt x="130" y="73"/>
                    <a:pt x="132" y="72"/>
                  </a:cubicBezTo>
                  <a:cubicBezTo>
                    <a:pt x="152" y="65"/>
                    <a:pt x="175" y="43"/>
                    <a:pt x="164" y="20"/>
                  </a:cubicBezTo>
                  <a:cubicBezTo>
                    <a:pt x="161" y="12"/>
                    <a:pt x="154" y="6"/>
                    <a:pt x="147" y="3"/>
                  </a:cubicBezTo>
                  <a:cubicBezTo>
                    <a:pt x="139" y="0"/>
                    <a:pt x="131" y="0"/>
                    <a:pt x="123" y="1"/>
                  </a:cubicBezTo>
                  <a:cubicBezTo>
                    <a:pt x="119" y="1"/>
                    <a:pt x="115" y="2"/>
                    <a:pt x="111" y="4"/>
                  </a:cubicBezTo>
                  <a:cubicBezTo>
                    <a:pt x="109" y="5"/>
                    <a:pt x="108" y="5"/>
                    <a:pt x="106" y="7"/>
                  </a:cubicBezTo>
                  <a:cubicBezTo>
                    <a:pt x="105" y="7"/>
                    <a:pt x="105" y="8"/>
                    <a:pt x="104" y="8"/>
                  </a:cubicBezTo>
                  <a:cubicBezTo>
                    <a:pt x="103" y="9"/>
                    <a:pt x="102" y="8"/>
                    <a:pt x="101" y="8"/>
                  </a:cubicBezTo>
                  <a:cubicBezTo>
                    <a:pt x="93" y="4"/>
                    <a:pt x="85" y="2"/>
                    <a:pt x="76" y="3"/>
                  </a:cubicBezTo>
                  <a:cubicBezTo>
                    <a:pt x="73" y="4"/>
                    <a:pt x="69" y="4"/>
                    <a:pt x="66" y="6"/>
                  </a:cubicBezTo>
                  <a:cubicBezTo>
                    <a:pt x="64" y="7"/>
                    <a:pt x="62" y="9"/>
                    <a:pt x="60" y="11"/>
                  </a:cubicBezTo>
                  <a:cubicBezTo>
                    <a:pt x="57" y="16"/>
                    <a:pt x="52" y="12"/>
                    <a:pt x="47" y="12"/>
                  </a:cubicBezTo>
                  <a:cubicBezTo>
                    <a:pt x="41" y="12"/>
                    <a:pt x="35" y="13"/>
                    <a:pt x="30" y="16"/>
                  </a:cubicBezTo>
                  <a:cubicBezTo>
                    <a:pt x="24" y="20"/>
                    <a:pt x="19" y="27"/>
                    <a:pt x="17" y="34"/>
                  </a:cubicBezTo>
                  <a:cubicBezTo>
                    <a:pt x="17" y="36"/>
                    <a:pt x="17" y="39"/>
                    <a:pt x="16" y="40"/>
                  </a:cubicBezTo>
                  <a:cubicBezTo>
                    <a:pt x="15" y="42"/>
                    <a:pt x="14" y="42"/>
                    <a:pt x="12" y="43"/>
                  </a:cubicBezTo>
                  <a:cubicBezTo>
                    <a:pt x="9" y="45"/>
                    <a:pt x="6" y="49"/>
                    <a:pt x="4" y="52"/>
                  </a:cubicBezTo>
                  <a:cubicBezTo>
                    <a:pt x="2" y="57"/>
                    <a:pt x="1" y="62"/>
                    <a:pt x="0" y="68"/>
                  </a:cubicBezTo>
                  <a:cubicBezTo>
                    <a:pt x="0" y="74"/>
                    <a:pt x="2" y="80"/>
                    <a:pt x="4" y="86"/>
                  </a:cubicBezTo>
                  <a:cubicBezTo>
                    <a:pt x="5" y="87"/>
                    <a:pt x="6" y="89"/>
                    <a:pt x="7" y="91"/>
                  </a:cubicBezTo>
                  <a:cubicBezTo>
                    <a:pt x="8" y="93"/>
                    <a:pt x="7" y="94"/>
                    <a:pt x="6" y="96"/>
                  </a:cubicBezTo>
                  <a:cubicBezTo>
                    <a:pt x="5" y="100"/>
                    <a:pt x="5" y="104"/>
                    <a:pt x="7" y="108"/>
                  </a:cubicBezTo>
                  <a:cubicBezTo>
                    <a:pt x="7" y="110"/>
                    <a:pt x="9" y="112"/>
                    <a:pt x="10" y="113"/>
                  </a:cubicBezTo>
                  <a:cubicBezTo>
                    <a:pt x="12" y="115"/>
                    <a:pt x="16" y="116"/>
                    <a:pt x="15" y="119"/>
                  </a:cubicBezTo>
                  <a:cubicBezTo>
                    <a:pt x="15" y="121"/>
                    <a:pt x="14" y="124"/>
                    <a:pt x="15" y="127"/>
                  </a:cubicBezTo>
                  <a:cubicBezTo>
                    <a:pt x="15" y="133"/>
                    <a:pt x="18" y="138"/>
                    <a:pt x="22" y="142"/>
                  </a:cubicBezTo>
                  <a:cubicBezTo>
                    <a:pt x="29" y="147"/>
                    <a:pt x="39" y="149"/>
                    <a:pt x="46" y="145"/>
                  </a:cubicBezTo>
                  <a:cubicBezTo>
                    <a:pt x="50" y="143"/>
                    <a:pt x="49" y="136"/>
                    <a:pt x="49" y="133"/>
                  </a:cubicBezTo>
                  <a:cubicBezTo>
                    <a:pt x="49" y="128"/>
                    <a:pt x="49" y="124"/>
                    <a:pt x="50" y="119"/>
                  </a:cubicBezTo>
                  <a:cubicBezTo>
                    <a:pt x="50" y="118"/>
                    <a:pt x="47" y="116"/>
                    <a:pt x="46" y="116"/>
                  </a:cubicBezTo>
                  <a:cubicBezTo>
                    <a:pt x="44" y="114"/>
                    <a:pt x="43" y="113"/>
                    <a:pt x="41" y="111"/>
                  </a:cubicBezTo>
                  <a:cubicBezTo>
                    <a:pt x="37" y="107"/>
                    <a:pt x="33" y="98"/>
                    <a:pt x="39" y="94"/>
                  </a:cubicBezTo>
                  <a:cubicBezTo>
                    <a:pt x="42" y="92"/>
                    <a:pt x="45" y="92"/>
                    <a:pt x="48" y="93"/>
                  </a:cubicBezTo>
                  <a:cubicBezTo>
                    <a:pt x="52" y="94"/>
                    <a:pt x="54" y="96"/>
                    <a:pt x="56" y="99"/>
                  </a:cubicBezTo>
                  <a:cubicBezTo>
                    <a:pt x="58" y="102"/>
                    <a:pt x="60" y="105"/>
                    <a:pt x="61" y="108"/>
                  </a:cubicBezTo>
                  <a:cubicBezTo>
                    <a:pt x="62" y="103"/>
                    <a:pt x="61" y="98"/>
                    <a:pt x="63" y="93"/>
                  </a:cubicBezTo>
                  <a:cubicBezTo>
                    <a:pt x="63" y="92"/>
                    <a:pt x="63" y="91"/>
                    <a:pt x="64" y="91"/>
                  </a:cubicBezTo>
                  <a:cubicBezTo>
                    <a:pt x="66" y="88"/>
                    <a:pt x="69" y="91"/>
                    <a:pt x="72" y="91"/>
                  </a:cubicBezTo>
                  <a:cubicBezTo>
                    <a:pt x="75" y="92"/>
                    <a:pt x="79" y="92"/>
                    <a:pt x="82" y="92"/>
                  </a:cubicBezTo>
                  <a:lnTo>
                    <a:pt x="83" y="92"/>
                  </a:lnTo>
                  <a:close/>
                </a:path>
              </a:pathLst>
            </a:custGeom>
            <a:solidFill>
              <a:srgbClr val="852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9" name="îSlïḓê">
              <a:extLst>
                <a:ext uri="{FF2B5EF4-FFF2-40B4-BE49-F238E27FC236}">
                  <a16:creationId xmlns:a16="http://schemas.microsoft.com/office/drawing/2014/main" id="{99071405-9A52-415A-9D3D-C523D14C5ED7}"/>
                </a:ext>
              </a:extLst>
            </p:cNvPr>
            <p:cNvSpPr/>
            <p:nvPr/>
          </p:nvSpPr>
          <p:spPr bwMode="auto">
            <a:xfrm>
              <a:off x="4903788" y="3043238"/>
              <a:ext cx="255588" cy="301625"/>
            </a:xfrm>
            <a:custGeom>
              <a:avLst/>
              <a:gdLst>
                <a:gd name="T0" fmla="*/ 107 w 110"/>
                <a:gd name="T1" fmla="*/ 55 h 130"/>
                <a:gd name="T2" fmla="*/ 48 w 110"/>
                <a:gd name="T3" fmla="*/ 124 h 130"/>
                <a:gd name="T4" fmla="*/ 6 w 110"/>
                <a:gd name="T5" fmla="*/ 58 h 130"/>
                <a:gd name="T6" fmla="*/ 73 w 110"/>
                <a:gd name="T7" fmla="*/ 5 h 130"/>
                <a:gd name="T8" fmla="*/ 107 w 110"/>
                <a:gd name="T9" fmla="*/ 5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30">
                  <a:moveTo>
                    <a:pt x="107" y="55"/>
                  </a:moveTo>
                  <a:cubicBezTo>
                    <a:pt x="105" y="100"/>
                    <a:pt x="105" y="130"/>
                    <a:pt x="48" y="124"/>
                  </a:cubicBezTo>
                  <a:cubicBezTo>
                    <a:pt x="19" y="121"/>
                    <a:pt x="0" y="93"/>
                    <a:pt x="6" y="58"/>
                  </a:cubicBezTo>
                  <a:cubicBezTo>
                    <a:pt x="12" y="23"/>
                    <a:pt x="45" y="0"/>
                    <a:pt x="73" y="5"/>
                  </a:cubicBezTo>
                  <a:cubicBezTo>
                    <a:pt x="102" y="9"/>
                    <a:pt x="110" y="18"/>
                    <a:pt x="107" y="55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0" name="ïŝḻïdê">
              <a:extLst>
                <a:ext uri="{FF2B5EF4-FFF2-40B4-BE49-F238E27FC236}">
                  <a16:creationId xmlns:a16="http://schemas.microsoft.com/office/drawing/2014/main" id="{D3ABFDFE-D3A4-40A7-8EB6-6758723D116C}"/>
                </a:ext>
              </a:extLst>
            </p:cNvPr>
            <p:cNvSpPr/>
            <p:nvPr/>
          </p:nvSpPr>
          <p:spPr bwMode="auto">
            <a:xfrm>
              <a:off x="4702176" y="2944813"/>
              <a:ext cx="530225" cy="539750"/>
            </a:xfrm>
            <a:custGeom>
              <a:avLst/>
              <a:gdLst>
                <a:gd name="T0" fmla="*/ 34 w 228"/>
                <a:gd name="T1" fmla="*/ 151 h 233"/>
                <a:gd name="T2" fmla="*/ 34 w 228"/>
                <a:gd name="T3" fmla="*/ 152 h 233"/>
                <a:gd name="T4" fmla="*/ 27 w 228"/>
                <a:gd name="T5" fmla="*/ 171 h 233"/>
                <a:gd name="T6" fmla="*/ 38 w 228"/>
                <a:gd name="T7" fmla="*/ 201 h 233"/>
                <a:gd name="T8" fmla="*/ 68 w 228"/>
                <a:gd name="T9" fmla="*/ 209 h 233"/>
                <a:gd name="T10" fmla="*/ 85 w 228"/>
                <a:gd name="T11" fmla="*/ 201 h 233"/>
                <a:gd name="T12" fmla="*/ 98 w 228"/>
                <a:gd name="T13" fmla="*/ 190 h 233"/>
                <a:gd name="T14" fmla="*/ 112 w 228"/>
                <a:gd name="T15" fmla="*/ 161 h 233"/>
                <a:gd name="T16" fmla="*/ 112 w 228"/>
                <a:gd name="T17" fmla="*/ 146 h 233"/>
                <a:gd name="T18" fmla="*/ 112 w 228"/>
                <a:gd name="T19" fmla="*/ 131 h 233"/>
                <a:gd name="T20" fmla="*/ 111 w 228"/>
                <a:gd name="T21" fmla="*/ 130 h 233"/>
                <a:gd name="T22" fmla="*/ 110 w 228"/>
                <a:gd name="T23" fmla="*/ 129 h 233"/>
                <a:gd name="T24" fmla="*/ 101 w 228"/>
                <a:gd name="T25" fmla="*/ 125 h 233"/>
                <a:gd name="T26" fmla="*/ 96 w 228"/>
                <a:gd name="T27" fmla="*/ 117 h 233"/>
                <a:gd name="T28" fmla="*/ 98 w 228"/>
                <a:gd name="T29" fmla="*/ 105 h 233"/>
                <a:gd name="T30" fmla="*/ 102 w 228"/>
                <a:gd name="T31" fmla="*/ 101 h 233"/>
                <a:gd name="T32" fmla="*/ 108 w 228"/>
                <a:gd name="T33" fmla="*/ 101 h 233"/>
                <a:gd name="T34" fmla="*/ 117 w 228"/>
                <a:gd name="T35" fmla="*/ 106 h 233"/>
                <a:gd name="T36" fmla="*/ 122 w 228"/>
                <a:gd name="T37" fmla="*/ 115 h 233"/>
                <a:gd name="T38" fmla="*/ 123 w 228"/>
                <a:gd name="T39" fmla="*/ 100 h 233"/>
                <a:gd name="T40" fmla="*/ 126 w 228"/>
                <a:gd name="T41" fmla="*/ 98 h 233"/>
                <a:gd name="T42" fmla="*/ 133 w 228"/>
                <a:gd name="T43" fmla="*/ 98 h 233"/>
                <a:gd name="T44" fmla="*/ 143 w 228"/>
                <a:gd name="T45" fmla="*/ 98 h 233"/>
                <a:gd name="T46" fmla="*/ 147 w 228"/>
                <a:gd name="T47" fmla="*/ 97 h 233"/>
                <a:gd name="T48" fmla="*/ 162 w 228"/>
                <a:gd name="T49" fmla="*/ 93 h 233"/>
                <a:gd name="T50" fmla="*/ 175 w 228"/>
                <a:gd name="T51" fmla="*/ 85 h 233"/>
                <a:gd name="T52" fmla="*/ 187 w 228"/>
                <a:gd name="T53" fmla="*/ 74 h 233"/>
                <a:gd name="T54" fmla="*/ 199 w 228"/>
                <a:gd name="T55" fmla="*/ 67 h 233"/>
                <a:gd name="T56" fmla="*/ 216 w 228"/>
                <a:gd name="T57" fmla="*/ 16 h 233"/>
                <a:gd name="T58" fmla="*/ 197 w 228"/>
                <a:gd name="T59" fmla="*/ 2 h 233"/>
                <a:gd name="T60" fmla="*/ 173 w 228"/>
                <a:gd name="T61" fmla="*/ 2 h 233"/>
                <a:gd name="T62" fmla="*/ 160 w 228"/>
                <a:gd name="T63" fmla="*/ 5 h 233"/>
                <a:gd name="T64" fmla="*/ 143 w 228"/>
                <a:gd name="T65" fmla="*/ 3 h 233"/>
                <a:gd name="T66" fmla="*/ 109 w 228"/>
                <a:gd name="T67" fmla="*/ 5 h 233"/>
                <a:gd name="T68" fmla="*/ 55 w 228"/>
                <a:gd name="T69" fmla="*/ 49 h 233"/>
                <a:gd name="T70" fmla="*/ 15 w 228"/>
                <a:gd name="T71" fmla="*/ 125 h 233"/>
                <a:gd name="T72" fmla="*/ 12 w 228"/>
                <a:gd name="T73" fmla="*/ 202 h 233"/>
                <a:gd name="T74" fmla="*/ 44 w 228"/>
                <a:gd name="T75" fmla="*/ 229 h 233"/>
                <a:gd name="T76" fmla="*/ 83 w 228"/>
                <a:gd name="T77" fmla="*/ 220 h 233"/>
                <a:gd name="T78" fmla="*/ 110 w 228"/>
                <a:gd name="T79" fmla="*/ 189 h 233"/>
                <a:gd name="T80" fmla="*/ 112 w 228"/>
                <a:gd name="T81" fmla="*/ 14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28" h="233">
                  <a:moveTo>
                    <a:pt x="34" y="151"/>
                  </a:moveTo>
                  <a:cubicBezTo>
                    <a:pt x="34" y="152"/>
                    <a:pt x="34" y="152"/>
                    <a:pt x="34" y="152"/>
                  </a:cubicBezTo>
                  <a:cubicBezTo>
                    <a:pt x="29" y="157"/>
                    <a:pt x="27" y="164"/>
                    <a:pt x="27" y="171"/>
                  </a:cubicBezTo>
                  <a:cubicBezTo>
                    <a:pt x="26" y="182"/>
                    <a:pt x="30" y="194"/>
                    <a:pt x="38" y="201"/>
                  </a:cubicBezTo>
                  <a:cubicBezTo>
                    <a:pt x="46" y="208"/>
                    <a:pt x="58" y="211"/>
                    <a:pt x="68" y="209"/>
                  </a:cubicBezTo>
                  <a:cubicBezTo>
                    <a:pt x="74" y="207"/>
                    <a:pt x="80" y="204"/>
                    <a:pt x="85" y="201"/>
                  </a:cubicBezTo>
                  <a:cubicBezTo>
                    <a:pt x="89" y="198"/>
                    <a:pt x="94" y="194"/>
                    <a:pt x="98" y="190"/>
                  </a:cubicBezTo>
                  <a:cubicBezTo>
                    <a:pt x="106" y="183"/>
                    <a:pt x="111" y="172"/>
                    <a:pt x="112" y="161"/>
                  </a:cubicBezTo>
                  <a:cubicBezTo>
                    <a:pt x="113" y="156"/>
                    <a:pt x="112" y="151"/>
                    <a:pt x="112" y="146"/>
                  </a:cubicBezTo>
                  <a:cubicBezTo>
                    <a:pt x="113" y="141"/>
                    <a:pt x="113" y="136"/>
                    <a:pt x="112" y="131"/>
                  </a:cubicBezTo>
                  <a:cubicBezTo>
                    <a:pt x="112" y="131"/>
                    <a:pt x="112" y="130"/>
                    <a:pt x="111" y="130"/>
                  </a:cubicBezTo>
                  <a:cubicBezTo>
                    <a:pt x="111" y="129"/>
                    <a:pt x="110" y="129"/>
                    <a:pt x="110" y="129"/>
                  </a:cubicBezTo>
                  <a:cubicBezTo>
                    <a:pt x="107" y="128"/>
                    <a:pt x="104" y="127"/>
                    <a:pt x="101" y="125"/>
                  </a:cubicBezTo>
                  <a:cubicBezTo>
                    <a:pt x="99" y="123"/>
                    <a:pt x="97" y="120"/>
                    <a:pt x="96" y="117"/>
                  </a:cubicBezTo>
                  <a:cubicBezTo>
                    <a:pt x="95" y="113"/>
                    <a:pt x="95" y="109"/>
                    <a:pt x="98" y="105"/>
                  </a:cubicBezTo>
                  <a:cubicBezTo>
                    <a:pt x="99" y="103"/>
                    <a:pt x="100" y="102"/>
                    <a:pt x="102" y="101"/>
                  </a:cubicBezTo>
                  <a:cubicBezTo>
                    <a:pt x="104" y="100"/>
                    <a:pt x="106" y="100"/>
                    <a:pt x="108" y="101"/>
                  </a:cubicBezTo>
                  <a:cubicBezTo>
                    <a:pt x="112" y="101"/>
                    <a:pt x="115" y="104"/>
                    <a:pt x="117" y="106"/>
                  </a:cubicBezTo>
                  <a:cubicBezTo>
                    <a:pt x="119" y="109"/>
                    <a:pt x="121" y="112"/>
                    <a:pt x="122" y="115"/>
                  </a:cubicBezTo>
                  <a:cubicBezTo>
                    <a:pt x="123" y="110"/>
                    <a:pt x="122" y="105"/>
                    <a:pt x="123" y="100"/>
                  </a:cubicBezTo>
                  <a:cubicBezTo>
                    <a:pt x="123" y="97"/>
                    <a:pt x="124" y="97"/>
                    <a:pt x="126" y="98"/>
                  </a:cubicBezTo>
                  <a:cubicBezTo>
                    <a:pt x="129" y="98"/>
                    <a:pt x="131" y="98"/>
                    <a:pt x="133" y="98"/>
                  </a:cubicBezTo>
                  <a:cubicBezTo>
                    <a:pt x="136" y="98"/>
                    <a:pt x="140" y="98"/>
                    <a:pt x="143" y="98"/>
                  </a:cubicBezTo>
                  <a:cubicBezTo>
                    <a:pt x="144" y="98"/>
                    <a:pt x="146" y="98"/>
                    <a:pt x="147" y="97"/>
                  </a:cubicBezTo>
                  <a:cubicBezTo>
                    <a:pt x="152" y="96"/>
                    <a:pt x="157" y="95"/>
                    <a:pt x="162" y="93"/>
                  </a:cubicBezTo>
                  <a:cubicBezTo>
                    <a:pt x="166" y="91"/>
                    <a:pt x="170" y="87"/>
                    <a:pt x="175" y="85"/>
                  </a:cubicBezTo>
                  <a:cubicBezTo>
                    <a:pt x="179" y="82"/>
                    <a:pt x="183" y="78"/>
                    <a:pt x="187" y="74"/>
                  </a:cubicBezTo>
                  <a:cubicBezTo>
                    <a:pt x="191" y="71"/>
                    <a:pt x="195" y="69"/>
                    <a:pt x="199" y="67"/>
                  </a:cubicBezTo>
                  <a:cubicBezTo>
                    <a:pt x="214" y="56"/>
                    <a:pt x="228" y="35"/>
                    <a:pt x="216" y="16"/>
                  </a:cubicBezTo>
                  <a:cubicBezTo>
                    <a:pt x="212" y="9"/>
                    <a:pt x="205" y="4"/>
                    <a:pt x="197" y="2"/>
                  </a:cubicBezTo>
                  <a:cubicBezTo>
                    <a:pt x="189" y="0"/>
                    <a:pt x="181" y="0"/>
                    <a:pt x="173" y="2"/>
                  </a:cubicBezTo>
                  <a:cubicBezTo>
                    <a:pt x="168" y="3"/>
                    <a:pt x="165" y="5"/>
                    <a:pt x="160" y="5"/>
                  </a:cubicBezTo>
                  <a:cubicBezTo>
                    <a:pt x="154" y="5"/>
                    <a:pt x="149" y="3"/>
                    <a:pt x="143" y="3"/>
                  </a:cubicBezTo>
                  <a:cubicBezTo>
                    <a:pt x="131" y="2"/>
                    <a:pt x="120" y="3"/>
                    <a:pt x="109" y="5"/>
                  </a:cubicBezTo>
                  <a:cubicBezTo>
                    <a:pt x="82" y="12"/>
                    <a:pt x="69" y="28"/>
                    <a:pt x="55" y="49"/>
                  </a:cubicBezTo>
                  <a:cubicBezTo>
                    <a:pt x="40" y="73"/>
                    <a:pt x="26" y="98"/>
                    <a:pt x="15" y="125"/>
                  </a:cubicBezTo>
                  <a:cubicBezTo>
                    <a:pt x="5" y="149"/>
                    <a:pt x="0" y="177"/>
                    <a:pt x="12" y="202"/>
                  </a:cubicBezTo>
                  <a:cubicBezTo>
                    <a:pt x="19" y="214"/>
                    <a:pt x="30" y="225"/>
                    <a:pt x="44" y="229"/>
                  </a:cubicBezTo>
                  <a:cubicBezTo>
                    <a:pt x="59" y="233"/>
                    <a:pt x="70" y="227"/>
                    <a:pt x="83" y="220"/>
                  </a:cubicBezTo>
                  <a:cubicBezTo>
                    <a:pt x="95" y="213"/>
                    <a:pt x="105" y="203"/>
                    <a:pt x="110" y="189"/>
                  </a:cubicBezTo>
                  <a:cubicBezTo>
                    <a:pt x="115" y="175"/>
                    <a:pt x="113" y="168"/>
                    <a:pt x="112" y="146"/>
                  </a:cubicBezTo>
                </a:path>
              </a:pathLst>
            </a:custGeom>
            <a:solidFill>
              <a:srgbClr val="852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1" name="îşḷíde">
              <a:extLst>
                <a:ext uri="{FF2B5EF4-FFF2-40B4-BE49-F238E27FC236}">
                  <a16:creationId xmlns:a16="http://schemas.microsoft.com/office/drawing/2014/main" id="{DA0619F8-FDF9-49D9-B601-B6F5887E7A94}"/>
                </a:ext>
              </a:extLst>
            </p:cNvPr>
            <p:cNvSpPr/>
            <p:nvPr/>
          </p:nvSpPr>
          <p:spPr bwMode="auto">
            <a:xfrm>
              <a:off x="7339013" y="2146300"/>
              <a:ext cx="104775" cy="115888"/>
            </a:xfrm>
            <a:custGeom>
              <a:avLst/>
              <a:gdLst>
                <a:gd name="T0" fmla="*/ 0 w 45"/>
                <a:gd name="T1" fmla="*/ 24 h 50"/>
                <a:gd name="T2" fmla="*/ 33 w 45"/>
                <a:gd name="T3" fmla="*/ 50 h 50"/>
                <a:gd name="T4" fmla="*/ 45 w 45"/>
                <a:gd name="T5" fmla="*/ 7 h 50"/>
                <a:gd name="T6" fmla="*/ 22 w 45"/>
                <a:gd name="T7" fmla="*/ 4 h 50"/>
                <a:gd name="T8" fmla="*/ 15 w 45"/>
                <a:gd name="T9" fmla="*/ 3 h 50"/>
                <a:gd name="T10" fmla="*/ 9 w 45"/>
                <a:gd name="T11" fmla="*/ 0 h 50"/>
                <a:gd name="T12" fmla="*/ 5 w 45"/>
                <a:gd name="T13" fmla="*/ 10 h 50"/>
                <a:gd name="T14" fmla="*/ 0 w 45"/>
                <a:gd name="T15" fmla="*/ 2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50">
                  <a:moveTo>
                    <a:pt x="0" y="24"/>
                  </a:moveTo>
                  <a:cubicBezTo>
                    <a:pt x="5" y="34"/>
                    <a:pt x="20" y="47"/>
                    <a:pt x="33" y="50"/>
                  </a:cubicBezTo>
                  <a:cubicBezTo>
                    <a:pt x="37" y="41"/>
                    <a:pt x="43" y="16"/>
                    <a:pt x="45" y="7"/>
                  </a:cubicBezTo>
                  <a:cubicBezTo>
                    <a:pt x="45" y="8"/>
                    <a:pt x="24" y="5"/>
                    <a:pt x="22" y="4"/>
                  </a:cubicBezTo>
                  <a:cubicBezTo>
                    <a:pt x="20" y="4"/>
                    <a:pt x="18" y="4"/>
                    <a:pt x="15" y="3"/>
                  </a:cubicBezTo>
                  <a:cubicBezTo>
                    <a:pt x="13" y="3"/>
                    <a:pt x="9" y="0"/>
                    <a:pt x="9" y="0"/>
                  </a:cubicBezTo>
                  <a:cubicBezTo>
                    <a:pt x="9" y="0"/>
                    <a:pt x="6" y="8"/>
                    <a:pt x="5" y="10"/>
                  </a:cubicBezTo>
                  <a:cubicBezTo>
                    <a:pt x="4" y="15"/>
                    <a:pt x="2" y="20"/>
                    <a:pt x="0" y="24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2" name="iśļiḑe">
              <a:extLst>
                <a:ext uri="{FF2B5EF4-FFF2-40B4-BE49-F238E27FC236}">
                  <a16:creationId xmlns:a16="http://schemas.microsoft.com/office/drawing/2014/main" id="{41F501A9-233E-4B79-BFB9-239B92F3F5EA}"/>
                </a:ext>
              </a:extLst>
            </p:cNvPr>
            <p:cNvSpPr/>
            <p:nvPr/>
          </p:nvSpPr>
          <p:spPr bwMode="auto">
            <a:xfrm>
              <a:off x="6245226" y="2914650"/>
              <a:ext cx="106363" cy="112713"/>
            </a:xfrm>
            <a:custGeom>
              <a:avLst/>
              <a:gdLst>
                <a:gd name="T0" fmla="*/ 0 w 46"/>
                <a:gd name="T1" fmla="*/ 24 h 49"/>
                <a:gd name="T2" fmla="*/ 34 w 46"/>
                <a:gd name="T3" fmla="*/ 49 h 49"/>
                <a:gd name="T4" fmla="*/ 46 w 46"/>
                <a:gd name="T5" fmla="*/ 6 h 49"/>
                <a:gd name="T6" fmla="*/ 23 w 46"/>
                <a:gd name="T7" fmla="*/ 4 h 49"/>
                <a:gd name="T8" fmla="*/ 16 w 46"/>
                <a:gd name="T9" fmla="*/ 3 h 49"/>
                <a:gd name="T10" fmla="*/ 9 w 46"/>
                <a:gd name="T11" fmla="*/ 0 h 49"/>
                <a:gd name="T12" fmla="*/ 6 w 46"/>
                <a:gd name="T13" fmla="*/ 10 h 49"/>
                <a:gd name="T14" fmla="*/ 0 w 46"/>
                <a:gd name="T15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9">
                  <a:moveTo>
                    <a:pt x="0" y="24"/>
                  </a:moveTo>
                  <a:cubicBezTo>
                    <a:pt x="6" y="33"/>
                    <a:pt x="20" y="46"/>
                    <a:pt x="34" y="49"/>
                  </a:cubicBezTo>
                  <a:cubicBezTo>
                    <a:pt x="38" y="40"/>
                    <a:pt x="44" y="16"/>
                    <a:pt x="46" y="6"/>
                  </a:cubicBezTo>
                  <a:cubicBezTo>
                    <a:pt x="46" y="7"/>
                    <a:pt x="25" y="4"/>
                    <a:pt x="23" y="4"/>
                  </a:cubicBezTo>
                  <a:cubicBezTo>
                    <a:pt x="20" y="3"/>
                    <a:pt x="18" y="3"/>
                    <a:pt x="16" y="3"/>
                  </a:cubicBezTo>
                  <a:cubicBezTo>
                    <a:pt x="14" y="2"/>
                    <a:pt x="9" y="0"/>
                    <a:pt x="9" y="0"/>
                  </a:cubicBezTo>
                  <a:cubicBezTo>
                    <a:pt x="9" y="0"/>
                    <a:pt x="6" y="8"/>
                    <a:pt x="6" y="10"/>
                  </a:cubicBezTo>
                  <a:cubicBezTo>
                    <a:pt x="4" y="15"/>
                    <a:pt x="2" y="19"/>
                    <a:pt x="0" y="24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3" name="iṩ1íḋé">
              <a:extLst>
                <a:ext uri="{FF2B5EF4-FFF2-40B4-BE49-F238E27FC236}">
                  <a16:creationId xmlns:a16="http://schemas.microsoft.com/office/drawing/2014/main" id="{AA07E0B1-65D8-47D0-BCFF-EAEDA4844456}"/>
                </a:ext>
              </a:extLst>
            </p:cNvPr>
            <p:cNvSpPr/>
            <p:nvPr/>
          </p:nvSpPr>
          <p:spPr bwMode="auto">
            <a:xfrm>
              <a:off x="7404101" y="2252663"/>
              <a:ext cx="41275" cy="55563"/>
            </a:xfrm>
            <a:custGeom>
              <a:avLst/>
              <a:gdLst>
                <a:gd name="T0" fmla="*/ 2 w 18"/>
                <a:gd name="T1" fmla="*/ 6 h 24"/>
                <a:gd name="T2" fmla="*/ 0 w 18"/>
                <a:gd name="T3" fmla="*/ 7 h 24"/>
                <a:gd name="T4" fmla="*/ 0 w 18"/>
                <a:gd name="T5" fmla="*/ 9 h 24"/>
                <a:gd name="T6" fmla="*/ 3 w 18"/>
                <a:gd name="T7" fmla="*/ 15 h 24"/>
                <a:gd name="T8" fmla="*/ 16 w 18"/>
                <a:gd name="T9" fmla="*/ 24 h 24"/>
                <a:gd name="T10" fmla="*/ 16 w 18"/>
                <a:gd name="T11" fmla="*/ 9 h 24"/>
                <a:gd name="T12" fmla="*/ 14 w 18"/>
                <a:gd name="T13" fmla="*/ 4 h 24"/>
                <a:gd name="T14" fmla="*/ 2 w 18"/>
                <a:gd name="T1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4">
                  <a:moveTo>
                    <a:pt x="2" y="6"/>
                  </a:moveTo>
                  <a:cubicBezTo>
                    <a:pt x="1" y="6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11"/>
                    <a:pt x="2" y="13"/>
                    <a:pt x="3" y="15"/>
                  </a:cubicBezTo>
                  <a:cubicBezTo>
                    <a:pt x="7" y="19"/>
                    <a:pt x="11" y="22"/>
                    <a:pt x="16" y="24"/>
                  </a:cubicBezTo>
                  <a:cubicBezTo>
                    <a:pt x="18" y="19"/>
                    <a:pt x="17" y="14"/>
                    <a:pt x="16" y="9"/>
                  </a:cubicBezTo>
                  <a:cubicBezTo>
                    <a:pt x="15" y="7"/>
                    <a:pt x="15" y="5"/>
                    <a:pt x="14" y="4"/>
                  </a:cubicBezTo>
                  <a:cubicBezTo>
                    <a:pt x="11" y="0"/>
                    <a:pt x="5" y="4"/>
                    <a:pt x="2" y="6"/>
                  </a:cubicBezTo>
                  <a:close/>
                </a:path>
              </a:pathLst>
            </a:custGeom>
            <a:solidFill>
              <a:srgbClr val="709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4" name="ïṣļíḓê">
              <a:extLst>
                <a:ext uri="{FF2B5EF4-FFF2-40B4-BE49-F238E27FC236}">
                  <a16:creationId xmlns:a16="http://schemas.microsoft.com/office/drawing/2014/main" id="{94813461-C567-4845-A904-6586BCB082D0}"/>
                </a:ext>
              </a:extLst>
            </p:cNvPr>
            <p:cNvSpPr/>
            <p:nvPr/>
          </p:nvSpPr>
          <p:spPr bwMode="auto">
            <a:xfrm>
              <a:off x="7183438" y="2300288"/>
              <a:ext cx="325438" cy="254000"/>
            </a:xfrm>
            <a:custGeom>
              <a:avLst/>
              <a:gdLst>
                <a:gd name="T0" fmla="*/ 128 w 140"/>
                <a:gd name="T1" fmla="*/ 25 h 110"/>
                <a:gd name="T2" fmla="*/ 139 w 140"/>
                <a:gd name="T3" fmla="*/ 54 h 110"/>
                <a:gd name="T4" fmla="*/ 128 w 140"/>
                <a:gd name="T5" fmla="*/ 83 h 110"/>
                <a:gd name="T6" fmla="*/ 99 w 140"/>
                <a:gd name="T7" fmla="*/ 92 h 110"/>
                <a:gd name="T8" fmla="*/ 56 w 140"/>
                <a:gd name="T9" fmla="*/ 92 h 110"/>
                <a:gd name="T10" fmla="*/ 19 w 140"/>
                <a:gd name="T11" fmla="*/ 110 h 110"/>
                <a:gd name="T12" fmla="*/ 0 w 140"/>
                <a:gd name="T13" fmla="*/ 101 h 110"/>
                <a:gd name="T14" fmla="*/ 9 w 140"/>
                <a:gd name="T15" fmla="*/ 80 h 110"/>
                <a:gd name="T16" fmla="*/ 15 w 140"/>
                <a:gd name="T17" fmla="*/ 77 h 110"/>
                <a:gd name="T18" fmla="*/ 28 w 140"/>
                <a:gd name="T19" fmla="*/ 73 h 110"/>
                <a:gd name="T20" fmla="*/ 55 w 140"/>
                <a:gd name="T21" fmla="*/ 70 h 110"/>
                <a:gd name="T22" fmla="*/ 86 w 140"/>
                <a:gd name="T23" fmla="*/ 72 h 110"/>
                <a:gd name="T24" fmla="*/ 111 w 140"/>
                <a:gd name="T25" fmla="*/ 70 h 110"/>
                <a:gd name="T26" fmla="*/ 115 w 140"/>
                <a:gd name="T27" fmla="*/ 68 h 110"/>
                <a:gd name="T28" fmla="*/ 122 w 140"/>
                <a:gd name="T29" fmla="*/ 40 h 110"/>
                <a:gd name="T30" fmla="*/ 107 w 140"/>
                <a:gd name="T31" fmla="*/ 0 h 110"/>
                <a:gd name="T32" fmla="*/ 110 w 140"/>
                <a:gd name="T33" fmla="*/ 0 h 110"/>
                <a:gd name="T34" fmla="*/ 113 w 140"/>
                <a:gd name="T35" fmla="*/ 2 h 110"/>
                <a:gd name="T36" fmla="*/ 118 w 140"/>
                <a:gd name="T37" fmla="*/ 10 h 110"/>
                <a:gd name="T38" fmla="*/ 128 w 140"/>
                <a:gd name="T39" fmla="*/ 2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0" h="110">
                  <a:moveTo>
                    <a:pt x="128" y="25"/>
                  </a:moveTo>
                  <a:cubicBezTo>
                    <a:pt x="134" y="34"/>
                    <a:pt x="138" y="44"/>
                    <a:pt x="139" y="54"/>
                  </a:cubicBezTo>
                  <a:cubicBezTo>
                    <a:pt x="140" y="65"/>
                    <a:pt x="136" y="76"/>
                    <a:pt x="128" y="83"/>
                  </a:cubicBezTo>
                  <a:cubicBezTo>
                    <a:pt x="121" y="90"/>
                    <a:pt x="109" y="92"/>
                    <a:pt x="99" y="92"/>
                  </a:cubicBezTo>
                  <a:cubicBezTo>
                    <a:pt x="85" y="93"/>
                    <a:pt x="70" y="91"/>
                    <a:pt x="56" y="92"/>
                  </a:cubicBezTo>
                  <a:cubicBezTo>
                    <a:pt x="42" y="93"/>
                    <a:pt x="30" y="101"/>
                    <a:pt x="19" y="110"/>
                  </a:cubicBezTo>
                  <a:cubicBezTo>
                    <a:pt x="13" y="108"/>
                    <a:pt x="5" y="102"/>
                    <a:pt x="0" y="101"/>
                  </a:cubicBezTo>
                  <a:cubicBezTo>
                    <a:pt x="2" y="95"/>
                    <a:pt x="8" y="80"/>
                    <a:pt x="9" y="80"/>
                  </a:cubicBezTo>
                  <a:cubicBezTo>
                    <a:pt x="9" y="78"/>
                    <a:pt x="14" y="77"/>
                    <a:pt x="15" y="77"/>
                  </a:cubicBezTo>
                  <a:cubicBezTo>
                    <a:pt x="19" y="76"/>
                    <a:pt x="24" y="74"/>
                    <a:pt x="28" y="73"/>
                  </a:cubicBezTo>
                  <a:cubicBezTo>
                    <a:pt x="37" y="71"/>
                    <a:pt x="46" y="71"/>
                    <a:pt x="55" y="70"/>
                  </a:cubicBezTo>
                  <a:cubicBezTo>
                    <a:pt x="65" y="70"/>
                    <a:pt x="75" y="71"/>
                    <a:pt x="86" y="72"/>
                  </a:cubicBezTo>
                  <a:cubicBezTo>
                    <a:pt x="94" y="72"/>
                    <a:pt x="103" y="73"/>
                    <a:pt x="111" y="70"/>
                  </a:cubicBezTo>
                  <a:cubicBezTo>
                    <a:pt x="112" y="70"/>
                    <a:pt x="114" y="69"/>
                    <a:pt x="115" y="68"/>
                  </a:cubicBezTo>
                  <a:cubicBezTo>
                    <a:pt x="125" y="62"/>
                    <a:pt x="126" y="50"/>
                    <a:pt x="122" y="40"/>
                  </a:cubicBezTo>
                  <a:cubicBezTo>
                    <a:pt x="118" y="26"/>
                    <a:pt x="112" y="13"/>
                    <a:pt x="107" y="0"/>
                  </a:cubicBezTo>
                  <a:cubicBezTo>
                    <a:pt x="107" y="0"/>
                    <a:pt x="110" y="0"/>
                    <a:pt x="110" y="0"/>
                  </a:cubicBezTo>
                  <a:cubicBezTo>
                    <a:pt x="111" y="0"/>
                    <a:pt x="112" y="1"/>
                    <a:pt x="113" y="2"/>
                  </a:cubicBezTo>
                  <a:cubicBezTo>
                    <a:pt x="114" y="5"/>
                    <a:pt x="116" y="8"/>
                    <a:pt x="118" y="10"/>
                  </a:cubicBezTo>
                  <a:cubicBezTo>
                    <a:pt x="121" y="15"/>
                    <a:pt x="125" y="20"/>
                    <a:pt x="128" y="25"/>
                  </a:cubicBezTo>
                  <a:close/>
                </a:path>
              </a:pathLst>
            </a:custGeom>
            <a:solidFill>
              <a:srgbClr val="709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5" name="îšľïdê">
              <a:extLst>
                <a:ext uri="{FF2B5EF4-FFF2-40B4-BE49-F238E27FC236}">
                  <a16:creationId xmlns:a16="http://schemas.microsoft.com/office/drawing/2014/main" id="{CFA08EE9-D7AF-4DC1-AE81-3F6628F6C9A3}"/>
                </a:ext>
              </a:extLst>
            </p:cNvPr>
            <p:cNvSpPr/>
            <p:nvPr/>
          </p:nvSpPr>
          <p:spPr bwMode="auto">
            <a:xfrm>
              <a:off x="7305676" y="2216150"/>
              <a:ext cx="55563" cy="96838"/>
            </a:xfrm>
            <a:custGeom>
              <a:avLst/>
              <a:gdLst>
                <a:gd name="T0" fmla="*/ 24 w 24"/>
                <a:gd name="T1" fmla="*/ 42 h 42"/>
                <a:gd name="T2" fmla="*/ 12 w 24"/>
                <a:gd name="T3" fmla="*/ 33 h 42"/>
                <a:gd name="T4" fmla="*/ 0 w 24"/>
                <a:gd name="T5" fmla="*/ 0 h 42"/>
                <a:gd name="T6" fmla="*/ 5 w 24"/>
                <a:gd name="T7" fmla="*/ 0 h 42"/>
                <a:gd name="T8" fmla="*/ 14 w 24"/>
                <a:gd name="T9" fmla="*/ 30 h 42"/>
                <a:gd name="T10" fmla="*/ 24 w 24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2">
                  <a:moveTo>
                    <a:pt x="24" y="42"/>
                  </a:moveTo>
                  <a:cubicBezTo>
                    <a:pt x="20" y="40"/>
                    <a:pt x="16" y="37"/>
                    <a:pt x="12" y="33"/>
                  </a:cubicBezTo>
                  <a:cubicBezTo>
                    <a:pt x="3" y="22"/>
                    <a:pt x="0" y="7"/>
                    <a:pt x="0" y="0"/>
                  </a:cubicBezTo>
                  <a:cubicBezTo>
                    <a:pt x="2" y="0"/>
                    <a:pt x="2" y="0"/>
                    <a:pt x="5" y="0"/>
                  </a:cubicBezTo>
                  <a:cubicBezTo>
                    <a:pt x="5" y="12"/>
                    <a:pt x="9" y="22"/>
                    <a:pt x="14" y="30"/>
                  </a:cubicBezTo>
                  <a:cubicBezTo>
                    <a:pt x="19" y="37"/>
                    <a:pt x="24" y="42"/>
                    <a:pt x="24" y="42"/>
                  </a:cubicBezTo>
                  <a:close/>
                </a:path>
              </a:pathLst>
            </a:custGeom>
            <a:solidFill>
              <a:srgbClr val="D1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6" name="íş1idé">
              <a:extLst>
                <a:ext uri="{FF2B5EF4-FFF2-40B4-BE49-F238E27FC236}">
                  <a16:creationId xmlns:a16="http://schemas.microsoft.com/office/drawing/2014/main" id="{6C7BA31A-F912-422E-82CF-8FA1339F6E80}"/>
                </a:ext>
              </a:extLst>
            </p:cNvPr>
            <p:cNvSpPr/>
            <p:nvPr/>
          </p:nvSpPr>
          <p:spPr bwMode="auto">
            <a:xfrm>
              <a:off x="6265863" y="3027363"/>
              <a:ext cx="79375" cy="53975"/>
            </a:xfrm>
            <a:custGeom>
              <a:avLst/>
              <a:gdLst>
                <a:gd name="T0" fmla="*/ 25 w 34"/>
                <a:gd name="T1" fmla="*/ 0 h 23"/>
                <a:gd name="T2" fmla="*/ 0 w 34"/>
                <a:gd name="T3" fmla="*/ 23 h 23"/>
                <a:gd name="T4" fmla="*/ 23 w 34"/>
                <a:gd name="T5" fmla="*/ 7 h 23"/>
                <a:gd name="T6" fmla="*/ 34 w 34"/>
                <a:gd name="T7" fmla="*/ 21 h 23"/>
                <a:gd name="T8" fmla="*/ 25 w 34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25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4" y="22"/>
                    <a:pt x="23" y="7"/>
                    <a:pt x="23" y="7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27" y="6"/>
                    <a:pt x="25" y="0"/>
                  </a:cubicBezTo>
                  <a:close/>
                </a:path>
              </a:pathLst>
            </a:custGeom>
            <a:solidFill>
              <a:srgbClr val="D1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7" name="îšlïḍé">
              <a:extLst>
                <a:ext uri="{FF2B5EF4-FFF2-40B4-BE49-F238E27FC236}">
                  <a16:creationId xmlns:a16="http://schemas.microsoft.com/office/drawing/2014/main" id="{1A371DA2-425B-43CA-9101-1834A6C96DA9}"/>
                </a:ext>
              </a:extLst>
            </p:cNvPr>
            <p:cNvSpPr/>
            <p:nvPr/>
          </p:nvSpPr>
          <p:spPr bwMode="auto">
            <a:xfrm>
              <a:off x="6215063" y="2979738"/>
              <a:ext cx="50800" cy="101600"/>
            </a:xfrm>
            <a:custGeom>
              <a:avLst/>
              <a:gdLst>
                <a:gd name="T0" fmla="*/ 22 w 22"/>
                <a:gd name="T1" fmla="*/ 44 h 44"/>
                <a:gd name="T2" fmla="*/ 10 w 22"/>
                <a:gd name="T3" fmla="*/ 34 h 44"/>
                <a:gd name="T4" fmla="*/ 8 w 22"/>
                <a:gd name="T5" fmla="*/ 31 h 44"/>
                <a:gd name="T6" fmla="*/ 1 w 22"/>
                <a:gd name="T7" fmla="*/ 0 h 44"/>
                <a:gd name="T8" fmla="*/ 6 w 22"/>
                <a:gd name="T9" fmla="*/ 1 h 44"/>
                <a:gd name="T10" fmla="*/ 6 w 22"/>
                <a:gd name="T11" fmla="*/ 1 h 44"/>
                <a:gd name="T12" fmla="*/ 10 w 22"/>
                <a:gd name="T13" fmla="*/ 28 h 44"/>
                <a:gd name="T14" fmla="*/ 12 w 22"/>
                <a:gd name="T15" fmla="*/ 31 h 44"/>
                <a:gd name="T16" fmla="*/ 22 w 22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44">
                  <a:moveTo>
                    <a:pt x="22" y="44"/>
                  </a:moveTo>
                  <a:cubicBezTo>
                    <a:pt x="17" y="42"/>
                    <a:pt x="13" y="38"/>
                    <a:pt x="10" y="34"/>
                  </a:cubicBezTo>
                  <a:cubicBezTo>
                    <a:pt x="9" y="33"/>
                    <a:pt x="8" y="32"/>
                    <a:pt x="8" y="31"/>
                  </a:cubicBezTo>
                  <a:cubicBezTo>
                    <a:pt x="0" y="21"/>
                    <a:pt x="1" y="6"/>
                    <a:pt x="1" y="0"/>
                  </a:cubicBezTo>
                  <a:cubicBezTo>
                    <a:pt x="5" y="0"/>
                    <a:pt x="3" y="0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1"/>
                    <a:pt x="6" y="21"/>
                    <a:pt x="10" y="28"/>
                  </a:cubicBezTo>
                  <a:cubicBezTo>
                    <a:pt x="10" y="29"/>
                    <a:pt x="11" y="30"/>
                    <a:pt x="12" y="31"/>
                  </a:cubicBezTo>
                  <a:cubicBezTo>
                    <a:pt x="16" y="38"/>
                    <a:pt x="21" y="43"/>
                    <a:pt x="22" y="44"/>
                  </a:cubicBezTo>
                  <a:close/>
                </a:path>
              </a:pathLst>
            </a:custGeom>
            <a:solidFill>
              <a:srgbClr val="D1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8" name="îŝľiḓè">
              <a:extLst>
                <a:ext uri="{FF2B5EF4-FFF2-40B4-BE49-F238E27FC236}">
                  <a16:creationId xmlns:a16="http://schemas.microsoft.com/office/drawing/2014/main" id="{9C92CA55-311E-4FDD-BE7D-2AC70815AB51}"/>
                </a:ext>
              </a:extLst>
            </p:cNvPr>
            <p:cNvSpPr/>
            <p:nvPr/>
          </p:nvSpPr>
          <p:spPr bwMode="auto">
            <a:xfrm>
              <a:off x="6813551" y="2216150"/>
              <a:ext cx="506413" cy="695325"/>
            </a:xfrm>
            <a:custGeom>
              <a:avLst/>
              <a:gdLst>
                <a:gd name="T0" fmla="*/ 200 w 218"/>
                <a:gd name="T1" fmla="*/ 42 h 300"/>
                <a:gd name="T2" fmla="*/ 191 w 218"/>
                <a:gd name="T3" fmla="*/ 60 h 300"/>
                <a:gd name="T4" fmla="*/ 185 w 218"/>
                <a:gd name="T5" fmla="*/ 75 h 300"/>
                <a:gd name="T6" fmla="*/ 140 w 218"/>
                <a:gd name="T7" fmla="*/ 214 h 300"/>
                <a:gd name="T8" fmla="*/ 128 w 218"/>
                <a:gd name="T9" fmla="*/ 296 h 300"/>
                <a:gd name="T10" fmla="*/ 65 w 218"/>
                <a:gd name="T11" fmla="*/ 288 h 300"/>
                <a:gd name="T12" fmla="*/ 133 w 218"/>
                <a:gd name="T13" fmla="*/ 89 h 300"/>
                <a:gd name="T14" fmla="*/ 18 w 218"/>
                <a:gd name="T15" fmla="*/ 274 h 300"/>
                <a:gd name="T16" fmla="*/ 17 w 218"/>
                <a:gd name="T17" fmla="*/ 273 h 300"/>
                <a:gd name="T18" fmla="*/ 13 w 218"/>
                <a:gd name="T19" fmla="*/ 272 h 300"/>
                <a:gd name="T20" fmla="*/ 8 w 218"/>
                <a:gd name="T21" fmla="*/ 266 h 300"/>
                <a:gd name="T22" fmla="*/ 0 w 218"/>
                <a:gd name="T23" fmla="*/ 242 h 300"/>
                <a:gd name="T24" fmla="*/ 50 w 218"/>
                <a:gd name="T25" fmla="*/ 84 h 300"/>
                <a:gd name="T26" fmla="*/ 130 w 218"/>
                <a:gd name="T27" fmla="*/ 23 h 300"/>
                <a:gd name="T28" fmla="*/ 204 w 218"/>
                <a:gd name="T29" fmla="*/ 1 h 300"/>
                <a:gd name="T30" fmla="*/ 217 w 218"/>
                <a:gd name="T31" fmla="*/ 0 h 300"/>
                <a:gd name="T32" fmla="*/ 200 w 218"/>
                <a:gd name="T33" fmla="*/ 4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8" h="300">
                  <a:moveTo>
                    <a:pt x="200" y="42"/>
                  </a:moveTo>
                  <a:cubicBezTo>
                    <a:pt x="197" y="48"/>
                    <a:pt x="194" y="54"/>
                    <a:pt x="191" y="60"/>
                  </a:cubicBezTo>
                  <a:cubicBezTo>
                    <a:pt x="189" y="65"/>
                    <a:pt x="187" y="70"/>
                    <a:pt x="185" y="75"/>
                  </a:cubicBezTo>
                  <a:cubicBezTo>
                    <a:pt x="166" y="120"/>
                    <a:pt x="151" y="167"/>
                    <a:pt x="140" y="214"/>
                  </a:cubicBezTo>
                  <a:cubicBezTo>
                    <a:pt x="134" y="241"/>
                    <a:pt x="132" y="268"/>
                    <a:pt x="128" y="296"/>
                  </a:cubicBezTo>
                  <a:cubicBezTo>
                    <a:pt x="92" y="299"/>
                    <a:pt x="75" y="300"/>
                    <a:pt x="65" y="288"/>
                  </a:cubicBezTo>
                  <a:cubicBezTo>
                    <a:pt x="62" y="233"/>
                    <a:pt x="115" y="132"/>
                    <a:pt x="133" y="89"/>
                  </a:cubicBezTo>
                  <a:cubicBezTo>
                    <a:pt x="28" y="113"/>
                    <a:pt x="35" y="287"/>
                    <a:pt x="18" y="274"/>
                  </a:cubicBezTo>
                  <a:cubicBezTo>
                    <a:pt x="17" y="273"/>
                    <a:pt x="17" y="273"/>
                    <a:pt x="17" y="273"/>
                  </a:cubicBezTo>
                  <a:cubicBezTo>
                    <a:pt x="15" y="272"/>
                    <a:pt x="14" y="272"/>
                    <a:pt x="13" y="272"/>
                  </a:cubicBezTo>
                  <a:cubicBezTo>
                    <a:pt x="11" y="270"/>
                    <a:pt x="9" y="268"/>
                    <a:pt x="8" y="266"/>
                  </a:cubicBezTo>
                  <a:cubicBezTo>
                    <a:pt x="5" y="260"/>
                    <a:pt x="0" y="249"/>
                    <a:pt x="0" y="242"/>
                  </a:cubicBezTo>
                  <a:cubicBezTo>
                    <a:pt x="1" y="151"/>
                    <a:pt x="35" y="107"/>
                    <a:pt x="50" y="84"/>
                  </a:cubicBezTo>
                  <a:cubicBezTo>
                    <a:pt x="69" y="55"/>
                    <a:pt x="98" y="35"/>
                    <a:pt x="130" y="23"/>
                  </a:cubicBezTo>
                  <a:cubicBezTo>
                    <a:pt x="142" y="18"/>
                    <a:pt x="179" y="4"/>
                    <a:pt x="204" y="1"/>
                  </a:cubicBezTo>
                  <a:cubicBezTo>
                    <a:pt x="209" y="0"/>
                    <a:pt x="214" y="0"/>
                    <a:pt x="217" y="0"/>
                  </a:cubicBezTo>
                  <a:cubicBezTo>
                    <a:pt x="218" y="0"/>
                    <a:pt x="203" y="35"/>
                    <a:pt x="200" y="42"/>
                  </a:cubicBezTo>
                  <a:close/>
                </a:path>
              </a:pathLst>
            </a:custGeom>
            <a:solidFill>
              <a:srgbClr val="3B4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9" name="ïśľídé">
              <a:extLst>
                <a:ext uri="{FF2B5EF4-FFF2-40B4-BE49-F238E27FC236}">
                  <a16:creationId xmlns:a16="http://schemas.microsoft.com/office/drawing/2014/main" id="{3AC247F1-C496-4AFE-99F1-EA29886967F6}"/>
                </a:ext>
              </a:extLst>
            </p:cNvPr>
            <p:cNvSpPr/>
            <p:nvPr/>
          </p:nvSpPr>
          <p:spPr bwMode="auto">
            <a:xfrm>
              <a:off x="6918326" y="1477963"/>
              <a:ext cx="447675" cy="109538"/>
            </a:xfrm>
            <a:custGeom>
              <a:avLst/>
              <a:gdLst>
                <a:gd name="T0" fmla="*/ 193 w 193"/>
                <a:gd name="T1" fmla="*/ 0 h 47"/>
                <a:gd name="T2" fmla="*/ 92 w 193"/>
                <a:gd name="T3" fmla="*/ 45 h 47"/>
                <a:gd name="T4" fmla="*/ 33 w 193"/>
                <a:gd name="T5" fmla="*/ 41 h 47"/>
                <a:gd name="T6" fmla="*/ 0 w 193"/>
                <a:gd name="T7" fmla="*/ 29 h 47"/>
                <a:gd name="T8" fmla="*/ 185 w 193"/>
                <a:gd name="T9" fmla="*/ 5 h 47"/>
                <a:gd name="T10" fmla="*/ 193 w 193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3" h="47">
                  <a:moveTo>
                    <a:pt x="193" y="0"/>
                  </a:moveTo>
                  <a:cubicBezTo>
                    <a:pt x="165" y="25"/>
                    <a:pt x="129" y="41"/>
                    <a:pt x="92" y="45"/>
                  </a:cubicBezTo>
                  <a:cubicBezTo>
                    <a:pt x="72" y="47"/>
                    <a:pt x="52" y="45"/>
                    <a:pt x="33" y="41"/>
                  </a:cubicBezTo>
                  <a:cubicBezTo>
                    <a:pt x="22" y="38"/>
                    <a:pt x="10" y="34"/>
                    <a:pt x="0" y="29"/>
                  </a:cubicBezTo>
                  <a:cubicBezTo>
                    <a:pt x="63" y="38"/>
                    <a:pt x="127" y="32"/>
                    <a:pt x="185" y="5"/>
                  </a:cubicBezTo>
                  <a:cubicBezTo>
                    <a:pt x="188" y="3"/>
                    <a:pt x="191" y="2"/>
                    <a:pt x="193" y="0"/>
                  </a:cubicBezTo>
                  <a:close/>
                </a:path>
              </a:pathLst>
            </a:custGeom>
            <a:solidFill>
              <a:srgbClr val="961E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0" name="islïḓe">
              <a:extLst>
                <a:ext uri="{FF2B5EF4-FFF2-40B4-BE49-F238E27FC236}">
                  <a16:creationId xmlns:a16="http://schemas.microsoft.com/office/drawing/2014/main" id="{B60F5FB5-68FB-4F3A-ACDE-94C7F7A41825}"/>
                </a:ext>
              </a:extLst>
            </p:cNvPr>
            <p:cNvSpPr/>
            <p:nvPr/>
          </p:nvSpPr>
          <p:spPr bwMode="auto">
            <a:xfrm>
              <a:off x="7850188" y="2149475"/>
              <a:ext cx="61913" cy="96838"/>
            </a:xfrm>
            <a:custGeom>
              <a:avLst/>
              <a:gdLst>
                <a:gd name="T0" fmla="*/ 2 w 27"/>
                <a:gd name="T1" fmla="*/ 16 h 42"/>
                <a:gd name="T2" fmla="*/ 3 w 27"/>
                <a:gd name="T3" fmla="*/ 34 h 42"/>
                <a:gd name="T4" fmla="*/ 8 w 27"/>
                <a:gd name="T5" fmla="*/ 41 h 42"/>
                <a:gd name="T6" fmla="*/ 15 w 27"/>
                <a:gd name="T7" fmla="*/ 41 h 42"/>
                <a:gd name="T8" fmla="*/ 21 w 27"/>
                <a:gd name="T9" fmla="*/ 37 h 42"/>
                <a:gd name="T10" fmla="*/ 26 w 27"/>
                <a:gd name="T11" fmla="*/ 19 h 42"/>
                <a:gd name="T12" fmla="*/ 21 w 27"/>
                <a:gd name="T13" fmla="*/ 7 h 42"/>
                <a:gd name="T14" fmla="*/ 9 w 27"/>
                <a:gd name="T15" fmla="*/ 2 h 42"/>
                <a:gd name="T16" fmla="*/ 5 w 27"/>
                <a:gd name="T17" fmla="*/ 9 h 42"/>
                <a:gd name="T18" fmla="*/ 2 w 27"/>
                <a:gd name="T1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42">
                  <a:moveTo>
                    <a:pt x="2" y="16"/>
                  </a:moveTo>
                  <a:cubicBezTo>
                    <a:pt x="0" y="22"/>
                    <a:pt x="1" y="28"/>
                    <a:pt x="3" y="34"/>
                  </a:cubicBezTo>
                  <a:cubicBezTo>
                    <a:pt x="4" y="36"/>
                    <a:pt x="6" y="39"/>
                    <a:pt x="8" y="41"/>
                  </a:cubicBezTo>
                  <a:cubicBezTo>
                    <a:pt x="10" y="42"/>
                    <a:pt x="13" y="42"/>
                    <a:pt x="15" y="41"/>
                  </a:cubicBezTo>
                  <a:cubicBezTo>
                    <a:pt x="18" y="41"/>
                    <a:pt x="20" y="39"/>
                    <a:pt x="21" y="37"/>
                  </a:cubicBezTo>
                  <a:cubicBezTo>
                    <a:pt x="26" y="32"/>
                    <a:pt x="27" y="25"/>
                    <a:pt x="26" y="19"/>
                  </a:cubicBezTo>
                  <a:cubicBezTo>
                    <a:pt x="25" y="15"/>
                    <a:pt x="24" y="11"/>
                    <a:pt x="21" y="7"/>
                  </a:cubicBezTo>
                  <a:cubicBezTo>
                    <a:pt x="19" y="5"/>
                    <a:pt x="13" y="0"/>
                    <a:pt x="9" y="2"/>
                  </a:cubicBezTo>
                  <a:cubicBezTo>
                    <a:pt x="7" y="4"/>
                    <a:pt x="6" y="6"/>
                    <a:pt x="5" y="9"/>
                  </a:cubicBezTo>
                  <a:cubicBezTo>
                    <a:pt x="3" y="11"/>
                    <a:pt x="2" y="14"/>
                    <a:pt x="2" y="16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1" name="ï$1îḑé">
              <a:extLst>
                <a:ext uri="{FF2B5EF4-FFF2-40B4-BE49-F238E27FC236}">
                  <a16:creationId xmlns:a16="http://schemas.microsoft.com/office/drawing/2014/main" id="{09F7D431-2DE5-479F-B94A-BF4205B7A8A0}"/>
                </a:ext>
              </a:extLst>
            </p:cNvPr>
            <p:cNvSpPr/>
            <p:nvPr/>
          </p:nvSpPr>
          <p:spPr bwMode="auto">
            <a:xfrm>
              <a:off x="7832726" y="2120900"/>
              <a:ext cx="33338" cy="92075"/>
            </a:xfrm>
            <a:custGeom>
              <a:avLst/>
              <a:gdLst>
                <a:gd name="T0" fmla="*/ 6 w 14"/>
                <a:gd name="T1" fmla="*/ 10 h 40"/>
                <a:gd name="T2" fmla="*/ 2 w 14"/>
                <a:gd name="T3" fmla="*/ 26 h 40"/>
                <a:gd name="T4" fmla="*/ 0 w 14"/>
                <a:gd name="T5" fmla="*/ 38 h 40"/>
                <a:gd name="T6" fmla="*/ 7 w 14"/>
                <a:gd name="T7" fmla="*/ 33 h 40"/>
                <a:gd name="T8" fmla="*/ 9 w 14"/>
                <a:gd name="T9" fmla="*/ 31 h 40"/>
                <a:gd name="T10" fmla="*/ 14 w 14"/>
                <a:gd name="T11" fmla="*/ 8 h 40"/>
                <a:gd name="T12" fmla="*/ 10 w 14"/>
                <a:gd name="T13" fmla="*/ 1 h 40"/>
                <a:gd name="T14" fmla="*/ 6 w 14"/>
                <a:gd name="T15" fmla="*/ 1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40">
                  <a:moveTo>
                    <a:pt x="6" y="10"/>
                  </a:moveTo>
                  <a:cubicBezTo>
                    <a:pt x="5" y="16"/>
                    <a:pt x="4" y="21"/>
                    <a:pt x="2" y="26"/>
                  </a:cubicBezTo>
                  <a:cubicBezTo>
                    <a:pt x="2" y="28"/>
                    <a:pt x="0" y="36"/>
                    <a:pt x="0" y="38"/>
                  </a:cubicBezTo>
                  <a:cubicBezTo>
                    <a:pt x="1" y="40"/>
                    <a:pt x="5" y="34"/>
                    <a:pt x="7" y="33"/>
                  </a:cubicBezTo>
                  <a:cubicBezTo>
                    <a:pt x="8" y="33"/>
                    <a:pt x="8" y="32"/>
                    <a:pt x="9" y="31"/>
                  </a:cubicBezTo>
                  <a:cubicBezTo>
                    <a:pt x="12" y="24"/>
                    <a:pt x="14" y="16"/>
                    <a:pt x="14" y="8"/>
                  </a:cubicBezTo>
                  <a:cubicBezTo>
                    <a:pt x="14" y="6"/>
                    <a:pt x="13" y="0"/>
                    <a:pt x="10" y="1"/>
                  </a:cubicBezTo>
                  <a:cubicBezTo>
                    <a:pt x="7" y="2"/>
                    <a:pt x="6" y="8"/>
                    <a:pt x="6" y="10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2" name="işľíḓè">
              <a:extLst>
                <a:ext uri="{FF2B5EF4-FFF2-40B4-BE49-F238E27FC236}">
                  <a16:creationId xmlns:a16="http://schemas.microsoft.com/office/drawing/2014/main" id="{66C0CC44-F9BD-483D-9880-80724FAEB208}"/>
                </a:ext>
              </a:extLst>
            </p:cNvPr>
            <p:cNvSpPr/>
            <p:nvPr/>
          </p:nvSpPr>
          <p:spPr bwMode="auto">
            <a:xfrm>
              <a:off x="7832726" y="2170113"/>
              <a:ext cx="69850" cy="77788"/>
            </a:xfrm>
            <a:custGeom>
              <a:avLst/>
              <a:gdLst>
                <a:gd name="T0" fmla="*/ 1 w 30"/>
                <a:gd name="T1" fmla="*/ 13 h 34"/>
                <a:gd name="T2" fmla="*/ 2 w 30"/>
                <a:gd name="T3" fmla="*/ 25 h 34"/>
                <a:gd name="T4" fmla="*/ 12 w 30"/>
                <a:gd name="T5" fmla="*/ 33 h 34"/>
                <a:gd name="T6" fmla="*/ 20 w 30"/>
                <a:gd name="T7" fmla="*/ 33 h 34"/>
                <a:gd name="T8" fmla="*/ 27 w 30"/>
                <a:gd name="T9" fmla="*/ 30 h 34"/>
                <a:gd name="T10" fmla="*/ 29 w 30"/>
                <a:gd name="T11" fmla="*/ 19 h 34"/>
                <a:gd name="T12" fmla="*/ 13 w 30"/>
                <a:gd name="T13" fmla="*/ 1 h 34"/>
                <a:gd name="T14" fmla="*/ 9 w 30"/>
                <a:gd name="T15" fmla="*/ 0 h 34"/>
                <a:gd name="T16" fmla="*/ 3 w 30"/>
                <a:gd name="T17" fmla="*/ 4 h 34"/>
                <a:gd name="T18" fmla="*/ 1 w 30"/>
                <a:gd name="T19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34">
                  <a:moveTo>
                    <a:pt x="1" y="13"/>
                  </a:moveTo>
                  <a:cubicBezTo>
                    <a:pt x="0" y="17"/>
                    <a:pt x="0" y="22"/>
                    <a:pt x="2" y="25"/>
                  </a:cubicBezTo>
                  <a:cubicBezTo>
                    <a:pt x="4" y="29"/>
                    <a:pt x="7" y="32"/>
                    <a:pt x="12" y="33"/>
                  </a:cubicBezTo>
                  <a:cubicBezTo>
                    <a:pt x="14" y="34"/>
                    <a:pt x="17" y="34"/>
                    <a:pt x="20" y="33"/>
                  </a:cubicBezTo>
                  <a:cubicBezTo>
                    <a:pt x="23" y="33"/>
                    <a:pt x="25" y="32"/>
                    <a:pt x="27" y="30"/>
                  </a:cubicBezTo>
                  <a:cubicBezTo>
                    <a:pt x="30" y="27"/>
                    <a:pt x="30" y="22"/>
                    <a:pt x="29" y="19"/>
                  </a:cubicBezTo>
                  <a:cubicBezTo>
                    <a:pt x="27" y="11"/>
                    <a:pt x="21" y="4"/>
                    <a:pt x="13" y="1"/>
                  </a:cubicBezTo>
                  <a:cubicBezTo>
                    <a:pt x="12" y="0"/>
                    <a:pt x="10" y="0"/>
                    <a:pt x="9" y="0"/>
                  </a:cubicBezTo>
                  <a:cubicBezTo>
                    <a:pt x="6" y="0"/>
                    <a:pt x="4" y="1"/>
                    <a:pt x="3" y="4"/>
                  </a:cubicBezTo>
                  <a:cubicBezTo>
                    <a:pt x="2" y="7"/>
                    <a:pt x="1" y="10"/>
                    <a:pt x="1" y="13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3" name="íṧlïďe">
              <a:extLst>
                <a:ext uri="{FF2B5EF4-FFF2-40B4-BE49-F238E27FC236}">
                  <a16:creationId xmlns:a16="http://schemas.microsoft.com/office/drawing/2014/main" id="{2C6811C7-DE33-44C0-BE32-9BB4FF8A7B04}"/>
                </a:ext>
              </a:extLst>
            </p:cNvPr>
            <p:cNvSpPr/>
            <p:nvPr/>
          </p:nvSpPr>
          <p:spPr bwMode="auto">
            <a:xfrm>
              <a:off x="7637463" y="3424238"/>
              <a:ext cx="139700" cy="63500"/>
            </a:xfrm>
            <a:custGeom>
              <a:avLst/>
              <a:gdLst>
                <a:gd name="T0" fmla="*/ 35 w 60"/>
                <a:gd name="T1" fmla="*/ 0 h 27"/>
                <a:gd name="T2" fmla="*/ 60 w 60"/>
                <a:gd name="T3" fmla="*/ 27 h 27"/>
                <a:gd name="T4" fmla="*/ 2 w 60"/>
                <a:gd name="T5" fmla="*/ 26 h 27"/>
                <a:gd name="T6" fmla="*/ 0 w 60"/>
                <a:gd name="T7" fmla="*/ 2 h 27"/>
                <a:gd name="T8" fmla="*/ 8 w 60"/>
                <a:gd name="T9" fmla="*/ 3 h 27"/>
                <a:gd name="T10" fmla="*/ 22 w 60"/>
                <a:gd name="T11" fmla="*/ 5 h 27"/>
                <a:gd name="T12" fmla="*/ 35 w 6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27">
                  <a:moveTo>
                    <a:pt x="35" y="0"/>
                  </a:moveTo>
                  <a:cubicBezTo>
                    <a:pt x="47" y="5"/>
                    <a:pt x="57" y="14"/>
                    <a:pt x="60" y="27"/>
                  </a:cubicBezTo>
                  <a:cubicBezTo>
                    <a:pt x="36" y="26"/>
                    <a:pt x="22" y="27"/>
                    <a:pt x="2" y="26"/>
                  </a:cubicBezTo>
                  <a:cubicBezTo>
                    <a:pt x="2" y="21"/>
                    <a:pt x="0" y="2"/>
                    <a:pt x="0" y="2"/>
                  </a:cubicBezTo>
                  <a:cubicBezTo>
                    <a:pt x="0" y="2"/>
                    <a:pt x="3" y="2"/>
                    <a:pt x="8" y="3"/>
                  </a:cubicBezTo>
                  <a:cubicBezTo>
                    <a:pt x="13" y="5"/>
                    <a:pt x="17" y="6"/>
                    <a:pt x="22" y="5"/>
                  </a:cubicBezTo>
                  <a:cubicBezTo>
                    <a:pt x="24" y="5"/>
                    <a:pt x="34" y="0"/>
                    <a:pt x="35" y="0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4" name="íṥ1iḋê">
              <a:extLst>
                <a:ext uri="{FF2B5EF4-FFF2-40B4-BE49-F238E27FC236}">
                  <a16:creationId xmlns:a16="http://schemas.microsoft.com/office/drawing/2014/main" id="{E6920E7D-9134-4305-B2BD-68F6FC669A42}"/>
                </a:ext>
              </a:extLst>
            </p:cNvPr>
            <p:cNvSpPr/>
            <p:nvPr/>
          </p:nvSpPr>
          <p:spPr bwMode="auto">
            <a:xfrm>
              <a:off x="6537326" y="4167188"/>
              <a:ext cx="139700" cy="63500"/>
            </a:xfrm>
            <a:custGeom>
              <a:avLst/>
              <a:gdLst>
                <a:gd name="T0" fmla="*/ 34 w 60"/>
                <a:gd name="T1" fmla="*/ 0 h 28"/>
                <a:gd name="T2" fmla="*/ 60 w 60"/>
                <a:gd name="T3" fmla="*/ 28 h 28"/>
                <a:gd name="T4" fmla="*/ 2 w 60"/>
                <a:gd name="T5" fmla="*/ 27 h 28"/>
                <a:gd name="T6" fmla="*/ 0 w 60"/>
                <a:gd name="T7" fmla="*/ 3 h 28"/>
                <a:gd name="T8" fmla="*/ 8 w 60"/>
                <a:gd name="T9" fmla="*/ 4 h 28"/>
                <a:gd name="T10" fmla="*/ 22 w 60"/>
                <a:gd name="T11" fmla="*/ 6 h 28"/>
                <a:gd name="T12" fmla="*/ 34 w 60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28">
                  <a:moveTo>
                    <a:pt x="34" y="0"/>
                  </a:moveTo>
                  <a:cubicBezTo>
                    <a:pt x="47" y="5"/>
                    <a:pt x="56" y="14"/>
                    <a:pt x="60" y="28"/>
                  </a:cubicBezTo>
                  <a:cubicBezTo>
                    <a:pt x="35" y="26"/>
                    <a:pt x="21" y="28"/>
                    <a:pt x="2" y="27"/>
                  </a:cubicBezTo>
                  <a:cubicBezTo>
                    <a:pt x="1" y="21"/>
                    <a:pt x="0" y="3"/>
                    <a:pt x="0" y="3"/>
                  </a:cubicBezTo>
                  <a:cubicBezTo>
                    <a:pt x="0" y="3"/>
                    <a:pt x="3" y="3"/>
                    <a:pt x="8" y="4"/>
                  </a:cubicBezTo>
                  <a:cubicBezTo>
                    <a:pt x="13" y="5"/>
                    <a:pt x="17" y="6"/>
                    <a:pt x="22" y="6"/>
                  </a:cubicBezTo>
                  <a:cubicBezTo>
                    <a:pt x="24" y="5"/>
                    <a:pt x="33" y="0"/>
                    <a:pt x="34" y="0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5" name="ísḻîďê">
              <a:extLst>
                <a:ext uri="{FF2B5EF4-FFF2-40B4-BE49-F238E27FC236}">
                  <a16:creationId xmlns:a16="http://schemas.microsoft.com/office/drawing/2014/main" id="{11B1BA86-3CDE-4DF1-A84F-CC35D7993F94}"/>
                </a:ext>
              </a:extLst>
            </p:cNvPr>
            <p:cNvSpPr/>
            <p:nvPr/>
          </p:nvSpPr>
          <p:spPr bwMode="auto">
            <a:xfrm>
              <a:off x="5037138" y="4867275"/>
              <a:ext cx="139700" cy="61913"/>
            </a:xfrm>
            <a:custGeom>
              <a:avLst/>
              <a:gdLst>
                <a:gd name="T0" fmla="*/ 35 w 60"/>
                <a:gd name="T1" fmla="*/ 0 h 27"/>
                <a:gd name="T2" fmla="*/ 60 w 60"/>
                <a:gd name="T3" fmla="*/ 27 h 27"/>
                <a:gd name="T4" fmla="*/ 2 w 60"/>
                <a:gd name="T5" fmla="*/ 27 h 27"/>
                <a:gd name="T6" fmla="*/ 0 w 60"/>
                <a:gd name="T7" fmla="*/ 3 h 27"/>
                <a:gd name="T8" fmla="*/ 8 w 60"/>
                <a:gd name="T9" fmla="*/ 4 h 27"/>
                <a:gd name="T10" fmla="*/ 22 w 60"/>
                <a:gd name="T11" fmla="*/ 6 h 27"/>
                <a:gd name="T12" fmla="*/ 35 w 6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27">
                  <a:moveTo>
                    <a:pt x="35" y="0"/>
                  </a:moveTo>
                  <a:cubicBezTo>
                    <a:pt x="47" y="5"/>
                    <a:pt x="57" y="14"/>
                    <a:pt x="60" y="27"/>
                  </a:cubicBezTo>
                  <a:cubicBezTo>
                    <a:pt x="36" y="26"/>
                    <a:pt x="22" y="27"/>
                    <a:pt x="2" y="27"/>
                  </a:cubicBezTo>
                  <a:cubicBezTo>
                    <a:pt x="2" y="21"/>
                    <a:pt x="0" y="3"/>
                    <a:pt x="0" y="3"/>
                  </a:cubicBezTo>
                  <a:cubicBezTo>
                    <a:pt x="0" y="3"/>
                    <a:pt x="3" y="2"/>
                    <a:pt x="8" y="4"/>
                  </a:cubicBezTo>
                  <a:cubicBezTo>
                    <a:pt x="13" y="5"/>
                    <a:pt x="17" y="6"/>
                    <a:pt x="22" y="6"/>
                  </a:cubicBezTo>
                  <a:cubicBezTo>
                    <a:pt x="25" y="5"/>
                    <a:pt x="34" y="0"/>
                    <a:pt x="35" y="0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6" name="íṧ1iḋe">
              <a:extLst>
                <a:ext uri="{FF2B5EF4-FFF2-40B4-BE49-F238E27FC236}">
                  <a16:creationId xmlns:a16="http://schemas.microsoft.com/office/drawing/2014/main" id="{0E7B1626-C690-4ABC-A11C-461E594CBC4F}"/>
                </a:ext>
              </a:extLst>
            </p:cNvPr>
            <p:cNvSpPr/>
            <p:nvPr/>
          </p:nvSpPr>
          <p:spPr bwMode="auto">
            <a:xfrm>
              <a:off x="6942138" y="3654425"/>
              <a:ext cx="98425" cy="125413"/>
            </a:xfrm>
            <a:custGeom>
              <a:avLst/>
              <a:gdLst>
                <a:gd name="T0" fmla="*/ 30 w 43"/>
                <a:gd name="T1" fmla="*/ 13 h 54"/>
                <a:gd name="T2" fmla="*/ 31 w 43"/>
                <a:gd name="T3" fmla="*/ 54 h 54"/>
                <a:gd name="T4" fmla="*/ 1 w 43"/>
                <a:gd name="T5" fmla="*/ 17 h 54"/>
                <a:gd name="T6" fmla="*/ 1 w 43"/>
                <a:gd name="T7" fmla="*/ 12 h 54"/>
                <a:gd name="T8" fmla="*/ 12 w 43"/>
                <a:gd name="T9" fmla="*/ 0 h 54"/>
                <a:gd name="T10" fmla="*/ 16 w 43"/>
                <a:gd name="T11" fmla="*/ 9 h 54"/>
                <a:gd name="T12" fmla="*/ 30 w 43"/>
                <a:gd name="T13" fmla="*/ 1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4">
                  <a:moveTo>
                    <a:pt x="30" y="13"/>
                  </a:moveTo>
                  <a:cubicBezTo>
                    <a:pt x="30" y="13"/>
                    <a:pt x="43" y="35"/>
                    <a:pt x="31" y="54"/>
                  </a:cubicBezTo>
                  <a:cubicBezTo>
                    <a:pt x="18" y="39"/>
                    <a:pt x="10" y="31"/>
                    <a:pt x="1" y="17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5" y="8"/>
                    <a:pt x="12" y="0"/>
                    <a:pt x="12" y="0"/>
                  </a:cubicBezTo>
                  <a:cubicBezTo>
                    <a:pt x="12" y="0"/>
                    <a:pt x="12" y="5"/>
                    <a:pt x="16" y="9"/>
                  </a:cubicBezTo>
                  <a:cubicBezTo>
                    <a:pt x="22" y="15"/>
                    <a:pt x="30" y="13"/>
                    <a:pt x="30" y="13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7" name="îṧ1îďê">
              <a:extLst>
                <a:ext uri="{FF2B5EF4-FFF2-40B4-BE49-F238E27FC236}">
                  <a16:creationId xmlns:a16="http://schemas.microsoft.com/office/drawing/2014/main" id="{8EC61C50-63B7-4398-B9BA-09A61C059BCC}"/>
                </a:ext>
              </a:extLst>
            </p:cNvPr>
            <p:cNvSpPr/>
            <p:nvPr/>
          </p:nvSpPr>
          <p:spPr bwMode="auto">
            <a:xfrm>
              <a:off x="5543551" y="4379913"/>
              <a:ext cx="92075" cy="130175"/>
            </a:xfrm>
            <a:custGeom>
              <a:avLst/>
              <a:gdLst>
                <a:gd name="T0" fmla="*/ 30 w 40"/>
                <a:gd name="T1" fmla="*/ 15 h 56"/>
                <a:gd name="T2" fmla="*/ 26 w 40"/>
                <a:gd name="T3" fmla="*/ 56 h 56"/>
                <a:gd name="T4" fmla="*/ 1 w 40"/>
                <a:gd name="T5" fmla="*/ 16 h 56"/>
                <a:gd name="T6" fmla="*/ 2 w 40"/>
                <a:gd name="T7" fmla="*/ 11 h 56"/>
                <a:gd name="T8" fmla="*/ 14 w 40"/>
                <a:gd name="T9" fmla="*/ 0 h 56"/>
                <a:gd name="T10" fmla="*/ 17 w 40"/>
                <a:gd name="T11" fmla="*/ 10 h 56"/>
                <a:gd name="T12" fmla="*/ 30 w 40"/>
                <a:gd name="T13" fmla="*/ 1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56">
                  <a:moveTo>
                    <a:pt x="30" y="15"/>
                  </a:moveTo>
                  <a:cubicBezTo>
                    <a:pt x="30" y="15"/>
                    <a:pt x="40" y="38"/>
                    <a:pt x="26" y="56"/>
                  </a:cubicBezTo>
                  <a:cubicBezTo>
                    <a:pt x="15" y="39"/>
                    <a:pt x="8" y="31"/>
                    <a:pt x="1" y="16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6" y="7"/>
                    <a:pt x="14" y="0"/>
                    <a:pt x="14" y="0"/>
                  </a:cubicBezTo>
                  <a:cubicBezTo>
                    <a:pt x="14" y="0"/>
                    <a:pt x="13" y="5"/>
                    <a:pt x="17" y="10"/>
                  </a:cubicBezTo>
                  <a:cubicBezTo>
                    <a:pt x="22" y="17"/>
                    <a:pt x="30" y="15"/>
                    <a:pt x="30" y="15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8" name="ïṡļidè">
              <a:extLst>
                <a:ext uri="{FF2B5EF4-FFF2-40B4-BE49-F238E27FC236}">
                  <a16:creationId xmlns:a16="http://schemas.microsoft.com/office/drawing/2014/main" id="{846B1E0F-D77C-4BD1-B2B9-564B79554DAF}"/>
                </a:ext>
              </a:extLst>
            </p:cNvPr>
            <p:cNvSpPr/>
            <p:nvPr/>
          </p:nvSpPr>
          <p:spPr bwMode="auto">
            <a:xfrm>
              <a:off x="4254501" y="4873625"/>
              <a:ext cx="92075" cy="127000"/>
            </a:xfrm>
            <a:custGeom>
              <a:avLst/>
              <a:gdLst>
                <a:gd name="T0" fmla="*/ 30 w 40"/>
                <a:gd name="T1" fmla="*/ 15 h 55"/>
                <a:gd name="T2" fmla="*/ 26 w 40"/>
                <a:gd name="T3" fmla="*/ 55 h 55"/>
                <a:gd name="T4" fmla="*/ 1 w 40"/>
                <a:gd name="T5" fmla="*/ 16 h 55"/>
                <a:gd name="T6" fmla="*/ 2 w 40"/>
                <a:gd name="T7" fmla="*/ 11 h 55"/>
                <a:gd name="T8" fmla="*/ 14 w 40"/>
                <a:gd name="T9" fmla="*/ 0 h 55"/>
                <a:gd name="T10" fmla="*/ 17 w 40"/>
                <a:gd name="T11" fmla="*/ 10 h 55"/>
                <a:gd name="T12" fmla="*/ 30 w 40"/>
                <a:gd name="T13" fmla="*/ 1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55">
                  <a:moveTo>
                    <a:pt x="30" y="15"/>
                  </a:moveTo>
                  <a:cubicBezTo>
                    <a:pt x="30" y="15"/>
                    <a:pt x="40" y="38"/>
                    <a:pt x="26" y="55"/>
                  </a:cubicBezTo>
                  <a:cubicBezTo>
                    <a:pt x="15" y="39"/>
                    <a:pt x="8" y="31"/>
                    <a:pt x="1" y="16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6" y="7"/>
                    <a:pt x="14" y="0"/>
                    <a:pt x="14" y="0"/>
                  </a:cubicBezTo>
                  <a:cubicBezTo>
                    <a:pt x="14" y="0"/>
                    <a:pt x="13" y="5"/>
                    <a:pt x="17" y="10"/>
                  </a:cubicBezTo>
                  <a:cubicBezTo>
                    <a:pt x="22" y="16"/>
                    <a:pt x="30" y="15"/>
                    <a:pt x="30" y="15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9" name="íslíḍe">
              <a:extLst>
                <a:ext uri="{FF2B5EF4-FFF2-40B4-BE49-F238E27FC236}">
                  <a16:creationId xmlns:a16="http://schemas.microsoft.com/office/drawing/2014/main" id="{857409EA-EF3F-4C59-9C3F-3EC2E0C46E06}"/>
                </a:ext>
              </a:extLst>
            </p:cNvPr>
            <p:cNvSpPr/>
            <p:nvPr/>
          </p:nvSpPr>
          <p:spPr bwMode="auto">
            <a:xfrm>
              <a:off x="6799263" y="2773363"/>
              <a:ext cx="93663" cy="117475"/>
            </a:xfrm>
            <a:custGeom>
              <a:avLst/>
              <a:gdLst>
                <a:gd name="T0" fmla="*/ 0 w 40"/>
                <a:gd name="T1" fmla="*/ 30 h 51"/>
                <a:gd name="T2" fmla="*/ 3 w 40"/>
                <a:gd name="T3" fmla="*/ 42 h 51"/>
                <a:gd name="T4" fmla="*/ 14 w 40"/>
                <a:gd name="T5" fmla="*/ 49 h 51"/>
                <a:gd name="T6" fmla="*/ 25 w 40"/>
                <a:gd name="T7" fmla="*/ 50 h 51"/>
                <a:gd name="T8" fmla="*/ 35 w 40"/>
                <a:gd name="T9" fmla="*/ 42 h 51"/>
                <a:gd name="T10" fmla="*/ 34 w 40"/>
                <a:gd name="T11" fmla="*/ 15 h 51"/>
                <a:gd name="T12" fmla="*/ 10 w 40"/>
                <a:gd name="T13" fmla="*/ 4 h 51"/>
                <a:gd name="T14" fmla="*/ 4 w 40"/>
                <a:gd name="T15" fmla="*/ 14 h 51"/>
                <a:gd name="T16" fmla="*/ 0 w 40"/>
                <a:gd name="T17" fmla="*/ 3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1">
                  <a:moveTo>
                    <a:pt x="0" y="30"/>
                  </a:moveTo>
                  <a:cubicBezTo>
                    <a:pt x="0" y="34"/>
                    <a:pt x="0" y="39"/>
                    <a:pt x="3" y="42"/>
                  </a:cubicBezTo>
                  <a:cubicBezTo>
                    <a:pt x="5" y="46"/>
                    <a:pt x="10" y="47"/>
                    <a:pt x="14" y="49"/>
                  </a:cubicBezTo>
                  <a:cubicBezTo>
                    <a:pt x="18" y="50"/>
                    <a:pt x="22" y="51"/>
                    <a:pt x="25" y="50"/>
                  </a:cubicBezTo>
                  <a:cubicBezTo>
                    <a:pt x="30" y="50"/>
                    <a:pt x="33" y="46"/>
                    <a:pt x="35" y="42"/>
                  </a:cubicBezTo>
                  <a:cubicBezTo>
                    <a:pt x="40" y="34"/>
                    <a:pt x="39" y="23"/>
                    <a:pt x="34" y="15"/>
                  </a:cubicBezTo>
                  <a:cubicBezTo>
                    <a:pt x="30" y="9"/>
                    <a:pt x="18" y="0"/>
                    <a:pt x="10" y="4"/>
                  </a:cubicBezTo>
                  <a:cubicBezTo>
                    <a:pt x="7" y="5"/>
                    <a:pt x="5" y="11"/>
                    <a:pt x="4" y="14"/>
                  </a:cubicBezTo>
                  <a:cubicBezTo>
                    <a:pt x="2" y="19"/>
                    <a:pt x="1" y="24"/>
                    <a:pt x="0" y="30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0" name="iŝḻíḋè">
              <a:extLst>
                <a:ext uri="{FF2B5EF4-FFF2-40B4-BE49-F238E27FC236}">
                  <a16:creationId xmlns:a16="http://schemas.microsoft.com/office/drawing/2014/main" id="{9D8EF2FA-9DDC-4704-B40E-3EAEA38AC89C}"/>
                </a:ext>
              </a:extLst>
            </p:cNvPr>
            <p:cNvSpPr/>
            <p:nvPr/>
          </p:nvSpPr>
          <p:spPr bwMode="auto">
            <a:xfrm>
              <a:off x="5691188" y="3494088"/>
              <a:ext cx="93663" cy="117475"/>
            </a:xfrm>
            <a:custGeom>
              <a:avLst/>
              <a:gdLst>
                <a:gd name="T0" fmla="*/ 0 w 40"/>
                <a:gd name="T1" fmla="*/ 30 h 51"/>
                <a:gd name="T2" fmla="*/ 3 w 40"/>
                <a:gd name="T3" fmla="*/ 42 h 51"/>
                <a:gd name="T4" fmla="*/ 14 w 40"/>
                <a:gd name="T5" fmla="*/ 49 h 51"/>
                <a:gd name="T6" fmla="*/ 25 w 40"/>
                <a:gd name="T7" fmla="*/ 50 h 51"/>
                <a:gd name="T8" fmla="*/ 35 w 40"/>
                <a:gd name="T9" fmla="*/ 42 h 51"/>
                <a:gd name="T10" fmla="*/ 34 w 40"/>
                <a:gd name="T11" fmla="*/ 14 h 51"/>
                <a:gd name="T12" fmla="*/ 10 w 40"/>
                <a:gd name="T13" fmla="*/ 4 h 51"/>
                <a:gd name="T14" fmla="*/ 4 w 40"/>
                <a:gd name="T15" fmla="*/ 14 h 51"/>
                <a:gd name="T16" fmla="*/ 0 w 40"/>
                <a:gd name="T17" fmla="*/ 3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1">
                  <a:moveTo>
                    <a:pt x="0" y="30"/>
                  </a:moveTo>
                  <a:cubicBezTo>
                    <a:pt x="0" y="34"/>
                    <a:pt x="0" y="38"/>
                    <a:pt x="3" y="42"/>
                  </a:cubicBezTo>
                  <a:cubicBezTo>
                    <a:pt x="5" y="45"/>
                    <a:pt x="10" y="47"/>
                    <a:pt x="14" y="49"/>
                  </a:cubicBezTo>
                  <a:cubicBezTo>
                    <a:pt x="18" y="50"/>
                    <a:pt x="22" y="51"/>
                    <a:pt x="25" y="50"/>
                  </a:cubicBezTo>
                  <a:cubicBezTo>
                    <a:pt x="30" y="50"/>
                    <a:pt x="33" y="46"/>
                    <a:pt x="35" y="42"/>
                  </a:cubicBezTo>
                  <a:cubicBezTo>
                    <a:pt x="40" y="34"/>
                    <a:pt x="39" y="22"/>
                    <a:pt x="34" y="14"/>
                  </a:cubicBezTo>
                  <a:cubicBezTo>
                    <a:pt x="30" y="9"/>
                    <a:pt x="18" y="0"/>
                    <a:pt x="10" y="4"/>
                  </a:cubicBezTo>
                  <a:cubicBezTo>
                    <a:pt x="7" y="5"/>
                    <a:pt x="5" y="11"/>
                    <a:pt x="4" y="14"/>
                  </a:cubicBezTo>
                  <a:cubicBezTo>
                    <a:pt x="2" y="19"/>
                    <a:pt x="1" y="24"/>
                    <a:pt x="0" y="30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1" name="ïṣḻíďe">
              <a:extLst>
                <a:ext uri="{FF2B5EF4-FFF2-40B4-BE49-F238E27FC236}">
                  <a16:creationId xmlns:a16="http://schemas.microsoft.com/office/drawing/2014/main" id="{3B4744C2-8023-4D46-93C8-2E149F3B375A}"/>
                </a:ext>
              </a:extLst>
            </p:cNvPr>
            <p:cNvSpPr/>
            <p:nvPr/>
          </p:nvSpPr>
          <p:spPr bwMode="auto">
            <a:xfrm>
              <a:off x="6342063" y="2987675"/>
              <a:ext cx="19050" cy="88900"/>
            </a:xfrm>
            <a:custGeom>
              <a:avLst/>
              <a:gdLst>
                <a:gd name="T0" fmla="*/ 0 w 8"/>
                <a:gd name="T1" fmla="*/ 1 h 38"/>
                <a:gd name="T2" fmla="*/ 1 w 8"/>
                <a:gd name="T3" fmla="*/ 38 h 38"/>
                <a:gd name="T4" fmla="*/ 5 w 8"/>
                <a:gd name="T5" fmla="*/ 0 h 38"/>
                <a:gd name="T6" fmla="*/ 0 w 8"/>
                <a:gd name="T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8">
                  <a:moveTo>
                    <a:pt x="0" y="1"/>
                  </a:moveTo>
                  <a:cubicBezTo>
                    <a:pt x="0" y="1"/>
                    <a:pt x="5" y="15"/>
                    <a:pt x="1" y="38"/>
                  </a:cubicBezTo>
                  <a:cubicBezTo>
                    <a:pt x="1" y="38"/>
                    <a:pt x="8" y="16"/>
                    <a:pt x="5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D1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2" name="i$ļiḍe">
              <a:extLst>
                <a:ext uri="{FF2B5EF4-FFF2-40B4-BE49-F238E27FC236}">
                  <a16:creationId xmlns:a16="http://schemas.microsoft.com/office/drawing/2014/main" id="{3469D682-08AD-465A-B95A-A1FBF5EEC939}"/>
                </a:ext>
              </a:extLst>
            </p:cNvPr>
            <p:cNvSpPr/>
            <p:nvPr/>
          </p:nvSpPr>
          <p:spPr bwMode="auto">
            <a:xfrm>
              <a:off x="4224338" y="3952875"/>
              <a:ext cx="446088" cy="306388"/>
            </a:xfrm>
            <a:custGeom>
              <a:avLst/>
              <a:gdLst>
                <a:gd name="T0" fmla="*/ 31 w 192"/>
                <a:gd name="T1" fmla="*/ 0 h 132"/>
                <a:gd name="T2" fmla="*/ 0 w 192"/>
                <a:gd name="T3" fmla="*/ 96 h 132"/>
                <a:gd name="T4" fmla="*/ 161 w 192"/>
                <a:gd name="T5" fmla="*/ 132 h 132"/>
                <a:gd name="T6" fmla="*/ 192 w 192"/>
                <a:gd name="T7" fmla="*/ 35 h 132"/>
                <a:gd name="T8" fmla="*/ 31 w 192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32">
                  <a:moveTo>
                    <a:pt x="31" y="0"/>
                  </a:moveTo>
                  <a:cubicBezTo>
                    <a:pt x="22" y="30"/>
                    <a:pt x="9" y="66"/>
                    <a:pt x="0" y="96"/>
                  </a:cubicBezTo>
                  <a:cubicBezTo>
                    <a:pt x="53" y="108"/>
                    <a:pt x="107" y="120"/>
                    <a:pt x="161" y="132"/>
                  </a:cubicBezTo>
                  <a:cubicBezTo>
                    <a:pt x="175" y="89"/>
                    <a:pt x="182" y="69"/>
                    <a:pt x="192" y="35"/>
                  </a:cubicBezTo>
                  <a:cubicBezTo>
                    <a:pt x="133" y="25"/>
                    <a:pt x="90" y="10"/>
                    <a:pt x="31" y="0"/>
                  </a:cubicBezTo>
                  <a:close/>
                </a:path>
              </a:pathLst>
            </a:custGeom>
            <a:solidFill>
              <a:srgbClr val="C232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3" name="ïṧļídê">
              <a:extLst>
                <a:ext uri="{FF2B5EF4-FFF2-40B4-BE49-F238E27FC236}">
                  <a16:creationId xmlns:a16="http://schemas.microsoft.com/office/drawing/2014/main" id="{CE292468-A49D-4FC1-9118-F0ADA3D202F8}"/>
                </a:ext>
              </a:extLst>
            </p:cNvPr>
            <p:cNvSpPr/>
            <p:nvPr/>
          </p:nvSpPr>
          <p:spPr bwMode="auto">
            <a:xfrm>
              <a:off x="6300788" y="3043238"/>
              <a:ext cx="34925" cy="57150"/>
            </a:xfrm>
            <a:custGeom>
              <a:avLst/>
              <a:gdLst>
                <a:gd name="T0" fmla="*/ 4 w 15"/>
                <a:gd name="T1" fmla="*/ 1 h 24"/>
                <a:gd name="T2" fmla="*/ 2 w 15"/>
                <a:gd name="T3" fmla="*/ 1 h 24"/>
                <a:gd name="T4" fmla="*/ 0 w 15"/>
                <a:gd name="T5" fmla="*/ 2 h 24"/>
                <a:gd name="T6" fmla="*/ 0 w 15"/>
                <a:gd name="T7" fmla="*/ 9 h 24"/>
                <a:gd name="T8" fmla="*/ 6 w 15"/>
                <a:gd name="T9" fmla="*/ 24 h 24"/>
                <a:gd name="T10" fmla="*/ 14 w 15"/>
                <a:gd name="T11" fmla="*/ 11 h 24"/>
                <a:gd name="T12" fmla="*/ 15 w 15"/>
                <a:gd name="T13" fmla="*/ 6 h 24"/>
                <a:gd name="T14" fmla="*/ 4 w 15"/>
                <a:gd name="T1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4">
                  <a:moveTo>
                    <a:pt x="4" y="1"/>
                  </a:moveTo>
                  <a:cubicBezTo>
                    <a:pt x="3" y="1"/>
                    <a:pt x="2" y="1"/>
                    <a:pt x="2" y="1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0" y="4"/>
                    <a:pt x="0" y="7"/>
                    <a:pt x="0" y="9"/>
                  </a:cubicBezTo>
                  <a:cubicBezTo>
                    <a:pt x="0" y="14"/>
                    <a:pt x="2" y="19"/>
                    <a:pt x="6" y="24"/>
                  </a:cubicBezTo>
                  <a:cubicBezTo>
                    <a:pt x="10" y="21"/>
                    <a:pt x="12" y="16"/>
                    <a:pt x="14" y="11"/>
                  </a:cubicBezTo>
                  <a:cubicBezTo>
                    <a:pt x="15" y="9"/>
                    <a:pt x="15" y="8"/>
                    <a:pt x="15" y="6"/>
                  </a:cubicBezTo>
                  <a:cubicBezTo>
                    <a:pt x="15" y="0"/>
                    <a:pt x="7" y="1"/>
                    <a:pt x="4" y="1"/>
                  </a:cubicBezTo>
                  <a:close/>
                </a:path>
              </a:pathLst>
            </a:custGeom>
            <a:solidFill>
              <a:srgbClr val="709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4" name="íś1íḋê">
              <a:extLst>
                <a:ext uri="{FF2B5EF4-FFF2-40B4-BE49-F238E27FC236}">
                  <a16:creationId xmlns:a16="http://schemas.microsoft.com/office/drawing/2014/main" id="{B3C01F58-626A-4929-8C5C-3EC74C993A46}"/>
                </a:ext>
              </a:extLst>
            </p:cNvPr>
            <p:cNvSpPr/>
            <p:nvPr/>
          </p:nvSpPr>
          <p:spPr bwMode="auto">
            <a:xfrm>
              <a:off x="6142038" y="3065463"/>
              <a:ext cx="193675" cy="442913"/>
            </a:xfrm>
            <a:custGeom>
              <a:avLst/>
              <a:gdLst>
                <a:gd name="T0" fmla="*/ 42 w 83"/>
                <a:gd name="T1" fmla="*/ 149 h 191"/>
                <a:gd name="T2" fmla="*/ 23 w 83"/>
                <a:gd name="T3" fmla="*/ 157 h 191"/>
                <a:gd name="T4" fmla="*/ 12 w 83"/>
                <a:gd name="T5" fmla="*/ 159 h 191"/>
                <a:gd name="T6" fmla="*/ 10 w 83"/>
                <a:gd name="T7" fmla="*/ 163 h 191"/>
                <a:gd name="T8" fmla="*/ 2 w 83"/>
                <a:gd name="T9" fmla="*/ 183 h 191"/>
                <a:gd name="T10" fmla="*/ 1 w 83"/>
                <a:gd name="T11" fmla="*/ 186 h 191"/>
                <a:gd name="T12" fmla="*/ 7 w 83"/>
                <a:gd name="T13" fmla="*/ 188 h 191"/>
                <a:gd name="T14" fmla="*/ 18 w 83"/>
                <a:gd name="T15" fmla="*/ 189 h 191"/>
                <a:gd name="T16" fmla="*/ 31 w 83"/>
                <a:gd name="T17" fmla="*/ 189 h 191"/>
                <a:gd name="T18" fmla="*/ 47 w 83"/>
                <a:gd name="T19" fmla="*/ 176 h 191"/>
                <a:gd name="T20" fmla="*/ 73 w 83"/>
                <a:gd name="T21" fmla="*/ 146 h 191"/>
                <a:gd name="T22" fmla="*/ 82 w 83"/>
                <a:gd name="T23" fmla="*/ 92 h 191"/>
                <a:gd name="T24" fmla="*/ 81 w 83"/>
                <a:gd name="T25" fmla="*/ 42 h 191"/>
                <a:gd name="T26" fmla="*/ 73 w 83"/>
                <a:gd name="T27" fmla="*/ 4 h 191"/>
                <a:gd name="T28" fmla="*/ 67 w 83"/>
                <a:gd name="T29" fmla="*/ 95 h 191"/>
                <a:gd name="T30" fmla="*/ 42 w 83"/>
                <a:gd name="T31" fmla="*/ 14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191">
                  <a:moveTo>
                    <a:pt x="42" y="149"/>
                  </a:moveTo>
                  <a:cubicBezTo>
                    <a:pt x="37" y="154"/>
                    <a:pt x="30" y="156"/>
                    <a:pt x="23" y="157"/>
                  </a:cubicBezTo>
                  <a:cubicBezTo>
                    <a:pt x="20" y="158"/>
                    <a:pt x="15" y="157"/>
                    <a:pt x="12" y="159"/>
                  </a:cubicBezTo>
                  <a:cubicBezTo>
                    <a:pt x="11" y="160"/>
                    <a:pt x="11" y="162"/>
                    <a:pt x="10" y="163"/>
                  </a:cubicBezTo>
                  <a:cubicBezTo>
                    <a:pt x="7" y="169"/>
                    <a:pt x="5" y="176"/>
                    <a:pt x="2" y="183"/>
                  </a:cubicBezTo>
                  <a:cubicBezTo>
                    <a:pt x="1" y="184"/>
                    <a:pt x="1" y="185"/>
                    <a:pt x="1" y="186"/>
                  </a:cubicBezTo>
                  <a:cubicBezTo>
                    <a:pt x="0" y="189"/>
                    <a:pt x="5" y="188"/>
                    <a:pt x="7" y="188"/>
                  </a:cubicBezTo>
                  <a:cubicBezTo>
                    <a:pt x="11" y="188"/>
                    <a:pt x="14" y="189"/>
                    <a:pt x="18" y="189"/>
                  </a:cubicBezTo>
                  <a:cubicBezTo>
                    <a:pt x="22" y="189"/>
                    <a:pt x="27" y="191"/>
                    <a:pt x="31" y="189"/>
                  </a:cubicBezTo>
                  <a:cubicBezTo>
                    <a:pt x="37" y="186"/>
                    <a:pt x="42" y="180"/>
                    <a:pt x="47" y="176"/>
                  </a:cubicBezTo>
                  <a:cubicBezTo>
                    <a:pt x="56" y="168"/>
                    <a:pt x="68" y="158"/>
                    <a:pt x="73" y="146"/>
                  </a:cubicBezTo>
                  <a:cubicBezTo>
                    <a:pt x="79" y="129"/>
                    <a:pt x="81" y="111"/>
                    <a:pt x="82" y="92"/>
                  </a:cubicBezTo>
                  <a:cubicBezTo>
                    <a:pt x="83" y="76"/>
                    <a:pt x="82" y="59"/>
                    <a:pt x="81" y="42"/>
                  </a:cubicBezTo>
                  <a:cubicBezTo>
                    <a:pt x="81" y="37"/>
                    <a:pt x="79" y="0"/>
                    <a:pt x="73" y="4"/>
                  </a:cubicBezTo>
                  <a:cubicBezTo>
                    <a:pt x="69" y="6"/>
                    <a:pt x="70" y="72"/>
                    <a:pt x="67" y="95"/>
                  </a:cubicBezTo>
                  <a:cubicBezTo>
                    <a:pt x="67" y="97"/>
                    <a:pt x="56" y="137"/>
                    <a:pt x="42" y="149"/>
                  </a:cubicBezTo>
                  <a:close/>
                </a:path>
              </a:pathLst>
            </a:custGeom>
            <a:solidFill>
              <a:srgbClr val="709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5" name="ïslïdè">
              <a:extLst>
                <a:ext uri="{FF2B5EF4-FFF2-40B4-BE49-F238E27FC236}">
                  <a16:creationId xmlns:a16="http://schemas.microsoft.com/office/drawing/2014/main" id="{1B0D13F0-9068-4DEC-8998-5F06CA3B91E9}"/>
                </a:ext>
              </a:extLst>
            </p:cNvPr>
            <p:cNvSpPr/>
            <p:nvPr/>
          </p:nvSpPr>
          <p:spPr bwMode="auto">
            <a:xfrm>
              <a:off x="5608638" y="3533775"/>
              <a:ext cx="125413" cy="96838"/>
            </a:xfrm>
            <a:custGeom>
              <a:avLst/>
              <a:gdLst>
                <a:gd name="T0" fmla="*/ 22 w 54"/>
                <a:gd name="T1" fmla="*/ 2 h 42"/>
                <a:gd name="T2" fmla="*/ 45 w 54"/>
                <a:gd name="T3" fmla="*/ 6 h 42"/>
                <a:gd name="T4" fmla="*/ 50 w 54"/>
                <a:gd name="T5" fmla="*/ 28 h 42"/>
                <a:gd name="T6" fmla="*/ 40 w 54"/>
                <a:gd name="T7" fmla="*/ 38 h 42"/>
                <a:gd name="T8" fmla="*/ 27 w 54"/>
                <a:gd name="T9" fmla="*/ 41 h 42"/>
                <a:gd name="T10" fmla="*/ 13 w 54"/>
                <a:gd name="T11" fmla="*/ 42 h 42"/>
                <a:gd name="T12" fmla="*/ 6 w 54"/>
                <a:gd name="T13" fmla="*/ 41 h 42"/>
                <a:gd name="T14" fmla="*/ 1 w 54"/>
                <a:gd name="T15" fmla="*/ 30 h 42"/>
                <a:gd name="T16" fmla="*/ 22 w 54"/>
                <a:gd name="T17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42">
                  <a:moveTo>
                    <a:pt x="22" y="2"/>
                  </a:moveTo>
                  <a:cubicBezTo>
                    <a:pt x="30" y="0"/>
                    <a:pt x="39" y="1"/>
                    <a:pt x="45" y="6"/>
                  </a:cubicBezTo>
                  <a:cubicBezTo>
                    <a:pt x="51" y="12"/>
                    <a:pt x="54" y="21"/>
                    <a:pt x="50" y="28"/>
                  </a:cubicBezTo>
                  <a:cubicBezTo>
                    <a:pt x="48" y="33"/>
                    <a:pt x="44" y="36"/>
                    <a:pt x="40" y="38"/>
                  </a:cubicBezTo>
                  <a:cubicBezTo>
                    <a:pt x="36" y="40"/>
                    <a:pt x="31" y="41"/>
                    <a:pt x="27" y="41"/>
                  </a:cubicBezTo>
                  <a:cubicBezTo>
                    <a:pt x="22" y="42"/>
                    <a:pt x="18" y="42"/>
                    <a:pt x="13" y="42"/>
                  </a:cubicBezTo>
                  <a:cubicBezTo>
                    <a:pt x="11" y="42"/>
                    <a:pt x="8" y="42"/>
                    <a:pt x="6" y="41"/>
                  </a:cubicBezTo>
                  <a:cubicBezTo>
                    <a:pt x="2" y="39"/>
                    <a:pt x="0" y="34"/>
                    <a:pt x="1" y="30"/>
                  </a:cubicBezTo>
                  <a:cubicBezTo>
                    <a:pt x="1" y="17"/>
                    <a:pt x="10" y="6"/>
                    <a:pt x="22" y="2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6" name="i$ľîďè">
              <a:extLst>
                <a:ext uri="{FF2B5EF4-FFF2-40B4-BE49-F238E27FC236}">
                  <a16:creationId xmlns:a16="http://schemas.microsoft.com/office/drawing/2014/main" id="{E9EBBEBA-0367-4F74-B4DE-5ED28790E360}"/>
                </a:ext>
              </a:extLst>
            </p:cNvPr>
            <p:cNvSpPr/>
            <p:nvPr/>
          </p:nvSpPr>
          <p:spPr bwMode="auto">
            <a:xfrm>
              <a:off x="4419601" y="3938588"/>
              <a:ext cx="100013" cy="128588"/>
            </a:xfrm>
            <a:custGeom>
              <a:avLst/>
              <a:gdLst>
                <a:gd name="T0" fmla="*/ 41 w 43"/>
                <a:gd name="T1" fmla="*/ 35 h 55"/>
                <a:gd name="T2" fmla="*/ 26 w 43"/>
                <a:gd name="T3" fmla="*/ 53 h 55"/>
                <a:gd name="T4" fmla="*/ 4 w 43"/>
                <a:gd name="T5" fmla="*/ 46 h 55"/>
                <a:gd name="T6" fmla="*/ 1 w 43"/>
                <a:gd name="T7" fmla="*/ 33 h 55"/>
                <a:gd name="T8" fmla="*/ 4 w 43"/>
                <a:gd name="T9" fmla="*/ 19 h 55"/>
                <a:gd name="T10" fmla="*/ 11 w 43"/>
                <a:gd name="T11" fmla="*/ 7 h 55"/>
                <a:gd name="T12" fmla="*/ 15 w 43"/>
                <a:gd name="T13" fmla="*/ 2 h 55"/>
                <a:gd name="T14" fmla="*/ 28 w 43"/>
                <a:gd name="T15" fmla="*/ 2 h 55"/>
                <a:gd name="T16" fmla="*/ 41 w 43"/>
                <a:gd name="T1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55">
                  <a:moveTo>
                    <a:pt x="41" y="35"/>
                  </a:moveTo>
                  <a:cubicBezTo>
                    <a:pt x="39" y="42"/>
                    <a:pt x="33" y="50"/>
                    <a:pt x="26" y="53"/>
                  </a:cubicBezTo>
                  <a:cubicBezTo>
                    <a:pt x="18" y="55"/>
                    <a:pt x="9" y="53"/>
                    <a:pt x="4" y="46"/>
                  </a:cubicBezTo>
                  <a:cubicBezTo>
                    <a:pt x="1" y="42"/>
                    <a:pt x="0" y="38"/>
                    <a:pt x="1" y="33"/>
                  </a:cubicBezTo>
                  <a:cubicBezTo>
                    <a:pt x="1" y="28"/>
                    <a:pt x="3" y="24"/>
                    <a:pt x="4" y="19"/>
                  </a:cubicBezTo>
                  <a:cubicBezTo>
                    <a:pt x="6" y="15"/>
                    <a:pt x="8" y="11"/>
                    <a:pt x="11" y="7"/>
                  </a:cubicBezTo>
                  <a:cubicBezTo>
                    <a:pt x="12" y="5"/>
                    <a:pt x="13" y="3"/>
                    <a:pt x="15" y="2"/>
                  </a:cubicBezTo>
                  <a:cubicBezTo>
                    <a:pt x="19" y="0"/>
                    <a:pt x="24" y="0"/>
                    <a:pt x="28" y="2"/>
                  </a:cubicBezTo>
                  <a:cubicBezTo>
                    <a:pt x="38" y="9"/>
                    <a:pt x="43" y="23"/>
                    <a:pt x="41" y="35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7" name="ïṥľíďê">
              <a:extLst>
                <a:ext uri="{FF2B5EF4-FFF2-40B4-BE49-F238E27FC236}">
                  <a16:creationId xmlns:a16="http://schemas.microsoft.com/office/drawing/2014/main" id="{ECAAFA3B-CADB-4F6C-8FCE-D85413FEC83D}"/>
                </a:ext>
              </a:extLst>
            </p:cNvPr>
            <p:cNvSpPr/>
            <p:nvPr/>
          </p:nvSpPr>
          <p:spPr bwMode="auto">
            <a:xfrm>
              <a:off x="6838951" y="2763838"/>
              <a:ext cx="60325" cy="90488"/>
            </a:xfrm>
            <a:custGeom>
              <a:avLst/>
              <a:gdLst>
                <a:gd name="T0" fmla="*/ 13 w 26"/>
                <a:gd name="T1" fmla="*/ 1 h 39"/>
                <a:gd name="T2" fmla="*/ 23 w 26"/>
                <a:gd name="T3" fmla="*/ 9 h 39"/>
                <a:gd name="T4" fmla="*/ 25 w 26"/>
                <a:gd name="T5" fmla="*/ 22 h 39"/>
                <a:gd name="T6" fmla="*/ 25 w 26"/>
                <a:gd name="T7" fmla="*/ 32 h 39"/>
                <a:gd name="T8" fmla="*/ 17 w 26"/>
                <a:gd name="T9" fmla="*/ 39 h 39"/>
                <a:gd name="T10" fmla="*/ 8 w 26"/>
                <a:gd name="T11" fmla="*/ 31 h 39"/>
                <a:gd name="T12" fmla="*/ 1 w 26"/>
                <a:gd name="T13" fmla="*/ 10 h 39"/>
                <a:gd name="T14" fmla="*/ 13 w 26"/>
                <a:gd name="T15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9">
                  <a:moveTo>
                    <a:pt x="13" y="1"/>
                  </a:moveTo>
                  <a:cubicBezTo>
                    <a:pt x="18" y="1"/>
                    <a:pt x="21" y="5"/>
                    <a:pt x="23" y="9"/>
                  </a:cubicBezTo>
                  <a:cubicBezTo>
                    <a:pt x="24" y="13"/>
                    <a:pt x="25" y="18"/>
                    <a:pt x="25" y="22"/>
                  </a:cubicBezTo>
                  <a:cubicBezTo>
                    <a:pt x="25" y="26"/>
                    <a:pt x="26" y="29"/>
                    <a:pt x="25" y="32"/>
                  </a:cubicBezTo>
                  <a:cubicBezTo>
                    <a:pt x="24" y="36"/>
                    <a:pt x="21" y="39"/>
                    <a:pt x="17" y="39"/>
                  </a:cubicBezTo>
                  <a:cubicBezTo>
                    <a:pt x="13" y="39"/>
                    <a:pt x="10" y="35"/>
                    <a:pt x="8" y="31"/>
                  </a:cubicBezTo>
                  <a:cubicBezTo>
                    <a:pt x="5" y="26"/>
                    <a:pt x="0" y="16"/>
                    <a:pt x="1" y="10"/>
                  </a:cubicBezTo>
                  <a:cubicBezTo>
                    <a:pt x="1" y="5"/>
                    <a:pt x="8" y="0"/>
                    <a:pt x="13" y="1"/>
                  </a:cubicBezTo>
                  <a:close/>
                </a:path>
              </a:pathLst>
            </a:custGeom>
            <a:solidFill>
              <a:srgbClr val="F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8" name="îsļiḍé">
              <a:extLst>
                <a:ext uri="{FF2B5EF4-FFF2-40B4-BE49-F238E27FC236}">
                  <a16:creationId xmlns:a16="http://schemas.microsoft.com/office/drawing/2014/main" id="{8DB3374D-30B7-4071-8259-9F3420182C67}"/>
                </a:ext>
              </a:extLst>
            </p:cNvPr>
            <p:cNvSpPr/>
            <p:nvPr/>
          </p:nvSpPr>
          <p:spPr bwMode="auto">
            <a:xfrm>
              <a:off x="5011738" y="3478213"/>
              <a:ext cx="22225" cy="430213"/>
            </a:xfrm>
            <a:custGeom>
              <a:avLst/>
              <a:gdLst>
                <a:gd name="T0" fmla="*/ 10 w 10"/>
                <a:gd name="T1" fmla="*/ 0 h 186"/>
                <a:gd name="T2" fmla="*/ 9 w 10"/>
                <a:gd name="T3" fmla="*/ 23 h 186"/>
                <a:gd name="T4" fmla="*/ 7 w 10"/>
                <a:gd name="T5" fmla="*/ 47 h 186"/>
                <a:gd name="T6" fmla="*/ 5 w 10"/>
                <a:gd name="T7" fmla="*/ 93 h 186"/>
                <a:gd name="T8" fmla="*/ 5 w 10"/>
                <a:gd name="T9" fmla="*/ 140 h 186"/>
                <a:gd name="T10" fmla="*/ 6 w 10"/>
                <a:gd name="T11" fmla="*/ 152 h 186"/>
                <a:gd name="T12" fmla="*/ 7 w 10"/>
                <a:gd name="T13" fmla="*/ 163 h 186"/>
                <a:gd name="T14" fmla="*/ 8 w 10"/>
                <a:gd name="T15" fmla="*/ 175 h 186"/>
                <a:gd name="T16" fmla="*/ 10 w 10"/>
                <a:gd name="T17" fmla="*/ 186 h 186"/>
                <a:gd name="T18" fmla="*/ 2 w 10"/>
                <a:gd name="T19" fmla="*/ 140 h 186"/>
                <a:gd name="T20" fmla="*/ 1 w 10"/>
                <a:gd name="T21" fmla="*/ 93 h 186"/>
                <a:gd name="T22" fmla="*/ 4 w 10"/>
                <a:gd name="T23" fmla="*/ 46 h 186"/>
                <a:gd name="T24" fmla="*/ 10 w 10"/>
                <a:gd name="T25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86">
                  <a:moveTo>
                    <a:pt x="10" y="0"/>
                  </a:moveTo>
                  <a:cubicBezTo>
                    <a:pt x="10" y="8"/>
                    <a:pt x="9" y="16"/>
                    <a:pt x="9" y="23"/>
                  </a:cubicBezTo>
                  <a:cubicBezTo>
                    <a:pt x="8" y="31"/>
                    <a:pt x="7" y="39"/>
                    <a:pt x="7" y="47"/>
                  </a:cubicBezTo>
                  <a:cubicBezTo>
                    <a:pt x="6" y="62"/>
                    <a:pt x="5" y="78"/>
                    <a:pt x="5" y="93"/>
                  </a:cubicBezTo>
                  <a:cubicBezTo>
                    <a:pt x="4" y="109"/>
                    <a:pt x="4" y="124"/>
                    <a:pt x="5" y="140"/>
                  </a:cubicBezTo>
                  <a:cubicBezTo>
                    <a:pt x="5" y="144"/>
                    <a:pt x="5" y="148"/>
                    <a:pt x="6" y="152"/>
                  </a:cubicBezTo>
                  <a:cubicBezTo>
                    <a:pt x="6" y="156"/>
                    <a:pt x="6" y="159"/>
                    <a:pt x="7" y="163"/>
                  </a:cubicBezTo>
                  <a:cubicBezTo>
                    <a:pt x="7" y="167"/>
                    <a:pt x="8" y="171"/>
                    <a:pt x="8" y="175"/>
                  </a:cubicBezTo>
                  <a:cubicBezTo>
                    <a:pt x="9" y="179"/>
                    <a:pt x="10" y="182"/>
                    <a:pt x="10" y="186"/>
                  </a:cubicBezTo>
                  <a:cubicBezTo>
                    <a:pt x="5" y="171"/>
                    <a:pt x="3" y="156"/>
                    <a:pt x="2" y="140"/>
                  </a:cubicBezTo>
                  <a:cubicBezTo>
                    <a:pt x="0" y="125"/>
                    <a:pt x="0" y="109"/>
                    <a:pt x="1" y="93"/>
                  </a:cubicBezTo>
                  <a:cubicBezTo>
                    <a:pt x="1" y="78"/>
                    <a:pt x="2" y="62"/>
                    <a:pt x="4" y="46"/>
                  </a:cubicBezTo>
                  <a:cubicBezTo>
                    <a:pt x="5" y="31"/>
                    <a:pt x="7" y="15"/>
                    <a:pt x="10" y="0"/>
                  </a:cubicBezTo>
                  <a:close/>
                </a:path>
              </a:pathLst>
            </a:custGeom>
            <a:solidFill>
              <a:srgbClr val="D1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9" name="îṧļiďe">
              <a:extLst>
                <a:ext uri="{FF2B5EF4-FFF2-40B4-BE49-F238E27FC236}">
                  <a16:creationId xmlns:a16="http://schemas.microsoft.com/office/drawing/2014/main" id="{E866286F-471B-4D41-9D44-4D08DFDD87A2}"/>
                </a:ext>
              </a:extLst>
            </p:cNvPr>
            <p:cNvSpPr/>
            <p:nvPr/>
          </p:nvSpPr>
          <p:spPr bwMode="auto">
            <a:xfrm>
              <a:off x="4826001" y="3575050"/>
              <a:ext cx="122238" cy="55563"/>
            </a:xfrm>
            <a:custGeom>
              <a:avLst/>
              <a:gdLst>
                <a:gd name="T0" fmla="*/ 0 w 77"/>
                <a:gd name="T1" fmla="*/ 18 h 35"/>
                <a:gd name="T2" fmla="*/ 0 w 77"/>
                <a:gd name="T3" fmla="*/ 35 h 35"/>
                <a:gd name="T4" fmla="*/ 77 w 77"/>
                <a:gd name="T5" fmla="*/ 18 h 35"/>
                <a:gd name="T6" fmla="*/ 77 w 77"/>
                <a:gd name="T7" fmla="*/ 0 h 35"/>
                <a:gd name="T8" fmla="*/ 0 w 77"/>
                <a:gd name="T9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35">
                  <a:moveTo>
                    <a:pt x="0" y="18"/>
                  </a:moveTo>
                  <a:lnTo>
                    <a:pt x="0" y="35"/>
                  </a:lnTo>
                  <a:lnTo>
                    <a:pt x="77" y="18"/>
                  </a:lnTo>
                  <a:lnTo>
                    <a:pt x="77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D1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0" name="íṡľiḑê">
              <a:extLst>
                <a:ext uri="{FF2B5EF4-FFF2-40B4-BE49-F238E27FC236}">
                  <a16:creationId xmlns:a16="http://schemas.microsoft.com/office/drawing/2014/main" id="{8C8C3529-EBBB-4865-A545-6BEE9472C675}"/>
                </a:ext>
              </a:extLst>
            </p:cNvPr>
            <p:cNvSpPr/>
            <p:nvPr/>
          </p:nvSpPr>
          <p:spPr bwMode="auto">
            <a:xfrm>
              <a:off x="6767513" y="3173413"/>
              <a:ext cx="206375" cy="134938"/>
            </a:xfrm>
            <a:custGeom>
              <a:avLst/>
              <a:gdLst>
                <a:gd name="T0" fmla="*/ 86 w 89"/>
                <a:gd name="T1" fmla="*/ 0 h 58"/>
                <a:gd name="T2" fmla="*/ 85 w 89"/>
                <a:gd name="T3" fmla="*/ 0 h 58"/>
                <a:gd name="T4" fmla="*/ 1 w 89"/>
                <a:gd name="T5" fmla="*/ 55 h 58"/>
                <a:gd name="T6" fmla="*/ 1 w 89"/>
                <a:gd name="T7" fmla="*/ 58 h 58"/>
                <a:gd name="T8" fmla="*/ 2 w 89"/>
                <a:gd name="T9" fmla="*/ 58 h 58"/>
                <a:gd name="T10" fmla="*/ 3 w 89"/>
                <a:gd name="T11" fmla="*/ 58 h 58"/>
                <a:gd name="T12" fmla="*/ 87 w 89"/>
                <a:gd name="T13" fmla="*/ 4 h 58"/>
                <a:gd name="T14" fmla="*/ 88 w 89"/>
                <a:gd name="T15" fmla="*/ 1 h 58"/>
                <a:gd name="T16" fmla="*/ 86 w 89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58">
                  <a:moveTo>
                    <a:pt x="86" y="0"/>
                  </a:moveTo>
                  <a:cubicBezTo>
                    <a:pt x="86" y="0"/>
                    <a:pt x="86" y="0"/>
                    <a:pt x="85" y="0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5"/>
                    <a:pt x="0" y="57"/>
                    <a:pt x="1" y="58"/>
                  </a:cubicBezTo>
                  <a:cubicBezTo>
                    <a:pt x="1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88" y="3"/>
                    <a:pt x="89" y="2"/>
                    <a:pt x="88" y="1"/>
                  </a:cubicBezTo>
                  <a:cubicBezTo>
                    <a:pt x="88" y="0"/>
                    <a:pt x="87" y="0"/>
                    <a:pt x="86" y="0"/>
                  </a:cubicBezTo>
                </a:path>
              </a:pathLst>
            </a:custGeom>
            <a:solidFill>
              <a:srgbClr val="62C8FB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1" name="ïślidè">
              <a:extLst>
                <a:ext uri="{FF2B5EF4-FFF2-40B4-BE49-F238E27FC236}">
                  <a16:creationId xmlns:a16="http://schemas.microsoft.com/office/drawing/2014/main" id="{BD452815-7634-4CA7-8D69-985F03F4E112}"/>
                </a:ext>
              </a:extLst>
            </p:cNvPr>
            <p:cNvSpPr/>
            <p:nvPr/>
          </p:nvSpPr>
          <p:spPr bwMode="auto">
            <a:xfrm>
              <a:off x="6718301" y="3367088"/>
              <a:ext cx="204788" cy="136525"/>
            </a:xfrm>
            <a:custGeom>
              <a:avLst/>
              <a:gdLst>
                <a:gd name="T0" fmla="*/ 86 w 88"/>
                <a:gd name="T1" fmla="*/ 0 h 59"/>
                <a:gd name="T2" fmla="*/ 85 w 88"/>
                <a:gd name="T3" fmla="*/ 1 h 59"/>
                <a:gd name="T4" fmla="*/ 1 w 88"/>
                <a:gd name="T5" fmla="*/ 55 h 59"/>
                <a:gd name="T6" fmla="*/ 0 w 88"/>
                <a:gd name="T7" fmla="*/ 58 h 59"/>
                <a:gd name="T8" fmla="*/ 2 w 88"/>
                <a:gd name="T9" fmla="*/ 59 h 59"/>
                <a:gd name="T10" fmla="*/ 3 w 88"/>
                <a:gd name="T11" fmla="*/ 59 h 59"/>
                <a:gd name="T12" fmla="*/ 87 w 88"/>
                <a:gd name="T13" fmla="*/ 4 h 59"/>
                <a:gd name="T14" fmla="*/ 88 w 88"/>
                <a:gd name="T15" fmla="*/ 1 h 59"/>
                <a:gd name="T16" fmla="*/ 86 w 88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59">
                  <a:moveTo>
                    <a:pt x="86" y="0"/>
                  </a:moveTo>
                  <a:cubicBezTo>
                    <a:pt x="86" y="0"/>
                    <a:pt x="85" y="0"/>
                    <a:pt x="85" y="1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6"/>
                    <a:pt x="0" y="57"/>
                    <a:pt x="0" y="58"/>
                  </a:cubicBezTo>
                  <a:cubicBezTo>
                    <a:pt x="1" y="59"/>
                    <a:pt x="1" y="59"/>
                    <a:pt x="2" y="59"/>
                  </a:cubicBezTo>
                  <a:cubicBezTo>
                    <a:pt x="2" y="59"/>
                    <a:pt x="3" y="59"/>
                    <a:pt x="3" y="59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88" y="3"/>
                    <a:pt x="88" y="2"/>
                    <a:pt x="88" y="1"/>
                  </a:cubicBezTo>
                  <a:cubicBezTo>
                    <a:pt x="87" y="1"/>
                    <a:pt x="87" y="0"/>
                    <a:pt x="86" y="0"/>
                  </a:cubicBezTo>
                </a:path>
              </a:pathLst>
            </a:custGeom>
            <a:solidFill>
              <a:srgbClr val="62C8FB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2" name="îśḻiḋé">
              <a:extLst>
                <a:ext uri="{FF2B5EF4-FFF2-40B4-BE49-F238E27FC236}">
                  <a16:creationId xmlns:a16="http://schemas.microsoft.com/office/drawing/2014/main" id="{07F1497E-D9CF-470D-827E-5166CD68E210}"/>
                </a:ext>
              </a:extLst>
            </p:cNvPr>
            <p:cNvSpPr/>
            <p:nvPr/>
          </p:nvSpPr>
          <p:spPr bwMode="auto">
            <a:xfrm>
              <a:off x="7910513" y="2628900"/>
              <a:ext cx="203200" cy="134938"/>
            </a:xfrm>
            <a:custGeom>
              <a:avLst/>
              <a:gdLst>
                <a:gd name="T0" fmla="*/ 86 w 88"/>
                <a:gd name="T1" fmla="*/ 0 h 58"/>
                <a:gd name="T2" fmla="*/ 85 w 88"/>
                <a:gd name="T3" fmla="*/ 0 h 58"/>
                <a:gd name="T4" fmla="*/ 1 w 88"/>
                <a:gd name="T5" fmla="*/ 55 h 58"/>
                <a:gd name="T6" fmla="*/ 0 w 88"/>
                <a:gd name="T7" fmla="*/ 57 h 58"/>
                <a:gd name="T8" fmla="*/ 2 w 88"/>
                <a:gd name="T9" fmla="*/ 58 h 58"/>
                <a:gd name="T10" fmla="*/ 3 w 88"/>
                <a:gd name="T11" fmla="*/ 58 h 58"/>
                <a:gd name="T12" fmla="*/ 87 w 88"/>
                <a:gd name="T13" fmla="*/ 4 h 58"/>
                <a:gd name="T14" fmla="*/ 88 w 88"/>
                <a:gd name="T15" fmla="*/ 1 h 58"/>
                <a:gd name="T16" fmla="*/ 86 w 88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58">
                  <a:moveTo>
                    <a:pt x="86" y="0"/>
                  </a:moveTo>
                  <a:cubicBezTo>
                    <a:pt x="86" y="0"/>
                    <a:pt x="85" y="0"/>
                    <a:pt x="85" y="0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5"/>
                    <a:pt x="0" y="57"/>
                    <a:pt x="0" y="57"/>
                  </a:cubicBezTo>
                  <a:cubicBezTo>
                    <a:pt x="1" y="58"/>
                    <a:pt x="1" y="58"/>
                    <a:pt x="2" y="58"/>
                  </a:cubicBezTo>
                  <a:cubicBezTo>
                    <a:pt x="2" y="58"/>
                    <a:pt x="3" y="58"/>
                    <a:pt x="3" y="58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88" y="3"/>
                    <a:pt x="88" y="2"/>
                    <a:pt x="88" y="1"/>
                  </a:cubicBezTo>
                  <a:cubicBezTo>
                    <a:pt x="87" y="0"/>
                    <a:pt x="87" y="0"/>
                    <a:pt x="86" y="0"/>
                  </a:cubicBezTo>
                </a:path>
              </a:pathLst>
            </a:custGeom>
            <a:solidFill>
              <a:srgbClr val="62C8FB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3" name="íšľíḓe">
              <a:extLst>
                <a:ext uri="{FF2B5EF4-FFF2-40B4-BE49-F238E27FC236}">
                  <a16:creationId xmlns:a16="http://schemas.microsoft.com/office/drawing/2014/main" id="{6D9EB0B4-D72F-4B6D-93A1-164EAA2BE819}"/>
                </a:ext>
              </a:extLst>
            </p:cNvPr>
            <p:cNvSpPr/>
            <p:nvPr/>
          </p:nvSpPr>
          <p:spPr bwMode="auto">
            <a:xfrm>
              <a:off x="7827963" y="2740025"/>
              <a:ext cx="193675" cy="131763"/>
            </a:xfrm>
            <a:custGeom>
              <a:avLst/>
              <a:gdLst>
                <a:gd name="T0" fmla="*/ 81 w 83"/>
                <a:gd name="T1" fmla="*/ 0 h 57"/>
                <a:gd name="T2" fmla="*/ 80 w 83"/>
                <a:gd name="T3" fmla="*/ 1 h 57"/>
                <a:gd name="T4" fmla="*/ 0 w 83"/>
                <a:gd name="T5" fmla="*/ 52 h 57"/>
                <a:gd name="T6" fmla="*/ 0 w 83"/>
                <a:gd name="T7" fmla="*/ 57 h 57"/>
                <a:gd name="T8" fmla="*/ 82 w 83"/>
                <a:gd name="T9" fmla="*/ 4 h 57"/>
                <a:gd name="T10" fmla="*/ 82 w 83"/>
                <a:gd name="T11" fmla="*/ 1 h 57"/>
                <a:gd name="T12" fmla="*/ 81 w 83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57">
                  <a:moveTo>
                    <a:pt x="81" y="0"/>
                  </a:moveTo>
                  <a:cubicBezTo>
                    <a:pt x="80" y="0"/>
                    <a:pt x="80" y="1"/>
                    <a:pt x="80" y="1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3" y="4"/>
                    <a:pt x="83" y="2"/>
                    <a:pt x="82" y="1"/>
                  </a:cubicBezTo>
                  <a:cubicBezTo>
                    <a:pt x="82" y="1"/>
                    <a:pt x="81" y="0"/>
                    <a:pt x="81" y="0"/>
                  </a:cubicBezTo>
                </a:path>
              </a:pathLst>
            </a:custGeom>
            <a:solidFill>
              <a:srgbClr val="62C8FB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4" name="iṣḷîḋe">
              <a:extLst>
                <a:ext uri="{FF2B5EF4-FFF2-40B4-BE49-F238E27FC236}">
                  <a16:creationId xmlns:a16="http://schemas.microsoft.com/office/drawing/2014/main" id="{731F54B2-A191-4EC0-B6F1-35F33C01F8B9}"/>
                </a:ext>
              </a:extLst>
            </p:cNvPr>
            <p:cNvSpPr/>
            <p:nvPr/>
          </p:nvSpPr>
          <p:spPr bwMode="auto">
            <a:xfrm>
              <a:off x="7815263" y="2860675"/>
              <a:ext cx="12700" cy="15875"/>
            </a:xfrm>
            <a:custGeom>
              <a:avLst/>
              <a:gdLst>
                <a:gd name="T0" fmla="*/ 6 w 6"/>
                <a:gd name="T1" fmla="*/ 0 h 7"/>
                <a:gd name="T2" fmla="*/ 2 w 6"/>
                <a:gd name="T3" fmla="*/ 3 h 7"/>
                <a:gd name="T4" fmla="*/ 1 w 6"/>
                <a:gd name="T5" fmla="*/ 6 h 7"/>
                <a:gd name="T6" fmla="*/ 3 w 6"/>
                <a:gd name="T7" fmla="*/ 7 h 7"/>
                <a:gd name="T8" fmla="*/ 4 w 6"/>
                <a:gd name="T9" fmla="*/ 7 h 7"/>
                <a:gd name="T10" fmla="*/ 6 w 6"/>
                <a:gd name="T11" fmla="*/ 5 h 7"/>
                <a:gd name="T12" fmla="*/ 6 w 6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4"/>
                    <a:pt x="0" y="5"/>
                    <a:pt x="1" y="6"/>
                  </a:cubicBezTo>
                  <a:cubicBezTo>
                    <a:pt x="1" y="7"/>
                    <a:pt x="2" y="7"/>
                    <a:pt x="3" y="7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0F1F27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5" name="ïşlíḋè">
              <a:extLst>
                <a:ext uri="{FF2B5EF4-FFF2-40B4-BE49-F238E27FC236}">
                  <a16:creationId xmlns:a16="http://schemas.microsoft.com/office/drawing/2014/main" id="{7D498EC8-A631-4C6D-9771-05E50B5673F8}"/>
                </a:ext>
              </a:extLst>
            </p:cNvPr>
            <p:cNvSpPr/>
            <p:nvPr/>
          </p:nvSpPr>
          <p:spPr bwMode="auto">
            <a:xfrm>
              <a:off x="5218113" y="3735388"/>
              <a:ext cx="206375" cy="136525"/>
            </a:xfrm>
            <a:custGeom>
              <a:avLst/>
              <a:gdLst>
                <a:gd name="T0" fmla="*/ 87 w 89"/>
                <a:gd name="T1" fmla="*/ 0 h 59"/>
                <a:gd name="T2" fmla="*/ 86 w 89"/>
                <a:gd name="T3" fmla="*/ 1 h 59"/>
                <a:gd name="T4" fmla="*/ 1 w 89"/>
                <a:gd name="T5" fmla="*/ 55 h 59"/>
                <a:gd name="T6" fmla="*/ 1 w 89"/>
                <a:gd name="T7" fmla="*/ 58 h 59"/>
                <a:gd name="T8" fmla="*/ 3 w 89"/>
                <a:gd name="T9" fmla="*/ 59 h 59"/>
                <a:gd name="T10" fmla="*/ 4 w 89"/>
                <a:gd name="T11" fmla="*/ 59 h 59"/>
                <a:gd name="T12" fmla="*/ 88 w 89"/>
                <a:gd name="T13" fmla="*/ 4 h 59"/>
                <a:gd name="T14" fmla="*/ 88 w 89"/>
                <a:gd name="T15" fmla="*/ 1 h 59"/>
                <a:gd name="T16" fmla="*/ 87 w 89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59">
                  <a:moveTo>
                    <a:pt x="87" y="0"/>
                  </a:moveTo>
                  <a:cubicBezTo>
                    <a:pt x="86" y="0"/>
                    <a:pt x="86" y="0"/>
                    <a:pt x="86" y="1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6"/>
                    <a:pt x="0" y="57"/>
                    <a:pt x="1" y="58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3" y="59"/>
                    <a:pt x="3" y="59"/>
                    <a:pt x="4" y="59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9" y="3"/>
                    <a:pt x="89" y="2"/>
                    <a:pt x="88" y="1"/>
                  </a:cubicBezTo>
                  <a:cubicBezTo>
                    <a:pt x="88" y="1"/>
                    <a:pt x="87" y="0"/>
                    <a:pt x="87" y="0"/>
                  </a:cubicBezTo>
                </a:path>
              </a:pathLst>
            </a:custGeom>
            <a:solidFill>
              <a:srgbClr val="62C8FB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6" name="ïšḻîḓé">
              <a:extLst>
                <a:ext uri="{FF2B5EF4-FFF2-40B4-BE49-F238E27FC236}">
                  <a16:creationId xmlns:a16="http://schemas.microsoft.com/office/drawing/2014/main" id="{D31BB217-A709-45E4-B197-C632F888901A}"/>
                </a:ext>
              </a:extLst>
            </p:cNvPr>
            <p:cNvSpPr/>
            <p:nvPr/>
          </p:nvSpPr>
          <p:spPr bwMode="auto">
            <a:xfrm>
              <a:off x="5224463" y="3881438"/>
              <a:ext cx="207963" cy="134938"/>
            </a:xfrm>
            <a:custGeom>
              <a:avLst/>
              <a:gdLst>
                <a:gd name="T0" fmla="*/ 87 w 89"/>
                <a:gd name="T1" fmla="*/ 0 h 58"/>
                <a:gd name="T2" fmla="*/ 86 w 89"/>
                <a:gd name="T3" fmla="*/ 0 h 58"/>
                <a:gd name="T4" fmla="*/ 2 w 89"/>
                <a:gd name="T5" fmla="*/ 54 h 58"/>
                <a:gd name="T6" fmla="*/ 1 w 89"/>
                <a:gd name="T7" fmla="*/ 57 h 58"/>
                <a:gd name="T8" fmla="*/ 3 w 89"/>
                <a:gd name="T9" fmla="*/ 58 h 58"/>
                <a:gd name="T10" fmla="*/ 4 w 89"/>
                <a:gd name="T11" fmla="*/ 58 h 58"/>
                <a:gd name="T12" fmla="*/ 88 w 89"/>
                <a:gd name="T13" fmla="*/ 3 h 58"/>
                <a:gd name="T14" fmla="*/ 88 w 89"/>
                <a:gd name="T15" fmla="*/ 1 h 58"/>
                <a:gd name="T16" fmla="*/ 87 w 89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58">
                  <a:moveTo>
                    <a:pt x="87" y="0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1" y="55"/>
                    <a:pt x="0" y="56"/>
                    <a:pt x="1" y="57"/>
                  </a:cubicBezTo>
                  <a:cubicBezTo>
                    <a:pt x="1" y="58"/>
                    <a:pt x="2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9" y="3"/>
                    <a:pt x="89" y="2"/>
                    <a:pt x="88" y="1"/>
                  </a:cubicBezTo>
                  <a:cubicBezTo>
                    <a:pt x="88" y="0"/>
                    <a:pt x="87" y="0"/>
                    <a:pt x="87" y="0"/>
                  </a:cubicBezTo>
                </a:path>
              </a:pathLst>
            </a:custGeom>
            <a:solidFill>
              <a:srgbClr val="62C8FB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7" name="îṣ1íḍe">
              <a:extLst>
                <a:ext uri="{FF2B5EF4-FFF2-40B4-BE49-F238E27FC236}">
                  <a16:creationId xmlns:a16="http://schemas.microsoft.com/office/drawing/2014/main" id="{4589C93B-9E31-4738-94B0-F1E2DDDD1BBF}"/>
                </a:ext>
              </a:extLst>
            </p:cNvPr>
            <p:cNvSpPr/>
            <p:nvPr/>
          </p:nvSpPr>
          <p:spPr bwMode="auto">
            <a:xfrm>
              <a:off x="4038601" y="4497388"/>
              <a:ext cx="206375" cy="134938"/>
            </a:xfrm>
            <a:custGeom>
              <a:avLst/>
              <a:gdLst>
                <a:gd name="T0" fmla="*/ 86 w 89"/>
                <a:gd name="T1" fmla="*/ 0 h 58"/>
                <a:gd name="T2" fmla="*/ 85 w 89"/>
                <a:gd name="T3" fmla="*/ 0 h 58"/>
                <a:gd name="T4" fmla="*/ 1 w 89"/>
                <a:gd name="T5" fmla="*/ 55 h 58"/>
                <a:gd name="T6" fmla="*/ 1 w 89"/>
                <a:gd name="T7" fmla="*/ 57 h 58"/>
                <a:gd name="T8" fmla="*/ 2 w 89"/>
                <a:gd name="T9" fmla="*/ 58 h 58"/>
                <a:gd name="T10" fmla="*/ 3 w 89"/>
                <a:gd name="T11" fmla="*/ 58 h 58"/>
                <a:gd name="T12" fmla="*/ 87 w 89"/>
                <a:gd name="T13" fmla="*/ 3 h 58"/>
                <a:gd name="T14" fmla="*/ 88 w 89"/>
                <a:gd name="T15" fmla="*/ 1 h 58"/>
                <a:gd name="T16" fmla="*/ 86 w 89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58">
                  <a:moveTo>
                    <a:pt x="86" y="0"/>
                  </a:moveTo>
                  <a:cubicBezTo>
                    <a:pt x="86" y="0"/>
                    <a:pt x="86" y="0"/>
                    <a:pt x="85" y="0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5"/>
                    <a:pt x="0" y="56"/>
                    <a:pt x="1" y="57"/>
                  </a:cubicBezTo>
                  <a:cubicBezTo>
                    <a:pt x="1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8" y="3"/>
                    <a:pt x="89" y="2"/>
                    <a:pt x="88" y="1"/>
                  </a:cubicBezTo>
                  <a:cubicBezTo>
                    <a:pt x="88" y="0"/>
                    <a:pt x="87" y="0"/>
                    <a:pt x="86" y="0"/>
                  </a:cubicBezTo>
                </a:path>
              </a:pathLst>
            </a:custGeom>
            <a:solidFill>
              <a:srgbClr val="62C8FB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8" name="ïṩľïḓe">
              <a:extLst>
                <a:ext uri="{FF2B5EF4-FFF2-40B4-BE49-F238E27FC236}">
                  <a16:creationId xmlns:a16="http://schemas.microsoft.com/office/drawing/2014/main" id="{93C81A98-6510-4801-ABBE-F32B75D13FCC}"/>
                </a:ext>
              </a:extLst>
            </p:cNvPr>
            <p:cNvSpPr/>
            <p:nvPr/>
          </p:nvSpPr>
          <p:spPr bwMode="auto">
            <a:xfrm>
              <a:off x="4140201" y="4460875"/>
              <a:ext cx="206375" cy="134938"/>
            </a:xfrm>
            <a:custGeom>
              <a:avLst/>
              <a:gdLst>
                <a:gd name="T0" fmla="*/ 86 w 89"/>
                <a:gd name="T1" fmla="*/ 0 h 58"/>
                <a:gd name="T2" fmla="*/ 85 w 89"/>
                <a:gd name="T3" fmla="*/ 0 h 58"/>
                <a:gd name="T4" fmla="*/ 1 w 89"/>
                <a:gd name="T5" fmla="*/ 54 h 58"/>
                <a:gd name="T6" fmla="*/ 1 w 89"/>
                <a:gd name="T7" fmla="*/ 57 h 58"/>
                <a:gd name="T8" fmla="*/ 2 w 89"/>
                <a:gd name="T9" fmla="*/ 58 h 58"/>
                <a:gd name="T10" fmla="*/ 3 w 89"/>
                <a:gd name="T11" fmla="*/ 58 h 58"/>
                <a:gd name="T12" fmla="*/ 87 w 89"/>
                <a:gd name="T13" fmla="*/ 3 h 58"/>
                <a:gd name="T14" fmla="*/ 88 w 89"/>
                <a:gd name="T15" fmla="*/ 1 h 58"/>
                <a:gd name="T16" fmla="*/ 86 w 89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58">
                  <a:moveTo>
                    <a:pt x="86" y="0"/>
                  </a:moveTo>
                  <a:cubicBezTo>
                    <a:pt x="86" y="0"/>
                    <a:pt x="86" y="0"/>
                    <a:pt x="85" y="0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0" y="55"/>
                    <a:pt x="0" y="56"/>
                    <a:pt x="1" y="57"/>
                  </a:cubicBezTo>
                  <a:cubicBezTo>
                    <a:pt x="1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8" y="3"/>
                    <a:pt x="89" y="2"/>
                    <a:pt x="88" y="1"/>
                  </a:cubicBezTo>
                  <a:cubicBezTo>
                    <a:pt x="88" y="0"/>
                    <a:pt x="87" y="0"/>
                    <a:pt x="86" y="0"/>
                  </a:cubicBezTo>
                </a:path>
              </a:pathLst>
            </a:custGeom>
            <a:solidFill>
              <a:srgbClr val="62C8FB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51215570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7D249E1-E82F-41A0-8C90-E7409AA9B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过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D5BD7E3-D958-4C63-BF47-08F99BD1C8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8DF01CA-6457-476D-ADE9-E558356FD827}"/>
              </a:ext>
            </a:extLst>
          </p:cNvPr>
          <p:cNvGrpSpPr>
            <a:grpSpLocks noChangeAspect="1"/>
          </p:cNvGrpSpPr>
          <p:nvPr/>
        </p:nvGrpSpPr>
        <p:grpSpPr>
          <a:xfrm>
            <a:off x="1716740" y="1230455"/>
            <a:ext cx="8693353" cy="4748451"/>
            <a:chOff x="1716740" y="1230454"/>
            <a:chExt cx="8693356" cy="4748453"/>
          </a:xfrm>
        </p:grpSpPr>
        <p:sp>
          <p:nvSpPr>
            <p:cNvPr id="6" name="í$ľîḓe">
              <a:extLst>
                <a:ext uri="{FF2B5EF4-FFF2-40B4-BE49-F238E27FC236}">
                  <a16:creationId xmlns:a16="http://schemas.microsoft.com/office/drawing/2014/main" id="{9F95DFAE-355F-490C-A054-E72EC9BA7A59}"/>
                </a:ext>
              </a:extLst>
            </p:cNvPr>
            <p:cNvSpPr txBox="1"/>
            <p:nvPr/>
          </p:nvSpPr>
          <p:spPr>
            <a:xfrm>
              <a:off x="1716740" y="1230454"/>
              <a:ext cx="2216526" cy="48474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1050" b="1" dirty="0"/>
                <a:t>初步选定 </a:t>
              </a:r>
              <a:r>
                <a:rPr lang="en-US" altLang="zh-CN" sz="1050" b="1" dirty="0"/>
                <a:t>QML </a:t>
              </a:r>
              <a:r>
                <a:rPr lang="zh-CN" altLang="en-US" sz="1050" b="1" dirty="0"/>
                <a:t>构建界面原型</a:t>
              </a:r>
              <a:endParaRPr lang="en-US" altLang="zh-CN" sz="1050" b="1" dirty="0"/>
            </a:p>
          </p:txBody>
        </p:sp>
        <p:sp>
          <p:nvSpPr>
            <p:cNvPr id="7" name="íṥlíḑe">
              <a:extLst>
                <a:ext uri="{FF2B5EF4-FFF2-40B4-BE49-F238E27FC236}">
                  <a16:creationId xmlns:a16="http://schemas.microsoft.com/office/drawing/2014/main" id="{2DCF21A2-263D-4C29-BD66-20D9FC4F0546}"/>
                </a:ext>
              </a:extLst>
            </p:cNvPr>
            <p:cNvSpPr txBox="1"/>
            <p:nvPr/>
          </p:nvSpPr>
          <p:spPr>
            <a:xfrm>
              <a:off x="4824011" y="1243902"/>
              <a:ext cx="2376894" cy="48474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1050" b="1" dirty="0"/>
                <a:t>选定 </a:t>
              </a:r>
              <a:r>
                <a:rPr lang="en-US" altLang="zh-CN" sz="1050" b="1" dirty="0"/>
                <a:t>Iris + React </a:t>
              </a:r>
              <a:r>
                <a:rPr lang="zh-CN" altLang="en-US" sz="1050" b="1" dirty="0"/>
                <a:t>框架搭建 </a:t>
              </a:r>
              <a:r>
                <a:rPr lang="en-US" altLang="zh-CN" sz="1050" b="1" dirty="0"/>
                <a:t>B/S </a:t>
              </a:r>
              <a:r>
                <a:rPr lang="zh-CN" altLang="en-US" sz="1050" b="1" dirty="0"/>
                <a:t>架构</a:t>
              </a:r>
              <a:endParaRPr lang="en-US" altLang="zh-CN" sz="1050" b="1" dirty="0"/>
            </a:p>
          </p:txBody>
        </p:sp>
        <p:sp>
          <p:nvSpPr>
            <p:cNvPr id="8" name="ísľiḓè">
              <a:extLst>
                <a:ext uri="{FF2B5EF4-FFF2-40B4-BE49-F238E27FC236}">
                  <a16:creationId xmlns:a16="http://schemas.microsoft.com/office/drawing/2014/main" id="{D6D7A622-6621-4FFB-B489-E84FEB513F90}"/>
                </a:ext>
              </a:extLst>
            </p:cNvPr>
            <p:cNvSpPr txBox="1"/>
            <p:nvPr/>
          </p:nvSpPr>
          <p:spPr>
            <a:xfrm>
              <a:off x="8161237" y="1230454"/>
              <a:ext cx="2061938" cy="48474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1050" b="1" dirty="0"/>
                <a:t>完善功能、文档</a:t>
              </a:r>
              <a:endParaRPr lang="en-US" altLang="zh-CN" sz="1050" b="1" dirty="0"/>
            </a:p>
          </p:txBody>
        </p:sp>
        <p:sp>
          <p:nvSpPr>
            <p:cNvPr id="9" name="i$ľiḓé">
              <a:extLst>
                <a:ext uri="{FF2B5EF4-FFF2-40B4-BE49-F238E27FC236}">
                  <a16:creationId xmlns:a16="http://schemas.microsoft.com/office/drawing/2014/main" id="{B3A20BEB-0475-4C2C-926C-BDEA068290DD}"/>
                </a:ext>
              </a:extLst>
            </p:cNvPr>
            <p:cNvSpPr txBox="1"/>
            <p:nvPr/>
          </p:nvSpPr>
          <p:spPr>
            <a:xfrm>
              <a:off x="3083355" y="5465948"/>
              <a:ext cx="2644614" cy="48474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050" b="1" dirty="0"/>
                <a:t>QML </a:t>
              </a:r>
              <a:r>
                <a:rPr lang="zh-CN" altLang="en-US" sz="1050" b="1" dirty="0"/>
                <a:t>缺少组件库，难以绘制美观的图案</a:t>
              </a:r>
              <a:endParaRPr lang="en-US" altLang="zh-CN" sz="1050" b="1" dirty="0"/>
            </a:p>
            <a:p>
              <a:pPr algn="ctr">
                <a:lnSpc>
                  <a:spcPct val="120000"/>
                </a:lnSpc>
              </a:pPr>
              <a:r>
                <a:rPr lang="zh-CN" altLang="en-US" sz="1050" b="1" dirty="0"/>
                <a:t>改用 </a:t>
              </a:r>
              <a:r>
                <a:rPr lang="en-US" altLang="zh-CN" sz="1050" b="1" dirty="0"/>
                <a:t>Web </a:t>
              </a:r>
              <a:r>
                <a:rPr lang="zh-CN" altLang="en-US" sz="1050" b="1" dirty="0"/>
                <a:t>框架，构建云 </a:t>
              </a:r>
              <a:r>
                <a:rPr lang="en-US" altLang="zh-CN" sz="1050" b="1" dirty="0"/>
                <a:t>IDE</a:t>
              </a:r>
            </a:p>
          </p:txBody>
        </p:sp>
        <p:sp>
          <p:nvSpPr>
            <p:cNvPr id="10" name="ïşľïḑé">
              <a:extLst>
                <a:ext uri="{FF2B5EF4-FFF2-40B4-BE49-F238E27FC236}">
                  <a16:creationId xmlns:a16="http://schemas.microsoft.com/office/drawing/2014/main" id="{0B24FA28-573D-4F64-B8FF-C58909C2BCE2}"/>
                </a:ext>
              </a:extLst>
            </p:cNvPr>
            <p:cNvSpPr txBox="1"/>
            <p:nvPr/>
          </p:nvSpPr>
          <p:spPr>
            <a:xfrm>
              <a:off x="6553936" y="5494159"/>
              <a:ext cx="2061938" cy="48474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1050" b="1" dirty="0"/>
                <a:t>前后端对接</a:t>
              </a:r>
              <a:endParaRPr lang="en-US" altLang="zh-CN" sz="1050" b="1" dirty="0"/>
            </a:p>
            <a:p>
              <a:pPr algn="ctr">
                <a:lnSpc>
                  <a:spcPct val="120000"/>
                </a:lnSpc>
              </a:pPr>
              <a:r>
                <a:rPr lang="zh-CN" altLang="en-US" sz="1050" b="1" dirty="0"/>
                <a:t>系统测试发现许多</a:t>
              </a:r>
              <a:r>
                <a:rPr lang="en-US" altLang="zh-CN" sz="1050" b="1" dirty="0"/>
                <a:t>Bug</a:t>
              </a:r>
            </a:p>
          </p:txBody>
        </p:sp>
        <p:grpSp>
          <p:nvGrpSpPr>
            <p:cNvPr id="11" name="ïSḻíḑê">
              <a:extLst>
                <a:ext uri="{FF2B5EF4-FFF2-40B4-BE49-F238E27FC236}">
                  <a16:creationId xmlns:a16="http://schemas.microsoft.com/office/drawing/2014/main" id="{52AE346A-279C-4759-A3AD-E89A25BFF57C}"/>
                </a:ext>
              </a:extLst>
            </p:cNvPr>
            <p:cNvGrpSpPr/>
            <p:nvPr/>
          </p:nvGrpSpPr>
          <p:grpSpPr>
            <a:xfrm>
              <a:off x="1781909" y="1807673"/>
              <a:ext cx="8628187" cy="3658573"/>
              <a:chOff x="1196349" y="1558666"/>
              <a:chExt cx="9799303" cy="4155152"/>
            </a:xfrm>
          </p:grpSpPr>
          <p:sp>
            <p:nvSpPr>
              <p:cNvPr id="12" name="íṩļîďe">
                <a:extLst>
                  <a:ext uri="{FF2B5EF4-FFF2-40B4-BE49-F238E27FC236}">
                    <a16:creationId xmlns:a16="http://schemas.microsoft.com/office/drawing/2014/main" id="{6B8BF730-63F8-4149-A0DF-8ACB3F608AA9}"/>
                  </a:ext>
                </a:extLst>
              </p:cNvPr>
              <p:cNvSpPr/>
              <p:nvPr/>
            </p:nvSpPr>
            <p:spPr>
              <a:xfrm>
                <a:off x="8455366" y="1570630"/>
                <a:ext cx="2540286" cy="2344857"/>
              </a:xfrm>
              <a:prstGeom prst="uturnArrow">
                <a:avLst>
                  <a:gd name="adj1" fmla="val 20076"/>
                  <a:gd name="adj2" fmla="val 19764"/>
                  <a:gd name="adj3" fmla="val 23347"/>
                  <a:gd name="adj4" fmla="val 49304"/>
                  <a:gd name="adj5" fmla="val 99251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3" name="ïṥľiḍè">
                <a:extLst>
                  <a:ext uri="{FF2B5EF4-FFF2-40B4-BE49-F238E27FC236}">
                    <a16:creationId xmlns:a16="http://schemas.microsoft.com/office/drawing/2014/main" id="{E283CE1B-FAF2-4476-AF73-70A689763984}"/>
                  </a:ext>
                </a:extLst>
              </p:cNvPr>
              <p:cNvSpPr/>
              <p:nvPr/>
            </p:nvSpPr>
            <p:spPr>
              <a:xfrm rot="10800000" flipH="1">
                <a:off x="6631118" y="3368961"/>
                <a:ext cx="2540286" cy="2344857"/>
              </a:xfrm>
              <a:prstGeom prst="uturnArrow">
                <a:avLst>
                  <a:gd name="adj1" fmla="val 20076"/>
                  <a:gd name="adj2" fmla="val 19764"/>
                  <a:gd name="adj3" fmla="val 23347"/>
                  <a:gd name="adj4" fmla="val 49304"/>
                  <a:gd name="adj5" fmla="val 99251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4" name="îśḻíḍe">
                <a:extLst>
                  <a:ext uri="{FF2B5EF4-FFF2-40B4-BE49-F238E27FC236}">
                    <a16:creationId xmlns:a16="http://schemas.microsoft.com/office/drawing/2014/main" id="{42CFEC41-4572-4C4F-86E3-80C4A864EB5C}"/>
                  </a:ext>
                </a:extLst>
              </p:cNvPr>
              <p:cNvSpPr/>
              <p:nvPr/>
            </p:nvSpPr>
            <p:spPr>
              <a:xfrm>
                <a:off x="4815390" y="1570630"/>
                <a:ext cx="2540286" cy="2344857"/>
              </a:xfrm>
              <a:prstGeom prst="uturnArrow">
                <a:avLst>
                  <a:gd name="adj1" fmla="val 20076"/>
                  <a:gd name="adj2" fmla="val 19764"/>
                  <a:gd name="adj3" fmla="val 23347"/>
                  <a:gd name="adj4" fmla="val 49304"/>
                  <a:gd name="adj5" fmla="val 99251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5" name="îşḷiḑê">
                <a:extLst>
                  <a:ext uri="{FF2B5EF4-FFF2-40B4-BE49-F238E27FC236}">
                    <a16:creationId xmlns:a16="http://schemas.microsoft.com/office/drawing/2014/main" id="{C797B238-1EDB-4DA4-805D-3D62076D8383}"/>
                  </a:ext>
                </a:extLst>
              </p:cNvPr>
              <p:cNvSpPr/>
              <p:nvPr/>
            </p:nvSpPr>
            <p:spPr>
              <a:xfrm rot="10800000" flipH="1">
                <a:off x="2994459" y="3368961"/>
                <a:ext cx="2540286" cy="2344857"/>
              </a:xfrm>
              <a:prstGeom prst="uturnArrow">
                <a:avLst>
                  <a:gd name="adj1" fmla="val 20076"/>
                  <a:gd name="adj2" fmla="val 19764"/>
                  <a:gd name="adj3" fmla="val 23347"/>
                  <a:gd name="adj4" fmla="val 49304"/>
                  <a:gd name="adj5" fmla="val 99251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6" name="îśļïḓé">
                <a:extLst>
                  <a:ext uri="{FF2B5EF4-FFF2-40B4-BE49-F238E27FC236}">
                    <a16:creationId xmlns:a16="http://schemas.microsoft.com/office/drawing/2014/main" id="{97109710-9D0E-49F1-8FE2-96952A7DCCD8}"/>
                  </a:ext>
                </a:extLst>
              </p:cNvPr>
              <p:cNvSpPr/>
              <p:nvPr/>
            </p:nvSpPr>
            <p:spPr>
              <a:xfrm>
                <a:off x="1196349" y="1570630"/>
                <a:ext cx="2540286" cy="2344857"/>
              </a:xfrm>
              <a:prstGeom prst="uturnArrow">
                <a:avLst>
                  <a:gd name="adj1" fmla="val 20076"/>
                  <a:gd name="adj2" fmla="val 19764"/>
                  <a:gd name="adj3" fmla="val 23347"/>
                  <a:gd name="adj4" fmla="val 49304"/>
                  <a:gd name="adj5" fmla="val 99251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7" name="îṩ1ïde">
                <a:extLst>
                  <a:ext uri="{FF2B5EF4-FFF2-40B4-BE49-F238E27FC236}">
                    <a16:creationId xmlns:a16="http://schemas.microsoft.com/office/drawing/2014/main" id="{5602856B-C2C5-4827-8CBC-20BCE3729E1F}"/>
                  </a:ext>
                </a:extLst>
              </p:cNvPr>
              <p:cNvSpPr txBox="1"/>
              <p:nvPr/>
            </p:nvSpPr>
            <p:spPr>
              <a:xfrm>
                <a:off x="1789436" y="1582836"/>
                <a:ext cx="1140118" cy="550544"/>
              </a:xfrm>
              <a:prstGeom prst="rect">
                <a:avLst/>
              </a:prstGeom>
              <a:noFill/>
              <a:effectLst/>
            </p:spPr>
            <p:txBody>
              <a:bodyPr wrap="square" lIns="91440" tIns="45720" rIns="91440" bIns="45720" anchor="ctr">
                <a:normAutofit fontScale="77500" lnSpcReduction="20000"/>
              </a:bodyPr>
              <a:lstStyle/>
              <a:p>
                <a:pPr algn="ctr" defTabSz="685800">
                  <a:spcBef>
                    <a:spcPct val="0"/>
                  </a:spcBef>
                  <a:defRPr/>
                </a:pPr>
                <a:r>
                  <a:rPr lang="zh-CN" altLang="en-US" sz="2100" dirty="0">
                    <a:solidFill>
                      <a:srgbClr val="FFFFFF"/>
                    </a:solidFill>
                  </a:rPr>
                  <a:t>界面原型</a:t>
                </a:r>
                <a:endParaRPr lang="en-US" sz="2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îṧlíḍè">
                <a:extLst>
                  <a:ext uri="{FF2B5EF4-FFF2-40B4-BE49-F238E27FC236}">
                    <a16:creationId xmlns:a16="http://schemas.microsoft.com/office/drawing/2014/main" id="{34C9710C-5C7E-4467-82C5-D37459C3D731}"/>
                  </a:ext>
                </a:extLst>
              </p:cNvPr>
              <p:cNvSpPr txBox="1"/>
              <p:nvPr/>
            </p:nvSpPr>
            <p:spPr>
              <a:xfrm>
                <a:off x="3425903" y="5143431"/>
                <a:ext cx="1427671" cy="550544"/>
              </a:xfrm>
              <a:prstGeom prst="rect">
                <a:avLst/>
              </a:prstGeom>
              <a:noFill/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685800">
                  <a:spcBef>
                    <a:spcPct val="0"/>
                  </a:spcBef>
                  <a:defRPr/>
                </a:pPr>
                <a:r>
                  <a:rPr lang="zh-CN" altLang="en-US" sz="1400" dirty="0">
                    <a:solidFill>
                      <a:srgbClr val="FFFFFF"/>
                    </a:solidFill>
                  </a:rPr>
                  <a:t>更改技术栈</a:t>
                </a: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ïşḷiḍè">
                <a:extLst>
                  <a:ext uri="{FF2B5EF4-FFF2-40B4-BE49-F238E27FC236}">
                    <a16:creationId xmlns:a16="http://schemas.microsoft.com/office/drawing/2014/main" id="{ABA26BD9-3B2F-45F5-A9DD-A60378F82233}"/>
                  </a:ext>
                </a:extLst>
              </p:cNvPr>
              <p:cNvSpPr txBox="1"/>
              <p:nvPr/>
            </p:nvSpPr>
            <p:spPr>
              <a:xfrm>
                <a:off x="5388551" y="1558666"/>
                <a:ext cx="1206894" cy="550544"/>
              </a:xfrm>
              <a:prstGeom prst="rect">
                <a:avLst/>
              </a:prstGeom>
              <a:noFill/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685800">
                  <a:spcBef>
                    <a:spcPct val="0"/>
                  </a:spcBef>
                  <a:defRPr/>
                </a:pPr>
                <a:r>
                  <a:rPr lang="zh-CN" altLang="en-US" sz="1600" dirty="0">
                    <a:solidFill>
                      <a:srgbClr val="FFFFFF"/>
                    </a:solidFill>
                  </a:rPr>
                  <a:t>技术原型</a:t>
                </a: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îṣľíḋé">
                <a:extLst>
                  <a:ext uri="{FF2B5EF4-FFF2-40B4-BE49-F238E27FC236}">
                    <a16:creationId xmlns:a16="http://schemas.microsoft.com/office/drawing/2014/main" id="{06BC592A-9405-4483-8BAD-94A550CB0C7A}"/>
                  </a:ext>
                </a:extLst>
              </p:cNvPr>
              <p:cNvSpPr txBox="1"/>
              <p:nvPr/>
            </p:nvSpPr>
            <p:spPr>
              <a:xfrm>
                <a:off x="7448365" y="5161960"/>
                <a:ext cx="677256" cy="550544"/>
              </a:xfrm>
              <a:prstGeom prst="rect">
                <a:avLst/>
              </a:prstGeom>
              <a:noFill/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685800">
                  <a:spcBef>
                    <a:spcPct val="0"/>
                  </a:spcBef>
                  <a:defRPr/>
                </a:pPr>
                <a:r>
                  <a:rPr lang="zh-CN" altLang="en-US" sz="1500" dirty="0">
                    <a:solidFill>
                      <a:srgbClr val="FFFFFF"/>
                    </a:solidFill>
                  </a:rPr>
                  <a:t>返工</a:t>
                </a:r>
                <a:endParaRPr lang="en-US" sz="2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ïsḻîďé">
                <a:extLst>
                  <a:ext uri="{FF2B5EF4-FFF2-40B4-BE49-F238E27FC236}">
                    <a16:creationId xmlns:a16="http://schemas.microsoft.com/office/drawing/2014/main" id="{2168808C-A6BE-48FF-8CB7-305668E29460}"/>
                  </a:ext>
                </a:extLst>
              </p:cNvPr>
              <p:cNvSpPr txBox="1"/>
              <p:nvPr/>
            </p:nvSpPr>
            <p:spPr>
              <a:xfrm>
                <a:off x="9056668" y="1596850"/>
                <a:ext cx="1206893" cy="550543"/>
              </a:xfrm>
              <a:prstGeom prst="rect">
                <a:avLst/>
              </a:prstGeom>
              <a:noFill/>
              <a:effectLst/>
            </p:spPr>
            <p:txBody>
              <a:bodyPr wrap="square" lIns="91440" tIns="45720" rIns="91440" bIns="45720" anchor="ctr">
                <a:normAutofit fontScale="77500" lnSpcReduction="20000"/>
              </a:bodyPr>
              <a:lstStyle/>
              <a:p>
                <a:pPr algn="ctr" defTabSz="685800">
                  <a:spcBef>
                    <a:spcPct val="0"/>
                  </a:spcBef>
                  <a:defRPr/>
                </a:pPr>
                <a:r>
                  <a:rPr lang="zh-CN" altLang="en-US" sz="2100" dirty="0">
                    <a:solidFill>
                      <a:srgbClr val="FFFFFF"/>
                    </a:solidFill>
                  </a:rPr>
                  <a:t>最终验收</a:t>
                </a:r>
                <a:endParaRPr lang="en-US" sz="21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22" name="îśľíďe">
                <a:extLst>
                  <a:ext uri="{FF2B5EF4-FFF2-40B4-BE49-F238E27FC236}">
                    <a16:creationId xmlns:a16="http://schemas.microsoft.com/office/drawing/2014/main" id="{AA02D458-C15B-47D3-BF1D-1E8F074A956F}"/>
                  </a:ext>
                </a:extLst>
              </p:cNvPr>
              <p:cNvGrpSpPr/>
              <p:nvPr/>
            </p:nvGrpSpPr>
            <p:grpSpPr>
              <a:xfrm>
                <a:off x="5363838" y="2151137"/>
                <a:ext cx="1206895" cy="1206894"/>
                <a:chOff x="5435627" y="2453216"/>
                <a:chExt cx="1088558" cy="1088557"/>
              </a:xfrm>
              <a:effectLst/>
            </p:grpSpPr>
            <p:sp>
              <p:nvSpPr>
                <p:cNvPr id="35" name="îSḷîḑe">
                  <a:extLst>
                    <a:ext uri="{FF2B5EF4-FFF2-40B4-BE49-F238E27FC236}">
                      <a16:creationId xmlns:a16="http://schemas.microsoft.com/office/drawing/2014/main" id="{5091457B-4F0F-442A-B6C1-D67440FA2FA1}"/>
                    </a:ext>
                  </a:extLst>
                </p:cNvPr>
                <p:cNvSpPr/>
                <p:nvPr/>
              </p:nvSpPr>
              <p:spPr>
                <a:xfrm>
                  <a:off x="5435627" y="2453216"/>
                  <a:ext cx="1088558" cy="1088557"/>
                </a:xfrm>
                <a:custGeom>
                  <a:avLst/>
                  <a:gdLst>
                    <a:gd name="connsiteX0" fmla="*/ 0 w 905504"/>
                    <a:gd name="connsiteY0" fmla="*/ 452752 h 905504"/>
                    <a:gd name="connsiteX1" fmla="*/ 132608 w 905504"/>
                    <a:gd name="connsiteY1" fmla="*/ 132608 h 905504"/>
                    <a:gd name="connsiteX2" fmla="*/ 452752 w 905504"/>
                    <a:gd name="connsiteY2" fmla="*/ 0 h 905504"/>
                    <a:gd name="connsiteX3" fmla="*/ 772896 w 905504"/>
                    <a:gd name="connsiteY3" fmla="*/ 132608 h 905504"/>
                    <a:gd name="connsiteX4" fmla="*/ 905504 w 905504"/>
                    <a:gd name="connsiteY4" fmla="*/ 452752 h 905504"/>
                    <a:gd name="connsiteX5" fmla="*/ 772896 w 905504"/>
                    <a:gd name="connsiteY5" fmla="*/ 772896 h 905504"/>
                    <a:gd name="connsiteX6" fmla="*/ 452752 w 905504"/>
                    <a:gd name="connsiteY6" fmla="*/ 905504 h 905504"/>
                    <a:gd name="connsiteX7" fmla="*/ 132608 w 905504"/>
                    <a:gd name="connsiteY7" fmla="*/ 772896 h 905504"/>
                    <a:gd name="connsiteX8" fmla="*/ 0 w 905504"/>
                    <a:gd name="connsiteY8" fmla="*/ 452752 h 905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5504" h="905504">
                      <a:moveTo>
                        <a:pt x="0" y="452752"/>
                      </a:moveTo>
                      <a:cubicBezTo>
                        <a:pt x="0" y="332675"/>
                        <a:pt x="47701" y="217515"/>
                        <a:pt x="132608" y="132608"/>
                      </a:cubicBezTo>
                      <a:cubicBezTo>
                        <a:pt x="217516" y="47701"/>
                        <a:pt x="332675" y="0"/>
                        <a:pt x="452752" y="0"/>
                      </a:cubicBezTo>
                      <a:cubicBezTo>
                        <a:pt x="572829" y="0"/>
                        <a:pt x="687989" y="47701"/>
                        <a:pt x="772896" y="132608"/>
                      </a:cubicBezTo>
                      <a:cubicBezTo>
                        <a:pt x="857803" y="217516"/>
                        <a:pt x="905504" y="332675"/>
                        <a:pt x="905504" y="452752"/>
                      </a:cubicBezTo>
                      <a:cubicBezTo>
                        <a:pt x="905504" y="572829"/>
                        <a:pt x="857803" y="687989"/>
                        <a:pt x="772896" y="772896"/>
                      </a:cubicBezTo>
                      <a:cubicBezTo>
                        <a:pt x="687988" y="857803"/>
                        <a:pt x="572829" y="905504"/>
                        <a:pt x="452752" y="905504"/>
                      </a:cubicBezTo>
                      <a:cubicBezTo>
                        <a:pt x="332675" y="905504"/>
                        <a:pt x="217515" y="857803"/>
                        <a:pt x="132608" y="772896"/>
                      </a:cubicBezTo>
                      <a:cubicBezTo>
                        <a:pt x="47701" y="687988"/>
                        <a:pt x="0" y="572829"/>
                        <a:pt x="0" y="45275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9050">
                  <a:noFill/>
                  <a:prstDash val="sysDot"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6" name="íşlïḓé">
                  <a:extLst>
                    <a:ext uri="{FF2B5EF4-FFF2-40B4-BE49-F238E27FC236}">
                      <a16:creationId xmlns:a16="http://schemas.microsoft.com/office/drawing/2014/main" id="{016B8BF5-3395-4BB6-B9C3-CF5C00218BBD}"/>
                    </a:ext>
                  </a:extLst>
                </p:cNvPr>
                <p:cNvSpPr/>
                <p:nvPr/>
              </p:nvSpPr>
              <p:spPr bwMode="auto">
                <a:xfrm>
                  <a:off x="5694691" y="2765149"/>
                  <a:ext cx="580129" cy="436933"/>
                </a:xfrm>
                <a:custGeom>
                  <a:avLst/>
                  <a:gdLst/>
                  <a:ahLst/>
                  <a:cxnLst>
                    <a:cxn ang="0">
                      <a:pos x="158" y="119"/>
                    </a:cxn>
                    <a:cxn ang="0">
                      <a:pos x="0" y="119"/>
                    </a:cxn>
                    <a:cxn ang="0">
                      <a:pos x="0" y="0"/>
                    </a:cxn>
                    <a:cxn ang="0">
                      <a:pos x="9" y="0"/>
                    </a:cxn>
                    <a:cxn ang="0">
                      <a:pos x="9" y="108"/>
                    </a:cxn>
                    <a:cxn ang="0">
                      <a:pos x="158" y="108"/>
                    </a:cxn>
                    <a:cxn ang="0">
                      <a:pos x="158" y="119"/>
                    </a:cxn>
                    <a:cxn ang="0">
                      <a:pos x="50" y="99"/>
                    </a:cxn>
                    <a:cxn ang="0">
                      <a:pos x="29" y="99"/>
                    </a:cxn>
                    <a:cxn ang="0">
                      <a:pos x="29" y="60"/>
                    </a:cxn>
                    <a:cxn ang="0">
                      <a:pos x="50" y="60"/>
                    </a:cxn>
                    <a:cxn ang="0">
                      <a:pos x="50" y="99"/>
                    </a:cxn>
                    <a:cxn ang="0">
                      <a:pos x="78" y="99"/>
                    </a:cxn>
                    <a:cxn ang="0">
                      <a:pos x="59" y="99"/>
                    </a:cxn>
                    <a:cxn ang="0">
                      <a:pos x="59" y="19"/>
                    </a:cxn>
                    <a:cxn ang="0">
                      <a:pos x="78" y="19"/>
                    </a:cxn>
                    <a:cxn ang="0">
                      <a:pos x="78" y="99"/>
                    </a:cxn>
                    <a:cxn ang="0">
                      <a:pos x="109" y="99"/>
                    </a:cxn>
                    <a:cxn ang="0">
                      <a:pos x="89" y="99"/>
                    </a:cxn>
                    <a:cxn ang="0">
                      <a:pos x="89" y="39"/>
                    </a:cxn>
                    <a:cxn ang="0">
                      <a:pos x="109" y="39"/>
                    </a:cxn>
                    <a:cxn ang="0">
                      <a:pos x="109" y="99"/>
                    </a:cxn>
                    <a:cxn ang="0">
                      <a:pos x="139" y="99"/>
                    </a:cxn>
                    <a:cxn ang="0">
                      <a:pos x="119" y="99"/>
                    </a:cxn>
                    <a:cxn ang="0">
                      <a:pos x="119" y="11"/>
                    </a:cxn>
                    <a:cxn ang="0">
                      <a:pos x="139" y="11"/>
                    </a:cxn>
                    <a:cxn ang="0">
                      <a:pos x="139" y="99"/>
                    </a:cxn>
                  </a:cxnLst>
                  <a:rect l="0" t="0" r="r" b="b"/>
                  <a:pathLst>
                    <a:path w="158" h="119">
                      <a:moveTo>
                        <a:pt x="158" y="119"/>
                      </a:moveTo>
                      <a:lnTo>
                        <a:pt x="0" y="119"/>
                      </a:lnTo>
                      <a:lnTo>
                        <a:pt x="0" y="0"/>
                      </a:lnTo>
                      <a:lnTo>
                        <a:pt x="9" y="0"/>
                      </a:lnTo>
                      <a:lnTo>
                        <a:pt x="9" y="108"/>
                      </a:lnTo>
                      <a:lnTo>
                        <a:pt x="158" y="108"/>
                      </a:lnTo>
                      <a:lnTo>
                        <a:pt x="158" y="119"/>
                      </a:lnTo>
                      <a:close/>
                      <a:moveTo>
                        <a:pt x="50" y="99"/>
                      </a:moveTo>
                      <a:lnTo>
                        <a:pt x="29" y="99"/>
                      </a:lnTo>
                      <a:lnTo>
                        <a:pt x="29" y="60"/>
                      </a:lnTo>
                      <a:lnTo>
                        <a:pt x="50" y="60"/>
                      </a:lnTo>
                      <a:lnTo>
                        <a:pt x="50" y="99"/>
                      </a:lnTo>
                      <a:close/>
                      <a:moveTo>
                        <a:pt x="78" y="99"/>
                      </a:moveTo>
                      <a:lnTo>
                        <a:pt x="59" y="99"/>
                      </a:lnTo>
                      <a:lnTo>
                        <a:pt x="59" y="19"/>
                      </a:lnTo>
                      <a:lnTo>
                        <a:pt x="78" y="19"/>
                      </a:lnTo>
                      <a:lnTo>
                        <a:pt x="78" y="99"/>
                      </a:lnTo>
                      <a:close/>
                      <a:moveTo>
                        <a:pt x="109" y="99"/>
                      </a:moveTo>
                      <a:lnTo>
                        <a:pt x="89" y="99"/>
                      </a:lnTo>
                      <a:lnTo>
                        <a:pt x="89" y="39"/>
                      </a:lnTo>
                      <a:lnTo>
                        <a:pt x="109" y="39"/>
                      </a:lnTo>
                      <a:lnTo>
                        <a:pt x="109" y="99"/>
                      </a:lnTo>
                      <a:close/>
                      <a:moveTo>
                        <a:pt x="139" y="99"/>
                      </a:moveTo>
                      <a:lnTo>
                        <a:pt x="119" y="99"/>
                      </a:lnTo>
                      <a:lnTo>
                        <a:pt x="119" y="11"/>
                      </a:lnTo>
                      <a:lnTo>
                        <a:pt x="139" y="11"/>
                      </a:lnTo>
                      <a:lnTo>
                        <a:pt x="139" y="9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3" name="iṡ1íďe">
                <a:extLst>
                  <a:ext uri="{FF2B5EF4-FFF2-40B4-BE49-F238E27FC236}">
                    <a16:creationId xmlns:a16="http://schemas.microsoft.com/office/drawing/2014/main" id="{65FB89FF-2A28-42BD-8E20-1F71F5D45D1B}"/>
                  </a:ext>
                </a:extLst>
              </p:cNvPr>
              <p:cNvGrpSpPr/>
              <p:nvPr/>
            </p:nvGrpSpPr>
            <p:grpSpPr>
              <a:xfrm>
                <a:off x="1751254" y="2151137"/>
                <a:ext cx="1206895" cy="1206894"/>
                <a:chOff x="2177259" y="2453216"/>
                <a:chExt cx="1088558" cy="1088557"/>
              </a:xfrm>
              <a:effectLst/>
            </p:grpSpPr>
            <p:sp>
              <p:nvSpPr>
                <p:cNvPr id="33" name="ï$ļíḋé">
                  <a:extLst>
                    <a:ext uri="{FF2B5EF4-FFF2-40B4-BE49-F238E27FC236}">
                      <a16:creationId xmlns:a16="http://schemas.microsoft.com/office/drawing/2014/main" id="{4A96A29A-1AB2-4C00-B4AE-99B745A56F2B}"/>
                    </a:ext>
                  </a:extLst>
                </p:cNvPr>
                <p:cNvSpPr/>
                <p:nvPr/>
              </p:nvSpPr>
              <p:spPr>
                <a:xfrm>
                  <a:off x="2177259" y="2453216"/>
                  <a:ext cx="1088558" cy="1088557"/>
                </a:xfrm>
                <a:custGeom>
                  <a:avLst/>
                  <a:gdLst>
                    <a:gd name="connsiteX0" fmla="*/ 0 w 905504"/>
                    <a:gd name="connsiteY0" fmla="*/ 452752 h 905504"/>
                    <a:gd name="connsiteX1" fmla="*/ 132608 w 905504"/>
                    <a:gd name="connsiteY1" fmla="*/ 132608 h 905504"/>
                    <a:gd name="connsiteX2" fmla="*/ 452752 w 905504"/>
                    <a:gd name="connsiteY2" fmla="*/ 0 h 905504"/>
                    <a:gd name="connsiteX3" fmla="*/ 772896 w 905504"/>
                    <a:gd name="connsiteY3" fmla="*/ 132608 h 905504"/>
                    <a:gd name="connsiteX4" fmla="*/ 905504 w 905504"/>
                    <a:gd name="connsiteY4" fmla="*/ 452752 h 905504"/>
                    <a:gd name="connsiteX5" fmla="*/ 772896 w 905504"/>
                    <a:gd name="connsiteY5" fmla="*/ 772896 h 905504"/>
                    <a:gd name="connsiteX6" fmla="*/ 452752 w 905504"/>
                    <a:gd name="connsiteY6" fmla="*/ 905504 h 905504"/>
                    <a:gd name="connsiteX7" fmla="*/ 132608 w 905504"/>
                    <a:gd name="connsiteY7" fmla="*/ 772896 h 905504"/>
                    <a:gd name="connsiteX8" fmla="*/ 0 w 905504"/>
                    <a:gd name="connsiteY8" fmla="*/ 452752 h 905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5504" h="905504">
                      <a:moveTo>
                        <a:pt x="0" y="452752"/>
                      </a:moveTo>
                      <a:cubicBezTo>
                        <a:pt x="0" y="332675"/>
                        <a:pt x="47701" y="217515"/>
                        <a:pt x="132608" y="132608"/>
                      </a:cubicBezTo>
                      <a:cubicBezTo>
                        <a:pt x="217516" y="47701"/>
                        <a:pt x="332675" y="0"/>
                        <a:pt x="452752" y="0"/>
                      </a:cubicBezTo>
                      <a:cubicBezTo>
                        <a:pt x="572829" y="0"/>
                        <a:pt x="687989" y="47701"/>
                        <a:pt x="772896" y="132608"/>
                      </a:cubicBezTo>
                      <a:cubicBezTo>
                        <a:pt x="857803" y="217516"/>
                        <a:pt x="905504" y="332675"/>
                        <a:pt x="905504" y="452752"/>
                      </a:cubicBezTo>
                      <a:cubicBezTo>
                        <a:pt x="905504" y="572829"/>
                        <a:pt x="857803" y="687989"/>
                        <a:pt x="772896" y="772896"/>
                      </a:cubicBezTo>
                      <a:cubicBezTo>
                        <a:pt x="687988" y="857803"/>
                        <a:pt x="572829" y="905504"/>
                        <a:pt x="452752" y="905504"/>
                      </a:cubicBezTo>
                      <a:cubicBezTo>
                        <a:pt x="332675" y="905504"/>
                        <a:pt x="217515" y="857803"/>
                        <a:pt x="132608" y="772896"/>
                      </a:cubicBezTo>
                      <a:cubicBezTo>
                        <a:pt x="47701" y="687988"/>
                        <a:pt x="0" y="572829"/>
                        <a:pt x="0" y="45275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9050">
                  <a:noFill/>
                  <a:prstDash val="sysDot"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4" name="iṣḷide">
                  <a:extLst>
                    <a:ext uri="{FF2B5EF4-FFF2-40B4-BE49-F238E27FC236}">
                      <a16:creationId xmlns:a16="http://schemas.microsoft.com/office/drawing/2014/main" id="{92A334FB-CD45-465C-AFD7-D5663501CE8F}"/>
                    </a:ext>
                  </a:extLst>
                </p:cNvPr>
                <p:cNvSpPr/>
                <p:nvPr/>
              </p:nvSpPr>
              <p:spPr bwMode="auto">
                <a:xfrm>
                  <a:off x="2497667" y="2816955"/>
                  <a:ext cx="447741" cy="361081"/>
                </a:xfrm>
                <a:custGeom>
                  <a:avLst/>
                  <a:gdLst/>
                  <a:ahLst/>
                  <a:cxnLst>
                    <a:cxn ang="0">
                      <a:pos x="55" y="27"/>
                    </a:cxn>
                    <a:cxn ang="0">
                      <a:pos x="54" y="27"/>
                    </a:cxn>
                    <a:cxn ang="0">
                      <a:pos x="54" y="27"/>
                    </a:cxn>
                    <a:cxn ang="0">
                      <a:pos x="53" y="27"/>
                    </a:cxn>
                    <a:cxn ang="0">
                      <a:pos x="28" y="6"/>
                    </a:cxn>
                    <a:cxn ang="0">
                      <a:pos x="4" y="27"/>
                    </a:cxn>
                    <a:cxn ang="0">
                      <a:pos x="3" y="27"/>
                    </a:cxn>
                    <a:cxn ang="0">
                      <a:pos x="2" y="27"/>
                    </a:cxn>
                    <a:cxn ang="0">
                      <a:pos x="0" y="24"/>
                    </a:cxn>
                    <a:cxn ang="0">
                      <a:pos x="0" y="23"/>
                    </a:cxn>
                    <a:cxn ang="0">
                      <a:pos x="26" y="1"/>
                    </a:cxn>
                    <a:cxn ang="0">
                      <a:pos x="31" y="1"/>
                    </a:cxn>
                    <a:cxn ang="0">
                      <a:pos x="40" y="8"/>
                    </a:cxn>
                    <a:cxn ang="0">
                      <a:pos x="40" y="1"/>
                    </a:cxn>
                    <a:cxn ang="0">
                      <a:pos x="41" y="0"/>
                    </a:cxn>
                    <a:cxn ang="0">
                      <a:pos x="48" y="0"/>
                    </a:cxn>
                    <a:cxn ang="0">
                      <a:pos x="49" y="1"/>
                    </a:cxn>
                    <a:cxn ang="0">
                      <a:pos x="49" y="16"/>
                    </a:cxn>
                    <a:cxn ang="0">
                      <a:pos x="57" y="23"/>
                    </a:cxn>
                    <a:cxn ang="0">
                      <a:pos x="57" y="24"/>
                    </a:cxn>
                    <a:cxn ang="0">
                      <a:pos x="55" y="27"/>
                    </a:cxn>
                    <a:cxn ang="0">
                      <a:pos x="49" y="44"/>
                    </a:cxn>
                    <a:cxn ang="0">
                      <a:pos x="47" y="46"/>
                    </a:cxn>
                    <a:cxn ang="0">
                      <a:pos x="33" y="46"/>
                    </a:cxn>
                    <a:cxn ang="0">
                      <a:pos x="33" y="32"/>
                    </a:cxn>
                    <a:cxn ang="0">
                      <a:pos x="24" y="32"/>
                    </a:cxn>
                    <a:cxn ang="0">
                      <a:pos x="24" y="46"/>
                    </a:cxn>
                    <a:cxn ang="0">
                      <a:pos x="10" y="46"/>
                    </a:cxn>
                    <a:cxn ang="0">
                      <a:pos x="8" y="44"/>
                    </a:cxn>
                    <a:cxn ang="0">
                      <a:pos x="8" y="27"/>
                    </a:cxn>
                    <a:cxn ang="0">
                      <a:pos x="8" y="26"/>
                    </a:cxn>
                    <a:cxn ang="0">
                      <a:pos x="28" y="9"/>
                    </a:cxn>
                    <a:cxn ang="0">
                      <a:pos x="49" y="26"/>
                    </a:cxn>
                    <a:cxn ang="0">
                      <a:pos x="49" y="27"/>
                    </a:cxn>
                    <a:cxn ang="0">
                      <a:pos x="49" y="44"/>
                    </a:cxn>
                  </a:cxnLst>
                  <a:rect l="0" t="0" r="r" b="b"/>
                  <a:pathLst>
                    <a:path w="57" h="46">
                      <a:moveTo>
                        <a:pt x="55" y="27"/>
                      </a:moveTo>
                      <a:cubicBezTo>
                        <a:pt x="55" y="27"/>
                        <a:pt x="54" y="27"/>
                        <a:pt x="54" y="27"/>
                      </a:cubicBezTo>
                      <a:cubicBezTo>
                        <a:pt x="54" y="27"/>
                        <a:pt x="54" y="27"/>
                        <a:pt x="54" y="27"/>
                      </a:cubicBezTo>
                      <a:cubicBezTo>
                        <a:pt x="54" y="27"/>
                        <a:pt x="53" y="27"/>
                        <a:pt x="53" y="27"/>
                      </a:cubicBezTo>
                      <a:cubicBezTo>
                        <a:pt x="28" y="6"/>
                        <a:pt x="28" y="6"/>
                        <a:pt x="28" y="6"/>
                      </a:cubicBezTo>
                      <a:cubicBezTo>
                        <a:pt x="4" y="27"/>
                        <a:pt x="4" y="27"/>
                        <a:pt x="4" y="27"/>
                      </a:cubicBezTo>
                      <a:cubicBezTo>
                        <a:pt x="4" y="27"/>
                        <a:pt x="3" y="27"/>
                        <a:pt x="3" y="27"/>
                      </a:cubicBezTo>
                      <a:cubicBezTo>
                        <a:pt x="3" y="27"/>
                        <a:pt x="2" y="27"/>
                        <a:pt x="2" y="27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4"/>
                        <a:pt x="0" y="23"/>
                        <a:pt x="0" y="23"/>
                      </a:cubicBezTo>
                      <a:cubicBezTo>
                        <a:pt x="26" y="1"/>
                        <a:pt x="26" y="1"/>
                        <a:pt x="26" y="1"/>
                      </a:cubicBezTo>
                      <a:cubicBezTo>
                        <a:pt x="27" y="0"/>
                        <a:pt x="30" y="0"/>
                        <a:pt x="31" y="1"/>
                      </a:cubicBezTo>
                      <a:cubicBezTo>
                        <a:pt x="40" y="8"/>
                        <a:pt x="40" y="8"/>
                        <a:pt x="40" y="8"/>
                      </a:cubicBezTo>
                      <a:cubicBezTo>
                        <a:pt x="40" y="1"/>
                        <a:pt x="40" y="1"/>
                        <a:pt x="40" y="1"/>
                      </a:cubicBezTo>
                      <a:cubicBezTo>
                        <a:pt x="40" y="1"/>
                        <a:pt x="40" y="0"/>
                        <a:pt x="41" y="0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9" y="0"/>
                        <a:pt x="49" y="1"/>
                        <a:pt x="49" y="1"/>
                      </a:cubicBezTo>
                      <a:cubicBezTo>
                        <a:pt x="49" y="16"/>
                        <a:pt x="49" y="16"/>
                        <a:pt x="49" y="16"/>
                      </a:cubicBezTo>
                      <a:cubicBezTo>
                        <a:pt x="57" y="23"/>
                        <a:pt x="57" y="23"/>
                        <a:pt x="57" y="23"/>
                      </a:cubicBezTo>
                      <a:cubicBezTo>
                        <a:pt x="57" y="23"/>
                        <a:pt x="57" y="24"/>
                        <a:pt x="57" y="24"/>
                      </a:cubicBezTo>
                      <a:lnTo>
                        <a:pt x="55" y="27"/>
                      </a:lnTo>
                      <a:close/>
                      <a:moveTo>
                        <a:pt x="49" y="44"/>
                      </a:moveTo>
                      <a:cubicBezTo>
                        <a:pt x="49" y="45"/>
                        <a:pt x="48" y="46"/>
                        <a:pt x="47" y="46"/>
                      </a:cubicBezTo>
                      <a:cubicBezTo>
                        <a:pt x="33" y="46"/>
                        <a:pt x="33" y="46"/>
                        <a:pt x="33" y="46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4" y="32"/>
                        <a:pt x="24" y="32"/>
                        <a:pt x="24" y="32"/>
                      </a:cubicBezTo>
                      <a:cubicBezTo>
                        <a:pt x="24" y="46"/>
                        <a:pt x="24" y="46"/>
                        <a:pt x="24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8" y="45"/>
                        <a:pt x="8" y="44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8" y="27"/>
                        <a:pt x="8" y="26"/>
                        <a:pt x="8" y="26"/>
                      </a:cubicBezTo>
                      <a:cubicBezTo>
                        <a:pt x="28" y="9"/>
                        <a:pt x="28" y="9"/>
                        <a:pt x="28" y="9"/>
                      </a:cubicBezTo>
                      <a:cubicBezTo>
                        <a:pt x="49" y="26"/>
                        <a:pt x="49" y="26"/>
                        <a:pt x="49" y="26"/>
                      </a:cubicBezTo>
                      <a:cubicBezTo>
                        <a:pt x="49" y="26"/>
                        <a:pt x="49" y="27"/>
                        <a:pt x="49" y="27"/>
                      </a:cubicBezTo>
                      <a:lnTo>
                        <a:pt x="49" y="4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4" name="iṡḻiḍé">
                <a:extLst>
                  <a:ext uri="{FF2B5EF4-FFF2-40B4-BE49-F238E27FC236}">
                    <a16:creationId xmlns:a16="http://schemas.microsoft.com/office/drawing/2014/main" id="{291B1712-5AB8-4498-9696-641E2C97CDB5}"/>
                  </a:ext>
                </a:extLst>
              </p:cNvPr>
              <p:cNvGrpSpPr/>
              <p:nvPr/>
            </p:nvGrpSpPr>
            <p:grpSpPr>
              <a:xfrm>
                <a:off x="3550413" y="3947572"/>
                <a:ext cx="1206895" cy="1206894"/>
                <a:chOff x="3800010" y="4073509"/>
                <a:chExt cx="1088558" cy="1088557"/>
              </a:xfrm>
              <a:effectLst/>
            </p:grpSpPr>
            <p:sp>
              <p:nvSpPr>
                <p:cNvPr id="31" name="iṡlíďê">
                  <a:extLst>
                    <a:ext uri="{FF2B5EF4-FFF2-40B4-BE49-F238E27FC236}">
                      <a16:creationId xmlns:a16="http://schemas.microsoft.com/office/drawing/2014/main" id="{3754A61D-4FF7-4D77-B856-1A5DAF675DFD}"/>
                    </a:ext>
                  </a:extLst>
                </p:cNvPr>
                <p:cNvSpPr/>
                <p:nvPr/>
              </p:nvSpPr>
              <p:spPr>
                <a:xfrm>
                  <a:off x="3800010" y="4073509"/>
                  <a:ext cx="1088558" cy="1088557"/>
                </a:xfrm>
                <a:custGeom>
                  <a:avLst/>
                  <a:gdLst>
                    <a:gd name="connsiteX0" fmla="*/ 0 w 905504"/>
                    <a:gd name="connsiteY0" fmla="*/ 452752 h 905504"/>
                    <a:gd name="connsiteX1" fmla="*/ 132608 w 905504"/>
                    <a:gd name="connsiteY1" fmla="*/ 132608 h 905504"/>
                    <a:gd name="connsiteX2" fmla="*/ 452752 w 905504"/>
                    <a:gd name="connsiteY2" fmla="*/ 0 h 905504"/>
                    <a:gd name="connsiteX3" fmla="*/ 772896 w 905504"/>
                    <a:gd name="connsiteY3" fmla="*/ 132608 h 905504"/>
                    <a:gd name="connsiteX4" fmla="*/ 905504 w 905504"/>
                    <a:gd name="connsiteY4" fmla="*/ 452752 h 905504"/>
                    <a:gd name="connsiteX5" fmla="*/ 772896 w 905504"/>
                    <a:gd name="connsiteY5" fmla="*/ 772896 h 905504"/>
                    <a:gd name="connsiteX6" fmla="*/ 452752 w 905504"/>
                    <a:gd name="connsiteY6" fmla="*/ 905504 h 905504"/>
                    <a:gd name="connsiteX7" fmla="*/ 132608 w 905504"/>
                    <a:gd name="connsiteY7" fmla="*/ 772896 h 905504"/>
                    <a:gd name="connsiteX8" fmla="*/ 0 w 905504"/>
                    <a:gd name="connsiteY8" fmla="*/ 452752 h 905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5504" h="905504">
                      <a:moveTo>
                        <a:pt x="0" y="452752"/>
                      </a:moveTo>
                      <a:cubicBezTo>
                        <a:pt x="0" y="332675"/>
                        <a:pt x="47701" y="217515"/>
                        <a:pt x="132608" y="132608"/>
                      </a:cubicBezTo>
                      <a:cubicBezTo>
                        <a:pt x="217516" y="47701"/>
                        <a:pt x="332675" y="0"/>
                        <a:pt x="452752" y="0"/>
                      </a:cubicBezTo>
                      <a:cubicBezTo>
                        <a:pt x="572829" y="0"/>
                        <a:pt x="687989" y="47701"/>
                        <a:pt x="772896" y="132608"/>
                      </a:cubicBezTo>
                      <a:cubicBezTo>
                        <a:pt x="857803" y="217516"/>
                        <a:pt x="905504" y="332675"/>
                        <a:pt x="905504" y="452752"/>
                      </a:cubicBezTo>
                      <a:cubicBezTo>
                        <a:pt x="905504" y="572829"/>
                        <a:pt x="857803" y="687989"/>
                        <a:pt x="772896" y="772896"/>
                      </a:cubicBezTo>
                      <a:cubicBezTo>
                        <a:pt x="687988" y="857803"/>
                        <a:pt x="572829" y="905504"/>
                        <a:pt x="452752" y="905504"/>
                      </a:cubicBezTo>
                      <a:cubicBezTo>
                        <a:pt x="332675" y="905504"/>
                        <a:pt x="217515" y="857803"/>
                        <a:pt x="132608" y="772896"/>
                      </a:cubicBezTo>
                      <a:cubicBezTo>
                        <a:pt x="47701" y="687988"/>
                        <a:pt x="0" y="572829"/>
                        <a:pt x="0" y="45275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19050">
                  <a:noFill/>
                  <a:prstDash val="sysDot"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2" name="işḻîďè">
                  <a:extLst>
                    <a:ext uri="{FF2B5EF4-FFF2-40B4-BE49-F238E27FC236}">
                      <a16:creationId xmlns:a16="http://schemas.microsoft.com/office/drawing/2014/main" id="{D687051E-F723-4454-9A7B-1C2757A0985B}"/>
                    </a:ext>
                  </a:extLst>
                </p:cNvPr>
                <p:cNvSpPr/>
                <p:nvPr/>
              </p:nvSpPr>
              <p:spPr bwMode="auto">
                <a:xfrm>
                  <a:off x="4120472" y="4411882"/>
                  <a:ext cx="487985" cy="480913"/>
                </a:xfrm>
                <a:custGeom>
                  <a:avLst/>
                  <a:gdLst/>
                  <a:ahLst/>
                  <a:cxnLst>
                    <a:cxn ang="0">
                      <a:pos x="59" y="63"/>
                    </a:cxn>
                    <a:cxn ang="0">
                      <a:pos x="55" y="61"/>
                    </a:cxn>
                    <a:cxn ang="0">
                      <a:pos x="42" y="48"/>
                    </a:cxn>
                    <a:cxn ang="0">
                      <a:pos x="27" y="53"/>
                    </a:cxn>
                    <a:cxn ang="0">
                      <a:pos x="0" y="26"/>
                    </a:cxn>
                    <a:cxn ang="0">
                      <a:pos x="27" y="0"/>
                    </a:cxn>
                    <a:cxn ang="0">
                      <a:pos x="54" y="26"/>
                    </a:cxn>
                    <a:cxn ang="0">
                      <a:pos x="49" y="41"/>
                    </a:cxn>
                    <a:cxn ang="0">
                      <a:pos x="62" y="54"/>
                    </a:cxn>
                    <a:cxn ang="0">
                      <a:pos x="64" y="58"/>
                    </a:cxn>
                    <a:cxn ang="0">
                      <a:pos x="59" y="63"/>
                    </a:cxn>
                    <a:cxn ang="0">
                      <a:pos x="27" y="9"/>
                    </a:cxn>
                    <a:cxn ang="0">
                      <a:pos x="10" y="26"/>
                    </a:cxn>
                    <a:cxn ang="0">
                      <a:pos x="27" y="43"/>
                    </a:cxn>
                    <a:cxn ang="0">
                      <a:pos x="44" y="26"/>
                    </a:cxn>
                    <a:cxn ang="0">
                      <a:pos x="27" y="9"/>
                    </a:cxn>
                  </a:cxnLst>
                  <a:rect l="0" t="0" r="r" b="b"/>
                  <a:pathLst>
                    <a:path w="64" h="63">
                      <a:moveTo>
                        <a:pt x="59" y="63"/>
                      </a:moveTo>
                      <a:cubicBezTo>
                        <a:pt x="57" y="63"/>
                        <a:pt x="56" y="62"/>
                        <a:pt x="55" y="61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38" y="51"/>
                        <a:pt x="33" y="53"/>
                        <a:pt x="27" y="53"/>
                      </a:cubicBezTo>
                      <a:cubicBezTo>
                        <a:pt x="12" y="53"/>
                        <a:pt x="0" y="41"/>
                        <a:pt x="0" y="26"/>
                      </a:cubicBezTo>
                      <a:cubicBezTo>
                        <a:pt x="0" y="12"/>
                        <a:pt x="12" y="0"/>
                        <a:pt x="27" y="0"/>
                      </a:cubicBezTo>
                      <a:cubicBezTo>
                        <a:pt x="42" y="0"/>
                        <a:pt x="54" y="12"/>
                        <a:pt x="54" y="26"/>
                      </a:cubicBezTo>
                      <a:cubicBezTo>
                        <a:pt x="54" y="32"/>
                        <a:pt x="52" y="37"/>
                        <a:pt x="49" y="41"/>
                      </a:cubicBezTo>
                      <a:cubicBezTo>
                        <a:pt x="62" y="54"/>
                        <a:pt x="62" y="54"/>
                        <a:pt x="62" y="54"/>
                      </a:cubicBezTo>
                      <a:cubicBezTo>
                        <a:pt x="63" y="55"/>
                        <a:pt x="64" y="57"/>
                        <a:pt x="64" y="58"/>
                      </a:cubicBezTo>
                      <a:cubicBezTo>
                        <a:pt x="64" y="61"/>
                        <a:pt x="61" y="63"/>
                        <a:pt x="59" y="63"/>
                      </a:cubicBezTo>
                      <a:close/>
                      <a:moveTo>
                        <a:pt x="27" y="9"/>
                      </a:moveTo>
                      <a:cubicBezTo>
                        <a:pt x="18" y="9"/>
                        <a:pt x="10" y="17"/>
                        <a:pt x="10" y="26"/>
                      </a:cubicBezTo>
                      <a:cubicBezTo>
                        <a:pt x="10" y="36"/>
                        <a:pt x="18" y="43"/>
                        <a:pt x="27" y="43"/>
                      </a:cubicBezTo>
                      <a:cubicBezTo>
                        <a:pt x="37" y="43"/>
                        <a:pt x="44" y="36"/>
                        <a:pt x="44" y="26"/>
                      </a:cubicBezTo>
                      <a:cubicBezTo>
                        <a:pt x="44" y="17"/>
                        <a:pt x="37" y="9"/>
                        <a:pt x="27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5" name="işľîḓè">
                <a:extLst>
                  <a:ext uri="{FF2B5EF4-FFF2-40B4-BE49-F238E27FC236}">
                    <a16:creationId xmlns:a16="http://schemas.microsoft.com/office/drawing/2014/main" id="{68D0B423-AE02-474B-AD24-0BB16D3FFB22}"/>
                  </a:ext>
                </a:extLst>
              </p:cNvPr>
              <p:cNvGrpSpPr/>
              <p:nvPr/>
            </p:nvGrpSpPr>
            <p:grpSpPr>
              <a:xfrm>
                <a:off x="7187829" y="3947572"/>
                <a:ext cx="1206895" cy="1206894"/>
                <a:chOff x="7080775" y="4073509"/>
                <a:chExt cx="1088558" cy="1088557"/>
              </a:xfrm>
              <a:effectLst/>
            </p:grpSpPr>
            <p:sp>
              <p:nvSpPr>
                <p:cNvPr id="29" name="îśľïḑé">
                  <a:extLst>
                    <a:ext uri="{FF2B5EF4-FFF2-40B4-BE49-F238E27FC236}">
                      <a16:creationId xmlns:a16="http://schemas.microsoft.com/office/drawing/2014/main" id="{F4393C5E-92C6-4E56-9C16-D73C0A25F63E}"/>
                    </a:ext>
                  </a:extLst>
                </p:cNvPr>
                <p:cNvSpPr/>
                <p:nvPr/>
              </p:nvSpPr>
              <p:spPr>
                <a:xfrm>
                  <a:off x="7080775" y="4073509"/>
                  <a:ext cx="1088558" cy="1088557"/>
                </a:xfrm>
                <a:custGeom>
                  <a:avLst/>
                  <a:gdLst>
                    <a:gd name="connsiteX0" fmla="*/ 0 w 905504"/>
                    <a:gd name="connsiteY0" fmla="*/ 452752 h 905504"/>
                    <a:gd name="connsiteX1" fmla="*/ 132608 w 905504"/>
                    <a:gd name="connsiteY1" fmla="*/ 132608 h 905504"/>
                    <a:gd name="connsiteX2" fmla="*/ 452752 w 905504"/>
                    <a:gd name="connsiteY2" fmla="*/ 0 h 905504"/>
                    <a:gd name="connsiteX3" fmla="*/ 772896 w 905504"/>
                    <a:gd name="connsiteY3" fmla="*/ 132608 h 905504"/>
                    <a:gd name="connsiteX4" fmla="*/ 905504 w 905504"/>
                    <a:gd name="connsiteY4" fmla="*/ 452752 h 905504"/>
                    <a:gd name="connsiteX5" fmla="*/ 772896 w 905504"/>
                    <a:gd name="connsiteY5" fmla="*/ 772896 h 905504"/>
                    <a:gd name="connsiteX6" fmla="*/ 452752 w 905504"/>
                    <a:gd name="connsiteY6" fmla="*/ 905504 h 905504"/>
                    <a:gd name="connsiteX7" fmla="*/ 132608 w 905504"/>
                    <a:gd name="connsiteY7" fmla="*/ 772896 h 905504"/>
                    <a:gd name="connsiteX8" fmla="*/ 0 w 905504"/>
                    <a:gd name="connsiteY8" fmla="*/ 452752 h 905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5504" h="905504">
                      <a:moveTo>
                        <a:pt x="0" y="452752"/>
                      </a:moveTo>
                      <a:cubicBezTo>
                        <a:pt x="0" y="332675"/>
                        <a:pt x="47701" y="217515"/>
                        <a:pt x="132608" y="132608"/>
                      </a:cubicBezTo>
                      <a:cubicBezTo>
                        <a:pt x="217516" y="47701"/>
                        <a:pt x="332675" y="0"/>
                        <a:pt x="452752" y="0"/>
                      </a:cubicBezTo>
                      <a:cubicBezTo>
                        <a:pt x="572829" y="0"/>
                        <a:pt x="687989" y="47701"/>
                        <a:pt x="772896" y="132608"/>
                      </a:cubicBezTo>
                      <a:cubicBezTo>
                        <a:pt x="857803" y="217516"/>
                        <a:pt x="905504" y="332675"/>
                        <a:pt x="905504" y="452752"/>
                      </a:cubicBezTo>
                      <a:cubicBezTo>
                        <a:pt x="905504" y="572829"/>
                        <a:pt x="857803" y="687989"/>
                        <a:pt x="772896" y="772896"/>
                      </a:cubicBezTo>
                      <a:cubicBezTo>
                        <a:pt x="687988" y="857803"/>
                        <a:pt x="572829" y="905504"/>
                        <a:pt x="452752" y="905504"/>
                      </a:cubicBezTo>
                      <a:cubicBezTo>
                        <a:pt x="332675" y="905504"/>
                        <a:pt x="217515" y="857803"/>
                        <a:pt x="132608" y="772896"/>
                      </a:cubicBezTo>
                      <a:cubicBezTo>
                        <a:pt x="47701" y="687988"/>
                        <a:pt x="0" y="572829"/>
                        <a:pt x="0" y="45275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0" name="išḻïḍê">
                  <a:extLst>
                    <a:ext uri="{FF2B5EF4-FFF2-40B4-BE49-F238E27FC236}">
                      <a16:creationId xmlns:a16="http://schemas.microsoft.com/office/drawing/2014/main" id="{DFC4B686-E0C2-4114-BD4F-F553C4C195BD}"/>
                    </a:ext>
                  </a:extLst>
                </p:cNvPr>
                <p:cNvSpPr/>
                <p:nvPr/>
              </p:nvSpPr>
              <p:spPr bwMode="auto">
                <a:xfrm>
                  <a:off x="7386505" y="4377331"/>
                  <a:ext cx="477099" cy="480913"/>
                </a:xfrm>
                <a:custGeom>
                  <a:avLst/>
                  <a:gdLst/>
                  <a:ahLst/>
                  <a:cxnLst>
                    <a:cxn ang="0">
                      <a:pos x="58" y="33"/>
                    </a:cxn>
                    <a:cxn ang="0">
                      <a:pos x="57" y="34"/>
                    </a:cxn>
                    <a:cxn ang="0">
                      <a:pos x="50" y="35"/>
                    </a:cxn>
                    <a:cxn ang="0">
                      <a:pos x="49" y="39"/>
                    </a:cxn>
                    <a:cxn ang="0">
                      <a:pos x="53" y="44"/>
                    </a:cxn>
                    <a:cxn ang="0">
                      <a:pos x="53" y="45"/>
                    </a:cxn>
                    <a:cxn ang="0">
                      <a:pos x="53" y="46"/>
                    </a:cxn>
                    <a:cxn ang="0">
                      <a:pos x="45" y="53"/>
                    </a:cxn>
                    <a:cxn ang="0">
                      <a:pos x="44" y="52"/>
                    </a:cxn>
                    <a:cxn ang="0">
                      <a:pos x="39" y="48"/>
                    </a:cxn>
                    <a:cxn ang="0">
                      <a:pos x="36" y="50"/>
                    </a:cxn>
                    <a:cxn ang="0">
                      <a:pos x="34" y="57"/>
                    </a:cxn>
                    <a:cxn ang="0">
                      <a:pos x="33" y="58"/>
                    </a:cxn>
                    <a:cxn ang="0">
                      <a:pos x="25" y="58"/>
                    </a:cxn>
                    <a:cxn ang="0">
                      <a:pos x="23" y="57"/>
                    </a:cxn>
                    <a:cxn ang="0">
                      <a:pos x="22" y="50"/>
                    </a:cxn>
                    <a:cxn ang="0">
                      <a:pos x="19" y="48"/>
                    </a:cxn>
                    <a:cxn ang="0">
                      <a:pos x="14" y="52"/>
                    </a:cxn>
                    <a:cxn ang="0">
                      <a:pos x="13" y="53"/>
                    </a:cxn>
                    <a:cxn ang="0">
                      <a:pos x="12" y="52"/>
                    </a:cxn>
                    <a:cxn ang="0">
                      <a:pos x="5" y="46"/>
                    </a:cxn>
                    <a:cxn ang="0">
                      <a:pos x="5" y="45"/>
                    </a:cxn>
                    <a:cxn ang="0">
                      <a:pos x="5" y="44"/>
                    </a:cxn>
                    <a:cxn ang="0">
                      <a:pos x="9" y="39"/>
                    </a:cxn>
                    <a:cxn ang="0">
                      <a:pos x="8" y="35"/>
                    </a:cxn>
                    <a:cxn ang="0">
                      <a:pos x="1" y="34"/>
                    </a:cxn>
                    <a:cxn ang="0">
                      <a:pos x="0" y="33"/>
                    </a:cxn>
                    <a:cxn ang="0">
                      <a:pos x="0" y="24"/>
                    </a:cxn>
                    <a:cxn ang="0">
                      <a:pos x="1" y="23"/>
                    </a:cxn>
                    <a:cxn ang="0">
                      <a:pos x="8" y="22"/>
                    </a:cxn>
                    <a:cxn ang="0">
                      <a:pos x="9" y="18"/>
                    </a:cxn>
                    <a:cxn ang="0">
                      <a:pos x="5" y="13"/>
                    </a:cxn>
                    <a:cxn ang="0">
                      <a:pos x="5" y="12"/>
                    </a:cxn>
                    <a:cxn ang="0">
                      <a:pos x="5" y="11"/>
                    </a:cxn>
                    <a:cxn ang="0">
                      <a:pos x="13" y="5"/>
                    </a:cxn>
                    <a:cxn ang="0">
                      <a:pos x="14" y="5"/>
                    </a:cxn>
                    <a:cxn ang="0">
                      <a:pos x="19" y="9"/>
                    </a:cxn>
                    <a:cxn ang="0">
                      <a:pos x="22" y="8"/>
                    </a:cxn>
                    <a:cxn ang="0">
                      <a:pos x="23" y="1"/>
                    </a:cxn>
                    <a:cxn ang="0">
                      <a:pos x="25" y="0"/>
                    </a:cxn>
                    <a:cxn ang="0">
                      <a:pos x="33" y="0"/>
                    </a:cxn>
                    <a:cxn ang="0">
                      <a:pos x="34" y="1"/>
                    </a:cxn>
                    <a:cxn ang="0">
                      <a:pos x="36" y="8"/>
                    </a:cxn>
                    <a:cxn ang="0">
                      <a:pos x="39" y="9"/>
                    </a:cxn>
                    <a:cxn ang="0">
                      <a:pos x="44" y="5"/>
                    </a:cxn>
                    <a:cxn ang="0">
                      <a:pos x="45" y="5"/>
                    </a:cxn>
                    <a:cxn ang="0">
                      <a:pos x="46" y="5"/>
                    </a:cxn>
                    <a:cxn ang="0">
                      <a:pos x="52" y="12"/>
                    </a:cxn>
                    <a:cxn ang="0">
                      <a:pos x="53" y="12"/>
                    </a:cxn>
                    <a:cxn ang="0">
                      <a:pos x="52" y="13"/>
                    </a:cxn>
                    <a:cxn ang="0">
                      <a:pos x="48" y="18"/>
                    </a:cxn>
                    <a:cxn ang="0">
                      <a:pos x="50" y="22"/>
                    </a:cxn>
                    <a:cxn ang="0">
                      <a:pos x="57" y="23"/>
                    </a:cxn>
                    <a:cxn ang="0">
                      <a:pos x="58" y="25"/>
                    </a:cxn>
                    <a:cxn ang="0">
                      <a:pos x="58" y="33"/>
                    </a:cxn>
                    <a:cxn ang="0">
                      <a:pos x="29" y="19"/>
                    </a:cxn>
                    <a:cxn ang="0">
                      <a:pos x="19" y="29"/>
                    </a:cxn>
                    <a:cxn ang="0">
                      <a:pos x="29" y="38"/>
                    </a:cxn>
                    <a:cxn ang="0">
                      <a:pos x="39" y="29"/>
                    </a:cxn>
                    <a:cxn ang="0">
                      <a:pos x="29" y="19"/>
                    </a:cxn>
                  </a:cxnLst>
                  <a:rect l="0" t="0" r="r" b="b"/>
                  <a:pathLst>
                    <a:path w="58" h="58">
                      <a:moveTo>
                        <a:pt x="58" y="33"/>
                      </a:moveTo>
                      <a:cubicBezTo>
                        <a:pt x="58" y="34"/>
                        <a:pt x="58" y="34"/>
                        <a:pt x="57" y="34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7"/>
                        <a:pt x="49" y="38"/>
                        <a:pt x="49" y="39"/>
                      </a:cubicBezTo>
                      <a:cubicBezTo>
                        <a:pt x="50" y="41"/>
                        <a:pt x="51" y="42"/>
                        <a:pt x="53" y="44"/>
                      </a:cubicBezTo>
                      <a:cubicBezTo>
                        <a:pt x="53" y="44"/>
                        <a:pt x="53" y="45"/>
                        <a:pt x="53" y="45"/>
                      </a:cubicBezTo>
                      <a:cubicBezTo>
                        <a:pt x="53" y="45"/>
                        <a:pt x="53" y="46"/>
                        <a:pt x="53" y="46"/>
                      </a:cubicBezTo>
                      <a:cubicBezTo>
                        <a:pt x="52" y="47"/>
                        <a:pt x="47" y="53"/>
                        <a:pt x="45" y="53"/>
                      </a:cubicBezTo>
                      <a:cubicBezTo>
                        <a:pt x="45" y="53"/>
                        <a:pt x="45" y="53"/>
                        <a:pt x="44" y="52"/>
                      </a:cubicBezTo>
                      <a:cubicBezTo>
                        <a:pt x="39" y="48"/>
                        <a:pt x="39" y="48"/>
                        <a:pt x="39" y="48"/>
                      </a:cubicBezTo>
                      <a:cubicBezTo>
                        <a:pt x="38" y="49"/>
                        <a:pt x="37" y="49"/>
                        <a:pt x="36" y="50"/>
                      </a:cubicBezTo>
                      <a:cubicBezTo>
                        <a:pt x="35" y="52"/>
                        <a:pt x="35" y="55"/>
                        <a:pt x="34" y="57"/>
                      </a:cubicBezTo>
                      <a:cubicBezTo>
                        <a:pt x="34" y="57"/>
                        <a:pt x="34" y="58"/>
                        <a:pt x="33" y="58"/>
                      </a:cubicBezTo>
                      <a:cubicBezTo>
                        <a:pt x="25" y="58"/>
                        <a:pt x="25" y="58"/>
                        <a:pt x="25" y="58"/>
                      </a:cubicBezTo>
                      <a:cubicBezTo>
                        <a:pt x="24" y="58"/>
                        <a:pt x="23" y="57"/>
                        <a:pt x="23" y="57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cubicBezTo>
                        <a:pt x="21" y="49"/>
                        <a:pt x="20" y="49"/>
                        <a:pt x="19" y="48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13" y="53"/>
                        <a:pt x="13" y="53"/>
                        <a:pt x="13" y="53"/>
                      </a:cubicBezTo>
                      <a:cubicBezTo>
                        <a:pt x="12" y="53"/>
                        <a:pt x="12" y="53"/>
                        <a:pt x="12" y="52"/>
                      </a:cubicBezTo>
                      <a:cubicBezTo>
                        <a:pt x="10" y="50"/>
                        <a:pt x="7" y="48"/>
                        <a:pt x="5" y="46"/>
                      </a:cubicBezTo>
                      <a:cubicBezTo>
                        <a:pt x="5" y="46"/>
                        <a:pt x="5" y="45"/>
                        <a:pt x="5" y="45"/>
                      </a:cubicBezTo>
                      <a:cubicBezTo>
                        <a:pt x="5" y="45"/>
                        <a:pt x="5" y="44"/>
                        <a:pt x="5" y="44"/>
                      </a:cubicBezTo>
                      <a:cubicBezTo>
                        <a:pt x="7" y="42"/>
                        <a:pt x="8" y="41"/>
                        <a:pt x="9" y="39"/>
                      </a:cubicBezTo>
                      <a:cubicBezTo>
                        <a:pt x="9" y="38"/>
                        <a:pt x="8" y="37"/>
                        <a:pt x="8" y="35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0" y="34"/>
                        <a:pt x="0" y="33"/>
                        <a:pt x="0" y="33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8" y="22"/>
                        <a:pt x="8" y="22"/>
                        <a:pt x="8" y="22"/>
                      </a:cubicBezTo>
                      <a:cubicBezTo>
                        <a:pt x="8" y="21"/>
                        <a:pt x="9" y="20"/>
                        <a:pt x="9" y="18"/>
                      </a:cubicBezTo>
                      <a:cubicBezTo>
                        <a:pt x="8" y="17"/>
                        <a:pt x="7" y="15"/>
                        <a:pt x="5" y="13"/>
                      </a:cubicBezTo>
                      <a:cubicBezTo>
                        <a:pt x="5" y="13"/>
                        <a:pt x="5" y="13"/>
                        <a:pt x="5" y="12"/>
                      </a:cubicBezTo>
                      <a:cubicBezTo>
                        <a:pt x="5" y="12"/>
                        <a:pt x="5" y="12"/>
                        <a:pt x="5" y="11"/>
                      </a:cubicBezTo>
                      <a:cubicBezTo>
                        <a:pt x="6" y="10"/>
                        <a:pt x="11" y="5"/>
                        <a:pt x="13" y="5"/>
                      </a:cubicBezTo>
                      <a:cubicBezTo>
                        <a:pt x="13" y="5"/>
                        <a:pt x="13" y="5"/>
                        <a:pt x="14" y="5"/>
                      </a:cubicBezTo>
                      <a:cubicBezTo>
                        <a:pt x="19" y="9"/>
                        <a:pt x="19" y="9"/>
                        <a:pt x="19" y="9"/>
                      </a:cubicBezTo>
                      <a:cubicBezTo>
                        <a:pt x="20" y="9"/>
                        <a:pt x="21" y="8"/>
                        <a:pt x="22" y="8"/>
                      </a:cubicBezTo>
                      <a:cubicBezTo>
                        <a:pt x="22" y="5"/>
                        <a:pt x="23" y="3"/>
                        <a:pt x="23" y="1"/>
                      </a:cubicBezTo>
                      <a:cubicBezTo>
                        <a:pt x="23" y="0"/>
                        <a:pt x="24" y="0"/>
                        <a:pt x="25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4" y="0"/>
                        <a:pt x="34" y="0"/>
                        <a:pt x="34" y="1"/>
                      </a:cubicBezTo>
                      <a:cubicBezTo>
                        <a:pt x="36" y="8"/>
                        <a:pt x="36" y="8"/>
                        <a:pt x="36" y="8"/>
                      </a:cubicBezTo>
                      <a:cubicBezTo>
                        <a:pt x="37" y="8"/>
                        <a:pt x="38" y="9"/>
                        <a:pt x="39" y="9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6" y="5"/>
                        <a:pt x="46" y="5"/>
                        <a:pt x="46" y="5"/>
                      </a:cubicBezTo>
                      <a:cubicBezTo>
                        <a:pt x="48" y="7"/>
                        <a:pt x="51" y="9"/>
                        <a:pt x="52" y="12"/>
                      </a:cubicBezTo>
                      <a:cubicBezTo>
                        <a:pt x="53" y="12"/>
                        <a:pt x="53" y="12"/>
                        <a:pt x="53" y="12"/>
                      </a:cubicBezTo>
                      <a:cubicBezTo>
                        <a:pt x="53" y="13"/>
                        <a:pt x="53" y="13"/>
                        <a:pt x="52" y="13"/>
                      </a:cubicBezTo>
                      <a:cubicBezTo>
                        <a:pt x="51" y="15"/>
                        <a:pt x="50" y="17"/>
                        <a:pt x="48" y="18"/>
                      </a:cubicBezTo>
                      <a:cubicBezTo>
                        <a:pt x="49" y="20"/>
                        <a:pt x="50" y="21"/>
                        <a:pt x="50" y="22"/>
                      </a:cubicBezTo>
                      <a:cubicBezTo>
                        <a:pt x="57" y="23"/>
                        <a:pt x="57" y="23"/>
                        <a:pt x="57" y="23"/>
                      </a:cubicBezTo>
                      <a:cubicBezTo>
                        <a:pt x="58" y="23"/>
                        <a:pt x="58" y="24"/>
                        <a:pt x="58" y="25"/>
                      </a:cubicBezTo>
                      <a:lnTo>
                        <a:pt x="58" y="33"/>
                      </a:lnTo>
                      <a:close/>
                      <a:moveTo>
                        <a:pt x="29" y="19"/>
                      </a:moveTo>
                      <a:cubicBezTo>
                        <a:pt x="24" y="19"/>
                        <a:pt x="19" y="23"/>
                        <a:pt x="19" y="29"/>
                      </a:cubicBezTo>
                      <a:cubicBezTo>
                        <a:pt x="19" y="34"/>
                        <a:pt x="24" y="38"/>
                        <a:pt x="29" y="38"/>
                      </a:cubicBezTo>
                      <a:cubicBezTo>
                        <a:pt x="34" y="38"/>
                        <a:pt x="39" y="34"/>
                        <a:pt x="39" y="29"/>
                      </a:cubicBezTo>
                      <a:cubicBezTo>
                        <a:pt x="39" y="23"/>
                        <a:pt x="34" y="19"/>
                        <a:pt x="29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6" name="íşḻiďé">
                <a:extLst>
                  <a:ext uri="{FF2B5EF4-FFF2-40B4-BE49-F238E27FC236}">
                    <a16:creationId xmlns:a16="http://schemas.microsoft.com/office/drawing/2014/main" id="{C809E13C-62E5-4C8C-988E-798C9EABC947}"/>
                  </a:ext>
                </a:extLst>
              </p:cNvPr>
              <p:cNvGrpSpPr/>
              <p:nvPr/>
            </p:nvGrpSpPr>
            <p:grpSpPr>
              <a:xfrm>
                <a:off x="9009010" y="2151137"/>
                <a:ext cx="1206895" cy="1206894"/>
                <a:chOff x="8723388" y="2453216"/>
                <a:chExt cx="1088558" cy="1088557"/>
              </a:xfrm>
              <a:effectLst/>
            </p:grpSpPr>
            <p:sp>
              <p:nvSpPr>
                <p:cNvPr id="27" name="iśḷíḑè">
                  <a:extLst>
                    <a:ext uri="{FF2B5EF4-FFF2-40B4-BE49-F238E27FC236}">
                      <a16:creationId xmlns:a16="http://schemas.microsoft.com/office/drawing/2014/main" id="{62E9BAD8-63F3-465E-8E02-EC2C3A9417D1}"/>
                    </a:ext>
                  </a:extLst>
                </p:cNvPr>
                <p:cNvSpPr/>
                <p:nvPr/>
              </p:nvSpPr>
              <p:spPr>
                <a:xfrm>
                  <a:off x="8723388" y="2453216"/>
                  <a:ext cx="1088558" cy="1088557"/>
                </a:xfrm>
                <a:custGeom>
                  <a:avLst/>
                  <a:gdLst>
                    <a:gd name="connsiteX0" fmla="*/ 0 w 905504"/>
                    <a:gd name="connsiteY0" fmla="*/ 452752 h 905504"/>
                    <a:gd name="connsiteX1" fmla="*/ 132608 w 905504"/>
                    <a:gd name="connsiteY1" fmla="*/ 132608 h 905504"/>
                    <a:gd name="connsiteX2" fmla="*/ 452752 w 905504"/>
                    <a:gd name="connsiteY2" fmla="*/ 0 h 905504"/>
                    <a:gd name="connsiteX3" fmla="*/ 772896 w 905504"/>
                    <a:gd name="connsiteY3" fmla="*/ 132608 h 905504"/>
                    <a:gd name="connsiteX4" fmla="*/ 905504 w 905504"/>
                    <a:gd name="connsiteY4" fmla="*/ 452752 h 905504"/>
                    <a:gd name="connsiteX5" fmla="*/ 772896 w 905504"/>
                    <a:gd name="connsiteY5" fmla="*/ 772896 h 905504"/>
                    <a:gd name="connsiteX6" fmla="*/ 452752 w 905504"/>
                    <a:gd name="connsiteY6" fmla="*/ 905504 h 905504"/>
                    <a:gd name="connsiteX7" fmla="*/ 132608 w 905504"/>
                    <a:gd name="connsiteY7" fmla="*/ 772896 h 905504"/>
                    <a:gd name="connsiteX8" fmla="*/ 0 w 905504"/>
                    <a:gd name="connsiteY8" fmla="*/ 452752 h 905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5504" h="905504">
                      <a:moveTo>
                        <a:pt x="0" y="452752"/>
                      </a:moveTo>
                      <a:cubicBezTo>
                        <a:pt x="0" y="332675"/>
                        <a:pt x="47701" y="217515"/>
                        <a:pt x="132608" y="132608"/>
                      </a:cubicBezTo>
                      <a:cubicBezTo>
                        <a:pt x="217516" y="47701"/>
                        <a:pt x="332675" y="0"/>
                        <a:pt x="452752" y="0"/>
                      </a:cubicBezTo>
                      <a:cubicBezTo>
                        <a:pt x="572829" y="0"/>
                        <a:pt x="687989" y="47701"/>
                        <a:pt x="772896" y="132608"/>
                      </a:cubicBezTo>
                      <a:cubicBezTo>
                        <a:pt x="857803" y="217516"/>
                        <a:pt x="905504" y="332675"/>
                        <a:pt x="905504" y="452752"/>
                      </a:cubicBezTo>
                      <a:cubicBezTo>
                        <a:pt x="905504" y="572829"/>
                        <a:pt x="857803" y="687989"/>
                        <a:pt x="772896" y="772896"/>
                      </a:cubicBezTo>
                      <a:cubicBezTo>
                        <a:pt x="687988" y="857803"/>
                        <a:pt x="572829" y="905504"/>
                        <a:pt x="452752" y="905504"/>
                      </a:cubicBezTo>
                      <a:cubicBezTo>
                        <a:pt x="332675" y="905504"/>
                        <a:pt x="217515" y="857803"/>
                        <a:pt x="132608" y="772896"/>
                      </a:cubicBezTo>
                      <a:cubicBezTo>
                        <a:pt x="47701" y="687988"/>
                        <a:pt x="0" y="572829"/>
                        <a:pt x="0" y="45275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9050">
                  <a:noFill/>
                  <a:prstDash val="sysDot"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8" name="ïṩḻîḍe">
                  <a:extLst>
                    <a:ext uri="{FF2B5EF4-FFF2-40B4-BE49-F238E27FC236}">
                      <a16:creationId xmlns:a16="http://schemas.microsoft.com/office/drawing/2014/main" id="{7F35147E-E870-4C61-A3F6-CFE82A654547}"/>
                    </a:ext>
                  </a:extLst>
                </p:cNvPr>
                <p:cNvSpPr/>
                <p:nvPr/>
              </p:nvSpPr>
              <p:spPr bwMode="auto">
                <a:xfrm>
                  <a:off x="9048468" y="2778295"/>
                  <a:ext cx="438401" cy="438401"/>
                </a:xfrm>
                <a:custGeom>
                  <a:avLst/>
                  <a:gdLst/>
                  <a:ahLst/>
                  <a:cxnLst>
                    <a:cxn ang="0">
                      <a:pos x="27" y="55"/>
                    </a:cxn>
                    <a:cxn ang="0">
                      <a:pos x="0" y="27"/>
                    </a:cxn>
                    <a:cxn ang="0">
                      <a:pos x="27" y="0"/>
                    </a:cxn>
                    <a:cxn ang="0">
                      <a:pos x="55" y="27"/>
                    </a:cxn>
                    <a:cxn ang="0">
                      <a:pos x="27" y="55"/>
                    </a:cxn>
                    <a:cxn ang="0">
                      <a:pos x="45" y="20"/>
                    </a:cxn>
                    <a:cxn ang="0">
                      <a:pos x="42" y="17"/>
                    </a:cxn>
                    <a:cxn ang="0">
                      <a:pos x="40" y="16"/>
                    </a:cxn>
                    <a:cxn ang="0">
                      <a:pos x="38" y="17"/>
                    </a:cxn>
                    <a:cxn ang="0">
                      <a:pos x="24" y="31"/>
                    </a:cxn>
                    <a:cxn ang="0">
                      <a:pos x="16" y="23"/>
                    </a:cxn>
                    <a:cxn ang="0">
                      <a:pos x="14" y="22"/>
                    </a:cxn>
                    <a:cxn ang="0">
                      <a:pos x="13" y="23"/>
                    </a:cxn>
                    <a:cxn ang="0">
                      <a:pos x="9" y="26"/>
                    </a:cxn>
                    <a:cxn ang="0">
                      <a:pos x="9" y="28"/>
                    </a:cxn>
                    <a:cxn ang="0">
                      <a:pos x="9" y="30"/>
                    </a:cxn>
                    <a:cxn ang="0">
                      <a:pos x="22" y="43"/>
                    </a:cxn>
                    <a:cxn ang="0">
                      <a:pos x="24" y="43"/>
                    </a:cxn>
                    <a:cxn ang="0">
                      <a:pos x="26" y="43"/>
                    </a:cxn>
                    <a:cxn ang="0">
                      <a:pos x="45" y="23"/>
                    </a:cxn>
                    <a:cxn ang="0">
                      <a:pos x="46" y="22"/>
                    </a:cxn>
                    <a:cxn ang="0">
                      <a:pos x="45" y="20"/>
                    </a:cxn>
                  </a:cxnLst>
                  <a:rect l="0" t="0" r="r" b="b"/>
                  <a:pathLst>
                    <a:path w="55" h="55">
                      <a:moveTo>
                        <a:pt x="27" y="55"/>
                      </a:moveTo>
                      <a:cubicBezTo>
                        <a:pt x="12" y="55"/>
                        <a:pt x="0" y="42"/>
                        <a:pt x="0" y="27"/>
                      </a:cubicBezTo>
                      <a:cubicBezTo>
                        <a:pt x="0" y="12"/>
                        <a:pt x="12" y="0"/>
                        <a:pt x="27" y="0"/>
                      </a:cubicBezTo>
                      <a:cubicBezTo>
                        <a:pt x="42" y="0"/>
                        <a:pt x="55" y="12"/>
                        <a:pt x="55" y="27"/>
                      </a:cubicBezTo>
                      <a:cubicBezTo>
                        <a:pt x="55" y="42"/>
                        <a:pt x="42" y="55"/>
                        <a:pt x="27" y="55"/>
                      </a:cubicBezTo>
                      <a:close/>
                      <a:moveTo>
                        <a:pt x="45" y="20"/>
                      </a:moveTo>
                      <a:cubicBezTo>
                        <a:pt x="42" y="17"/>
                        <a:pt x="42" y="17"/>
                        <a:pt x="42" y="17"/>
                      </a:cubicBezTo>
                      <a:cubicBezTo>
                        <a:pt x="41" y="16"/>
                        <a:pt x="41" y="16"/>
                        <a:pt x="40" y="16"/>
                      </a:cubicBezTo>
                      <a:cubicBezTo>
                        <a:pt x="39" y="16"/>
                        <a:pt x="39" y="16"/>
                        <a:pt x="38" y="17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2"/>
                        <a:pt x="14" y="22"/>
                      </a:cubicBezTo>
                      <a:cubicBezTo>
                        <a:pt x="14" y="22"/>
                        <a:pt x="13" y="23"/>
                        <a:pt x="13" y="23"/>
                      </a:cubicBezTo>
                      <a:cubicBezTo>
                        <a:pt x="9" y="26"/>
                        <a:pt x="9" y="26"/>
                        <a:pt x="9" y="26"/>
                      </a:cubicBezTo>
                      <a:cubicBezTo>
                        <a:pt x="9" y="27"/>
                        <a:pt x="9" y="27"/>
                        <a:pt x="9" y="28"/>
                      </a:cubicBezTo>
                      <a:cubicBezTo>
                        <a:pt x="9" y="29"/>
                        <a:pt x="9" y="29"/>
                        <a:pt x="9" y="30"/>
                      </a:cubicBezTo>
                      <a:cubicBezTo>
                        <a:pt x="22" y="43"/>
                        <a:pt x="22" y="43"/>
                        <a:pt x="22" y="43"/>
                      </a:cubicBezTo>
                      <a:cubicBezTo>
                        <a:pt x="23" y="43"/>
                        <a:pt x="23" y="43"/>
                        <a:pt x="24" y="43"/>
                      </a:cubicBezTo>
                      <a:cubicBezTo>
                        <a:pt x="25" y="43"/>
                        <a:pt x="25" y="43"/>
                        <a:pt x="26" y="43"/>
                      </a:cubicBezTo>
                      <a:cubicBezTo>
                        <a:pt x="45" y="23"/>
                        <a:pt x="45" y="23"/>
                        <a:pt x="45" y="23"/>
                      </a:cubicBezTo>
                      <a:cubicBezTo>
                        <a:pt x="45" y="23"/>
                        <a:pt x="46" y="22"/>
                        <a:pt x="46" y="22"/>
                      </a:cubicBezTo>
                      <a:cubicBezTo>
                        <a:pt x="46" y="21"/>
                        <a:pt x="45" y="20"/>
                        <a:pt x="45" y="2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</p:grpSp>
      </p:grpSp>
      <p:sp>
        <p:nvSpPr>
          <p:cNvPr id="37" name="页脚占位符 2">
            <a:extLst>
              <a:ext uri="{FF2B5EF4-FFF2-40B4-BE49-F238E27FC236}">
                <a16:creationId xmlns:a16="http://schemas.microsoft.com/office/drawing/2014/main" id="{85633650-07DC-4643-9585-1240A26B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0092256"/>
      </p:ext>
    </p:extLst>
  </p:cSld>
  <p:clrMapOvr>
    <a:masterClrMapping/>
  </p:clrMapOvr>
  <p:transition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041352FD-792B-4D65-B5E8-CF1ADADFA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简介</a:t>
            </a: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7DD87EED-8261-43AC-BE59-04211A4078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0" t="13138" r="51633" b="31567"/>
          <a:stretch/>
        </p:blipFill>
        <p:spPr bwMode="auto">
          <a:xfrm>
            <a:off x="0" y="1759751"/>
            <a:ext cx="4002929" cy="5017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A171501B-C1C5-45E0-99D5-59EBC7285F73}"/>
              </a:ext>
            </a:extLst>
          </p:cNvPr>
          <p:cNvSpPr txBox="1"/>
          <p:nvPr/>
        </p:nvSpPr>
        <p:spPr>
          <a:xfrm>
            <a:off x="3859307" y="1409690"/>
            <a:ext cx="4221770" cy="2316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b="1" dirty="0"/>
              <a:t>Logo</a:t>
            </a:r>
            <a:r>
              <a:rPr lang="zh-CN" altLang="en-US" sz="1400" dirty="0"/>
              <a:t>是一种计算机程序设计语言，设计</a:t>
            </a:r>
            <a:r>
              <a:rPr lang="en-US" altLang="zh-CN" sz="1400" dirty="0"/>
              <a:t>Logo</a:t>
            </a:r>
            <a:r>
              <a:rPr lang="zh-CN" altLang="en-US" sz="1400" dirty="0"/>
              <a:t>的初衷是为了向儿童教授计算机编程技能。</a:t>
            </a:r>
            <a:endParaRPr lang="en-US" altLang="zh-CN" sz="1400" dirty="0"/>
          </a:p>
          <a:p>
            <a:pPr>
              <a:lnSpc>
                <a:spcPct val="150000"/>
              </a:lnSpc>
            </a:pPr>
            <a:r>
              <a:rPr lang="en-US" altLang="zh-CN" sz="1400" b="1" dirty="0"/>
              <a:t>Logo</a:t>
            </a:r>
            <a:r>
              <a:rPr lang="zh-CN" altLang="en-US" sz="1400" dirty="0"/>
              <a:t>的原型来自另一个计算机语言</a:t>
            </a:r>
            <a:r>
              <a:rPr lang="en-US" altLang="zh-CN" sz="1400" dirty="0"/>
              <a:t>LISP</a:t>
            </a:r>
            <a:r>
              <a:rPr lang="zh-CN" altLang="en-US" sz="1400" dirty="0"/>
              <a:t>，是一种解释型语言，和其他语言不同的是，它内置一套海龟绘图系统，通过向海龟发送命令，用户可以直观地学习程序的运行过程，因此很适于儿童学习。它亦适合用作数学教学。</a:t>
            </a:r>
            <a:endParaRPr lang="en-US" altLang="zh-CN" sz="1400" dirty="0"/>
          </a:p>
        </p:txBody>
      </p:sp>
      <p:pic>
        <p:nvPicPr>
          <p:cNvPr id="13" name="图片 12" descr="图片包含 绿色, 灯光, 交通, 游戏机&#10;&#10;描述已自动生成">
            <a:extLst>
              <a:ext uri="{FF2B5EF4-FFF2-40B4-BE49-F238E27FC236}">
                <a16:creationId xmlns:a16="http://schemas.microsoft.com/office/drawing/2014/main" id="{A7C847E9-CEC7-4E5E-B33C-F6C5E23ACB2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2" t="13529" r="60850" b="61961"/>
          <a:stretch/>
        </p:blipFill>
        <p:spPr>
          <a:xfrm>
            <a:off x="8219511" y="2032436"/>
            <a:ext cx="3412379" cy="3207124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E005FE5C-992C-412F-B70D-684D746C8712}"/>
              </a:ext>
            </a:extLst>
          </p:cNvPr>
          <p:cNvSpPr txBox="1"/>
          <p:nvPr/>
        </p:nvSpPr>
        <p:spPr>
          <a:xfrm>
            <a:off x="3859307" y="4179785"/>
            <a:ext cx="4221770" cy="19913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b="1" dirty="0" err="1"/>
              <a:t>CodeSandBox</a:t>
            </a:r>
            <a:r>
              <a:rPr lang="zh-CN" altLang="en-US" sz="1400" b="1" dirty="0"/>
              <a:t> </a:t>
            </a:r>
            <a:r>
              <a:rPr lang="zh-CN" altLang="en-US" sz="1400" dirty="0"/>
              <a:t>是一个在线的代码编辑器，主要聚焦于创建 </a:t>
            </a:r>
            <a:r>
              <a:rPr lang="en-US" altLang="zh-CN" sz="1400" dirty="0"/>
              <a:t>Web </a:t>
            </a:r>
            <a:r>
              <a:rPr lang="zh-CN" altLang="en-US" sz="1400" dirty="0"/>
              <a:t>应用项目。</a:t>
            </a:r>
          </a:p>
          <a:p>
            <a:pPr>
              <a:lnSpc>
                <a:spcPct val="150000"/>
              </a:lnSpc>
            </a:pPr>
            <a:r>
              <a:rPr lang="zh-CN" altLang="en-US" sz="1400" dirty="0"/>
              <a:t>支持主流的前端相关文件的编辑：</a:t>
            </a:r>
            <a:r>
              <a:rPr lang="en-US" altLang="zh-CN" sz="1400" dirty="0"/>
              <a:t>JavaScript</a:t>
            </a:r>
            <a:r>
              <a:rPr lang="zh-CN" altLang="en-US" sz="1400" dirty="0"/>
              <a:t>、</a:t>
            </a:r>
            <a:r>
              <a:rPr lang="en-US" altLang="zh-CN" sz="1400" dirty="0"/>
              <a:t>TypeScript</a:t>
            </a:r>
            <a:r>
              <a:rPr lang="zh-CN" altLang="en-US" sz="1400" dirty="0"/>
              <a:t>、</a:t>
            </a:r>
            <a:r>
              <a:rPr lang="en-US" altLang="zh-CN" sz="1400" dirty="0"/>
              <a:t>CSS</a:t>
            </a:r>
            <a:r>
              <a:rPr lang="zh-CN" altLang="en-US" sz="1400" dirty="0"/>
              <a:t>、</a:t>
            </a:r>
            <a:r>
              <a:rPr lang="en-US" altLang="zh-CN" sz="1400" dirty="0"/>
              <a:t>Less</a:t>
            </a:r>
            <a:r>
              <a:rPr lang="zh-CN" altLang="en-US" sz="1400" dirty="0"/>
              <a:t>、</a:t>
            </a:r>
            <a:r>
              <a:rPr lang="en-US" altLang="zh-CN" sz="1400" dirty="0"/>
              <a:t>Sass</a:t>
            </a:r>
            <a:r>
              <a:rPr lang="zh-CN" altLang="en-US" sz="1400" dirty="0"/>
              <a:t>、</a:t>
            </a:r>
            <a:r>
              <a:rPr lang="en-US" altLang="zh-CN" sz="1400" dirty="0" err="1"/>
              <a:t>Scss</a:t>
            </a:r>
            <a:r>
              <a:rPr lang="zh-CN" altLang="en-US" sz="1400" dirty="0"/>
              <a:t>、</a:t>
            </a:r>
            <a:r>
              <a:rPr lang="en-US" altLang="zh-CN" sz="1400" dirty="0"/>
              <a:t>HTML</a:t>
            </a:r>
            <a:r>
              <a:rPr lang="zh-CN" altLang="en-US" sz="1400" dirty="0"/>
              <a:t>、</a:t>
            </a:r>
            <a:r>
              <a:rPr lang="en-US" altLang="zh-CN" sz="1400" dirty="0"/>
              <a:t>PNG </a:t>
            </a:r>
            <a:r>
              <a:rPr lang="zh-CN" altLang="en-US" sz="1400" dirty="0"/>
              <a:t>等。支持自动代码提示。</a:t>
            </a:r>
          </a:p>
          <a:p>
            <a:pPr>
              <a:lnSpc>
                <a:spcPct val="150000"/>
              </a:lnSpc>
            </a:pPr>
            <a:endParaRPr lang="en-US" altLang="zh-CN" sz="1400" dirty="0"/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39290FDE-A222-4B85-A480-3A09B0EB5199}"/>
              </a:ext>
            </a:extLst>
          </p:cNvPr>
          <p:cNvCxnSpPr/>
          <p:nvPr/>
        </p:nvCxnSpPr>
        <p:spPr>
          <a:xfrm>
            <a:off x="3536576" y="1250576"/>
            <a:ext cx="0" cy="512333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984332E0-6301-492A-9A2F-BB70F9E74785}"/>
              </a:ext>
            </a:extLst>
          </p:cNvPr>
          <p:cNvCxnSpPr/>
          <p:nvPr/>
        </p:nvCxnSpPr>
        <p:spPr>
          <a:xfrm>
            <a:off x="8296835" y="1205437"/>
            <a:ext cx="0" cy="512333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E590BA92-BED2-4ED3-B4B6-D94753DB6710}"/>
              </a:ext>
            </a:extLst>
          </p:cNvPr>
          <p:cNvCxnSpPr/>
          <p:nvPr/>
        </p:nvCxnSpPr>
        <p:spPr>
          <a:xfrm>
            <a:off x="3731559" y="3926541"/>
            <a:ext cx="4349518" cy="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页脚占位符 2">
            <a:extLst>
              <a:ext uri="{FF2B5EF4-FFF2-40B4-BE49-F238E27FC236}">
                <a16:creationId xmlns:a16="http://schemas.microsoft.com/office/drawing/2014/main" id="{0F3AE22F-2164-41B8-81C0-5504FAE164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</a:p>
        </p:txBody>
      </p:sp>
    </p:spTree>
    <p:extLst>
      <p:ext uri="{BB962C8B-B14F-4D97-AF65-F5344CB8AC3E}">
        <p14:creationId xmlns:p14="http://schemas.microsoft.com/office/powerpoint/2010/main" val="429347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4" name="Group 1">
            <a:extLst>
              <a:ext uri="{FF2B5EF4-FFF2-40B4-BE49-F238E27FC236}">
                <a16:creationId xmlns:a16="http://schemas.microsoft.com/office/drawing/2014/main" id="{62F7DD92-060F-4D4B-A919-749EE541273E}"/>
              </a:ext>
            </a:extLst>
          </p:cNvPr>
          <p:cNvGrpSpPr/>
          <p:nvPr/>
        </p:nvGrpSpPr>
        <p:grpSpPr>
          <a:xfrm>
            <a:off x="1126635" y="1788236"/>
            <a:ext cx="9938729" cy="3281528"/>
            <a:chOff x="1084811" y="1788235"/>
            <a:chExt cx="9938729" cy="3281528"/>
          </a:xfrm>
        </p:grpSpPr>
        <p:grpSp>
          <p:nvGrpSpPr>
            <p:cNvPr id="285" name="组合 284">
              <a:extLst>
                <a:ext uri="{FF2B5EF4-FFF2-40B4-BE49-F238E27FC236}">
                  <a16:creationId xmlns:a16="http://schemas.microsoft.com/office/drawing/2014/main" id="{5C5BE658-4AB6-47BC-AE56-B0986CFB3253}"/>
                </a:ext>
              </a:extLst>
            </p:cNvPr>
            <p:cNvGrpSpPr/>
            <p:nvPr/>
          </p:nvGrpSpPr>
          <p:grpSpPr>
            <a:xfrm>
              <a:off x="1084811" y="1788235"/>
              <a:ext cx="3067822" cy="3281528"/>
              <a:chOff x="1321124" y="2373960"/>
              <a:chExt cx="3067822" cy="3281528"/>
            </a:xfrm>
          </p:grpSpPr>
          <p:sp>
            <p:nvSpPr>
              <p:cNvPr id="298" name="Rectangle 202">
                <a:extLst>
                  <a:ext uri="{FF2B5EF4-FFF2-40B4-BE49-F238E27FC236}">
                    <a16:creationId xmlns:a16="http://schemas.microsoft.com/office/drawing/2014/main" id="{9991C033-F383-4B9A-A033-AFBB608DDC1E}"/>
                  </a:ext>
                </a:extLst>
              </p:cNvPr>
              <p:cNvSpPr/>
              <p:nvPr/>
            </p:nvSpPr>
            <p:spPr>
              <a:xfrm>
                <a:off x="1321124" y="2373960"/>
                <a:ext cx="3067822" cy="3281528"/>
              </a:xfrm>
              <a:custGeom>
                <a:avLst/>
                <a:gdLst>
                  <a:gd name="connsiteX0" fmla="*/ 548079 w 566287"/>
                  <a:gd name="connsiteY0" fmla="*/ 108600 h 605734"/>
                  <a:gd name="connsiteX1" fmla="*/ 566287 w 566287"/>
                  <a:gd name="connsiteY1" fmla="*/ 126782 h 605734"/>
                  <a:gd name="connsiteX2" fmla="*/ 548079 w 566287"/>
                  <a:gd name="connsiteY2" fmla="*/ 145195 h 605734"/>
                  <a:gd name="connsiteX3" fmla="*/ 345027 w 566287"/>
                  <a:gd name="connsiteY3" fmla="*/ 145195 h 605734"/>
                  <a:gd name="connsiteX4" fmla="*/ 345027 w 566287"/>
                  <a:gd name="connsiteY4" fmla="*/ 441404 h 605734"/>
                  <a:gd name="connsiteX5" fmla="*/ 354707 w 566287"/>
                  <a:gd name="connsiteY5" fmla="*/ 451070 h 605734"/>
                  <a:gd name="connsiteX6" fmla="*/ 457731 w 566287"/>
                  <a:gd name="connsiteY6" fmla="*/ 451070 h 605734"/>
                  <a:gd name="connsiteX7" fmla="*/ 485389 w 566287"/>
                  <a:gd name="connsiteY7" fmla="*/ 478689 h 605734"/>
                  <a:gd name="connsiteX8" fmla="*/ 457731 w 566287"/>
                  <a:gd name="connsiteY8" fmla="*/ 506307 h 605734"/>
                  <a:gd name="connsiteX9" fmla="*/ 339035 w 566287"/>
                  <a:gd name="connsiteY9" fmla="*/ 506307 h 605734"/>
                  <a:gd name="connsiteX10" fmla="*/ 290173 w 566287"/>
                  <a:gd name="connsiteY10" fmla="*/ 457284 h 605734"/>
                  <a:gd name="connsiteX11" fmla="*/ 290173 w 566287"/>
                  <a:gd name="connsiteY11" fmla="*/ 370746 h 605734"/>
                  <a:gd name="connsiteX12" fmla="*/ 261133 w 566287"/>
                  <a:gd name="connsiteY12" fmla="*/ 370746 h 605734"/>
                  <a:gd name="connsiteX13" fmla="*/ 191759 w 566287"/>
                  <a:gd name="connsiteY13" fmla="*/ 442785 h 605734"/>
                  <a:gd name="connsiteX14" fmla="*/ 185536 w 566287"/>
                  <a:gd name="connsiteY14" fmla="*/ 458205 h 605734"/>
                  <a:gd name="connsiteX15" fmla="*/ 185536 w 566287"/>
                  <a:gd name="connsiteY15" fmla="*/ 578346 h 605734"/>
                  <a:gd name="connsiteX16" fmla="*/ 157878 w 566287"/>
                  <a:gd name="connsiteY16" fmla="*/ 605734 h 605734"/>
                  <a:gd name="connsiteX17" fmla="*/ 130451 w 566287"/>
                  <a:gd name="connsiteY17" fmla="*/ 578346 h 605734"/>
                  <a:gd name="connsiteX18" fmla="*/ 130451 w 566287"/>
                  <a:gd name="connsiteY18" fmla="*/ 446697 h 605734"/>
                  <a:gd name="connsiteX19" fmla="*/ 144049 w 566287"/>
                  <a:gd name="connsiteY19" fmla="*/ 412864 h 605734"/>
                  <a:gd name="connsiteX20" fmla="*/ 221490 w 566287"/>
                  <a:gd name="connsiteY20" fmla="*/ 332310 h 605734"/>
                  <a:gd name="connsiteX21" fmla="*/ 221490 w 566287"/>
                  <a:gd name="connsiteY21" fmla="*/ 145195 h 605734"/>
                  <a:gd name="connsiteX22" fmla="*/ 18438 w 566287"/>
                  <a:gd name="connsiteY22" fmla="*/ 145195 h 605734"/>
                  <a:gd name="connsiteX23" fmla="*/ 0 w 566287"/>
                  <a:gd name="connsiteY23" fmla="*/ 127012 h 605734"/>
                  <a:gd name="connsiteX24" fmla="*/ 18438 w 566287"/>
                  <a:gd name="connsiteY24" fmla="*/ 108830 h 605734"/>
                  <a:gd name="connsiteX25" fmla="*/ 283496 w 566287"/>
                  <a:gd name="connsiteY25" fmla="*/ 0 h 605734"/>
                  <a:gd name="connsiteX26" fmla="*/ 334903 w 566287"/>
                  <a:gd name="connsiteY26" fmla="*/ 50631 h 605734"/>
                  <a:gd name="connsiteX27" fmla="*/ 283496 w 566287"/>
                  <a:gd name="connsiteY27" fmla="*/ 101262 h 605734"/>
                  <a:gd name="connsiteX28" fmla="*/ 232089 w 566287"/>
                  <a:gd name="connsiteY28" fmla="*/ 50631 h 605734"/>
                  <a:gd name="connsiteX29" fmla="*/ 283496 w 566287"/>
                  <a:gd name="connsiteY29" fmla="*/ 0 h 60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66287" h="605734">
                    <a:moveTo>
                      <a:pt x="548079" y="108600"/>
                    </a:moveTo>
                    <a:cubicBezTo>
                      <a:pt x="558220" y="108600"/>
                      <a:pt x="566287" y="116655"/>
                      <a:pt x="566287" y="126782"/>
                    </a:cubicBezTo>
                    <a:cubicBezTo>
                      <a:pt x="566287" y="136909"/>
                      <a:pt x="558220" y="145195"/>
                      <a:pt x="548079" y="145195"/>
                    </a:cubicBezTo>
                    <a:lnTo>
                      <a:pt x="345027" y="145195"/>
                    </a:lnTo>
                    <a:lnTo>
                      <a:pt x="345027" y="441404"/>
                    </a:lnTo>
                    <a:cubicBezTo>
                      <a:pt x="345027" y="446697"/>
                      <a:pt x="349406" y="451070"/>
                      <a:pt x="354707" y="451070"/>
                    </a:cubicBezTo>
                    <a:lnTo>
                      <a:pt x="457731" y="451070"/>
                    </a:lnTo>
                    <a:cubicBezTo>
                      <a:pt x="472943" y="451070"/>
                      <a:pt x="485389" y="463498"/>
                      <a:pt x="485389" y="478689"/>
                    </a:cubicBezTo>
                    <a:cubicBezTo>
                      <a:pt x="485389" y="493879"/>
                      <a:pt x="472943" y="506307"/>
                      <a:pt x="457731" y="506307"/>
                    </a:cubicBezTo>
                    <a:lnTo>
                      <a:pt x="339035" y="506307"/>
                    </a:lnTo>
                    <a:cubicBezTo>
                      <a:pt x="312069" y="506307"/>
                      <a:pt x="290173" y="484443"/>
                      <a:pt x="290173" y="457284"/>
                    </a:cubicBezTo>
                    <a:lnTo>
                      <a:pt x="290173" y="370746"/>
                    </a:lnTo>
                    <a:lnTo>
                      <a:pt x="261133" y="370746"/>
                    </a:lnTo>
                    <a:lnTo>
                      <a:pt x="191759" y="442785"/>
                    </a:lnTo>
                    <a:cubicBezTo>
                      <a:pt x="187610" y="446927"/>
                      <a:pt x="185536" y="452451"/>
                      <a:pt x="185536" y="458205"/>
                    </a:cubicBezTo>
                    <a:lnTo>
                      <a:pt x="185536" y="578346"/>
                    </a:lnTo>
                    <a:cubicBezTo>
                      <a:pt x="185536" y="593536"/>
                      <a:pt x="173090" y="605734"/>
                      <a:pt x="157878" y="605734"/>
                    </a:cubicBezTo>
                    <a:cubicBezTo>
                      <a:pt x="142897" y="605734"/>
                      <a:pt x="130451" y="593306"/>
                      <a:pt x="130451" y="578346"/>
                    </a:cubicBezTo>
                    <a:lnTo>
                      <a:pt x="130451" y="446697"/>
                    </a:lnTo>
                    <a:cubicBezTo>
                      <a:pt x="130451" y="434039"/>
                      <a:pt x="135291" y="421840"/>
                      <a:pt x="144049" y="412864"/>
                    </a:cubicBezTo>
                    <a:lnTo>
                      <a:pt x="221490" y="332310"/>
                    </a:lnTo>
                    <a:lnTo>
                      <a:pt x="221490" y="145195"/>
                    </a:lnTo>
                    <a:lnTo>
                      <a:pt x="18438" y="145195"/>
                    </a:lnTo>
                    <a:cubicBezTo>
                      <a:pt x="8297" y="145195"/>
                      <a:pt x="0" y="137139"/>
                      <a:pt x="0" y="127012"/>
                    </a:cubicBezTo>
                    <a:cubicBezTo>
                      <a:pt x="0" y="116886"/>
                      <a:pt x="8297" y="108830"/>
                      <a:pt x="18438" y="108830"/>
                    </a:cubicBezTo>
                    <a:close/>
                    <a:moveTo>
                      <a:pt x="283496" y="0"/>
                    </a:moveTo>
                    <a:cubicBezTo>
                      <a:pt x="311887" y="0"/>
                      <a:pt x="334903" y="22668"/>
                      <a:pt x="334903" y="50631"/>
                    </a:cubicBezTo>
                    <a:cubicBezTo>
                      <a:pt x="334903" y="78594"/>
                      <a:pt x="311887" y="101262"/>
                      <a:pt x="283496" y="101262"/>
                    </a:cubicBezTo>
                    <a:cubicBezTo>
                      <a:pt x="255105" y="101262"/>
                      <a:pt x="232089" y="78594"/>
                      <a:pt x="232089" y="50631"/>
                    </a:cubicBezTo>
                    <a:cubicBezTo>
                      <a:pt x="232089" y="22668"/>
                      <a:pt x="255105" y="0"/>
                      <a:pt x="28349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0" dist="127000" dir="4200000" algn="ctr" rotWithShape="0">
                  <a:srgbClr val="000000">
                    <a:alpha val="1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299" name="文本框 18">
                <a:extLst>
                  <a:ext uri="{FF2B5EF4-FFF2-40B4-BE49-F238E27FC236}">
                    <a16:creationId xmlns:a16="http://schemas.microsoft.com/office/drawing/2014/main" id="{4F922413-A158-49BC-BDED-BDB312ED88DA}"/>
                  </a:ext>
                </a:extLst>
              </p:cNvPr>
              <p:cNvSpPr txBox="1"/>
              <p:nvPr/>
            </p:nvSpPr>
            <p:spPr>
              <a:xfrm>
                <a:off x="1594954" y="3134945"/>
                <a:ext cx="697628" cy="3942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dirty="0">
                    <a:solidFill>
                      <a:schemeClr val="accent1"/>
                    </a:solidFill>
                  </a:rPr>
                  <a:t>Busy</a:t>
                </a:r>
              </a:p>
            </p:txBody>
          </p:sp>
          <p:sp>
            <p:nvSpPr>
              <p:cNvPr id="300" name="文本框 19">
                <a:extLst>
                  <a:ext uri="{FF2B5EF4-FFF2-40B4-BE49-F238E27FC236}">
                    <a16:creationId xmlns:a16="http://schemas.microsoft.com/office/drawing/2014/main" id="{F8B61A92-C6A7-498F-80CE-C7687F69239E}"/>
                  </a:ext>
                </a:extLst>
              </p:cNvPr>
              <p:cNvSpPr txBox="1"/>
              <p:nvPr/>
            </p:nvSpPr>
            <p:spPr>
              <a:xfrm>
                <a:off x="1376914" y="3529155"/>
                <a:ext cx="2928386" cy="5164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课业繁忙，</a:t>
                </a:r>
                <a:r>
                  <a:rPr lang="en-US" altLang="zh-CN" sz="12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ddl</a:t>
                </a: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压身，难以将全部精力投入软件开发。</a:t>
                </a:r>
                <a:r>
                  <a:rPr lang="zh-CN" altLang="en-US" sz="1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进度风险极大</a:t>
                </a:r>
                <a:r>
                  <a:rPr lang="zh-CN" altLang="en-US" sz="1200" dirty="0">
                    <a:solidFill>
                      <a:schemeClr val="bg1">
                        <a:lumMod val="50000"/>
                      </a:schemeClr>
                    </a:solidFill>
                  </a:rPr>
                  <a:t>。</a:t>
                </a:r>
              </a:p>
            </p:txBody>
          </p:sp>
          <p:cxnSp>
            <p:nvCxnSpPr>
              <p:cNvPr id="301" name="直接连接符 300">
                <a:extLst>
                  <a:ext uri="{FF2B5EF4-FFF2-40B4-BE49-F238E27FC236}">
                    <a16:creationId xmlns:a16="http://schemas.microsoft.com/office/drawing/2014/main" id="{6F1D9886-2130-4A5F-9BE1-AB6BBBC5A49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71734" y="4792508"/>
                <a:ext cx="572966" cy="0"/>
              </a:xfrm>
              <a:prstGeom prst="line">
                <a:avLst/>
              </a:prstGeom>
              <a:ln>
                <a:solidFill>
                  <a:schemeClr val="tx1"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2" name="任意多边形 23">
                <a:extLst>
                  <a:ext uri="{FF2B5EF4-FFF2-40B4-BE49-F238E27FC236}">
                    <a16:creationId xmlns:a16="http://schemas.microsoft.com/office/drawing/2014/main" id="{902B2CF9-B151-4CB5-BB17-A9C42CA1FD68}"/>
                  </a:ext>
                </a:extLst>
              </p:cNvPr>
              <p:cNvSpPr/>
              <p:nvPr/>
            </p:nvSpPr>
            <p:spPr bwMode="auto">
              <a:xfrm>
                <a:off x="3932655" y="4476267"/>
                <a:ext cx="300820" cy="321776"/>
              </a:xfrm>
              <a:custGeom>
                <a:avLst/>
                <a:gdLst>
                  <a:gd name="connsiteX0" fmla="*/ 548079 w 566287"/>
                  <a:gd name="connsiteY0" fmla="*/ 108600 h 605734"/>
                  <a:gd name="connsiteX1" fmla="*/ 566287 w 566287"/>
                  <a:gd name="connsiteY1" fmla="*/ 126782 h 605734"/>
                  <a:gd name="connsiteX2" fmla="*/ 548079 w 566287"/>
                  <a:gd name="connsiteY2" fmla="*/ 145195 h 605734"/>
                  <a:gd name="connsiteX3" fmla="*/ 345027 w 566287"/>
                  <a:gd name="connsiteY3" fmla="*/ 145195 h 605734"/>
                  <a:gd name="connsiteX4" fmla="*/ 345027 w 566287"/>
                  <a:gd name="connsiteY4" fmla="*/ 441404 h 605734"/>
                  <a:gd name="connsiteX5" fmla="*/ 354707 w 566287"/>
                  <a:gd name="connsiteY5" fmla="*/ 451070 h 605734"/>
                  <a:gd name="connsiteX6" fmla="*/ 457731 w 566287"/>
                  <a:gd name="connsiteY6" fmla="*/ 451070 h 605734"/>
                  <a:gd name="connsiteX7" fmla="*/ 485389 w 566287"/>
                  <a:gd name="connsiteY7" fmla="*/ 478689 h 605734"/>
                  <a:gd name="connsiteX8" fmla="*/ 457731 w 566287"/>
                  <a:gd name="connsiteY8" fmla="*/ 506307 h 605734"/>
                  <a:gd name="connsiteX9" fmla="*/ 339035 w 566287"/>
                  <a:gd name="connsiteY9" fmla="*/ 506307 h 605734"/>
                  <a:gd name="connsiteX10" fmla="*/ 290173 w 566287"/>
                  <a:gd name="connsiteY10" fmla="*/ 457284 h 605734"/>
                  <a:gd name="connsiteX11" fmla="*/ 290173 w 566287"/>
                  <a:gd name="connsiteY11" fmla="*/ 370746 h 605734"/>
                  <a:gd name="connsiteX12" fmla="*/ 261133 w 566287"/>
                  <a:gd name="connsiteY12" fmla="*/ 370746 h 605734"/>
                  <a:gd name="connsiteX13" fmla="*/ 191759 w 566287"/>
                  <a:gd name="connsiteY13" fmla="*/ 442785 h 605734"/>
                  <a:gd name="connsiteX14" fmla="*/ 185536 w 566287"/>
                  <a:gd name="connsiteY14" fmla="*/ 458205 h 605734"/>
                  <a:gd name="connsiteX15" fmla="*/ 185536 w 566287"/>
                  <a:gd name="connsiteY15" fmla="*/ 578346 h 605734"/>
                  <a:gd name="connsiteX16" fmla="*/ 157878 w 566287"/>
                  <a:gd name="connsiteY16" fmla="*/ 605734 h 605734"/>
                  <a:gd name="connsiteX17" fmla="*/ 130451 w 566287"/>
                  <a:gd name="connsiteY17" fmla="*/ 578346 h 605734"/>
                  <a:gd name="connsiteX18" fmla="*/ 130451 w 566287"/>
                  <a:gd name="connsiteY18" fmla="*/ 446697 h 605734"/>
                  <a:gd name="connsiteX19" fmla="*/ 144049 w 566287"/>
                  <a:gd name="connsiteY19" fmla="*/ 412864 h 605734"/>
                  <a:gd name="connsiteX20" fmla="*/ 221490 w 566287"/>
                  <a:gd name="connsiteY20" fmla="*/ 332310 h 605734"/>
                  <a:gd name="connsiteX21" fmla="*/ 221490 w 566287"/>
                  <a:gd name="connsiteY21" fmla="*/ 145195 h 605734"/>
                  <a:gd name="connsiteX22" fmla="*/ 18438 w 566287"/>
                  <a:gd name="connsiteY22" fmla="*/ 145195 h 605734"/>
                  <a:gd name="connsiteX23" fmla="*/ 0 w 566287"/>
                  <a:gd name="connsiteY23" fmla="*/ 127012 h 605734"/>
                  <a:gd name="connsiteX24" fmla="*/ 18438 w 566287"/>
                  <a:gd name="connsiteY24" fmla="*/ 108830 h 605734"/>
                  <a:gd name="connsiteX25" fmla="*/ 283496 w 566287"/>
                  <a:gd name="connsiteY25" fmla="*/ 0 h 605734"/>
                  <a:gd name="connsiteX26" fmla="*/ 334903 w 566287"/>
                  <a:gd name="connsiteY26" fmla="*/ 50631 h 605734"/>
                  <a:gd name="connsiteX27" fmla="*/ 283496 w 566287"/>
                  <a:gd name="connsiteY27" fmla="*/ 101262 h 605734"/>
                  <a:gd name="connsiteX28" fmla="*/ 232089 w 566287"/>
                  <a:gd name="connsiteY28" fmla="*/ 50631 h 605734"/>
                  <a:gd name="connsiteX29" fmla="*/ 283496 w 566287"/>
                  <a:gd name="connsiteY29" fmla="*/ 0 h 60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66287" h="605734">
                    <a:moveTo>
                      <a:pt x="548079" y="108600"/>
                    </a:moveTo>
                    <a:cubicBezTo>
                      <a:pt x="558220" y="108600"/>
                      <a:pt x="566287" y="116655"/>
                      <a:pt x="566287" y="126782"/>
                    </a:cubicBezTo>
                    <a:cubicBezTo>
                      <a:pt x="566287" y="136909"/>
                      <a:pt x="558220" y="145195"/>
                      <a:pt x="548079" y="145195"/>
                    </a:cubicBezTo>
                    <a:lnTo>
                      <a:pt x="345027" y="145195"/>
                    </a:lnTo>
                    <a:lnTo>
                      <a:pt x="345027" y="441404"/>
                    </a:lnTo>
                    <a:cubicBezTo>
                      <a:pt x="345027" y="446697"/>
                      <a:pt x="349406" y="451070"/>
                      <a:pt x="354707" y="451070"/>
                    </a:cubicBezTo>
                    <a:lnTo>
                      <a:pt x="457731" y="451070"/>
                    </a:lnTo>
                    <a:cubicBezTo>
                      <a:pt x="472943" y="451070"/>
                      <a:pt x="485389" y="463498"/>
                      <a:pt x="485389" y="478689"/>
                    </a:cubicBezTo>
                    <a:cubicBezTo>
                      <a:pt x="485389" y="493879"/>
                      <a:pt x="472943" y="506307"/>
                      <a:pt x="457731" y="506307"/>
                    </a:cubicBezTo>
                    <a:lnTo>
                      <a:pt x="339035" y="506307"/>
                    </a:lnTo>
                    <a:cubicBezTo>
                      <a:pt x="312069" y="506307"/>
                      <a:pt x="290173" y="484443"/>
                      <a:pt x="290173" y="457284"/>
                    </a:cubicBezTo>
                    <a:lnTo>
                      <a:pt x="290173" y="370746"/>
                    </a:lnTo>
                    <a:lnTo>
                      <a:pt x="261133" y="370746"/>
                    </a:lnTo>
                    <a:lnTo>
                      <a:pt x="191759" y="442785"/>
                    </a:lnTo>
                    <a:cubicBezTo>
                      <a:pt x="187610" y="446927"/>
                      <a:pt x="185536" y="452451"/>
                      <a:pt x="185536" y="458205"/>
                    </a:cubicBezTo>
                    <a:lnTo>
                      <a:pt x="185536" y="578346"/>
                    </a:lnTo>
                    <a:cubicBezTo>
                      <a:pt x="185536" y="593536"/>
                      <a:pt x="173090" y="605734"/>
                      <a:pt x="157878" y="605734"/>
                    </a:cubicBezTo>
                    <a:cubicBezTo>
                      <a:pt x="142897" y="605734"/>
                      <a:pt x="130451" y="593306"/>
                      <a:pt x="130451" y="578346"/>
                    </a:cubicBezTo>
                    <a:lnTo>
                      <a:pt x="130451" y="446697"/>
                    </a:lnTo>
                    <a:cubicBezTo>
                      <a:pt x="130451" y="434039"/>
                      <a:pt x="135291" y="421840"/>
                      <a:pt x="144049" y="412864"/>
                    </a:cubicBezTo>
                    <a:lnTo>
                      <a:pt x="221490" y="332310"/>
                    </a:lnTo>
                    <a:lnTo>
                      <a:pt x="221490" y="145195"/>
                    </a:lnTo>
                    <a:lnTo>
                      <a:pt x="18438" y="145195"/>
                    </a:lnTo>
                    <a:cubicBezTo>
                      <a:pt x="8297" y="145195"/>
                      <a:pt x="0" y="137139"/>
                      <a:pt x="0" y="127012"/>
                    </a:cubicBezTo>
                    <a:cubicBezTo>
                      <a:pt x="0" y="116886"/>
                      <a:pt x="8297" y="108830"/>
                      <a:pt x="18438" y="108830"/>
                    </a:cubicBezTo>
                    <a:close/>
                    <a:moveTo>
                      <a:pt x="283496" y="0"/>
                    </a:moveTo>
                    <a:cubicBezTo>
                      <a:pt x="311887" y="0"/>
                      <a:pt x="334903" y="22668"/>
                      <a:pt x="334903" y="50631"/>
                    </a:cubicBezTo>
                    <a:cubicBezTo>
                      <a:pt x="334903" y="78594"/>
                      <a:pt x="311887" y="101262"/>
                      <a:pt x="283496" y="101262"/>
                    </a:cubicBezTo>
                    <a:cubicBezTo>
                      <a:pt x="255105" y="101262"/>
                      <a:pt x="232089" y="78594"/>
                      <a:pt x="232089" y="50631"/>
                    </a:cubicBezTo>
                    <a:cubicBezTo>
                      <a:pt x="232089" y="22668"/>
                      <a:pt x="255105" y="0"/>
                      <a:pt x="28349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286" name="组合 285">
              <a:extLst>
                <a:ext uri="{FF2B5EF4-FFF2-40B4-BE49-F238E27FC236}">
                  <a16:creationId xmlns:a16="http://schemas.microsoft.com/office/drawing/2014/main" id="{61B850FD-AA6D-4739-AF59-22E8D4294343}"/>
                </a:ext>
              </a:extLst>
            </p:cNvPr>
            <p:cNvGrpSpPr/>
            <p:nvPr/>
          </p:nvGrpSpPr>
          <p:grpSpPr>
            <a:xfrm>
              <a:off x="4465076" y="1788235"/>
              <a:ext cx="3261844" cy="3281528"/>
              <a:chOff x="1224113" y="2373960"/>
              <a:chExt cx="3261844" cy="3281528"/>
            </a:xfrm>
          </p:grpSpPr>
          <p:sp>
            <p:nvSpPr>
              <p:cNvPr id="293" name="Rectangle 235">
                <a:extLst>
                  <a:ext uri="{FF2B5EF4-FFF2-40B4-BE49-F238E27FC236}">
                    <a16:creationId xmlns:a16="http://schemas.microsoft.com/office/drawing/2014/main" id="{C6964AB9-607E-4D68-82B2-B08698142BD2}"/>
                  </a:ext>
                </a:extLst>
              </p:cNvPr>
              <p:cNvSpPr/>
              <p:nvPr/>
            </p:nvSpPr>
            <p:spPr>
              <a:xfrm>
                <a:off x="1224113" y="2373960"/>
                <a:ext cx="3261844" cy="3281528"/>
              </a:xfrm>
              <a:custGeom>
                <a:avLst/>
                <a:gdLst>
                  <a:gd name="connsiteX0" fmla="*/ 175368 w 492336"/>
                  <a:gd name="connsiteY0" fmla="*/ 305636 h 495307"/>
                  <a:gd name="connsiteX1" fmla="*/ 143701 w 492336"/>
                  <a:gd name="connsiteY1" fmla="*/ 381427 h 495307"/>
                  <a:gd name="connsiteX2" fmla="*/ 175415 w 492336"/>
                  <a:gd name="connsiteY2" fmla="*/ 413154 h 495307"/>
                  <a:gd name="connsiteX3" fmla="*/ 207082 w 492336"/>
                  <a:gd name="connsiteY3" fmla="*/ 381427 h 495307"/>
                  <a:gd name="connsiteX4" fmla="*/ 175368 w 492336"/>
                  <a:gd name="connsiteY4" fmla="*/ 305636 h 495307"/>
                  <a:gd name="connsiteX5" fmla="*/ 185323 w 492336"/>
                  <a:gd name="connsiteY5" fmla="*/ 275393 h 495307"/>
                  <a:gd name="connsiteX6" fmla="*/ 185511 w 492336"/>
                  <a:gd name="connsiteY6" fmla="*/ 275482 h 495307"/>
                  <a:gd name="connsiteX7" fmla="*/ 233225 w 492336"/>
                  <a:gd name="connsiteY7" fmla="*/ 381427 h 495307"/>
                  <a:gd name="connsiteX8" fmla="*/ 197888 w 492336"/>
                  <a:gd name="connsiteY8" fmla="*/ 434711 h 495307"/>
                  <a:gd name="connsiteX9" fmla="*/ 197709 w 492336"/>
                  <a:gd name="connsiteY9" fmla="*/ 434748 h 495307"/>
                  <a:gd name="connsiteX10" fmla="*/ 197709 w 492336"/>
                  <a:gd name="connsiteY10" fmla="*/ 430303 h 495307"/>
                  <a:gd name="connsiteX11" fmla="*/ 184663 w 492336"/>
                  <a:gd name="connsiteY11" fmla="*/ 417255 h 495307"/>
                  <a:gd name="connsiteX12" fmla="*/ 171618 w 492336"/>
                  <a:gd name="connsiteY12" fmla="*/ 430303 h 495307"/>
                  <a:gd name="connsiteX13" fmla="*/ 171618 w 492336"/>
                  <a:gd name="connsiteY13" fmla="*/ 438492 h 495307"/>
                  <a:gd name="connsiteX14" fmla="*/ 152915 w 492336"/>
                  <a:gd name="connsiteY14" fmla="*/ 434711 h 495307"/>
                  <a:gd name="connsiteX15" fmla="*/ 117558 w 492336"/>
                  <a:gd name="connsiteY15" fmla="*/ 381427 h 495307"/>
                  <a:gd name="connsiteX16" fmla="*/ 140707 w 492336"/>
                  <a:gd name="connsiteY16" fmla="*/ 311460 h 495307"/>
                  <a:gd name="connsiteX17" fmla="*/ 147750 w 492336"/>
                  <a:gd name="connsiteY17" fmla="*/ 300607 h 495307"/>
                  <a:gd name="connsiteX18" fmla="*/ 176701 w 492336"/>
                  <a:gd name="connsiteY18" fmla="*/ 295476 h 495307"/>
                  <a:gd name="connsiteX19" fmla="*/ 185129 w 492336"/>
                  <a:gd name="connsiteY19" fmla="*/ 290144 h 495307"/>
                  <a:gd name="connsiteX20" fmla="*/ 187272 w 492336"/>
                  <a:gd name="connsiteY20" fmla="*/ 280337 h 495307"/>
                  <a:gd name="connsiteX21" fmla="*/ 82462 w 492336"/>
                  <a:gd name="connsiteY21" fmla="*/ 229635 h 495307"/>
                  <a:gd name="connsiteX22" fmla="*/ 26129 w 492336"/>
                  <a:gd name="connsiteY22" fmla="*/ 295667 h 495307"/>
                  <a:gd name="connsiteX23" fmla="*/ 158034 w 492336"/>
                  <a:gd name="connsiteY23" fmla="*/ 272291 h 495307"/>
                  <a:gd name="connsiteX24" fmla="*/ 82462 w 492336"/>
                  <a:gd name="connsiteY24" fmla="*/ 229635 h 495307"/>
                  <a:gd name="connsiteX25" fmla="*/ 106250 w 492336"/>
                  <a:gd name="connsiteY25" fmla="*/ 203252 h 495307"/>
                  <a:gd name="connsiteX26" fmla="*/ 173556 w 492336"/>
                  <a:gd name="connsiteY26" fmla="*/ 245542 h 495307"/>
                  <a:gd name="connsiteX27" fmla="*/ 185323 w 492336"/>
                  <a:gd name="connsiteY27" fmla="*/ 275393 h 495307"/>
                  <a:gd name="connsiteX28" fmla="*/ 175415 w 492336"/>
                  <a:gd name="connsiteY28" fmla="*/ 270718 h 495307"/>
                  <a:gd name="connsiteX29" fmla="*/ 165320 w 492336"/>
                  <a:gd name="connsiteY29" fmla="*/ 275434 h 495307"/>
                  <a:gd name="connsiteX30" fmla="*/ 157034 w 492336"/>
                  <a:gd name="connsiteY30" fmla="*/ 286302 h 495307"/>
                  <a:gd name="connsiteX31" fmla="*/ 147750 w 492336"/>
                  <a:gd name="connsiteY31" fmla="*/ 300607 h 495307"/>
                  <a:gd name="connsiteX32" fmla="*/ 16605 w 492336"/>
                  <a:gd name="connsiteY32" fmla="*/ 323850 h 495307"/>
                  <a:gd name="connsiteX33" fmla="*/ 14319 w 492336"/>
                  <a:gd name="connsiteY33" fmla="*/ 324088 h 495307"/>
                  <a:gd name="connsiteX34" fmla="*/ 1462 w 492336"/>
                  <a:gd name="connsiteY34" fmla="*/ 313281 h 495307"/>
                  <a:gd name="connsiteX35" fmla="*/ 43054 w 492336"/>
                  <a:gd name="connsiteY35" fmla="*/ 217653 h 495307"/>
                  <a:gd name="connsiteX36" fmla="*/ 69310 w 492336"/>
                  <a:gd name="connsiteY36" fmla="*/ 207308 h 495307"/>
                  <a:gd name="connsiteX37" fmla="*/ 67108 w 492336"/>
                  <a:gd name="connsiteY37" fmla="*/ 210195 h 495307"/>
                  <a:gd name="connsiteX38" fmla="*/ 71583 w 492336"/>
                  <a:gd name="connsiteY38" fmla="*/ 228101 h 495307"/>
                  <a:gd name="connsiteX39" fmla="*/ 78297 w 492336"/>
                  <a:gd name="connsiteY39" fmla="*/ 229958 h 495307"/>
                  <a:gd name="connsiteX40" fmla="*/ 89486 w 492336"/>
                  <a:gd name="connsiteY40" fmla="*/ 223625 h 495307"/>
                  <a:gd name="connsiteX41" fmla="*/ 105006 w 492336"/>
                  <a:gd name="connsiteY41" fmla="*/ 203282 h 495307"/>
                  <a:gd name="connsiteX42" fmla="*/ 149876 w 492336"/>
                  <a:gd name="connsiteY42" fmla="*/ 133227 h 495307"/>
                  <a:gd name="connsiteX43" fmla="*/ 158096 w 492336"/>
                  <a:gd name="connsiteY43" fmla="*/ 138953 h 495307"/>
                  <a:gd name="connsiteX44" fmla="*/ 154144 w 492336"/>
                  <a:gd name="connsiteY44" fmla="*/ 157002 h 495307"/>
                  <a:gd name="connsiteX45" fmla="*/ 151287 w 492336"/>
                  <a:gd name="connsiteY45" fmla="*/ 158859 h 495307"/>
                  <a:gd name="connsiteX46" fmla="*/ 116780 w 492336"/>
                  <a:gd name="connsiteY46" fmla="*/ 187849 h 495307"/>
                  <a:gd name="connsiteX47" fmla="*/ 105006 w 492336"/>
                  <a:gd name="connsiteY47" fmla="*/ 203282 h 495307"/>
                  <a:gd name="connsiteX48" fmla="*/ 77891 w 492336"/>
                  <a:gd name="connsiteY48" fmla="*/ 203927 h 495307"/>
                  <a:gd name="connsiteX49" fmla="*/ 69310 w 492336"/>
                  <a:gd name="connsiteY49" fmla="*/ 207308 h 495307"/>
                  <a:gd name="connsiteX50" fmla="*/ 97877 w 492336"/>
                  <a:gd name="connsiteY50" fmla="*/ 169854 h 495307"/>
                  <a:gd name="connsiteX51" fmla="*/ 125604 w 492336"/>
                  <a:gd name="connsiteY51" fmla="*/ 146537 h 495307"/>
                  <a:gd name="connsiteX52" fmla="*/ 136952 w 492336"/>
                  <a:gd name="connsiteY52" fmla="*/ 156564 h 495307"/>
                  <a:gd name="connsiteX53" fmla="*/ 154335 w 492336"/>
                  <a:gd name="connsiteY53" fmla="*/ 150275 h 495307"/>
                  <a:gd name="connsiteX54" fmla="*/ 154781 w 492336"/>
                  <a:gd name="connsiteY54" fmla="*/ 140293 h 495307"/>
                  <a:gd name="connsiteX55" fmla="*/ 148574 w 492336"/>
                  <a:gd name="connsiteY55" fmla="*/ 133462 h 495307"/>
                  <a:gd name="connsiteX56" fmla="*/ 263462 w 492336"/>
                  <a:gd name="connsiteY56" fmla="*/ 98903 h 495307"/>
                  <a:gd name="connsiteX57" fmla="*/ 352473 w 492336"/>
                  <a:gd name="connsiteY57" fmla="*/ 116918 h 495307"/>
                  <a:gd name="connsiteX58" fmla="*/ 377571 w 492336"/>
                  <a:gd name="connsiteY58" fmla="*/ 130559 h 495307"/>
                  <a:gd name="connsiteX59" fmla="*/ 375310 w 492336"/>
                  <a:gd name="connsiteY59" fmla="*/ 136410 h 495307"/>
                  <a:gd name="connsiteX60" fmla="*/ 376215 w 492336"/>
                  <a:gd name="connsiteY60" fmla="*/ 154849 h 495307"/>
                  <a:gd name="connsiteX61" fmla="*/ 384978 w 492336"/>
                  <a:gd name="connsiteY61" fmla="*/ 158279 h 495307"/>
                  <a:gd name="connsiteX62" fmla="*/ 394645 w 492336"/>
                  <a:gd name="connsiteY62" fmla="*/ 153991 h 495307"/>
                  <a:gd name="connsiteX63" fmla="*/ 400049 w 492336"/>
                  <a:gd name="connsiteY63" fmla="*/ 145231 h 495307"/>
                  <a:gd name="connsiteX64" fmla="*/ 425232 w 492336"/>
                  <a:gd name="connsiteY64" fmla="*/ 166020 h 495307"/>
                  <a:gd name="connsiteX65" fmla="*/ 492336 w 492336"/>
                  <a:gd name="connsiteY65" fmla="*/ 327821 h 495307"/>
                  <a:gd name="connsiteX66" fmla="*/ 492098 w 492336"/>
                  <a:gd name="connsiteY66" fmla="*/ 337536 h 495307"/>
                  <a:gd name="connsiteX67" fmla="*/ 489717 w 492336"/>
                  <a:gd name="connsiteY67" fmla="*/ 344489 h 495307"/>
                  <a:gd name="connsiteX68" fmla="*/ 199376 w 492336"/>
                  <a:gd name="connsiteY68" fmla="*/ 495307 h 495307"/>
                  <a:gd name="connsiteX69" fmla="*/ 187949 w 492336"/>
                  <a:gd name="connsiteY69" fmla="*/ 494879 h 495307"/>
                  <a:gd name="connsiteX70" fmla="*/ 184092 w 492336"/>
                  <a:gd name="connsiteY70" fmla="*/ 494688 h 495307"/>
                  <a:gd name="connsiteX71" fmla="*/ 171618 w 492336"/>
                  <a:gd name="connsiteY71" fmla="*/ 481640 h 495307"/>
                  <a:gd name="connsiteX72" fmla="*/ 171618 w 492336"/>
                  <a:gd name="connsiteY72" fmla="*/ 438492 h 495307"/>
                  <a:gd name="connsiteX73" fmla="*/ 175415 w 492336"/>
                  <a:gd name="connsiteY73" fmla="*/ 439259 h 495307"/>
                  <a:gd name="connsiteX74" fmla="*/ 197709 w 492336"/>
                  <a:gd name="connsiteY74" fmla="*/ 434748 h 495307"/>
                  <a:gd name="connsiteX75" fmla="*/ 197709 w 492336"/>
                  <a:gd name="connsiteY75" fmla="*/ 469163 h 495307"/>
                  <a:gd name="connsiteX76" fmla="*/ 199376 w 492336"/>
                  <a:gd name="connsiteY76" fmla="*/ 469163 h 495307"/>
                  <a:gd name="connsiteX77" fmla="*/ 466149 w 492336"/>
                  <a:gd name="connsiteY77" fmla="*/ 332583 h 495307"/>
                  <a:gd name="connsiteX78" fmla="*/ 466244 w 492336"/>
                  <a:gd name="connsiteY78" fmla="*/ 327821 h 495307"/>
                  <a:gd name="connsiteX79" fmla="*/ 263462 w 492336"/>
                  <a:gd name="connsiteY79" fmla="*/ 125000 h 495307"/>
                  <a:gd name="connsiteX80" fmla="*/ 203423 w 492336"/>
                  <a:gd name="connsiteY80" fmla="*/ 134048 h 495307"/>
                  <a:gd name="connsiteX81" fmla="*/ 187092 w 492336"/>
                  <a:gd name="connsiteY81" fmla="*/ 125429 h 495307"/>
                  <a:gd name="connsiteX82" fmla="*/ 195710 w 492336"/>
                  <a:gd name="connsiteY82" fmla="*/ 109094 h 495307"/>
                  <a:gd name="connsiteX83" fmla="*/ 263462 w 492336"/>
                  <a:gd name="connsiteY83" fmla="*/ 98903 h 495307"/>
                  <a:gd name="connsiteX84" fmla="*/ 252250 w 492336"/>
                  <a:gd name="connsiteY84" fmla="*/ 0 h 495307"/>
                  <a:gd name="connsiteX85" fmla="*/ 316494 w 492336"/>
                  <a:gd name="connsiteY85" fmla="*/ 49361 h 495307"/>
                  <a:gd name="connsiteX86" fmla="*/ 345402 w 492336"/>
                  <a:gd name="connsiteY86" fmla="*/ 42738 h 495307"/>
                  <a:gd name="connsiteX87" fmla="*/ 411885 w 492336"/>
                  <a:gd name="connsiteY87" fmla="*/ 109299 h 495307"/>
                  <a:gd name="connsiteX88" fmla="*/ 407426 w 492336"/>
                  <a:gd name="connsiteY88" fmla="*/ 133271 h 495307"/>
                  <a:gd name="connsiteX89" fmla="*/ 400049 w 492336"/>
                  <a:gd name="connsiteY89" fmla="*/ 145231 h 495307"/>
                  <a:gd name="connsiteX90" fmla="*/ 391348 w 492336"/>
                  <a:gd name="connsiteY90" fmla="*/ 138047 h 495307"/>
                  <a:gd name="connsiteX91" fmla="*/ 377571 w 492336"/>
                  <a:gd name="connsiteY91" fmla="*/ 130559 h 495307"/>
                  <a:gd name="connsiteX92" fmla="*/ 385787 w 492336"/>
                  <a:gd name="connsiteY92" fmla="*/ 109299 h 495307"/>
                  <a:gd name="connsiteX93" fmla="*/ 345402 w 492336"/>
                  <a:gd name="connsiteY93" fmla="*/ 68896 h 495307"/>
                  <a:gd name="connsiteX94" fmla="*/ 314923 w 492336"/>
                  <a:gd name="connsiteY94" fmla="*/ 82856 h 495307"/>
                  <a:gd name="connsiteX95" fmla="*/ 299588 w 492336"/>
                  <a:gd name="connsiteY95" fmla="*/ 86144 h 495307"/>
                  <a:gd name="connsiteX96" fmla="*/ 292111 w 492336"/>
                  <a:gd name="connsiteY96" fmla="*/ 72374 h 495307"/>
                  <a:gd name="connsiteX97" fmla="*/ 292635 w 492336"/>
                  <a:gd name="connsiteY97" fmla="*/ 66514 h 495307"/>
                  <a:gd name="connsiteX98" fmla="*/ 252250 w 492336"/>
                  <a:gd name="connsiteY98" fmla="*/ 26110 h 495307"/>
                  <a:gd name="connsiteX99" fmla="*/ 212674 w 492336"/>
                  <a:gd name="connsiteY99" fmla="*/ 58319 h 495307"/>
                  <a:gd name="connsiteX100" fmla="*/ 204149 w 492336"/>
                  <a:gd name="connsiteY100" fmla="*/ 68038 h 495307"/>
                  <a:gd name="connsiteX101" fmla="*/ 191386 w 492336"/>
                  <a:gd name="connsiteY101" fmla="*/ 65608 h 495307"/>
                  <a:gd name="connsiteX102" fmla="*/ 165193 w 492336"/>
                  <a:gd name="connsiteY102" fmla="*/ 55889 h 495307"/>
                  <a:gd name="connsiteX103" fmla="*/ 124808 w 492336"/>
                  <a:gd name="connsiteY103" fmla="*/ 96292 h 495307"/>
                  <a:gd name="connsiteX104" fmla="*/ 148048 w 492336"/>
                  <a:gd name="connsiteY104" fmla="*/ 132884 h 495307"/>
                  <a:gd name="connsiteX105" fmla="*/ 148574 w 492336"/>
                  <a:gd name="connsiteY105" fmla="*/ 133462 h 495307"/>
                  <a:gd name="connsiteX106" fmla="*/ 140050 w 492336"/>
                  <a:gd name="connsiteY106" fmla="*/ 135001 h 495307"/>
                  <a:gd name="connsiteX107" fmla="*/ 136717 w 492336"/>
                  <a:gd name="connsiteY107" fmla="*/ 137191 h 495307"/>
                  <a:gd name="connsiteX108" fmla="*/ 125604 w 492336"/>
                  <a:gd name="connsiteY108" fmla="*/ 146537 h 495307"/>
                  <a:gd name="connsiteX109" fmla="*/ 109116 w 492336"/>
                  <a:gd name="connsiteY109" fmla="*/ 131967 h 495307"/>
                  <a:gd name="connsiteX110" fmla="*/ 98710 w 492336"/>
                  <a:gd name="connsiteY110" fmla="*/ 96292 h 495307"/>
                  <a:gd name="connsiteX111" fmla="*/ 165193 w 492336"/>
                  <a:gd name="connsiteY111" fmla="*/ 29779 h 495307"/>
                  <a:gd name="connsiteX112" fmla="*/ 193148 w 492336"/>
                  <a:gd name="connsiteY112" fmla="*/ 35973 h 495307"/>
                  <a:gd name="connsiteX113" fmla="*/ 252250 w 492336"/>
                  <a:gd name="connsiteY113" fmla="*/ 0 h 495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492336" h="495307">
                    <a:moveTo>
                      <a:pt x="175368" y="305636"/>
                    </a:moveTo>
                    <a:cubicBezTo>
                      <a:pt x="161796" y="325168"/>
                      <a:pt x="143701" y="356847"/>
                      <a:pt x="143701" y="381427"/>
                    </a:cubicBezTo>
                    <a:cubicBezTo>
                      <a:pt x="143701" y="398910"/>
                      <a:pt x="157939" y="413154"/>
                      <a:pt x="175415" y="413154"/>
                    </a:cubicBezTo>
                    <a:cubicBezTo>
                      <a:pt x="192892" y="413154"/>
                      <a:pt x="207082" y="398910"/>
                      <a:pt x="207082" y="381427"/>
                    </a:cubicBezTo>
                    <a:cubicBezTo>
                      <a:pt x="207082" y="357132"/>
                      <a:pt x="188939" y="325311"/>
                      <a:pt x="175368" y="305636"/>
                    </a:cubicBezTo>
                    <a:close/>
                    <a:moveTo>
                      <a:pt x="185323" y="275393"/>
                    </a:moveTo>
                    <a:lnTo>
                      <a:pt x="185511" y="275482"/>
                    </a:lnTo>
                    <a:cubicBezTo>
                      <a:pt x="187463" y="277911"/>
                      <a:pt x="233225" y="334457"/>
                      <a:pt x="233225" y="381427"/>
                    </a:cubicBezTo>
                    <a:cubicBezTo>
                      <a:pt x="233225" y="405365"/>
                      <a:pt x="218627" y="425927"/>
                      <a:pt x="197888" y="434711"/>
                    </a:cubicBezTo>
                    <a:lnTo>
                      <a:pt x="197709" y="434748"/>
                    </a:lnTo>
                    <a:lnTo>
                      <a:pt x="197709" y="430303"/>
                    </a:lnTo>
                    <a:cubicBezTo>
                      <a:pt x="197709" y="423065"/>
                      <a:pt x="191853" y="417255"/>
                      <a:pt x="184663" y="417255"/>
                    </a:cubicBezTo>
                    <a:cubicBezTo>
                      <a:pt x="177426" y="417255"/>
                      <a:pt x="171618" y="423065"/>
                      <a:pt x="171618" y="430303"/>
                    </a:cubicBezTo>
                    <a:lnTo>
                      <a:pt x="171618" y="438492"/>
                    </a:lnTo>
                    <a:lnTo>
                      <a:pt x="152915" y="434711"/>
                    </a:lnTo>
                    <a:cubicBezTo>
                      <a:pt x="132156" y="425927"/>
                      <a:pt x="117558" y="405365"/>
                      <a:pt x="117558" y="381427"/>
                    </a:cubicBezTo>
                    <a:cubicBezTo>
                      <a:pt x="117558" y="357609"/>
                      <a:pt x="129010" y="331706"/>
                      <a:pt x="140707" y="311460"/>
                    </a:cubicBezTo>
                    <a:lnTo>
                      <a:pt x="147750" y="300607"/>
                    </a:lnTo>
                    <a:lnTo>
                      <a:pt x="176701" y="295476"/>
                    </a:lnTo>
                    <a:cubicBezTo>
                      <a:pt x="180129" y="294905"/>
                      <a:pt x="183129" y="292953"/>
                      <a:pt x="185129" y="290144"/>
                    </a:cubicBezTo>
                    <a:cubicBezTo>
                      <a:pt x="187129" y="287288"/>
                      <a:pt x="187891" y="283765"/>
                      <a:pt x="187272" y="280337"/>
                    </a:cubicBezTo>
                    <a:close/>
                    <a:moveTo>
                      <a:pt x="82462" y="229635"/>
                    </a:moveTo>
                    <a:cubicBezTo>
                      <a:pt x="49796" y="235443"/>
                      <a:pt x="26653" y="263674"/>
                      <a:pt x="26129" y="295667"/>
                    </a:cubicBezTo>
                    <a:lnTo>
                      <a:pt x="158034" y="272291"/>
                    </a:lnTo>
                    <a:cubicBezTo>
                      <a:pt x="146558" y="242441"/>
                      <a:pt x="115129" y="223970"/>
                      <a:pt x="82462" y="229635"/>
                    </a:cubicBezTo>
                    <a:close/>
                    <a:moveTo>
                      <a:pt x="106250" y="203252"/>
                    </a:moveTo>
                    <a:cubicBezTo>
                      <a:pt x="133872" y="206789"/>
                      <a:pt x="158540" y="222445"/>
                      <a:pt x="173556" y="245542"/>
                    </a:cubicBezTo>
                    <a:lnTo>
                      <a:pt x="185323" y="275393"/>
                    </a:lnTo>
                    <a:lnTo>
                      <a:pt x="175415" y="270718"/>
                    </a:lnTo>
                    <a:cubicBezTo>
                      <a:pt x="171511" y="270718"/>
                      <a:pt x="167796" y="272433"/>
                      <a:pt x="165320" y="275434"/>
                    </a:cubicBezTo>
                    <a:cubicBezTo>
                      <a:pt x="164832" y="276030"/>
                      <a:pt x="161603" y="279975"/>
                      <a:pt x="157034" y="286302"/>
                    </a:cubicBezTo>
                    <a:lnTo>
                      <a:pt x="147750" y="300607"/>
                    </a:lnTo>
                    <a:lnTo>
                      <a:pt x="16605" y="323850"/>
                    </a:lnTo>
                    <a:cubicBezTo>
                      <a:pt x="15843" y="323993"/>
                      <a:pt x="15081" y="324088"/>
                      <a:pt x="14319" y="324088"/>
                    </a:cubicBezTo>
                    <a:cubicBezTo>
                      <a:pt x="8081" y="324088"/>
                      <a:pt x="2557" y="319613"/>
                      <a:pt x="1462" y="313281"/>
                    </a:cubicBezTo>
                    <a:cubicBezTo>
                      <a:pt x="-5359" y="274898"/>
                      <a:pt x="12221" y="237693"/>
                      <a:pt x="43054" y="217653"/>
                    </a:cubicBezTo>
                    <a:lnTo>
                      <a:pt x="69310" y="207308"/>
                    </a:lnTo>
                    <a:lnTo>
                      <a:pt x="67108" y="210195"/>
                    </a:lnTo>
                    <a:cubicBezTo>
                      <a:pt x="63394" y="216386"/>
                      <a:pt x="65394" y="224387"/>
                      <a:pt x="71583" y="228101"/>
                    </a:cubicBezTo>
                    <a:cubicBezTo>
                      <a:pt x="73583" y="229339"/>
                      <a:pt x="75916" y="229958"/>
                      <a:pt x="78297" y="229958"/>
                    </a:cubicBezTo>
                    <a:cubicBezTo>
                      <a:pt x="82725" y="229958"/>
                      <a:pt x="87057" y="227720"/>
                      <a:pt x="89486" y="223625"/>
                    </a:cubicBezTo>
                    <a:lnTo>
                      <a:pt x="105006" y="203282"/>
                    </a:lnTo>
                    <a:close/>
                    <a:moveTo>
                      <a:pt x="149876" y="133227"/>
                    </a:moveTo>
                    <a:cubicBezTo>
                      <a:pt x="153144" y="133941"/>
                      <a:pt x="156143" y="135906"/>
                      <a:pt x="158096" y="138953"/>
                    </a:cubicBezTo>
                    <a:cubicBezTo>
                      <a:pt x="162000" y="145001"/>
                      <a:pt x="160238" y="153097"/>
                      <a:pt x="154144" y="157002"/>
                    </a:cubicBezTo>
                    <a:lnTo>
                      <a:pt x="151287" y="158859"/>
                    </a:lnTo>
                    <a:cubicBezTo>
                      <a:pt x="138765" y="167193"/>
                      <a:pt x="127171" y="176956"/>
                      <a:pt x="116780" y="187849"/>
                    </a:cubicBezTo>
                    <a:lnTo>
                      <a:pt x="105006" y="203282"/>
                    </a:lnTo>
                    <a:lnTo>
                      <a:pt x="77891" y="203927"/>
                    </a:lnTo>
                    <a:lnTo>
                      <a:pt x="69310" y="207308"/>
                    </a:lnTo>
                    <a:lnTo>
                      <a:pt x="97877" y="169854"/>
                    </a:lnTo>
                    <a:lnTo>
                      <a:pt x="125604" y="146537"/>
                    </a:lnTo>
                    <a:lnTo>
                      <a:pt x="136952" y="156564"/>
                    </a:lnTo>
                    <a:cubicBezTo>
                      <a:pt x="143477" y="159613"/>
                      <a:pt x="151239" y="156802"/>
                      <a:pt x="154335" y="150275"/>
                    </a:cubicBezTo>
                    <a:cubicBezTo>
                      <a:pt x="155859" y="147011"/>
                      <a:pt x="155918" y="143438"/>
                      <a:pt x="154781" y="140293"/>
                    </a:cubicBezTo>
                    <a:lnTo>
                      <a:pt x="148574" y="133462"/>
                    </a:lnTo>
                    <a:close/>
                    <a:moveTo>
                      <a:pt x="263462" y="98903"/>
                    </a:moveTo>
                    <a:cubicBezTo>
                      <a:pt x="295018" y="98903"/>
                      <a:pt x="325100" y="105320"/>
                      <a:pt x="352473" y="116918"/>
                    </a:cubicBezTo>
                    <a:lnTo>
                      <a:pt x="377571" y="130559"/>
                    </a:lnTo>
                    <a:lnTo>
                      <a:pt x="375310" y="136410"/>
                    </a:lnTo>
                    <a:cubicBezTo>
                      <a:pt x="370452" y="141746"/>
                      <a:pt x="370881" y="150036"/>
                      <a:pt x="376215" y="154849"/>
                    </a:cubicBezTo>
                    <a:cubicBezTo>
                      <a:pt x="378596" y="157040"/>
                      <a:pt x="381739" y="158279"/>
                      <a:pt x="384978" y="158279"/>
                    </a:cubicBezTo>
                    <a:cubicBezTo>
                      <a:pt x="388549" y="158279"/>
                      <a:pt x="392074" y="156802"/>
                      <a:pt x="394645" y="153991"/>
                    </a:cubicBezTo>
                    <a:lnTo>
                      <a:pt x="400049" y="145231"/>
                    </a:lnTo>
                    <a:lnTo>
                      <a:pt x="425232" y="166020"/>
                    </a:lnTo>
                    <a:cubicBezTo>
                      <a:pt x="466673" y="207469"/>
                      <a:pt x="492336" y="264699"/>
                      <a:pt x="492336" y="327821"/>
                    </a:cubicBezTo>
                    <a:cubicBezTo>
                      <a:pt x="492336" y="331060"/>
                      <a:pt x="492241" y="334298"/>
                      <a:pt x="492098" y="337536"/>
                    </a:cubicBezTo>
                    <a:cubicBezTo>
                      <a:pt x="492003" y="340012"/>
                      <a:pt x="491193" y="342441"/>
                      <a:pt x="489717" y="344489"/>
                    </a:cubicBezTo>
                    <a:cubicBezTo>
                      <a:pt x="423155" y="438923"/>
                      <a:pt x="314598" y="495307"/>
                      <a:pt x="199376" y="495307"/>
                    </a:cubicBezTo>
                    <a:cubicBezTo>
                      <a:pt x="195519" y="495307"/>
                      <a:pt x="191758" y="495069"/>
                      <a:pt x="187949" y="494879"/>
                    </a:cubicBezTo>
                    <a:lnTo>
                      <a:pt x="184092" y="494688"/>
                    </a:lnTo>
                    <a:cubicBezTo>
                      <a:pt x="177093" y="494402"/>
                      <a:pt x="171618" y="488640"/>
                      <a:pt x="171618" y="481640"/>
                    </a:cubicBezTo>
                    <a:lnTo>
                      <a:pt x="171618" y="438492"/>
                    </a:lnTo>
                    <a:lnTo>
                      <a:pt x="175415" y="439259"/>
                    </a:lnTo>
                    <a:lnTo>
                      <a:pt x="197709" y="434748"/>
                    </a:lnTo>
                    <a:lnTo>
                      <a:pt x="197709" y="469163"/>
                    </a:lnTo>
                    <a:cubicBezTo>
                      <a:pt x="198281" y="469163"/>
                      <a:pt x="198804" y="469163"/>
                      <a:pt x="199376" y="469163"/>
                    </a:cubicBezTo>
                    <a:cubicBezTo>
                      <a:pt x="304838" y="469163"/>
                      <a:pt x="404300" y="418160"/>
                      <a:pt x="466149" y="332583"/>
                    </a:cubicBezTo>
                    <a:cubicBezTo>
                      <a:pt x="466197" y="331012"/>
                      <a:pt x="466244" y="329393"/>
                      <a:pt x="466244" y="327821"/>
                    </a:cubicBezTo>
                    <a:cubicBezTo>
                      <a:pt x="466244" y="216005"/>
                      <a:pt x="375257" y="125000"/>
                      <a:pt x="263462" y="125000"/>
                    </a:cubicBezTo>
                    <a:cubicBezTo>
                      <a:pt x="242989" y="125000"/>
                      <a:pt x="222801" y="128048"/>
                      <a:pt x="203423" y="134048"/>
                    </a:cubicBezTo>
                    <a:cubicBezTo>
                      <a:pt x="196519" y="136144"/>
                      <a:pt x="189234" y="132334"/>
                      <a:pt x="187092" y="125429"/>
                    </a:cubicBezTo>
                    <a:cubicBezTo>
                      <a:pt x="184949" y="118523"/>
                      <a:pt x="188853" y="111237"/>
                      <a:pt x="195710" y="109094"/>
                    </a:cubicBezTo>
                    <a:cubicBezTo>
                      <a:pt x="217564" y="102332"/>
                      <a:pt x="240370" y="98903"/>
                      <a:pt x="263462" y="98903"/>
                    </a:cubicBezTo>
                    <a:close/>
                    <a:moveTo>
                      <a:pt x="252250" y="0"/>
                    </a:moveTo>
                    <a:cubicBezTo>
                      <a:pt x="282967" y="0"/>
                      <a:pt x="308922" y="20964"/>
                      <a:pt x="316494" y="49361"/>
                    </a:cubicBezTo>
                    <a:cubicBezTo>
                      <a:pt x="325495" y="45025"/>
                      <a:pt x="335401" y="42738"/>
                      <a:pt x="345402" y="42738"/>
                    </a:cubicBezTo>
                    <a:cubicBezTo>
                      <a:pt x="382072" y="42738"/>
                      <a:pt x="411885" y="72612"/>
                      <a:pt x="411885" y="109299"/>
                    </a:cubicBezTo>
                    <a:cubicBezTo>
                      <a:pt x="411885" y="117590"/>
                      <a:pt x="410349" y="125702"/>
                      <a:pt x="407426" y="133271"/>
                    </a:cubicBezTo>
                    <a:lnTo>
                      <a:pt x="400049" y="145231"/>
                    </a:lnTo>
                    <a:lnTo>
                      <a:pt x="391348" y="138047"/>
                    </a:lnTo>
                    <a:lnTo>
                      <a:pt x="377571" y="130559"/>
                    </a:lnTo>
                    <a:lnTo>
                      <a:pt x="385787" y="109299"/>
                    </a:lnTo>
                    <a:cubicBezTo>
                      <a:pt x="385787" y="87001"/>
                      <a:pt x="367642" y="68896"/>
                      <a:pt x="345402" y="68896"/>
                    </a:cubicBezTo>
                    <a:cubicBezTo>
                      <a:pt x="333734" y="68896"/>
                      <a:pt x="322590" y="73994"/>
                      <a:pt x="314923" y="82856"/>
                    </a:cubicBezTo>
                    <a:cubicBezTo>
                      <a:pt x="311113" y="87239"/>
                      <a:pt x="304874" y="88574"/>
                      <a:pt x="299588" y="86144"/>
                    </a:cubicBezTo>
                    <a:cubicBezTo>
                      <a:pt x="294349" y="83714"/>
                      <a:pt x="291301" y="78139"/>
                      <a:pt x="292111" y="72374"/>
                    </a:cubicBezTo>
                    <a:cubicBezTo>
                      <a:pt x="292397" y="70468"/>
                      <a:pt x="292635" y="68515"/>
                      <a:pt x="292635" y="66514"/>
                    </a:cubicBezTo>
                    <a:cubicBezTo>
                      <a:pt x="292635" y="44215"/>
                      <a:pt x="274490" y="26110"/>
                      <a:pt x="252250" y="26110"/>
                    </a:cubicBezTo>
                    <a:cubicBezTo>
                      <a:pt x="233152" y="26110"/>
                      <a:pt x="216532" y="39641"/>
                      <a:pt x="212674" y="58319"/>
                    </a:cubicBezTo>
                    <a:cubicBezTo>
                      <a:pt x="211769" y="62845"/>
                      <a:pt x="208531" y="66561"/>
                      <a:pt x="204149" y="68038"/>
                    </a:cubicBezTo>
                    <a:cubicBezTo>
                      <a:pt x="199768" y="69563"/>
                      <a:pt x="194910" y="68610"/>
                      <a:pt x="191386" y="65608"/>
                    </a:cubicBezTo>
                    <a:cubicBezTo>
                      <a:pt x="184100" y="59367"/>
                      <a:pt x="174765" y="55889"/>
                      <a:pt x="165193" y="55889"/>
                    </a:cubicBezTo>
                    <a:cubicBezTo>
                      <a:pt x="142953" y="55889"/>
                      <a:pt x="124808" y="74042"/>
                      <a:pt x="124808" y="96292"/>
                    </a:cubicBezTo>
                    <a:cubicBezTo>
                      <a:pt x="124808" y="111920"/>
                      <a:pt x="133952" y="126261"/>
                      <a:pt x="148048" y="132884"/>
                    </a:cubicBezTo>
                    <a:lnTo>
                      <a:pt x="148574" y="133462"/>
                    </a:lnTo>
                    <a:lnTo>
                      <a:pt x="140050" y="135001"/>
                    </a:lnTo>
                    <a:lnTo>
                      <a:pt x="136717" y="137191"/>
                    </a:lnTo>
                    <a:lnTo>
                      <a:pt x="125604" y="146537"/>
                    </a:lnTo>
                    <a:lnTo>
                      <a:pt x="109116" y="131967"/>
                    </a:lnTo>
                    <a:cubicBezTo>
                      <a:pt x="102460" y="121473"/>
                      <a:pt x="98710" y="109133"/>
                      <a:pt x="98710" y="96292"/>
                    </a:cubicBezTo>
                    <a:cubicBezTo>
                      <a:pt x="98710" y="59605"/>
                      <a:pt x="128523" y="29779"/>
                      <a:pt x="165193" y="29779"/>
                    </a:cubicBezTo>
                    <a:cubicBezTo>
                      <a:pt x="174908" y="29779"/>
                      <a:pt x="184433" y="31923"/>
                      <a:pt x="193148" y="35973"/>
                    </a:cubicBezTo>
                    <a:cubicBezTo>
                      <a:pt x="204388" y="14389"/>
                      <a:pt x="227009" y="0"/>
                      <a:pt x="25225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0" dist="127000" dir="4200000" algn="ctr" rotWithShape="0">
                  <a:srgbClr val="000000">
                    <a:alpha val="1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294" name="文本框 39">
                <a:extLst>
                  <a:ext uri="{FF2B5EF4-FFF2-40B4-BE49-F238E27FC236}">
                    <a16:creationId xmlns:a16="http://schemas.microsoft.com/office/drawing/2014/main" id="{E77A1959-969A-4540-B40E-A83FDFBAF248}"/>
                  </a:ext>
                </a:extLst>
              </p:cNvPr>
              <p:cNvSpPr txBox="1"/>
              <p:nvPr/>
            </p:nvSpPr>
            <p:spPr>
              <a:xfrm>
                <a:off x="1575720" y="3134945"/>
                <a:ext cx="736099" cy="3942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dirty="0">
                    <a:solidFill>
                      <a:schemeClr val="accent1"/>
                    </a:solidFill>
                  </a:rPr>
                  <a:t>Noob</a:t>
                </a:r>
              </a:p>
            </p:txBody>
          </p:sp>
          <p:sp>
            <p:nvSpPr>
              <p:cNvPr id="295" name="文本框 40">
                <a:extLst>
                  <a:ext uri="{FF2B5EF4-FFF2-40B4-BE49-F238E27FC236}">
                    <a16:creationId xmlns:a16="http://schemas.microsoft.com/office/drawing/2014/main" id="{20DC5EBE-F707-496E-9C07-895C387ADD66}"/>
                  </a:ext>
                </a:extLst>
              </p:cNvPr>
              <p:cNvSpPr txBox="1"/>
              <p:nvPr/>
            </p:nvSpPr>
            <p:spPr>
              <a:xfrm>
                <a:off x="1376914" y="3529155"/>
                <a:ext cx="2928386" cy="7380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编程技能掌握得少且生疏，软件开发经验不足，沟通配合能力尚需磨练。</a:t>
                </a:r>
                <a:r>
                  <a:rPr lang="zh-CN" altLang="en-US" sz="1200" b="1" dirty="0"/>
                  <a:t>技术风险巨大。</a:t>
                </a:r>
              </a:p>
            </p:txBody>
          </p:sp>
          <p:cxnSp>
            <p:nvCxnSpPr>
              <p:cNvPr id="296" name="直接连接符 295">
                <a:extLst>
                  <a:ext uri="{FF2B5EF4-FFF2-40B4-BE49-F238E27FC236}">
                    <a16:creationId xmlns:a16="http://schemas.microsoft.com/office/drawing/2014/main" id="{01869C08-3CD5-438B-BB8D-8414564AD8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71734" y="4792508"/>
                <a:ext cx="572966" cy="0"/>
              </a:xfrm>
              <a:prstGeom prst="line">
                <a:avLst/>
              </a:prstGeom>
              <a:ln>
                <a:solidFill>
                  <a:schemeClr val="tx1"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7" name="任意多边形 42">
                <a:extLst>
                  <a:ext uri="{FF2B5EF4-FFF2-40B4-BE49-F238E27FC236}">
                    <a16:creationId xmlns:a16="http://schemas.microsoft.com/office/drawing/2014/main" id="{D36784CF-7271-425A-9FB9-F39B50025689}"/>
                  </a:ext>
                </a:extLst>
              </p:cNvPr>
              <p:cNvSpPr/>
              <p:nvPr/>
            </p:nvSpPr>
            <p:spPr bwMode="auto">
              <a:xfrm>
                <a:off x="3923142" y="4476266"/>
                <a:ext cx="319845" cy="321776"/>
              </a:xfrm>
              <a:custGeom>
                <a:avLst/>
                <a:gdLst>
                  <a:gd name="connsiteX0" fmla="*/ 175368 w 492336"/>
                  <a:gd name="connsiteY0" fmla="*/ 305636 h 495307"/>
                  <a:gd name="connsiteX1" fmla="*/ 143701 w 492336"/>
                  <a:gd name="connsiteY1" fmla="*/ 381427 h 495307"/>
                  <a:gd name="connsiteX2" fmla="*/ 175415 w 492336"/>
                  <a:gd name="connsiteY2" fmla="*/ 413154 h 495307"/>
                  <a:gd name="connsiteX3" fmla="*/ 207082 w 492336"/>
                  <a:gd name="connsiteY3" fmla="*/ 381427 h 495307"/>
                  <a:gd name="connsiteX4" fmla="*/ 175368 w 492336"/>
                  <a:gd name="connsiteY4" fmla="*/ 305636 h 495307"/>
                  <a:gd name="connsiteX5" fmla="*/ 185323 w 492336"/>
                  <a:gd name="connsiteY5" fmla="*/ 275393 h 495307"/>
                  <a:gd name="connsiteX6" fmla="*/ 185511 w 492336"/>
                  <a:gd name="connsiteY6" fmla="*/ 275482 h 495307"/>
                  <a:gd name="connsiteX7" fmla="*/ 233225 w 492336"/>
                  <a:gd name="connsiteY7" fmla="*/ 381427 h 495307"/>
                  <a:gd name="connsiteX8" fmla="*/ 197888 w 492336"/>
                  <a:gd name="connsiteY8" fmla="*/ 434711 h 495307"/>
                  <a:gd name="connsiteX9" fmla="*/ 197709 w 492336"/>
                  <a:gd name="connsiteY9" fmla="*/ 434748 h 495307"/>
                  <a:gd name="connsiteX10" fmla="*/ 197709 w 492336"/>
                  <a:gd name="connsiteY10" fmla="*/ 430303 h 495307"/>
                  <a:gd name="connsiteX11" fmla="*/ 184663 w 492336"/>
                  <a:gd name="connsiteY11" fmla="*/ 417255 h 495307"/>
                  <a:gd name="connsiteX12" fmla="*/ 171618 w 492336"/>
                  <a:gd name="connsiteY12" fmla="*/ 430303 h 495307"/>
                  <a:gd name="connsiteX13" fmla="*/ 171618 w 492336"/>
                  <a:gd name="connsiteY13" fmla="*/ 438492 h 495307"/>
                  <a:gd name="connsiteX14" fmla="*/ 152915 w 492336"/>
                  <a:gd name="connsiteY14" fmla="*/ 434711 h 495307"/>
                  <a:gd name="connsiteX15" fmla="*/ 117558 w 492336"/>
                  <a:gd name="connsiteY15" fmla="*/ 381427 h 495307"/>
                  <a:gd name="connsiteX16" fmla="*/ 140707 w 492336"/>
                  <a:gd name="connsiteY16" fmla="*/ 311460 h 495307"/>
                  <a:gd name="connsiteX17" fmla="*/ 147750 w 492336"/>
                  <a:gd name="connsiteY17" fmla="*/ 300607 h 495307"/>
                  <a:gd name="connsiteX18" fmla="*/ 176701 w 492336"/>
                  <a:gd name="connsiteY18" fmla="*/ 295476 h 495307"/>
                  <a:gd name="connsiteX19" fmla="*/ 185129 w 492336"/>
                  <a:gd name="connsiteY19" fmla="*/ 290144 h 495307"/>
                  <a:gd name="connsiteX20" fmla="*/ 187272 w 492336"/>
                  <a:gd name="connsiteY20" fmla="*/ 280337 h 495307"/>
                  <a:gd name="connsiteX21" fmla="*/ 82462 w 492336"/>
                  <a:gd name="connsiteY21" fmla="*/ 229635 h 495307"/>
                  <a:gd name="connsiteX22" fmla="*/ 26129 w 492336"/>
                  <a:gd name="connsiteY22" fmla="*/ 295667 h 495307"/>
                  <a:gd name="connsiteX23" fmla="*/ 158034 w 492336"/>
                  <a:gd name="connsiteY23" fmla="*/ 272291 h 495307"/>
                  <a:gd name="connsiteX24" fmla="*/ 82462 w 492336"/>
                  <a:gd name="connsiteY24" fmla="*/ 229635 h 495307"/>
                  <a:gd name="connsiteX25" fmla="*/ 106250 w 492336"/>
                  <a:gd name="connsiteY25" fmla="*/ 203252 h 495307"/>
                  <a:gd name="connsiteX26" fmla="*/ 173556 w 492336"/>
                  <a:gd name="connsiteY26" fmla="*/ 245542 h 495307"/>
                  <a:gd name="connsiteX27" fmla="*/ 185323 w 492336"/>
                  <a:gd name="connsiteY27" fmla="*/ 275393 h 495307"/>
                  <a:gd name="connsiteX28" fmla="*/ 175415 w 492336"/>
                  <a:gd name="connsiteY28" fmla="*/ 270718 h 495307"/>
                  <a:gd name="connsiteX29" fmla="*/ 165320 w 492336"/>
                  <a:gd name="connsiteY29" fmla="*/ 275434 h 495307"/>
                  <a:gd name="connsiteX30" fmla="*/ 157034 w 492336"/>
                  <a:gd name="connsiteY30" fmla="*/ 286302 h 495307"/>
                  <a:gd name="connsiteX31" fmla="*/ 147750 w 492336"/>
                  <a:gd name="connsiteY31" fmla="*/ 300607 h 495307"/>
                  <a:gd name="connsiteX32" fmla="*/ 16605 w 492336"/>
                  <a:gd name="connsiteY32" fmla="*/ 323850 h 495307"/>
                  <a:gd name="connsiteX33" fmla="*/ 14319 w 492336"/>
                  <a:gd name="connsiteY33" fmla="*/ 324088 h 495307"/>
                  <a:gd name="connsiteX34" fmla="*/ 1462 w 492336"/>
                  <a:gd name="connsiteY34" fmla="*/ 313281 h 495307"/>
                  <a:gd name="connsiteX35" fmla="*/ 43054 w 492336"/>
                  <a:gd name="connsiteY35" fmla="*/ 217653 h 495307"/>
                  <a:gd name="connsiteX36" fmla="*/ 69310 w 492336"/>
                  <a:gd name="connsiteY36" fmla="*/ 207308 h 495307"/>
                  <a:gd name="connsiteX37" fmla="*/ 67108 w 492336"/>
                  <a:gd name="connsiteY37" fmla="*/ 210195 h 495307"/>
                  <a:gd name="connsiteX38" fmla="*/ 71583 w 492336"/>
                  <a:gd name="connsiteY38" fmla="*/ 228101 h 495307"/>
                  <a:gd name="connsiteX39" fmla="*/ 78297 w 492336"/>
                  <a:gd name="connsiteY39" fmla="*/ 229958 h 495307"/>
                  <a:gd name="connsiteX40" fmla="*/ 89486 w 492336"/>
                  <a:gd name="connsiteY40" fmla="*/ 223625 h 495307"/>
                  <a:gd name="connsiteX41" fmla="*/ 105006 w 492336"/>
                  <a:gd name="connsiteY41" fmla="*/ 203282 h 495307"/>
                  <a:gd name="connsiteX42" fmla="*/ 149876 w 492336"/>
                  <a:gd name="connsiteY42" fmla="*/ 133227 h 495307"/>
                  <a:gd name="connsiteX43" fmla="*/ 158096 w 492336"/>
                  <a:gd name="connsiteY43" fmla="*/ 138953 h 495307"/>
                  <a:gd name="connsiteX44" fmla="*/ 154144 w 492336"/>
                  <a:gd name="connsiteY44" fmla="*/ 157002 h 495307"/>
                  <a:gd name="connsiteX45" fmla="*/ 151287 w 492336"/>
                  <a:gd name="connsiteY45" fmla="*/ 158859 h 495307"/>
                  <a:gd name="connsiteX46" fmla="*/ 116780 w 492336"/>
                  <a:gd name="connsiteY46" fmla="*/ 187849 h 495307"/>
                  <a:gd name="connsiteX47" fmla="*/ 105006 w 492336"/>
                  <a:gd name="connsiteY47" fmla="*/ 203282 h 495307"/>
                  <a:gd name="connsiteX48" fmla="*/ 77891 w 492336"/>
                  <a:gd name="connsiteY48" fmla="*/ 203927 h 495307"/>
                  <a:gd name="connsiteX49" fmla="*/ 69310 w 492336"/>
                  <a:gd name="connsiteY49" fmla="*/ 207308 h 495307"/>
                  <a:gd name="connsiteX50" fmla="*/ 97877 w 492336"/>
                  <a:gd name="connsiteY50" fmla="*/ 169854 h 495307"/>
                  <a:gd name="connsiteX51" fmla="*/ 125604 w 492336"/>
                  <a:gd name="connsiteY51" fmla="*/ 146537 h 495307"/>
                  <a:gd name="connsiteX52" fmla="*/ 136952 w 492336"/>
                  <a:gd name="connsiteY52" fmla="*/ 156564 h 495307"/>
                  <a:gd name="connsiteX53" fmla="*/ 154335 w 492336"/>
                  <a:gd name="connsiteY53" fmla="*/ 150275 h 495307"/>
                  <a:gd name="connsiteX54" fmla="*/ 154781 w 492336"/>
                  <a:gd name="connsiteY54" fmla="*/ 140293 h 495307"/>
                  <a:gd name="connsiteX55" fmla="*/ 148574 w 492336"/>
                  <a:gd name="connsiteY55" fmla="*/ 133462 h 495307"/>
                  <a:gd name="connsiteX56" fmla="*/ 263462 w 492336"/>
                  <a:gd name="connsiteY56" fmla="*/ 98903 h 495307"/>
                  <a:gd name="connsiteX57" fmla="*/ 352473 w 492336"/>
                  <a:gd name="connsiteY57" fmla="*/ 116918 h 495307"/>
                  <a:gd name="connsiteX58" fmla="*/ 377571 w 492336"/>
                  <a:gd name="connsiteY58" fmla="*/ 130559 h 495307"/>
                  <a:gd name="connsiteX59" fmla="*/ 375310 w 492336"/>
                  <a:gd name="connsiteY59" fmla="*/ 136410 h 495307"/>
                  <a:gd name="connsiteX60" fmla="*/ 376215 w 492336"/>
                  <a:gd name="connsiteY60" fmla="*/ 154849 h 495307"/>
                  <a:gd name="connsiteX61" fmla="*/ 384978 w 492336"/>
                  <a:gd name="connsiteY61" fmla="*/ 158279 h 495307"/>
                  <a:gd name="connsiteX62" fmla="*/ 394645 w 492336"/>
                  <a:gd name="connsiteY62" fmla="*/ 153991 h 495307"/>
                  <a:gd name="connsiteX63" fmla="*/ 400049 w 492336"/>
                  <a:gd name="connsiteY63" fmla="*/ 145231 h 495307"/>
                  <a:gd name="connsiteX64" fmla="*/ 425232 w 492336"/>
                  <a:gd name="connsiteY64" fmla="*/ 166020 h 495307"/>
                  <a:gd name="connsiteX65" fmla="*/ 492336 w 492336"/>
                  <a:gd name="connsiteY65" fmla="*/ 327821 h 495307"/>
                  <a:gd name="connsiteX66" fmla="*/ 492098 w 492336"/>
                  <a:gd name="connsiteY66" fmla="*/ 337536 h 495307"/>
                  <a:gd name="connsiteX67" fmla="*/ 489717 w 492336"/>
                  <a:gd name="connsiteY67" fmla="*/ 344489 h 495307"/>
                  <a:gd name="connsiteX68" fmla="*/ 199376 w 492336"/>
                  <a:gd name="connsiteY68" fmla="*/ 495307 h 495307"/>
                  <a:gd name="connsiteX69" fmla="*/ 187949 w 492336"/>
                  <a:gd name="connsiteY69" fmla="*/ 494879 h 495307"/>
                  <a:gd name="connsiteX70" fmla="*/ 184092 w 492336"/>
                  <a:gd name="connsiteY70" fmla="*/ 494688 h 495307"/>
                  <a:gd name="connsiteX71" fmla="*/ 171618 w 492336"/>
                  <a:gd name="connsiteY71" fmla="*/ 481640 h 495307"/>
                  <a:gd name="connsiteX72" fmla="*/ 171618 w 492336"/>
                  <a:gd name="connsiteY72" fmla="*/ 438492 h 495307"/>
                  <a:gd name="connsiteX73" fmla="*/ 175415 w 492336"/>
                  <a:gd name="connsiteY73" fmla="*/ 439259 h 495307"/>
                  <a:gd name="connsiteX74" fmla="*/ 197709 w 492336"/>
                  <a:gd name="connsiteY74" fmla="*/ 434748 h 495307"/>
                  <a:gd name="connsiteX75" fmla="*/ 197709 w 492336"/>
                  <a:gd name="connsiteY75" fmla="*/ 469163 h 495307"/>
                  <a:gd name="connsiteX76" fmla="*/ 199376 w 492336"/>
                  <a:gd name="connsiteY76" fmla="*/ 469163 h 495307"/>
                  <a:gd name="connsiteX77" fmla="*/ 466149 w 492336"/>
                  <a:gd name="connsiteY77" fmla="*/ 332583 h 495307"/>
                  <a:gd name="connsiteX78" fmla="*/ 466244 w 492336"/>
                  <a:gd name="connsiteY78" fmla="*/ 327821 h 495307"/>
                  <a:gd name="connsiteX79" fmla="*/ 263462 w 492336"/>
                  <a:gd name="connsiteY79" fmla="*/ 125000 h 495307"/>
                  <a:gd name="connsiteX80" fmla="*/ 203423 w 492336"/>
                  <a:gd name="connsiteY80" fmla="*/ 134048 h 495307"/>
                  <a:gd name="connsiteX81" fmla="*/ 187092 w 492336"/>
                  <a:gd name="connsiteY81" fmla="*/ 125429 h 495307"/>
                  <a:gd name="connsiteX82" fmla="*/ 195710 w 492336"/>
                  <a:gd name="connsiteY82" fmla="*/ 109094 h 495307"/>
                  <a:gd name="connsiteX83" fmla="*/ 263462 w 492336"/>
                  <a:gd name="connsiteY83" fmla="*/ 98903 h 495307"/>
                  <a:gd name="connsiteX84" fmla="*/ 252250 w 492336"/>
                  <a:gd name="connsiteY84" fmla="*/ 0 h 495307"/>
                  <a:gd name="connsiteX85" fmla="*/ 316494 w 492336"/>
                  <a:gd name="connsiteY85" fmla="*/ 49361 h 495307"/>
                  <a:gd name="connsiteX86" fmla="*/ 345402 w 492336"/>
                  <a:gd name="connsiteY86" fmla="*/ 42738 h 495307"/>
                  <a:gd name="connsiteX87" fmla="*/ 411885 w 492336"/>
                  <a:gd name="connsiteY87" fmla="*/ 109299 h 495307"/>
                  <a:gd name="connsiteX88" fmla="*/ 407426 w 492336"/>
                  <a:gd name="connsiteY88" fmla="*/ 133271 h 495307"/>
                  <a:gd name="connsiteX89" fmla="*/ 400049 w 492336"/>
                  <a:gd name="connsiteY89" fmla="*/ 145231 h 495307"/>
                  <a:gd name="connsiteX90" fmla="*/ 391348 w 492336"/>
                  <a:gd name="connsiteY90" fmla="*/ 138047 h 495307"/>
                  <a:gd name="connsiteX91" fmla="*/ 377571 w 492336"/>
                  <a:gd name="connsiteY91" fmla="*/ 130559 h 495307"/>
                  <a:gd name="connsiteX92" fmla="*/ 385787 w 492336"/>
                  <a:gd name="connsiteY92" fmla="*/ 109299 h 495307"/>
                  <a:gd name="connsiteX93" fmla="*/ 345402 w 492336"/>
                  <a:gd name="connsiteY93" fmla="*/ 68896 h 495307"/>
                  <a:gd name="connsiteX94" fmla="*/ 314923 w 492336"/>
                  <a:gd name="connsiteY94" fmla="*/ 82856 h 495307"/>
                  <a:gd name="connsiteX95" fmla="*/ 299588 w 492336"/>
                  <a:gd name="connsiteY95" fmla="*/ 86144 h 495307"/>
                  <a:gd name="connsiteX96" fmla="*/ 292111 w 492336"/>
                  <a:gd name="connsiteY96" fmla="*/ 72374 h 495307"/>
                  <a:gd name="connsiteX97" fmla="*/ 292635 w 492336"/>
                  <a:gd name="connsiteY97" fmla="*/ 66514 h 495307"/>
                  <a:gd name="connsiteX98" fmla="*/ 252250 w 492336"/>
                  <a:gd name="connsiteY98" fmla="*/ 26110 h 495307"/>
                  <a:gd name="connsiteX99" fmla="*/ 212674 w 492336"/>
                  <a:gd name="connsiteY99" fmla="*/ 58319 h 495307"/>
                  <a:gd name="connsiteX100" fmla="*/ 204149 w 492336"/>
                  <a:gd name="connsiteY100" fmla="*/ 68038 h 495307"/>
                  <a:gd name="connsiteX101" fmla="*/ 191386 w 492336"/>
                  <a:gd name="connsiteY101" fmla="*/ 65608 h 495307"/>
                  <a:gd name="connsiteX102" fmla="*/ 165193 w 492336"/>
                  <a:gd name="connsiteY102" fmla="*/ 55889 h 495307"/>
                  <a:gd name="connsiteX103" fmla="*/ 124808 w 492336"/>
                  <a:gd name="connsiteY103" fmla="*/ 96292 h 495307"/>
                  <a:gd name="connsiteX104" fmla="*/ 148048 w 492336"/>
                  <a:gd name="connsiteY104" fmla="*/ 132884 h 495307"/>
                  <a:gd name="connsiteX105" fmla="*/ 148574 w 492336"/>
                  <a:gd name="connsiteY105" fmla="*/ 133462 h 495307"/>
                  <a:gd name="connsiteX106" fmla="*/ 140050 w 492336"/>
                  <a:gd name="connsiteY106" fmla="*/ 135001 h 495307"/>
                  <a:gd name="connsiteX107" fmla="*/ 136717 w 492336"/>
                  <a:gd name="connsiteY107" fmla="*/ 137191 h 495307"/>
                  <a:gd name="connsiteX108" fmla="*/ 125604 w 492336"/>
                  <a:gd name="connsiteY108" fmla="*/ 146537 h 495307"/>
                  <a:gd name="connsiteX109" fmla="*/ 109116 w 492336"/>
                  <a:gd name="connsiteY109" fmla="*/ 131967 h 495307"/>
                  <a:gd name="connsiteX110" fmla="*/ 98710 w 492336"/>
                  <a:gd name="connsiteY110" fmla="*/ 96292 h 495307"/>
                  <a:gd name="connsiteX111" fmla="*/ 165193 w 492336"/>
                  <a:gd name="connsiteY111" fmla="*/ 29779 h 495307"/>
                  <a:gd name="connsiteX112" fmla="*/ 193148 w 492336"/>
                  <a:gd name="connsiteY112" fmla="*/ 35973 h 495307"/>
                  <a:gd name="connsiteX113" fmla="*/ 252250 w 492336"/>
                  <a:gd name="connsiteY113" fmla="*/ 0 h 495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492336" h="495307">
                    <a:moveTo>
                      <a:pt x="175368" y="305636"/>
                    </a:moveTo>
                    <a:cubicBezTo>
                      <a:pt x="161796" y="325168"/>
                      <a:pt x="143701" y="356847"/>
                      <a:pt x="143701" y="381427"/>
                    </a:cubicBezTo>
                    <a:cubicBezTo>
                      <a:pt x="143701" y="398910"/>
                      <a:pt x="157939" y="413154"/>
                      <a:pt x="175415" y="413154"/>
                    </a:cubicBezTo>
                    <a:cubicBezTo>
                      <a:pt x="192892" y="413154"/>
                      <a:pt x="207082" y="398910"/>
                      <a:pt x="207082" y="381427"/>
                    </a:cubicBezTo>
                    <a:cubicBezTo>
                      <a:pt x="207082" y="357132"/>
                      <a:pt x="188939" y="325311"/>
                      <a:pt x="175368" y="305636"/>
                    </a:cubicBezTo>
                    <a:close/>
                    <a:moveTo>
                      <a:pt x="185323" y="275393"/>
                    </a:moveTo>
                    <a:lnTo>
                      <a:pt x="185511" y="275482"/>
                    </a:lnTo>
                    <a:cubicBezTo>
                      <a:pt x="187463" y="277911"/>
                      <a:pt x="233225" y="334457"/>
                      <a:pt x="233225" y="381427"/>
                    </a:cubicBezTo>
                    <a:cubicBezTo>
                      <a:pt x="233225" y="405365"/>
                      <a:pt x="218627" y="425927"/>
                      <a:pt x="197888" y="434711"/>
                    </a:cubicBezTo>
                    <a:lnTo>
                      <a:pt x="197709" y="434748"/>
                    </a:lnTo>
                    <a:lnTo>
                      <a:pt x="197709" y="430303"/>
                    </a:lnTo>
                    <a:cubicBezTo>
                      <a:pt x="197709" y="423065"/>
                      <a:pt x="191853" y="417255"/>
                      <a:pt x="184663" y="417255"/>
                    </a:cubicBezTo>
                    <a:cubicBezTo>
                      <a:pt x="177426" y="417255"/>
                      <a:pt x="171618" y="423065"/>
                      <a:pt x="171618" y="430303"/>
                    </a:cubicBezTo>
                    <a:lnTo>
                      <a:pt x="171618" y="438492"/>
                    </a:lnTo>
                    <a:lnTo>
                      <a:pt x="152915" y="434711"/>
                    </a:lnTo>
                    <a:cubicBezTo>
                      <a:pt x="132156" y="425927"/>
                      <a:pt x="117558" y="405365"/>
                      <a:pt x="117558" y="381427"/>
                    </a:cubicBezTo>
                    <a:cubicBezTo>
                      <a:pt x="117558" y="357609"/>
                      <a:pt x="129010" y="331706"/>
                      <a:pt x="140707" y="311460"/>
                    </a:cubicBezTo>
                    <a:lnTo>
                      <a:pt x="147750" y="300607"/>
                    </a:lnTo>
                    <a:lnTo>
                      <a:pt x="176701" y="295476"/>
                    </a:lnTo>
                    <a:cubicBezTo>
                      <a:pt x="180129" y="294905"/>
                      <a:pt x="183129" y="292953"/>
                      <a:pt x="185129" y="290144"/>
                    </a:cubicBezTo>
                    <a:cubicBezTo>
                      <a:pt x="187129" y="287288"/>
                      <a:pt x="187891" y="283765"/>
                      <a:pt x="187272" y="280337"/>
                    </a:cubicBezTo>
                    <a:close/>
                    <a:moveTo>
                      <a:pt x="82462" y="229635"/>
                    </a:moveTo>
                    <a:cubicBezTo>
                      <a:pt x="49796" y="235443"/>
                      <a:pt x="26653" y="263674"/>
                      <a:pt x="26129" y="295667"/>
                    </a:cubicBezTo>
                    <a:lnTo>
                      <a:pt x="158034" y="272291"/>
                    </a:lnTo>
                    <a:cubicBezTo>
                      <a:pt x="146558" y="242441"/>
                      <a:pt x="115129" y="223970"/>
                      <a:pt x="82462" y="229635"/>
                    </a:cubicBezTo>
                    <a:close/>
                    <a:moveTo>
                      <a:pt x="106250" y="203252"/>
                    </a:moveTo>
                    <a:cubicBezTo>
                      <a:pt x="133872" y="206789"/>
                      <a:pt x="158540" y="222445"/>
                      <a:pt x="173556" y="245542"/>
                    </a:cubicBezTo>
                    <a:lnTo>
                      <a:pt x="185323" y="275393"/>
                    </a:lnTo>
                    <a:lnTo>
                      <a:pt x="175415" y="270718"/>
                    </a:lnTo>
                    <a:cubicBezTo>
                      <a:pt x="171511" y="270718"/>
                      <a:pt x="167796" y="272433"/>
                      <a:pt x="165320" y="275434"/>
                    </a:cubicBezTo>
                    <a:cubicBezTo>
                      <a:pt x="164832" y="276030"/>
                      <a:pt x="161603" y="279975"/>
                      <a:pt x="157034" y="286302"/>
                    </a:cubicBezTo>
                    <a:lnTo>
                      <a:pt x="147750" y="300607"/>
                    </a:lnTo>
                    <a:lnTo>
                      <a:pt x="16605" y="323850"/>
                    </a:lnTo>
                    <a:cubicBezTo>
                      <a:pt x="15843" y="323993"/>
                      <a:pt x="15081" y="324088"/>
                      <a:pt x="14319" y="324088"/>
                    </a:cubicBezTo>
                    <a:cubicBezTo>
                      <a:pt x="8081" y="324088"/>
                      <a:pt x="2557" y="319613"/>
                      <a:pt x="1462" y="313281"/>
                    </a:cubicBezTo>
                    <a:cubicBezTo>
                      <a:pt x="-5359" y="274898"/>
                      <a:pt x="12221" y="237693"/>
                      <a:pt x="43054" y="217653"/>
                    </a:cubicBezTo>
                    <a:lnTo>
                      <a:pt x="69310" y="207308"/>
                    </a:lnTo>
                    <a:lnTo>
                      <a:pt x="67108" y="210195"/>
                    </a:lnTo>
                    <a:cubicBezTo>
                      <a:pt x="63394" y="216386"/>
                      <a:pt x="65394" y="224387"/>
                      <a:pt x="71583" y="228101"/>
                    </a:cubicBezTo>
                    <a:cubicBezTo>
                      <a:pt x="73583" y="229339"/>
                      <a:pt x="75916" y="229958"/>
                      <a:pt x="78297" y="229958"/>
                    </a:cubicBezTo>
                    <a:cubicBezTo>
                      <a:pt x="82725" y="229958"/>
                      <a:pt x="87057" y="227720"/>
                      <a:pt x="89486" y="223625"/>
                    </a:cubicBezTo>
                    <a:lnTo>
                      <a:pt x="105006" y="203282"/>
                    </a:lnTo>
                    <a:close/>
                    <a:moveTo>
                      <a:pt x="149876" y="133227"/>
                    </a:moveTo>
                    <a:cubicBezTo>
                      <a:pt x="153144" y="133941"/>
                      <a:pt x="156143" y="135906"/>
                      <a:pt x="158096" y="138953"/>
                    </a:cubicBezTo>
                    <a:cubicBezTo>
                      <a:pt x="162000" y="145001"/>
                      <a:pt x="160238" y="153097"/>
                      <a:pt x="154144" y="157002"/>
                    </a:cubicBezTo>
                    <a:lnTo>
                      <a:pt x="151287" y="158859"/>
                    </a:lnTo>
                    <a:cubicBezTo>
                      <a:pt x="138765" y="167193"/>
                      <a:pt x="127171" y="176956"/>
                      <a:pt x="116780" y="187849"/>
                    </a:cubicBezTo>
                    <a:lnTo>
                      <a:pt x="105006" y="203282"/>
                    </a:lnTo>
                    <a:lnTo>
                      <a:pt x="77891" y="203927"/>
                    </a:lnTo>
                    <a:lnTo>
                      <a:pt x="69310" y="207308"/>
                    </a:lnTo>
                    <a:lnTo>
                      <a:pt x="97877" y="169854"/>
                    </a:lnTo>
                    <a:lnTo>
                      <a:pt x="125604" y="146537"/>
                    </a:lnTo>
                    <a:lnTo>
                      <a:pt x="136952" y="156564"/>
                    </a:lnTo>
                    <a:cubicBezTo>
                      <a:pt x="143477" y="159613"/>
                      <a:pt x="151239" y="156802"/>
                      <a:pt x="154335" y="150275"/>
                    </a:cubicBezTo>
                    <a:cubicBezTo>
                      <a:pt x="155859" y="147011"/>
                      <a:pt x="155918" y="143438"/>
                      <a:pt x="154781" y="140293"/>
                    </a:cubicBezTo>
                    <a:lnTo>
                      <a:pt x="148574" y="133462"/>
                    </a:lnTo>
                    <a:close/>
                    <a:moveTo>
                      <a:pt x="263462" y="98903"/>
                    </a:moveTo>
                    <a:cubicBezTo>
                      <a:pt x="295018" y="98903"/>
                      <a:pt x="325100" y="105320"/>
                      <a:pt x="352473" y="116918"/>
                    </a:cubicBezTo>
                    <a:lnTo>
                      <a:pt x="377571" y="130559"/>
                    </a:lnTo>
                    <a:lnTo>
                      <a:pt x="375310" y="136410"/>
                    </a:lnTo>
                    <a:cubicBezTo>
                      <a:pt x="370452" y="141746"/>
                      <a:pt x="370881" y="150036"/>
                      <a:pt x="376215" y="154849"/>
                    </a:cubicBezTo>
                    <a:cubicBezTo>
                      <a:pt x="378596" y="157040"/>
                      <a:pt x="381739" y="158279"/>
                      <a:pt x="384978" y="158279"/>
                    </a:cubicBezTo>
                    <a:cubicBezTo>
                      <a:pt x="388549" y="158279"/>
                      <a:pt x="392074" y="156802"/>
                      <a:pt x="394645" y="153991"/>
                    </a:cubicBezTo>
                    <a:lnTo>
                      <a:pt x="400049" y="145231"/>
                    </a:lnTo>
                    <a:lnTo>
                      <a:pt x="425232" y="166020"/>
                    </a:lnTo>
                    <a:cubicBezTo>
                      <a:pt x="466673" y="207469"/>
                      <a:pt x="492336" y="264699"/>
                      <a:pt x="492336" y="327821"/>
                    </a:cubicBezTo>
                    <a:cubicBezTo>
                      <a:pt x="492336" y="331060"/>
                      <a:pt x="492241" y="334298"/>
                      <a:pt x="492098" y="337536"/>
                    </a:cubicBezTo>
                    <a:cubicBezTo>
                      <a:pt x="492003" y="340012"/>
                      <a:pt x="491193" y="342441"/>
                      <a:pt x="489717" y="344489"/>
                    </a:cubicBezTo>
                    <a:cubicBezTo>
                      <a:pt x="423155" y="438923"/>
                      <a:pt x="314598" y="495307"/>
                      <a:pt x="199376" y="495307"/>
                    </a:cubicBezTo>
                    <a:cubicBezTo>
                      <a:pt x="195519" y="495307"/>
                      <a:pt x="191758" y="495069"/>
                      <a:pt x="187949" y="494879"/>
                    </a:cubicBezTo>
                    <a:lnTo>
                      <a:pt x="184092" y="494688"/>
                    </a:lnTo>
                    <a:cubicBezTo>
                      <a:pt x="177093" y="494402"/>
                      <a:pt x="171618" y="488640"/>
                      <a:pt x="171618" y="481640"/>
                    </a:cubicBezTo>
                    <a:lnTo>
                      <a:pt x="171618" y="438492"/>
                    </a:lnTo>
                    <a:lnTo>
                      <a:pt x="175415" y="439259"/>
                    </a:lnTo>
                    <a:lnTo>
                      <a:pt x="197709" y="434748"/>
                    </a:lnTo>
                    <a:lnTo>
                      <a:pt x="197709" y="469163"/>
                    </a:lnTo>
                    <a:cubicBezTo>
                      <a:pt x="198281" y="469163"/>
                      <a:pt x="198804" y="469163"/>
                      <a:pt x="199376" y="469163"/>
                    </a:cubicBezTo>
                    <a:cubicBezTo>
                      <a:pt x="304838" y="469163"/>
                      <a:pt x="404300" y="418160"/>
                      <a:pt x="466149" y="332583"/>
                    </a:cubicBezTo>
                    <a:cubicBezTo>
                      <a:pt x="466197" y="331012"/>
                      <a:pt x="466244" y="329393"/>
                      <a:pt x="466244" y="327821"/>
                    </a:cubicBezTo>
                    <a:cubicBezTo>
                      <a:pt x="466244" y="216005"/>
                      <a:pt x="375257" y="125000"/>
                      <a:pt x="263462" y="125000"/>
                    </a:cubicBezTo>
                    <a:cubicBezTo>
                      <a:pt x="242989" y="125000"/>
                      <a:pt x="222801" y="128048"/>
                      <a:pt x="203423" y="134048"/>
                    </a:cubicBezTo>
                    <a:cubicBezTo>
                      <a:pt x="196519" y="136144"/>
                      <a:pt x="189234" y="132334"/>
                      <a:pt x="187092" y="125429"/>
                    </a:cubicBezTo>
                    <a:cubicBezTo>
                      <a:pt x="184949" y="118523"/>
                      <a:pt x="188853" y="111237"/>
                      <a:pt x="195710" y="109094"/>
                    </a:cubicBezTo>
                    <a:cubicBezTo>
                      <a:pt x="217564" y="102332"/>
                      <a:pt x="240370" y="98903"/>
                      <a:pt x="263462" y="98903"/>
                    </a:cubicBezTo>
                    <a:close/>
                    <a:moveTo>
                      <a:pt x="252250" y="0"/>
                    </a:moveTo>
                    <a:cubicBezTo>
                      <a:pt x="282967" y="0"/>
                      <a:pt x="308922" y="20964"/>
                      <a:pt x="316494" y="49361"/>
                    </a:cubicBezTo>
                    <a:cubicBezTo>
                      <a:pt x="325495" y="45025"/>
                      <a:pt x="335401" y="42738"/>
                      <a:pt x="345402" y="42738"/>
                    </a:cubicBezTo>
                    <a:cubicBezTo>
                      <a:pt x="382072" y="42738"/>
                      <a:pt x="411885" y="72612"/>
                      <a:pt x="411885" y="109299"/>
                    </a:cubicBezTo>
                    <a:cubicBezTo>
                      <a:pt x="411885" y="117590"/>
                      <a:pt x="410349" y="125702"/>
                      <a:pt x="407426" y="133271"/>
                    </a:cubicBezTo>
                    <a:lnTo>
                      <a:pt x="400049" y="145231"/>
                    </a:lnTo>
                    <a:lnTo>
                      <a:pt x="391348" y="138047"/>
                    </a:lnTo>
                    <a:lnTo>
                      <a:pt x="377571" y="130559"/>
                    </a:lnTo>
                    <a:lnTo>
                      <a:pt x="385787" y="109299"/>
                    </a:lnTo>
                    <a:cubicBezTo>
                      <a:pt x="385787" y="87001"/>
                      <a:pt x="367642" y="68896"/>
                      <a:pt x="345402" y="68896"/>
                    </a:cubicBezTo>
                    <a:cubicBezTo>
                      <a:pt x="333734" y="68896"/>
                      <a:pt x="322590" y="73994"/>
                      <a:pt x="314923" y="82856"/>
                    </a:cubicBezTo>
                    <a:cubicBezTo>
                      <a:pt x="311113" y="87239"/>
                      <a:pt x="304874" y="88574"/>
                      <a:pt x="299588" y="86144"/>
                    </a:cubicBezTo>
                    <a:cubicBezTo>
                      <a:pt x="294349" y="83714"/>
                      <a:pt x="291301" y="78139"/>
                      <a:pt x="292111" y="72374"/>
                    </a:cubicBezTo>
                    <a:cubicBezTo>
                      <a:pt x="292397" y="70468"/>
                      <a:pt x="292635" y="68515"/>
                      <a:pt x="292635" y="66514"/>
                    </a:cubicBezTo>
                    <a:cubicBezTo>
                      <a:pt x="292635" y="44215"/>
                      <a:pt x="274490" y="26110"/>
                      <a:pt x="252250" y="26110"/>
                    </a:cubicBezTo>
                    <a:cubicBezTo>
                      <a:pt x="233152" y="26110"/>
                      <a:pt x="216532" y="39641"/>
                      <a:pt x="212674" y="58319"/>
                    </a:cubicBezTo>
                    <a:cubicBezTo>
                      <a:pt x="211769" y="62845"/>
                      <a:pt x="208531" y="66561"/>
                      <a:pt x="204149" y="68038"/>
                    </a:cubicBezTo>
                    <a:cubicBezTo>
                      <a:pt x="199768" y="69563"/>
                      <a:pt x="194910" y="68610"/>
                      <a:pt x="191386" y="65608"/>
                    </a:cubicBezTo>
                    <a:cubicBezTo>
                      <a:pt x="184100" y="59367"/>
                      <a:pt x="174765" y="55889"/>
                      <a:pt x="165193" y="55889"/>
                    </a:cubicBezTo>
                    <a:cubicBezTo>
                      <a:pt x="142953" y="55889"/>
                      <a:pt x="124808" y="74042"/>
                      <a:pt x="124808" y="96292"/>
                    </a:cubicBezTo>
                    <a:cubicBezTo>
                      <a:pt x="124808" y="111920"/>
                      <a:pt x="133952" y="126261"/>
                      <a:pt x="148048" y="132884"/>
                    </a:cubicBezTo>
                    <a:lnTo>
                      <a:pt x="148574" y="133462"/>
                    </a:lnTo>
                    <a:lnTo>
                      <a:pt x="140050" y="135001"/>
                    </a:lnTo>
                    <a:lnTo>
                      <a:pt x="136717" y="137191"/>
                    </a:lnTo>
                    <a:lnTo>
                      <a:pt x="125604" y="146537"/>
                    </a:lnTo>
                    <a:lnTo>
                      <a:pt x="109116" y="131967"/>
                    </a:lnTo>
                    <a:cubicBezTo>
                      <a:pt x="102460" y="121473"/>
                      <a:pt x="98710" y="109133"/>
                      <a:pt x="98710" y="96292"/>
                    </a:cubicBezTo>
                    <a:cubicBezTo>
                      <a:pt x="98710" y="59605"/>
                      <a:pt x="128523" y="29779"/>
                      <a:pt x="165193" y="29779"/>
                    </a:cubicBezTo>
                    <a:cubicBezTo>
                      <a:pt x="174908" y="29779"/>
                      <a:pt x="184433" y="31923"/>
                      <a:pt x="193148" y="35973"/>
                    </a:cubicBezTo>
                    <a:cubicBezTo>
                      <a:pt x="204388" y="14389"/>
                      <a:pt x="227009" y="0"/>
                      <a:pt x="25225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287" name="组合 286">
              <a:extLst>
                <a:ext uri="{FF2B5EF4-FFF2-40B4-BE49-F238E27FC236}">
                  <a16:creationId xmlns:a16="http://schemas.microsoft.com/office/drawing/2014/main" id="{E2F6618C-ACA9-4851-9AD3-DE3154422A66}"/>
                </a:ext>
              </a:extLst>
            </p:cNvPr>
            <p:cNvGrpSpPr/>
            <p:nvPr/>
          </p:nvGrpSpPr>
          <p:grpSpPr>
            <a:xfrm>
              <a:off x="8095154" y="1788235"/>
              <a:ext cx="2928386" cy="3281528"/>
              <a:chOff x="1376914" y="2373960"/>
              <a:chExt cx="2928386" cy="3281528"/>
            </a:xfrm>
          </p:grpSpPr>
          <p:sp>
            <p:nvSpPr>
              <p:cNvPr id="288" name="Rectangle 249">
                <a:extLst>
                  <a:ext uri="{FF2B5EF4-FFF2-40B4-BE49-F238E27FC236}">
                    <a16:creationId xmlns:a16="http://schemas.microsoft.com/office/drawing/2014/main" id="{B016FBD5-F8F6-4633-8628-23968D4D6BAC}"/>
                  </a:ext>
                </a:extLst>
              </p:cNvPr>
              <p:cNvSpPr/>
              <p:nvPr/>
            </p:nvSpPr>
            <p:spPr>
              <a:xfrm>
                <a:off x="1766313" y="2373960"/>
                <a:ext cx="2177444" cy="3281528"/>
              </a:xfrm>
              <a:custGeom>
                <a:avLst/>
                <a:gdLst>
                  <a:gd name="connsiteX0" fmla="*/ 337139 w 398058"/>
                  <a:gd name="connsiteY0" fmla="*/ 332848 h 599895"/>
                  <a:gd name="connsiteX1" fmla="*/ 398019 w 398058"/>
                  <a:gd name="connsiteY1" fmla="*/ 517001 h 599895"/>
                  <a:gd name="connsiteX2" fmla="*/ 363889 w 398058"/>
                  <a:gd name="connsiteY2" fmla="*/ 560277 h 599895"/>
                  <a:gd name="connsiteX3" fmla="*/ 325148 w 398058"/>
                  <a:gd name="connsiteY3" fmla="*/ 562119 h 599895"/>
                  <a:gd name="connsiteX4" fmla="*/ 230139 w 398058"/>
                  <a:gd name="connsiteY4" fmla="*/ 598489 h 599895"/>
                  <a:gd name="connsiteX5" fmla="*/ 60966 w 398058"/>
                  <a:gd name="connsiteY5" fmla="*/ 332848 h 599895"/>
                  <a:gd name="connsiteX6" fmla="*/ 167505 w 398058"/>
                  <a:gd name="connsiteY6" fmla="*/ 598489 h 599895"/>
                  <a:gd name="connsiteX7" fmla="*/ 72957 w 398058"/>
                  <a:gd name="connsiteY7" fmla="*/ 562119 h 599895"/>
                  <a:gd name="connsiteX8" fmla="*/ 34216 w 398058"/>
                  <a:gd name="connsiteY8" fmla="*/ 560277 h 599895"/>
                  <a:gd name="connsiteX9" fmla="*/ 87 w 398058"/>
                  <a:gd name="connsiteY9" fmla="*/ 517001 h 599895"/>
                  <a:gd name="connsiteX10" fmla="*/ 60966 w 398058"/>
                  <a:gd name="connsiteY10" fmla="*/ 332848 h 599895"/>
                  <a:gd name="connsiteX11" fmla="*/ 100596 w 398058"/>
                  <a:gd name="connsiteY11" fmla="*/ 298791 h 599895"/>
                  <a:gd name="connsiteX12" fmla="*/ 198822 w 398058"/>
                  <a:gd name="connsiteY12" fmla="*/ 541884 h 599895"/>
                  <a:gd name="connsiteX13" fmla="*/ 297508 w 398058"/>
                  <a:gd name="connsiteY13" fmla="*/ 298791 h 599895"/>
                  <a:gd name="connsiteX14" fmla="*/ 323794 w 398058"/>
                  <a:gd name="connsiteY14" fmla="*/ 319049 h 599895"/>
                  <a:gd name="connsiteX15" fmla="*/ 211273 w 398058"/>
                  <a:gd name="connsiteY15" fmla="*/ 599435 h 599895"/>
                  <a:gd name="connsiteX16" fmla="*/ 199744 w 398058"/>
                  <a:gd name="connsiteY16" fmla="*/ 599895 h 599895"/>
                  <a:gd name="connsiteX17" fmla="*/ 186370 w 398058"/>
                  <a:gd name="connsiteY17" fmla="*/ 599435 h 599895"/>
                  <a:gd name="connsiteX18" fmla="*/ 73849 w 398058"/>
                  <a:gd name="connsiteY18" fmla="*/ 319049 h 599895"/>
                  <a:gd name="connsiteX19" fmla="*/ 100596 w 398058"/>
                  <a:gd name="connsiteY19" fmla="*/ 298791 h 599895"/>
                  <a:gd name="connsiteX20" fmla="*/ 111212 w 398058"/>
                  <a:gd name="connsiteY20" fmla="*/ 161099 h 599895"/>
                  <a:gd name="connsiteX21" fmla="*/ 111673 w 398058"/>
                  <a:gd name="connsiteY21" fmla="*/ 198399 h 599895"/>
                  <a:gd name="connsiteX22" fmla="*/ 198822 w 398058"/>
                  <a:gd name="connsiteY22" fmla="*/ 298788 h 599895"/>
                  <a:gd name="connsiteX23" fmla="*/ 287815 w 398058"/>
                  <a:gd name="connsiteY23" fmla="*/ 181821 h 599895"/>
                  <a:gd name="connsiteX24" fmla="*/ 286892 w 398058"/>
                  <a:gd name="connsiteY24" fmla="*/ 161099 h 599895"/>
                  <a:gd name="connsiteX25" fmla="*/ 198822 w 398058"/>
                  <a:gd name="connsiteY25" fmla="*/ 178598 h 599895"/>
                  <a:gd name="connsiteX26" fmla="*/ 111212 w 398058"/>
                  <a:gd name="connsiteY26" fmla="*/ 161099 h 599895"/>
                  <a:gd name="connsiteX27" fmla="*/ 86773 w 398058"/>
                  <a:gd name="connsiteY27" fmla="*/ 110444 h 599895"/>
                  <a:gd name="connsiteX28" fmla="*/ 107523 w 398058"/>
                  <a:gd name="connsiteY28" fmla="*/ 118733 h 599895"/>
                  <a:gd name="connsiteX29" fmla="*/ 203433 w 398058"/>
                  <a:gd name="connsiteY29" fmla="*/ 156033 h 599895"/>
                  <a:gd name="connsiteX30" fmla="*/ 233865 w 398058"/>
                  <a:gd name="connsiteY30" fmla="*/ 155112 h 599895"/>
                  <a:gd name="connsiteX31" fmla="*/ 295192 w 398058"/>
                  <a:gd name="connsiteY31" fmla="*/ 126101 h 599895"/>
                  <a:gd name="connsiteX32" fmla="*/ 312714 w 398058"/>
                  <a:gd name="connsiteY32" fmla="*/ 117812 h 599895"/>
                  <a:gd name="connsiteX33" fmla="*/ 318248 w 398058"/>
                  <a:gd name="connsiteY33" fmla="*/ 154652 h 599895"/>
                  <a:gd name="connsiteX34" fmla="*/ 341764 w 398058"/>
                  <a:gd name="connsiteY34" fmla="*/ 200241 h 599895"/>
                  <a:gd name="connsiteX35" fmla="*/ 305798 w 398058"/>
                  <a:gd name="connsiteY35" fmla="*/ 246291 h 599895"/>
                  <a:gd name="connsiteX36" fmla="*/ 198822 w 398058"/>
                  <a:gd name="connsiteY36" fmla="*/ 332404 h 599895"/>
                  <a:gd name="connsiteX37" fmla="*/ 91845 w 398058"/>
                  <a:gd name="connsiteY37" fmla="*/ 246291 h 599895"/>
                  <a:gd name="connsiteX38" fmla="*/ 55879 w 398058"/>
                  <a:gd name="connsiteY38" fmla="*/ 200241 h 599895"/>
                  <a:gd name="connsiteX39" fmla="*/ 79395 w 398058"/>
                  <a:gd name="connsiteY39" fmla="*/ 154652 h 599895"/>
                  <a:gd name="connsiteX40" fmla="*/ 86773 w 398058"/>
                  <a:gd name="connsiteY40" fmla="*/ 110444 h 599895"/>
                  <a:gd name="connsiteX41" fmla="*/ 203447 w 398058"/>
                  <a:gd name="connsiteY41" fmla="*/ 1856 h 599895"/>
                  <a:gd name="connsiteX42" fmla="*/ 353748 w 398058"/>
                  <a:gd name="connsiteY42" fmla="*/ 58940 h 599895"/>
                  <a:gd name="connsiteX43" fmla="*/ 360664 w 398058"/>
                  <a:gd name="connsiteY43" fmla="*/ 69068 h 599895"/>
                  <a:gd name="connsiteX44" fmla="*/ 354209 w 398058"/>
                  <a:gd name="connsiteY44" fmla="*/ 79196 h 599895"/>
                  <a:gd name="connsiteX45" fmla="*/ 230188 w 398058"/>
                  <a:gd name="connsiteY45" fmla="*/ 137662 h 599895"/>
                  <a:gd name="connsiteX46" fmla="*/ 206214 w 398058"/>
                  <a:gd name="connsiteY46" fmla="*/ 138582 h 599895"/>
                  <a:gd name="connsiteX47" fmla="*/ 77121 w 398058"/>
                  <a:gd name="connsiteY47" fmla="*/ 87483 h 599895"/>
                  <a:gd name="connsiteX48" fmla="*/ 75738 w 398058"/>
                  <a:gd name="connsiteY48" fmla="*/ 84721 h 599895"/>
                  <a:gd name="connsiteX49" fmla="*/ 78043 w 398058"/>
                  <a:gd name="connsiteY49" fmla="*/ 82419 h 599895"/>
                  <a:gd name="connsiteX50" fmla="*/ 192843 w 398058"/>
                  <a:gd name="connsiteY50" fmla="*/ 82419 h 599895"/>
                  <a:gd name="connsiteX51" fmla="*/ 198837 w 398058"/>
                  <a:gd name="connsiteY51" fmla="*/ 76434 h 599895"/>
                  <a:gd name="connsiteX52" fmla="*/ 192843 w 398058"/>
                  <a:gd name="connsiteY52" fmla="*/ 70449 h 599895"/>
                  <a:gd name="connsiteX53" fmla="*/ 53146 w 398058"/>
                  <a:gd name="connsiteY53" fmla="*/ 70449 h 599895"/>
                  <a:gd name="connsiteX54" fmla="*/ 53146 w 398058"/>
                  <a:gd name="connsiteY54" fmla="*/ 95769 h 599895"/>
                  <a:gd name="connsiteX55" fmla="*/ 57296 w 398058"/>
                  <a:gd name="connsiteY55" fmla="*/ 105897 h 599895"/>
                  <a:gd name="connsiteX56" fmla="*/ 49919 w 398058"/>
                  <a:gd name="connsiteY56" fmla="*/ 117866 h 599895"/>
                  <a:gd name="connsiteX57" fmla="*/ 57296 w 398058"/>
                  <a:gd name="connsiteY57" fmla="*/ 149631 h 599895"/>
                  <a:gd name="connsiteX58" fmla="*/ 43925 w 398058"/>
                  <a:gd name="connsiteY58" fmla="*/ 156997 h 599895"/>
                  <a:gd name="connsiteX59" fmla="*/ 30094 w 398058"/>
                  <a:gd name="connsiteY59" fmla="*/ 149631 h 599895"/>
                  <a:gd name="connsiteX60" fmla="*/ 37471 w 398058"/>
                  <a:gd name="connsiteY60" fmla="*/ 117866 h 599895"/>
                  <a:gd name="connsiteX61" fmla="*/ 30094 w 398058"/>
                  <a:gd name="connsiteY61" fmla="*/ 105897 h 599895"/>
                  <a:gd name="connsiteX62" fmla="*/ 34704 w 398058"/>
                  <a:gd name="connsiteY62" fmla="*/ 96229 h 599895"/>
                  <a:gd name="connsiteX63" fmla="*/ 34704 w 398058"/>
                  <a:gd name="connsiteY63" fmla="*/ 61242 h 599895"/>
                  <a:gd name="connsiteX64" fmla="*/ 43925 w 398058"/>
                  <a:gd name="connsiteY64" fmla="*/ 52035 h 599895"/>
                  <a:gd name="connsiteX65" fmla="*/ 64211 w 398058"/>
                  <a:gd name="connsiteY65" fmla="*/ 52035 h 599895"/>
                  <a:gd name="connsiteX66" fmla="*/ 180856 w 398058"/>
                  <a:gd name="connsiteY66" fmla="*/ 2317 h 599895"/>
                  <a:gd name="connsiteX67" fmla="*/ 203447 w 398058"/>
                  <a:gd name="connsiteY67" fmla="*/ 1856 h 59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398058" h="599895">
                    <a:moveTo>
                      <a:pt x="337139" y="332848"/>
                    </a:moveTo>
                    <a:cubicBezTo>
                      <a:pt x="367579" y="368758"/>
                      <a:pt x="393407" y="426766"/>
                      <a:pt x="398019" y="517001"/>
                    </a:cubicBezTo>
                    <a:cubicBezTo>
                      <a:pt x="398941" y="539560"/>
                      <a:pt x="383721" y="558896"/>
                      <a:pt x="363889" y="560277"/>
                    </a:cubicBezTo>
                    <a:cubicBezTo>
                      <a:pt x="363428" y="560277"/>
                      <a:pt x="325148" y="562119"/>
                      <a:pt x="325148" y="562119"/>
                    </a:cubicBezTo>
                    <a:cubicBezTo>
                      <a:pt x="306699" y="582376"/>
                      <a:pt x="273031" y="594806"/>
                      <a:pt x="230139" y="598489"/>
                    </a:cubicBezTo>
                    <a:close/>
                    <a:moveTo>
                      <a:pt x="60966" y="332848"/>
                    </a:moveTo>
                    <a:lnTo>
                      <a:pt x="167505" y="598489"/>
                    </a:lnTo>
                    <a:cubicBezTo>
                      <a:pt x="126919" y="594806"/>
                      <a:pt x="91867" y="583757"/>
                      <a:pt x="72957" y="562119"/>
                    </a:cubicBezTo>
                    <a:cubicBezTo>
                      <a:pt x="72957" y="562119"/>
                      <a:pt x="34677" y="560277"/>
                      <a:pt x="34216" y="560277"/>
                    </a:cubicBezTo>
                    <a:cubicBezTo>
                      <a:pt x="13923" y="558896"/>
                      <a:pt x="-1297" y="539560"/>
                      <a:pt x="87" y="517001"/>
                    </a:cubicBezTo>
                    <a:cubicBezTo>
                      <a:pt x="4699" y="426766"/>
                      <a:pt x="30526" y="368758"/>
                      <a:pt x="60966" y="332848"/>
                    </a:cubicBezTo>
                    <a:close/>
                    <a:moveTo>
                      <a:pt x="100596" y="298791"/>
                    </a:moveTo>
                    <a:lnTo>
                      <a:pt x="198822" y="541884"/>
                    </a:lnTo>
                    <a:lnTo>
                      <a:pt x="297508" y="298791"/>
                    </a:lnTo>
                    <a:cubicBezTo>
                      <a:pt x="306270" y="304316"/>
                      <a:pt x="315493" y="310761"/>
                      <a:pt x="323794" y="319049"/>
                    </a:cubicBezTo>
                    <a:lnTo>
                      <a:pt x="211273" y="599435"/>
                    </a:lnTo>
                    <a:cubicBezTo>
                      <a:pt x="207583" y="599435"/>
                      <a:pt x="203894" y="599895"/>
                      <a:pt x="199744" y="599895"/>
                    </a:cubicBezTo>
                    <a:cubicBezTo>
                      <a:pt x="195132" y="599895"/>
                      <a:pt x="190982" y="599435"/>
                      <a:pt x="186370" y="599435"/>
                    </a:cubicBezTo>
                    <a:lnTo>
                      <a:pt x="73849" y="319049"/>
                    </a:lnTo>
                    <a:cubicBezTo>
                      <a:pt x="82611" y="310761"/>
                      <a:pt x="91373" y="304316"/>
                      <a:pt x="100596" y="298791"/>
                    </a:cubicBezTo>
                    <a:close/>
                    <a:moveTo>
                      <a:pt x="111212" y="161099"/>
                    </a:moveTo>
                    <a:cubicBezTo>
                      <a:pt x="109828" y="171690"/>
                      <a:pt x="110289" y="184124"/>
                      <a:pt x="111673" y="198399"/>
                    </a:cubicBezTo>
                    <a:cubicBezTo>
                      <a:pt x="118589" y="256882"/>
                      <a:pt x="152711" y="298788"/>
                      <a:pt x="198822" y="298788"/>
                    </a:cubicBezTo>
                    <a:cubicBezTo>
                      <a:pt x="247238" y="298788"/>
                      <a:pt x="284587" y="249975"/>
                      <a:pt x="287815" y="181821"/>
                    </a:cubicBezTo>
                    <a:cubicBezTo>
                      <a:pt x="288276" y="173993"/>
                      <a:pt x="287815" y="167085"/>
                      <a:pt x="286892" y="161099"/>
                    </a:cubicBezTo>
                    <a:cubicBezTo>
                      <a:pt x="263837" y="172151"/>
                      <a:pt x="232943" y="178598"/>
                      <a:pt x="198822" y="178598"/>
                    </a:cubicBezTo>
                    <a:cubicBezTo>
                      <a:pt x="165161" y="178598"/>
                      <a:pt x="134267" y="172151"/>
                      <a:pt x="111212" y="161099"/>
                    </a:cubicBezTo>
                    <a:close/>
                    <a:moveTo>
                      <a:pt x="86773" y="110444"/>
                    </a:moveTo>
                    <a:lnTo>
                      <a:pt x="107523" y="118733"/>
                    </a:lnTo>
                    <a:lnTo>
                      <a:pt x="203433" y="156033"/>
                    </a:lnTo>
                    <a:cubicBezTo>
                      <a:pt x="213577" y="159717"/>
                      <a:pt x="224182" y="159717"/>
                      <a:pt x="233865" y="155112"/>
                    </a:cubicBezTo>
                    <a:lnTo>
                      <a:pt x="295192" y="126101"/>
                    </a:lnTo>
                    <a:lnTo>
                      <a:pt x="312714" y="117812"/>
                    </a:lnTo>
                    <a:cubicBezTo>
                      <a:pt x="315481" y="129324"/>
                      <a:pt x="316864" y="141758"/>
                      <a:pt x="318248" y="154652"/>
                    </a:cubicBezTo>
                    <a:cubicBezTo>
                      <a:pt x="336231" y="157875"/>
                      <a:pt x="346375" y="171690"/>
                      <a:pt x="341764" y="200241"/>
                    </a:cubicBezTo>
                    <a:cubicBezTo>
                      <a:pt x="337614" y="224187"/>
                      <a:pt x="326548" y="244449"/>
                      <a:pt x="305798" y="246291"/>
                    </a:cubicBezTo>
                    <a:cubicBezTo>
                      <a:pt x="285509" y="299709"/>
                      <a:pt x="245393" y="332404"/>
                      <a:pt x="198822" y="332404"/>
                    </a:cubicBezTo>
                    <a:cubicBezTo>
                      <a:pt x="149944" y="332404"/>
                      <a:pt x="112134" y="298327"/>
                      <a:pt x="91845" y="246291"/>
                    </a:cubicBezTo>
                    <a:cubicBezTo>
                      <a:pt x="71557" y="244449"/>
                      <a:pt x="60029" y="224187"/>
                      <a:pt x="55879" y="200241"/>
                    </a:cubicBezTo>
                    <a:cubicBezTo>
                      <a:pt x="51268" y="171690"/>
                      <a:pt x="61412" y="157875"/>
                      <a:pt x="79395" y="154652"/>
                    </a:cubicBezTo>
                    <a:cubicBezTo>
                      <a:pt x="80779" y="138995"/>
                      <a:pt x="83084" y="124259"/>
                      <a:pt x="86773" y="110444"/>
                    </a:cubicBezTo>
                    <a:close/>
                    <a:moveTo>
                      <a:pt x="203447" y="1856"/>
                    </a:moveTo>
                    <a:lnTo>
                      <a:pt x="353748" y="58940"/>
                    </a:lnTo>
                    <a:cubicBezTo>
                      <a:pt x="357898" y="60782"/>
                      <a:pt x="360664" y="64465"/>
                      <a:pt x="360664" y="69068"/>
                    </a:cubicBezTo>
                    <a:cubicBezTo>
                      <a:pt x="360664" y="73212"/>
                      <a:pt x="358359" y="77355"/>
                      <a:pt x="354209" y="79196"/>
                    </a:cubicBezTo>
                    <a:lnTo>
                      <a:pt x="230188" y="137662"/>
                    </a:lnTo>
                    <a:cubicBezTo>
                      <a:pt x="222350" y="141344"/>
                      <a:pt x="214051" y="141805"/>
                      <a:pt x="206214" y="138582"/>
                    </a:cubicBezTo>
                    <a:lnTo>
                      <a:pt x="77121" y="87483"/>
                    </a:lnTo>
                    <a:cubicBezTo>
                      <a:pt x="76199" y="87022"/>
                      <a:pt x="75277" y="85641"/>
                      <a:pt x="75738" y="84721"/>
                    </a:cubicBezTo>
                    <a:cubicBezTo>
                      <a:pt x="75738" y="83339"/>
                      <a:pt x="76660" y="82419"/>
                      <a:pt x="78043" y="82419"/>
                    </a:cubicBezTo>
                    <a:lnTo>
                      <a:pt x="192843" y="82419"/>
                    </a:lnTo>
                    <a:cubicBezTo>
                      <a:pt x="196071" y="82419"/>
                      <a:pt x="198837" y="80117"/>
                      <a:pt x="198837" y="76434"/>
                    </a:cubicBezTo>
                    <a:cubicBezTo>
                      <a:pt x="198837" y="73212"/>
                      <a:pt x="196071" y="70449"/>
                      <a:pt x="192843" y="70449"/>
                    </a:cubicBezTo>
                    <a:lnTo>
                      <a:pt x="53146" y="70449"/>
                    </a:lnTo>
                    <a:lnTo>
                      <a:pt x="53146" y="95769"/>
                    </a:lnTo>
                    <a:cubicBezTo>
                      <a:pt x="55452" y="98531"/>
                      <a:pt x="57296" y="101754"/>
                      <a:pt x="57296" y="105897"/>
                    </a:cubicBezTo>
                    <a:cubicBezTo>
                      <a:pt x="57296" y="110961"/>
                      <a:pt x="54529" y="115564"/>
                      <a:pt x="49919" y="117866"/>
                    </a:cubicBezTo>
                    <a:cubicBezTo>
                      <a:pt x="54529" y="127534"/>
                      <a:pt x="57296" y="144567"/>
                      <a:pt x="57296" y="149631"/>
                    </a:cubicBezTo>
                    <a:cubicBezTo>
                      <a:pt x="57296" y="157457"/>
                      <a:pt x="51302" y="156997"/>
                      <a:pt x="43925" y="156997"/>
                    </a:cubicBezTo>
                    <a:cubicBezTo>
                      <a:pt x="36088" y="156997"/>
                      <a:pt x="30094" y="157457"/>
                      <a:pt x="30094" y="149631"/>
                    </a:cubicBezTo>
                    <a:cubicBezTo>
                      <a:pt x="30094" y="144567"/>
                      <a:pt x="33321" y="127534"/>
                      <a:pt x="37471" y="117866"/>
                    </a:cubicBezTo>
                    <a:cubicBezTo>
                      <a:pt x="33321" y="115564"/>
                      <a:pt x="30094" y="110961"/>
                      <a:pt x="30094" y="105897"/>
                    </a:cubicBezTo>
                    <a:cubicBezTo>
                      <a:pt x="30094" y="101754"/>
                      <a:pt x="31938" y="98531"/>
                      <a:pt x="34704" y="96229"/>
                    </a:cubicBezTo>
                    <a:lnTo>
                      <a:pt x="34704" y="61242"/>
                    </a:lnTo>
                    <a:cubicBezTo>
                      <a:pt x="34704" y="56178"/>
                      <a:pt x="38854" y="52035"/>
                      <a:pt x="43925" y="52035"/>
                    </a:cubicBezTo>
                    <a:lnTo>
                      <a:pt x="64211" y="52035"/>
                    </a:lnTo>
                    <a:lnTo>
                      <a:pt x="180856" y="2317"/>
                    </a:lnTo>
                    <a:cubicBezTo>
                      <a:pt x="188233" y="-446"/>
                      <a:pt x="196071" y="-906"/>
                      <a:pt x="203447" y="185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0" dist="127000" dir="4200000" algn="ctr" rotWithShape="0">
                  <a:srgbClr val="000000">
                    <a:alpha val="1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289" name="文本框 45">
                <a:extLst>
                  <a:ext uri="{FF2B5EF4-FFF2-40B4-BE49-F238E27FC236}">
                    <a16:creationId xmlns:a16="http://schemas.microsoft.com/office/drawing/2014/main" id="{7B4A9029-0F83-4FD5-8CF1-6C58CE347149}"/>
                  </a:ext>
                </a:extLst>
              </p:cNvPr>
              <p:cNvSpPr txBox="1"/>
              <p:nvPr/>
            </p:nvSpPr>
            <p:spPr>
              <a:xfrm>
                <a:off x="1453892" y="3134945"/>
                <a:ext cx="979756" cy="3942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dirty="0">
                    <a:solidFill>
                      <a:schemeClr val="accent1"/>
                    </a:solidFill>
                  </a:rPr>
                  <a:t>Student</a:t>
                </a:r>
              </a:p>
            </p:txBody>
          </p:sp>
          <p:sp>
            <p:nvSpPr>
              <p:cNvPr id="290" name="文本框 46">
                <a:extLst>
                  <a:ext uri="{FF2B5EF4-FFF2-40B4-BE49-F238E27FC236}">
                    <a16:creationId xmlns:a16="http://schemas.microsoft.com/office/drawing/2014/main" id="{B7895033-2BC1-4F90-A39C-0D3B70BE0002}"/>
                  </a:ext>
                </a:extLst>
              </p:cNvPr>
              <p:cNvSpPr txBox="1"/>
              <p:nvPr/>
            </p:nvSpPr>
            <p:spPr>
              <a:xfrm>
                <a:off x="1376914" y="3529155"/>
                <a:ext cx="2928386" cy="5164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作为学生，软件开发需求来自课堂，因此项目需求往往是固定的。</a:t>
                </a:r>
                <a:r>
                  <a:rPr lang="zh-CN" altLang="en-US" sz="1200" b="1" dirty="0"/>
                  <a:t>需求风险低。</a:t>
                </a:r>
              </a:p>
            </p:txBody>
          </p:sp>
          <p:cxnSp>
            <p:nvCxnSpPr>
              <p:cNvPr id="291" name="直接连接符 290">
                <a:extLst>
                  <a:ext uri="{FF2B5EF4-FFF2-40B4-BE49-F238E27FC236}">
                    <a16:creationId xmlns:a16="http://schemas.microsoft.com/office/drawing/2014/main" id="{F2D68796-EE83-4CB9-B34A-17F8BFE39F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71734" y="4792508"/>
                <a:ext cx="572966" cy="0"/>
              </a:xfrm>
              <a:prstGeom prst="line">
                <a:avLst/>
              </a:prstGeom>
              <a:ln>
                <a:solidFill>
                  <a:schemeClr val="tx1"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2" name="任意多边形 48">
                <a:extLst>
                  <a:ext uri="{FF2B5EF4-FFF2-40B4-BE49-F238E27FC236}">
                    <a16:creationId xmlns:a16="http://schemas.microsoft.com/office/drawing/2014/main" id="{F93F55A8-39FE-45A1-BA17-BE650BA9A10B}"/>
                  </a:ext>
                </a:extLst>
              </p:cNvPr>
              <p:cNvSpPr/>
              <p:nvPr/>
            </p:nvSpPr>
            <p:spPr bwMode="auto">
              <a:xfrm>
                <a:off x="3976307" y="4476267"/>
                <a:ext cx="213513" cy="321776"/>
              </a:xfrm>
              <a:custGeom>
                <a:avLst/>
                <a:gdLst>
                  <a:gd name="connsiteX0" fmla="*/ 337139 w 398058"/>
                  <a:gd name="connsiteY0" fmla="*/ 332848 h 599895"/>
                  <a:gd name="connsiteX1" fmla="*/ 398019 w 398058"/>
                  <a:gd name="connsiteY1" fmla="*/ 517001 h 599895"/>
                  <a:gd name="connsiteX2" fmla="*/ 363889 w 398058"/>
                  <a:gd name="connsiteY2" fmla="*/ 560277 h 599895"/>
                  <a:gd name="connsiteX3" fmla="*/ 325148 w 398058"/>
                  <a:gd name="connsiteY3" fmla="*/ 562119 h 599895"/>
                  <a:gd name="connsiteX4" fmla="*/ 230139 w 398058"/>
                  <a:gd name="connsiteY4" fmla="*/ 598489 h 599895"/>
                  <a:gd name="connsiteX5" fmla="*/ 60966 w 398058"/>
                  <a:gd name="connsiteY5" fmla="*/ 332848 h 599895"/>
                  <a:gd name="connsiteX6" fmla="*/ 167505 w 398058"/>
                  <a:gd name="connsiteY6" fmla="*/ 598489 h 599895"/>
                  <a:gd name="connsiteX7" fmla="*/ 72957 w 398058"/>
                  <a:gd name="connsiteY7" fmla="*/ 562119 h 599895"/>
                  <a:gd name="connsiteX8" fmla="*/ 34216 w 398058"/>
                  <a:gd name="connsiteY8" fmla="*/ 560277 h 599895"/>
                  <a:gd name="connsiteX9" fmla="*/ 87 w 398058"/>
                  <a:gd name="connsiteY9" fmla="*/ 517001 h 599895"/>
                  <a:gd name="connsiteX10" fmla="*/ 60966 w 398058"/>
                  <a:gd name="connsiteY10" fmla="*/ 332848 h 599895"/>
                  <a:gd name="connsiteX11" fmla="*/ 100596 w 398058"/>
                  <a:gd name="connsiteY11" fmla="*/ 298791 h 599895"/>
                  <a:gd name="connsiteX12" fmla="*/ 198822 w 398058"/>
                  <a:gd name="connsiteY12" fmla="*/ 541884 h 599895"/>
                  <a:gd name="connsiteX13" fmla="*/ 297508 w 398058"/>
                  <a:gd name="connsiteY13" fmla="*/ 298791 h 599895"/>
                  <a:gd name="connsiteX14" fmla="*/ 323794 w 398058"/>
                  <a:gd name="connsiteY14" fmla="*/ 319049 h 599895"/>
                  <a:gd name="connsiteX15" fmla="*/ 211273 w 398058"/>
                  <a:gd name="connsiteY15" fmla="*/ 599435 h 599895"/>
                  <a:gd name="connsiteX16" fmla="*/ 199744 w 398058"/>
                  <a:gd name="connsiteY16" fmla="*/ 599895 h 599895"/>
                  <a:gd name="connsiteX17" fmla="*/ 186370 w 398058"/>
                  <a:gd name="connsiteY17" fmla="*/ 599435 h 599895"/>
                  <a:gd name="connsiteX18" fmla="*/ 73849 w 398058"/>
                  <a:gd name="connsiteY18" fmla="*/ 319049 h 599895"/>
                  <a:gd name="connsiteX19" fmla="*/ 100596 w 398058"/>
                  <a:gd name="connsiteY19" fmla="*/ 298791 h 599895"/>
                  <a:gd name="connsiteX20" fmla="*/ 111212 w 398058"/>
                  <a:gd name="connsiteY20" fmla="*/ 161099 h 599895"/>
                  <a:gd name="connsiteX21" fmla="*/ 111673 w 398058"/>
                  <a:gd name="connsiteY21" fmla="*/ 198399 h 599895"/>
                  <a:gd name="connsiteX22" fmla="*/ 198822 w 398058"/>
                  <a:gd name="connsiteY22" fmla="*/ 298788 h 599895"/>
                  <a:gd name="connsiteX23" fmla="*/ 287815 w 398058"/>
                  <a:gd name="connsiteY23" fmla="*/ 181821 h 599895"/>
                  <a:gd name="connsiteX24" fmla="*/ 286892 w 398058"/>
                  <a:gd name="connsiteY24" fmla="*/ 161099 h 599895"/>
                  <a:gd name="connsiteX25" fmla="*/ 198822 w 398058"/>
                  <a:gd name="connsiteY25" fmla="*/ 178598 h 599895"/>
                  <a:gd name="connsiteX26" fmla="*/ 111212 w 398058"/>
                  <a:gd name="connsiteY26" fmla="*/ 161099 h 599895"/>
                  <a:gd name="connsiteX27" fmla="*/ 86773 w 398058"/>
                  <a:gd name="connsiteY27" fmla="*/ 110444 h 599895"/>
                  <a:gd name="connsiteX28" fmla="*/ 107523 w 398058"/>
                  <a:gd name="connsiteY28" fmla="*/ 118733 h 599895"/>
                  <a:gd name="connsiteX29" fmla="*/ 203433 w 398058"/>
                  <a:gd name="connsiteY29" fmla="*/ 156033 h 599895"/>
                  <a:gd name="connsiteX30" fmla="*/ 233865 w 398058"/>
                  <a:gd name="connsiteY30" fmla="*/ 155112 h 599895"/>
                  <a:gd name="connsiteX31" fmla="*/ 295192 w 398058"/>
                  <a:gd name="connsiteY31" fmla="*/ 126101 h 599895"/>
                  <a:gd name="connsiteX32" fmla="*/ 312714 w 398058"/>
                  <a:gd name="connsiteY32" fmla="*/ 117812 h 599895"/>
                  <a:gd name="connsiteX33" fmla="*/ 318248 w 398058"/>
                  <a:gd name="connsiteY33" fmla="*/ 154652 h 599895"/>
                  <a:gd name="connsiteX34" fmla="*/ 341764 w 398058"/>
                  <a:gd name="connsiteY34" fmla="*/ 200241 h 599895"/>
                  <a:gd name="connsiteX35" fmla="*/ 305798 w 398058"/>
                  <a:gd name="connsiteY35" fmla="*/ 246291 h 599895"/>
                  <a:gd name="connsiteX36" fmla="*/ 198822 w 398058"/>
                  <a:gd name="connsiteY36" fmla="*/ 332404 h 599895"/>
                  <a:gd name="connsiteX37" fmla="*/ 91845 w 398058"/>
                  <a:gd name="connsiteY37" fmla="*/ 246291 h 599895"/>
                  <a:gd name="connsiteX38" fmla="*/ 55879 w 398058"/>
                  <a:gd name="connsiteY38" fmla="*/ 200241 h 599895"/>
                  <a:gd name="connsiteX39" fmla="*/ 79395 w 398058"/>
                  <a:gd name="connsiteY39" fmla="*/ 154652 h 599895"/>
                  <a:gd name="connsiteX40" fmla="*/ 86773 w 398058"/>
                  <a:gd name="connsiteY40" fmla="*/ 110444 h 599895"/>
                  <a:gd name="connsiteX41" fmla="*/ 203447 w 398058"/>
                  <a:gd name="connsiteY41" fmla="*/ 1856 h 599895"/>
                  <a:gd name="connsiteX42" fmla="*/ 353748 w 398058"/>
                  <a:gd name="connsiteY42" fmla="*/ 58940 h 599895"/>
                  <a:gd name="connsiteX43" fmla="*/ 360664 w 398058"/>
                  <a:gd name="connsiteY43" fmla="*/ 69068 h 599895"/>
                  <a:gd name="connsiteX44" fmla="*/ 354209 w 398058"/>
                  <a:gd name="connsiteY44" fmla="*/ 79196 h 599895"/>
                  <a:gd name="connsiteX45" fmla="*/ 230188 w 398058"/>
                  <a:gd name="connsiteY45" fmla="*/ 137662 h 599895"/>
                  <a:gd name="connsiteX46" fmla="*/ 206214 w 398058"/>
                  <a:gd name="connsiteY46" fmla="*/ 138582 h 599895"/>
                  <a:gd name="connsiteX47" fmla="*/ 77121 w 398058"/>
                  <a:gd name="connsiteY47" fmla="*/ 87483 h 599895"/>
                  <a:gd name="connsiteX48" fmla="*/ 75738 w 398058"/>
                  <a:gd name="connsiteY48" fmla="*/ 84721 h 599895"/>
                  <a:gd name="connsiteX49" fmla="*/ 78043 w 398058"/>
                  <a:gd name="connsiteY49" fmla="*/ 82419 h 599895"/>
                  <a:gd name="connsiteX50" fmla="*/ 192843 w 398058"/>
                  <a:gd name="connsiteY50" fmla="*/ 82419 h 599895"/>
                  <a:gd name="connsiteX51" fmla="*/ 198837 w 398058"/>
                  <a:gd name="connsiteY51" fmla="*/ 76434 h 599895"/>
                  <a:gd name="connsiteX52" fmla="*/ 192843 w 398058"/>
                  <a:gd name="connsiteY52" fmla="*/ 70449 h 599895"/>
                  <a:gd name="connsiteX53" fmla="*/ 53146 w 398058"/>
                  <a:gd name="connsiteY53" fmla="*/ 70449 h 599895"/>
                  <a:gd name="connsiteX54" fmla="*/ 53146 w 398058"/>
                  <a:gd name="connsiteY54" fmla="*/ 95769 h 599895"/>
                  <a:gd name="connsiteX55" fmla="*/ 57296 w 398058"/>
                  <a:gd name="connsiteY55" fmla="*/ 105897 h 599895"/>
                  <a:gd name="connsiteX56" fmla="*/ 49919 w 398058"/>
                  <a:gd name="connsiteY56" fmla="*/ 117866 h 599895"/>
                  <a:gd name="connsiteX57" fmla="*/ 57296 w 398058"/>
                  <a:gd name="connsiteY57" fmla="*/ 149631 h 599895"/>
                  <a:gd name="connsiteX58" fmla="*/ 43925 w 398058"/>
                  <a:gd name="connsiteY58" fmla="*/ 156997 h 599895"/>
                  <a:gd name="connsiteX59" fmla="*/ 30094 w 398058"/>
                  <a:gd name="connsiteY59" fmla="*/ 149631 h 599895"/>
                  <a:gd name="connsiteX60" fmla="*/ 37471 w 398058"/>
                  <a:gd name="connsiteY60" fmla="*/ 117866 h 599895"/>
                  <a:gd name="connsiteX61" fmla="*/ 30094 w 398058"/>
                  <a:gd name="connsiteY61" fmla="*/ 105897 h 599895"/>
                  <a:gd name="connsiteX62" fmla="*/ 34704 w 398058"/>
                  <a:gd name="connsiteY62" fmla="*/ 96229 h 599895"/>
                  <a:gd name="connsiteX63" fmla="*/ 34704 w 398058"/>
                  <a:gd name="connsiteY63" fmla="*/ 61242 h 599895"/>
                  <a:gd name="connsiteX64" fmla="*/ 43925 w 398058"/>
                  <a:gd name="connsiteY64" fmla="*/ 52035 h 599895"/>
                  <a:gd name="connsiteX65" fmla="*/ 64211 w 398058"/>
                  <a:gd name="connsiteY65" fmla="*/ 52035 h 599895"/>
                  <a:gd name="connsiteX66" fmla="*/ 180856 w 398058"/>
                  <a:gd name="connsiteY66" fmla="*/ 2317 h 599895"/>
                  <a:gd name="connsiteX67" fmla="*/ 203447 w 398058"/>
                  <a:gd name="connsiteY67" fmla="*/ 1856 h 59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398058" h="599895">
                    <a:moveTo>
                      <a:pt x="337139" y="332848"/>
                    </a:moveTo>
                    <a:cubicBezTo>
                      <a:pt x="367579" y="368758"/>
                      <a:pt x="393407" y="426766"/>
                      <a:pt x="398019" y="517001"/>
                    </a:cubicBezTo>
                    <a:cubicBezTo>
                      <a:pt x="398941" y="539560"/>
                      <a:pt x="383721" y="558896"/>
                      <a:pt x="363889" y="560277"/>
                    </a:cubicBezTo>
                    <a:cubicBezTo>
                      <a:pt x="363428" y="560277"/>
                      <a:pt x="325148" y="562119"/>
                      <a:pt x="325148" y="562119"/>
                    </a:cubicBezTo>
                    <a:cubicBezTo>
                      <a:pt x="306699" y="582376"/>
                      <a:pt x="273031" y="594806"/>
                      <a:pt x="230139" y="598489"/>
                    </a:cubicBezTo>
                    <a:close/>
                    <a:moveTo>
                      <a:pt x="60966" y="332848"/>
                    </a:moveTo>
                    <a:lnTo>
                      <a:pt x="167505" y="598489"/>
                    </a:lnTo>
                    <a:cubicBezTo>
                      <a:pt x="126919" y="594806"/>
                      <a:pt x="91867" y="583757"/>
                      <a:pt x="72957" y="562119"/>
                    </a:cubicBezTo>
                    <a:cubicBezTo>
                      <a:pt x="72957" y="562119"/>
                      <a:pt x="34677" y="560277"/>
                      <a:pt x="34216" y="560277"/>
                    </a:cubicBezTo>
                    <a:cubicBezTo>
                      <a:pt x="13923" y="558896"/>
                      <a:pt x="-1297" y="539560"/>
                      <a:pt x="87" y="517001"/>
                    </a:cubicBezTo>
                    <a:cubicBezTo>
                      <a:pt x="4699" y="426766"/>
                      <a:pt x="30526" y="368758"/>
                      <a:pt x="60966" y="332848"/>
                    </a:cubicBezTo>
                    <a:close/>
                    <a:moveTo>
                      <a:pt x="100596" y="298791"/>
                    </a:moveTo>
                    <a:lnTo>
                      <a:pt x="198822" y="541884"/>
                    </a:lnTo>
                    <a:lnTo>
                      <a:pt x="297508" y="298791"/>
                    </a:lnTo>
                    <a:cubicBezTo>
                      <a:pt x="306270" y="304316"/>
                      <a:pt x="315493" y="310761"/>
                      <a:pt x="323794" y="319049"/>
                    </a:cubicBezTo>
                    <a:lnTo>
                      <a:pt x="211273" y="599435"/>
                    </a:lnTo>
                    <a:cubicBezTo>
                      <a:pt x="207583" y="599435"/>
                      <a:pt x="203894" y="599895"/>
                      <a:pt x="199744" y="599895"/>
                    </a:cubicBezTo>
                    <a:cubicBezTo>
                      <a:pt x="195132" y="599895"/>
                      <a:pt x="190982" y="599435"/>
                      <a:pt x="186370" y="599435"/>
                    </a:cubicBezTo>
                    <a:lnTo>
                      <a:pt x="73849" y="319049"/>
                    </a:lnTo>
                    <a:cubicBezTo>
                      <a:pt x="82611" y="310761"/>
                      <a:pt x="91373" y="304316"/>
                      <a:pt x="100596" y="298791"/>
                    </a:cubicBezTo>
                    <a:close/>
                    <a:moveTo>
                      <a:pt x="111212" y="161099"/>
                    </a:moveTo>
                    <a:cubicBezTo>
                      <a:pt x="109828" y="171690"/>
                      <a:pt x="110289" y="184124"/>
                      <a:pt x="111673" y="198399"/>
                    </a:cubicBezTo>
                    <a:cubicBezTo>
                      <a:pt x="118589" y="256882"/>
                      <a:pt x="152711" y="298788"/>
                      <a:pt x="198822" y="298788"/>
                    </a:cubicBezTo>
                    <a:cubicBezTo>
                      <a:pt x="247238" y="298788"/>
                      <a:pt x="284587" y="249975"/>
                      <a:pt x="287815" y="181821"/>
                    </a:cubicBezTo>
                    <a:cubicBezTo>
                      <a:pt x="288276" y="173993"/>
                      <a:pt x="287815" y="167085"/>
                      <a:pt x="286892" y="161099"/>
                    </a:cubicBezTo>
                    <a:cubicBezTo>
                      <a:pt x="263837" y="172151"/>
                      <a:pt x="232943" y="178598"/>
                      <a:pt x="198822" y="178598"/>
                    </a:cubicBezTo>
                    <a:cubicBezTo>
                      <a:pt x="165161" y="178598"/>
                      <a:pt x="134267" y="172151"/>
                      <a:pt x="111212" y="161099"/>
                    </a:cubicBezTo>
                    <a:close/>
                    <a:moveTo>
                      <a:pt x="86773" y="110444"/>
                    </a:moveTo>
                    <a:lnTo>
                      <a:pt x="107523" y="118733"/>
                    </a:lnTo>
                    <a:lnTo>
                      <a:pt x="203433" y="156033"/>
                    </a:lnTo>
                    <a:cubicBezTo>
                      <a:pt x="213577" y="159717"/>
                      <a:pt x="224182" y="159717"/>
                      <a:pt x="233865" y="155112"/>
                    </a:cubicBezTo>
                    <a:lnTo>
                      <a:pt x="295192" y="126101"/>
                    </a:lnTo>
                    <a:lnTo>
                      <a:pt x="312714" y="117812"/>
                    </a:lnTo>
                    <a:cubicBezTo>
                      <a:pt x="315481" y="129324"/>
                      <a:pt x="316864" y="141758"/>
                      <a:pt x="318248" y="154652"/>
                    </a:cubicBezTo>
                    <a:cubicBezTo>
                      <a:pt x="336231" y="157875"/>
                      <a:pt x="346375" y="171690"/>
                      <a:pt x="341764" y="200241"/>
                    </a:cubicBezTo>
                    <a:cubicBezTo>
                      <a:pt x="337614" y="224187"/>
                      <a:pt x="326548" y="244449"/>
                      <a:pt x="305798" y="246291"/>
                    </a:cubicBezTo>
                    <a:cubicBezTo>
                      <a:pt x="285509" y="299709"/>
                      <a:pt x="245393" y="332404"/>
                      <a:pt x="198822" y="332404"/>
                    </a:cubicBezTo>
                    <a:cubicBezTo>
                      <a:pt x="149944" y="332404"/>
                      <a:pt x="112134" y="298327"/>
                      <a:pt x="91845" y="246291"/>
                    </a:cubicBezTo>
                    <a:cubicBezTo>
                      <a:pt x="71557" y="244449"/>
                      <a:pt x="60029" y="224187"/>
                      <a:pt x="55879" y="200241"/>
                    </a:cubicBezTo>
                    <a:cubicBezTo>
                      <a:pt x="51268" y="171690"/>
                      <a:pt x="61412" y="157875"/>
                      <a:pt x="79395" y="154652"/>
                    </a:cubicBezTo>
                    <a:cubicBezTo>
                      <a:pt x="80779" y="138995"/>
                      <a:pt x="83084" y="124259"/>
                      <a:pt x="86773" y="110444"/>
                    </a:cubicBezTo>
                    <a:close/>
                    <a:moveTo>
                      <a:pt x="203447" y="1856"/>
                    </a:moveTo>
                    <a:lnTo>
                      <a:pt x="353748" y="58940"/>
                    </a:lnTo>
                    <a:cubicBezTo>
                      <a:pt x="357898" y="60782"/>
                      <a:pt x="360664" y="64465"/>
                      <a:pt x="360664" y="69068"/>
                    </a:cubicBezTo>
                    <a:cubicBezTo>
                      <a:pt x="360664" y="73212"/>
                      <a:pt x="358359" y="77355"/>
                      <a:pt x="354209" y="79196"/>
                    </a:cubicBezTo>
                    <a:lnTo>
                      <a:pt x="230188" y="137662"/>
                    </a:lnTo>
                    <a:cubicBezTo>
                      <a:pt x="222350" y="141344"/>
                      <a:pt x="214051" y="141805"/>
                      <a:pt x="206214" y="138582"/>
                    </a:cubicBezTo>
                    <a:lnTo>
                      <a:pt x="77121" y="87483"/>
                    </a:lnTo>
                    <a:cubicBezTo>
                      <a:pt x="76199" y="87022"/>
                      <a:pt x="75277" y="85641"/>
                      <a:pt x="75738" y="84721"/>
                    </a:cubicBezTo>
                    <a:cubicBezTo>
                      <a:pt x="75738" y="83339"/>
                      <a:pt x="76660" y="82419"/>
                      <a:pt x="78043" y="82419"/>
                    </a:cubicBezTo>
                    <a:lnTo>
                      <a:pt x="192843" y="82419"/>
                    </a:lnTo>
                    <a:cubicBezTo>
                      <a:pt x="196071" y="82419"/>
                      <a:pt x="198837" y="80117"/>
                      <a:pt x="198837" y="76434"/>
                    </a:cubicBezTo>
                    <a:cubicBezTo>
                      <a:pt x="198837" y="73212"/>
                      <a:pt x="196071" y="70449"/>
                      <a:pt x="192843" y="70449"/>
                    </a:cubicBezTo>
                    <a:lnTo>
                      <a:pt x="53146" y="70449"/>
                    </a:lnTo>
                    <a:lnTo>
                      <a:pt x="53146" y="95769"/>
                    </a:lnTo>
                    <a:cubicBezTo>
                      <a:pt x="55452" y="98531"/>
                      <a:pt x="57296" y="101754"/>
                      <a:pt x="57296" y="105897"/>
                    </a:cubicBezTo>
                    <a:cubicBezTo>
                      <a:pt x="57296" y="110961"/>
                      <a:pt x="54529" y="115564"/>
                      <a:pt x="49919" y="117866"/>
                    </a:cubicBezTo>
                    <a:cubicBezTo>
                      <a:pt x="54529" y="127534"/>
                      <a:pt x="57296" y="144567"/>
                      <a:pt x="57296" y="149631"/>
                    </a:cubicBezTo>
                    <a:cubicBezTo>
                      <a:pt x="57296" y="157457"/>
                      <a:pt x="51302" y="156997"/>
                      <a:pt x="43925" y="156997"/>
                    </a:cubicBezTo>
                    <a:cubicBezTo>
                      <a:pt x="36088" y="156997"/>
                      <a:pt x="30094" y="157457"/>
                      <a:pt x="30094" y="149631"/>
                    </a:cubicBezTo>
                    <a:cubicBezTo>
                      <a:pt x="30094" y="144567"/>
                      <a:pt x="33321" y="127534"/>
                      <a:pt x="37471" y="117866"/>
                    </a:cubicBezTo>
                    <a:cubicBezTo>
                      <a:pt x="33321" y="115564"/>
                      <a:pt x="30094" y="110961"/>
                      <a:pt x="30094" y="105897"/>
                    </a:cubicBezTo>
                    <a:cubicBezTo>
                      <a:pt x="30094" y="101754"/>
                      <a:pt x="31938" y="98531"/>
                      <a:pt x="34704" y="96229"/>
                    </a:cubicBezTo>
                    <a:lnTo>
                      <a:pt x="34704" y="61242"/>
                    </a:lnTo>
                    <a:cubicBezTo>
                      <a:pt x="34704" y="56178"/>
                      <a:pt x="38854" y="52035"/>
                      <a:pt x="43925" y="52035"/>
                    </a:cubicBezTo>
                    <a:lnTo>
                      <a:pt x="64211" y="52035"/>
                    </a:lnTo>
                    <a:lnTo>
                      <a:pt x="180856" y="2317"/>
                    </a:lnTo>
                    <a:cubicBezTo>
                      <a:pt x="188233" y="-446"/>
                      <a:pt x="196071" y="-906"/>
                      <a:pt x="203447" y="185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sp>
        <p:nvSpPr>
          <p:cNvPr id="21" name="标题 1">
            <a:extLst>
              <a:ext uri="{FF2B5EF4-FFF2-40B4-BE49-F238E27FC236}">
                <a16:creationId xmlns:a16="http://schemas.microsoft.com/office/drawing/2014/main" id="{48A88142-4617-4191-99C0-DC0D32581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BNSG</a:t>
            </a:r>
            <a:r>
              <a:rPr lang="zh-CN" altLang="en-US" dirty="0"/>
              <a:t>软件过程 </a:t>
            </a:r>
            <a:r>
              <a:rPr lang="en-US" altLang="zh-CN" dirty="0"/>
              <a:t>—— Busy Noob Students Group</a:t>
            </a:r>
            <a:endParaRPr lang="zh-CN" altLang="en-US" dirty="0"/>
          </a:p>
        </p:txBody>
      </p:sp>
      <p:sp>
        <p:nvSpPr>
          <p:cNvPr id="303" name="页脚占位符 2">
            <a:extLst>
              <a:ext uri="{FF2B5EF4-FFF2-40B4-BE49-F238E27FC236}">
                <a16:creationId xmlns:a16="http://schemas.microsoft.com/office/drawing/2014/main" id="{9D388230-F64A-4F85-878D-544C8E0577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1199178"/>
      </p:ext>
    </p:extLst>
  </p:cSld>
  <p:clrMapOvr>
    <a:masterClrMapping/>
  </p:clrMapOvr>
  <p:transition spd="slow">
    <p:cover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C7D1292-0D5B-4B7A-8F6B-5D46E06A2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NSG</a:t>
            </a:r>
            <a:r>
              <a:rPr lang="zh-CN" altLang="en-US" dirty="0"/>
              <a:t>软件过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0680AD6-2EF3-445F-A521-6A19ED21A6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6" name="圆角矩形 223">
            <a:extLst>
              <a:ext uri="{FF2B5EF4-FFF2-40B4-BE49-F238E27FC236}">
                <a16:creationId xmlns:a16="http://schemas.microsoft.com/office/drawing/2014/main" id="{DF9272AA-D943-484F-84AC-58B63EA83149}"/>
              </a:ext>
            </a:extLst>
          </p:cNvPr>
          <p:cNvSpPr/>
          <p:nvPr/>
        </p:nvSpPr>
        <p:spPr>
          <a:xfrm>
            <a:off x="3451375" y="2167128"/>
            <a:ext cx="1154084" cy="1239982"/>
          </a:xfrm>
          <a:prstGeom prst="roundRect">
            <a:avLst>
              <a:gd name="adj" fmla="val 8264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圆角矩形 226">
            <a:extLst>
              <a:ext uri="{FF2B5EF4-FFF2-40B4-BE49-F238E27FC236}">
                <a16:creationId xmlns:a16="http://schemas.microsoft.com/office/drawing/2014/main" id="{E7B13294-35AC-4949-ABAF-B667A5CEC7D6}"/>
              </a:ext>
            </a:extLst>
          </p:cNvPr>
          <p:cNvSpPr/>
          <p:nvPr/>
        </p:nvSpPr>
        <p:spPr>
          <a:xfrm>
            <a:off x="1403380" y="2167128"/>
            <a:ext cx="1154084" cy="1239982"/>
          </a:xfrm>
          <a:prstGeom prst="roundRect">
            <a:avLst>
              <a:gd name="adj" fmla="val 8264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圆角矩形 225">
            <a:extLst>
              <a:ext uri="{FF2B5EF4-FFF2-40B4-BE49-F238E27FC236}">
                <a16:creationId xmlns:a16="http://schemas.microsoft.com/office/drawing/2014/main" id="{BC3411D4-CCCA-4C57-9754-DDD29A856932}"/>
              </a:ext>
            </a:extLst>
          </p:cNvPr>
          <p:cNvSpPr/>
          <p:nvPr/>
        </p:nvSpPr>
        <p:spPr>
          <a:xfrm>
            <a:off x="7586540" y="2167128"/>
            <a:ext cx="1154084" cy="1239982"/>
          </a:xfrm>
          <a:prstGeom prst="roundRect">
            <a:avLst>
              <a:gd name="adj" fmla="val 8264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圆角矩形 224">
            <a:extLst>
              <a:ext uri="{FF2B5EF4-FFF2-40B4-BE49-F238E27FC236}">
                <a16:creationId xmlns:a16="http://schemas.microsoft.com/office/drawing/2014/main" id="{CBBA4E84-D137-48CA-B1F8-CA276DBFF1E6}"/>
              </a:ext>
            </a:extLst>
          </p:cNvPr>
          <p:cNvSpPr/>
          <p:nvPr/>
        </p:nvSpPr>
        <p:spPr>
          <a:xfrm>
            <a:off x="5518958" y="2167128"/>
            <a:ext cx="1154084" cy="1239982"/>
          </a:xfrm>
          <a:prstGeom prst="roundRect">
            <a:avLst>
              <a:gd name="adj" fmla="val 8264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圆角矩形 227">
            <a:extLst>
              <a:ext uri="{FF2B5EF4-FFF2-40B4-BE49-F238E27FC236}">
                <a16:creationId xmlns:a16="http://schemas.microsoft.com/office/drawing/2014/main" id="{9E1C4AAE-287E-42F3-AAC7-42A5362D77EA}"/>
              </a:ext>
            </a:extLst>
          </p:cNvPr>
          <p:cNvSpPr/>
          <p:nvPr/>
        </p:nvSpPr>
        <p:spPr>
          <a:xfrm>
            <a:off x="9654124" y="2167128"/>
            <a:ext cx="1154084" cy="1239982"/>
          </a:xfrm>
          <a:prstGeom prst="roundRect">
            <a:avLst>
              <a:gd name="adj" fmla="val 8264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" name="组合 1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AD864B2-7035-4332-A4AC-DB0825BC2D4F}"/>
              </a:ext>
            </a:extLst>
          </p:cNvPr>
          <p:cNvGrpSpPr/>
          <p:nvPr/>
        </p:nvGrpSpPr>
        <p:grpSpPr>
          <a:xfrm>
            <a:off x="7686859" y="2574279"/>
            <a:ext cx="935311" cy="622228"/>
            <a:chOff x="3070225" y="1708150"/>
            <a:chExt cx="6032500" cy="4013200"/>
          </a:xfrm>
        </p:grpSpPr>
        <p:sp>
          <p:nvSpPr>
            <p:cNvPr id="73" name="任意多边形 276">
              <a:extLst>
                <a:ext uri="{FF2B5EF4-FFF2-40B4-BE49-F238E27FC236}">
                  <a16:creationId xmlns:a16="http://schemas.microsoft.com/office/drawing/2014/main" id="{0F1E0F89-256A-4314-BC8A-28A86BCE331B}"/>
                </a:ext>
              </a:extLst>
            </p:cNvPr>
            <p:cNvSpPr/>
            <p:nvPr/>
          </p:nvSpPr>
          <p:spPr bwMode="auto">
            <a:xfrm>
              <a:off x="7667625" y="2609850"/>
              <a:ext cx="1435100" cy="3111500"/>
            </a:xfrm>
            <a:custGeom>
              <a:avLst/>
              <a:gdLst>
                <a:gd name="T0" fmla="*/ 0 w 904"/>
                <a:gd name="T1" fmla="*/ 0 h 1960"/>
                <a:gd name="T2" fmla="*/ 0 w 904"/>
                <a:gd name="T3" fmla="*/ 1914 h 1960"/>
                <a:gd name="T4" fmla="*/ 0 w 904"/>
                <a:gd name="T5" fmla="*/ 1960 h 1960"/>
                <a:gd name="T6" fmla="*/ 904 w 904"/>
                <a:gd name="T7" fmla="*/ 1960 h 1960"/>
                <a:gd name="T8" fmla="*/ 904 w 904"/>
                <a:gd name="T9" fmla="*/ 1937 h 1960"/>
                <a:gd name="T10" fmla="*/ 904 w 904"/>
                <a:gd name="T11" fmla="*/ 1914 h 1960"/>
                <a:gd name="T12" fmla="*/ 904 w 904"/>
                <a:gd name="T13" fmla="*/ 1171 h 1960"/>
                <a:gd name="T14" fmla="*/ 904 w 904"/>
                <a:gd name="T15" fmla="*/ 905 h 1960"/>
                <a:gd name="T16" fmla="*/ 904 w 904"/>
                <a:gd name="T17" fmla="*/ 789 h 1960"/>
                <a:gd name="T18" fmla="*/ 904 w 904"/>
                <a:gd name="T19" fmla="*/ 522 h 1960"/>
                <a:gd name="T20" fmla="*/ 904 w 904"/>
                <a:gd name="T21" fmla="*/ 394 h 1960"/>
                <a:gd name="T22" fmla="*/ 904 w 904"/>
                <a:gd name="T23" fmla="*/ 128 h 1960"/>
                <a:gd name="T24" fmla="*/ 904 w 904"/>
                <a:gd name="T25" fmla="*/ 0 h 1960"/>
                <a:gd name="T26" fmla="*/ 0 w 904"/>
                <a:gd name="T27" fmla="*/ 0 h 1960"/>
                <a:gd name="T28" fmla="*/ 394 w 904"/>
                <a:gd name="T29" fmla="*/ 1171 h 1960"/>
                <a:gd name="T30" fmla="*/ 128 w 904"/>
                <a:gd name="T31" fmla="*/ 1171 h 1960"/>
                <a:gd name="T32" fmla="*/ 128 w 904"/>
                <a:gd name="T33" fmla="*/ 905 h 1960"/>
                <a:gd name="T34" fmla="*/ 394 w 904"/>
                <a:gd name="T35" fmla="*/ 905 h 1960"/>
                <a:gd name="T36" fmla="*/ 394 w 904"/>
                <a:gd name="T37" fmla="*/ 1171 h 1960"/>
                <a:gd name="T38" fmla="*/ 394 w 904"/>
                <a:gd name="T39" fmla="*/ 789 h 1960"/>
                <a:gd name="T40" fmla="*/ 128 w 904"/>
                <a:gd name="T41" fmla="*/ 789 h 1960"/>
                <a:gd name="T42" fmla="*/ 128 w 904"/>
                <a:gd name="T43" fmla="*/ 522 h 1960"/>
                <a:gd name="T44" fmla="*/ 394 w 904"/>
                <a:gd name="T45" fmla="*/ 522 h 1960"/>
                <a:gd name="T46" fmla="*/ 394 w 904"/>
                <a:gd name="T47" fmla="*/ 789 h 1960"/>
                <a:gd name="T48" fmla="*/ 394 w 904"/>
                <a:gd name="T49" fmla="*/ 394 h 1960"/>
                <a:gd name="T50" fmla="*/ 128 w 904"/>
                <a:gd name="T51" fmla="*/ 394 h 1960"/>
                <a:gd name="T52" fmla="*/ 128 w 904"/>
                <a:gd name="T53" fmla="*/ 128 h 1960"/>
                <a:gd name="T54" fmla="*/ 394 w 904"/>
                <a:gd name="T55" fmla="*/ 128 h 1960"/>
                <a:gd name="T56" fmla="*/ 394 w 904"/>
                <a:gd name="T57" fmla="*/ 394 h 1960"/>
                <a:gd name="T58" fmla="*/ 788 w 904"/>
                <a:gd name="T59" fmla="*/ 1171 h 1960"/>
                <a:gd name="T60" fmla="*/ 522 w 904"/>
                <a:gd name="T61" fmla="*/ 1171 h 1960"/>
                <a:gd name="T62" fmla="*/ 522 w 904"/>
                <a:gd name="T63" fmla="*/ 905 h 1960"/>
                <a:gd name="T64" fmla="*/ 788 w 904"/>
                <a:gd name="T65" fmla="*/ 905 h 1960"/>
                <a:gd name="T66" fmla="*/ 788 w 904"/>
                <a:gd name="T67" fmla="*/ 1171 h 1960"/>
                <a:gd name="T68" fmla="*/ 788 w 904"/>
                <a:gd name="T69" fmla="*/ 789 h 1960"/>
                <a:gd name="T70" fmla="*/ 522 w 904"/>
                <a:gd name="T71" fmla="*/ 789 h 1960"/>
                <a:gd name="T72" fmla="*/ 522 w 904"/>
                <a:gd name="T73" fmla="*/ 522 h 1960"/>
                <a:gd name="T74" fmla="*/ 788 w 904"/>
                <a:gd name="T75" fmla="*/ 522 h 1960"/>
                <a:gd name="T76" fmla="*/ 788 w 904"/>
                <a:gd name="T77" fmla="*/ 789 h 1960"/>
                <a:gd name="T78" fmla="*/ 788 w 904"/>
                <a:gd name="T79" fmla="*/ 394 h 1960"/>
                <a:gd name="T80" fmla="*/ 522 w 904"/>
                <a:gd name="T81" fmla="*/ 394 h 1960"/>
                <a:gd name="T82" fmla="*/ 522 w 904"/>
                <a:gd name="T83" fmla="*/ 128 h 1960"/>
                <a:gd name="T84" fmla="*/ 788 w 904"/>
                <a:gd name="T85" fmla="*/ 128 h 1960"/>
                <a:gd name="T86" fmla="*/ 788 w 904"/>
                <a:gd name="T87" fmla="*/ 394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04" h="1960">
                  <a:moveTo>
                    <a:pt x="0" y="0"/>
                  </a:moveTo>
                  <a:lnTo>
                    <a:pt x="0" y="1914"/>
                  </a:lnTo>
                  <a:lnTo>
                    <a:pt x="0" y="1960"/>
                  </a:lnTo>
                  <a:lnTo>
                    <a:pt x="904" y="1960"/>
                  </a:lnTo>
                  <a:lnTo>
                    <a:pt x="904" y="1937"/>
                  </a:lnTo>
                  <a:lnTo>
                    <a:pt x="904" y="1914"/>
                  </a:lnTo>
                  <a:lnTo>
                    <a:pt x="904" y="1171"/>
                  </a:lnTo>
                  <a:lnTo>
                    <a:pt x="904" y="905"/>
                  </a:lnTo>
                  <a:lnTo>
                    <a:pt x="904" y="789"/>
                  </a:lnTo>
                  <a:lnTo>
                    <a:pt x="904" y="522"/>
                  </a:lnTo>
                  <a:lnTo>
                    <a:pt x="904" y="394"/>
                  </a:lnTo>
                  <a:lnTo>
                    <a:pt x="904" y="128"/>
                  </a:lnTo>
                  <a:lnTo>
                    <a:pt x="904" y="0"/>
                  </a:lnTo>
                  <a:lnTo>
                    <a:pt x="0" y="0"/>
                  </a:lnTo>
                  <a:close/>
                  <a:moveTo>
                    <a:pt x="394" y="1171"/>
                  </a:moveTo>
                  <a:lnTo>
                    <a:pt x="128" y="1171"/>
                  </a:lnTo>
                  <a:lnTo>
                    <a:pt x="128" y="905"/>
                  </a:lnTo>
                  <a:lnTo>
                    <a:pt x="394" y="905"/>
                  </a:lnTo>
                  <a:lnTo>
                    <a:pt x="394" y="1171"/>
                  </a:lnTo>
                  <a:close/>
                  <a:moveTo>
                    <a:pt x="394" y="789"/>
                  </a:moveTo>
                  <a:lnTo>
                    <a:pt x="128" y="789"/>
                  </a:lnTo>
                  <a:lnTo>
                    <a:pt x="128" y="522"/>
                  </a:lnTo>
                  <a:lnTo>
                    <a:pt x="394" y="522"/>
                  </a:lnTo>
                  <a:lnTo>
                    <a:pt x="394" y="789"/>
                  </a:lnTo>
                  <a:close/>
                  <a:moveTo>
                    <a:pt x="394" y="394"/>
                  </a:moveTo>
                  <a:lnTo>
                    <a:pt x="128" y="394"/>
                  </a:lnTo>
                  <a:lnTo>
                    <a:pt x="128" y="128"/>
                  </a:lnTo>
                  <a:lnTo>
                    <a:pt x="394" y="128"/>
                  </a:lnTo>
                  <a:lnTo>
                    <a:pt x="394" y="394"/>
                  </a:lnTo>
                  <a:close/>
                  <a:moveTo>
                    <a:pt x="788" y="1171"/>
                  </a:moveTo>
                  <a:lnTo>
                    <a:pt x="522" y="1171"/>
                  </a:lnTo>
                  <a:lnTo>
                    <a:pt x="522" y="905"/>
                  </a:lnTo>
                  <a:lnTo>
                    <a:pt x="788" y="905"/>
                  </a:lnTo>
                  <a:lnTo>
                    <a:pt x="788" y="1171"/>
                  </a:lnTo>
                  <a:close/>
                  <a:moveTo>
                    <a:pt x="788" y="789"/>
                  </a:moveTo>
                  <a:lnTo>
                    <a:pt x="522" y="789"/>
                  </a:lnTo>
                  <a:lnTo>
                    <a:pt x="522" y="522"/>
                  </a:lnTo>
                  <a:lnTo>
                    <a:pt x="788" y="522"/>
                  </a:lnTo>
                  <a:lnTo>
                    <a:pt x="788" y="789"/>
                  </a:lnTo>
                  <a:close/>
                  <a:moveTo>
                    <a:pt x="788" y="394"/>
                  </a:moveTo>
                  <a:lnTo>
                    <a:pt x="522" y="394"/>
                  </a:lnTo>
                  <a:lnTo>
                    <a:pt x="522" y="128"/>
                  </a:lnTo>
                  <a:lnTo>
                    <a:pt x="788" y="128"/>
                  </a:lnTo>
                  <a:lnTo>
                    <a:pt x="788" y="394"/>
                  </a:lnTo>
                  <a:close/>
                </a:path>
              </a:pathLst>
            </a:custGeom>
            <a:solidFill>
              <a:srgbClr val="D67160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dirty="0"/>
            </a:p>
          </p:txBody>
        </p:sp>
        <p:sp>
          <p:nvSpPr>
            <p:cNvPr id="74" name="任意多边形 277">
              <a:extLst>
                <a:ext uri="{FF2B5EF4-FFF2-40B4-BE49-F238E27FC236}">
                  <a16:creationId xmlns:a16="http://schemas.microsoft.com/office/drawing/2014/main" id="{113BC513-5BF8-494C-A4B7-594AEE7310CE}"/>
                </a:ext>
              </a:extLst>
            </p:cNvPr>
            <p:cNvSpPr/>
            <p:nvPr/>
          </p:nvSpPr>
          <p:spPr bwMode="auto">
            <a:xfrm>
              <a:off x="3070225" y="2609850"/>
              <a:ext cx="1435100" cy="3111500"/>
            </a:xfrm>
            <a:custGeom>
              <a:avLst/>
              <a:gdLst>
                <a:gd name="T0" fmla="*/ 904 w 904"/>
                <a:gd name="T1" fmla="*/ 1914 h 1960"/>
                <a:gd name="T2" fmla="*/ 904 w 904"/>
                <a:gd name="T3" fmla="*/ 1171 h 1960"/>
                <a:gd name="T4" fmla="*/ 904 w 904"/>
                <a:gd name="T5" fmla="*/ 905 h 1960"/>
                <a:gd name="T6" fmla="*/ 904 w 904"/>
                <a:gd name="T7" fmla="*/ 789 h 1960"/>
                <a:gd name="T8" fmla="*/ 904 w 904"/>
                <a:gd name="T9" fmla="*/ 522 h 1960"/>
                <a:gd name="T10" fmla="*/ 904 w 904"/>
                <a:gd name="T11" fmla="*/ 394 h 1960"/>
                <a:gd name="T12" fmla="*/ 904 w 904"/>
                <a:gd name="T13" fmla="*/ 128 h 1960"/>
                <a:gd name="T14" fmla="*/ 904 w 904"/>
                <a:gd name="T15" fmla="*/ 0 h 1960"/>
                <a:gd name="T16" fmla="*/ 0 w 904"/>
                <a:gd name="T17" fmla="*/ 0 h 1960"/>
                <a:gd name="T18" fmla="*/ 0 w 904"/>
                <a:gd name="T19" fmla="*/ 1914 h 1960"/>
                <a:gd name="T20" fmla="*/ 0 w 904"/>
                <a:gd name="T21" fmla="*/ 1937 h 1960"/>
                <a:gd name="T22" fmla="*/ 0 w 904"/>
                <a:gd name="T23" fmla="*/ 1960 h 1960"/>
                <a:gd name="T24" fmla="*/ 904 w 904"/>
                <a:gd name="T25" fmla="*/ 1960 h 1960"/>
                <a:gd name="T26" fmla="*/ 904 w 904"/>
                <a:gd name="T27" fmla="*/ 1914 h 1960"/>
                <a:gd name="T28" fmla="*/ 394 w 904"/>
                <a:gd name="T29" fmla="*/ 1171 h 1960"/>
                <a:gd name="T30" fmla="*/ 128 w 904"/>
                <a:gd name="T31" fmla="*/ 1171 h 1960"/>
                <a:gd name="T32" fmla="*/ 128 w 904"/>
                <a:gd name="T33" fmla="*/ 905 h 1960"/>
                <a:gd name="T34" fmla="*/ 394 w 904"/>
                <a:gd name="T35" fmla="*/ 905 h 1960"/>
                <a:gd name="T36" fmla="*/ 394 w 904"/>
                <a:gd name="T37" fmla="*/ 1171 h 1960"/>
                <a:gd name="T38" fmla="*/ 394 w 904"/>
                <a:gd name="T39" fmla="*/ 789 h 1960"/>
                <a:gd name="T40" fmla="*/ 128 w 904"/>
                <a:gd name="T41" fmla="*/ 789 h 1960"/>
                <a:gd name="T42" fmla="*/ 128 w 904"/>
                <a:gd name="T43" fmla="*/ 522 h 1960"/>
                <a:gd name="T44" fmla="*/ 394 w 904"/>
                <a:gd name="T45" fmla="*/ 522 h 1960"/>
                <a:gd name="T46" fmla="*/ 394 w 904"/>
                <a:gd name="T47" fmla="*/ 789 h 1960"/>
                <a:gd name="T48" fmla="*/ 394 w 904"/>
                <a:gd name="T49" fmla="*/ 394 h 1960"/>
                <a:gd name="T50" fmla="*/ 128 w 904"/>
                <a:gd name="T51" fmla="*/ 394 h 1960"/>
                <a:gd name="T52" fmla="*/ 128 w 904"/>
                <a:gd name="T53" fmla="*/ 128 h 1960"/>
                <a:gd name="T54" fmla="*/ 394 w 904"/>
                <a:gd name="T55" fmla="*/ 128 h 1960"/>
                <a:gd name="T56" fmla="*/ 394 w 904"/>
                <a:gd name="T57" fmla="*/ 394 h 1960"/>
                <a:gd name="T58" fmla="*/ 776 w 904"/>
                <a:gd name="T59" fmla="*/ 1171 h 1960"/>
                <a:gd name="T60" fmla="*/ 510 w 904"/>
                <a:gd name="T61" fmla="*/ 1171 h 1960"/>
                <a:gd name="T62" fmla="*/ 510 w 904"/>
                <a:gd name="T63" fmla="*/ 905 h 1960"/>
                <a:gd name="T64" fmla="*/ 776 w 904"/>
                <a:gd name="T65" fmla="*/ 905 h 1960"/>
                <a:gd name="T66" fmla="*/ 776 w 904"/>
                <a:gd name="T67" fmla="*/ 1171 h 1960"/>
                <a:gd name="T68" fmla="*/ 776 w 904"/>
                <a:gd name="T69" fmla="*/ 789 h 1960"/>
                <a:gd name="T70" fmla="*/ 510 w 904"/>
                <a:gd name="T71" fmla="*/ 789 h 1960"/>
                <a:gd name="T72" fmla="*/ 510 w 904"/>
                <a:gd name="T73" fmla="*/ 522 h 1960"/>
                <a:gd name="T74" fmla="*/ 776 w 904"/>
                <a:gd name="T75" fmla="*/ 522 h 1960"/>
                <a:gd name="T76" fmla="*/ 776 w 904"/>
                <a:gd name="T77" fmla="*/ 789 h 1960"/>
                <a:gd name="T78" fmla="*/ 510 w 904"/>
                <a:gd name="T79" fmla="*/ 394 h 1960"/>
                <a:gd name="T80" fmla="*/ 510 w 904"/>
                <a:gd name="T81" fmla="*/ 128 h 1960"/>
                <a:gd name="T82" fmla="*/ 776 w 904"/>
                <a:gd name="T83" fmla="*/ 128 h 1960"/>
                <a:gd name="T84" fmla="*/ 776 w 904"/>
                <a:gd name="T85" fmla="*/ 394 h 1960"/>
                <a:gd name="T86" fmla="*/ 510 w 904"/>
                <a:gd name="T87" fmla="*/ 394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04" h="1960">
                  <a:moveTo>
                    <a:pt x="904" y="1914"/>
                  </a:moveTo>
                  <a:lnTo>
                    <a:pt x="904" y="1171"/>
                  </a:lnTo>
                  <a:lnTo>
                    <a:pt x="904" y="905"/>
                  </a:lnTo>
                  <a:lnTo>
                    <a:pt x="904" y="789"/>
                  </a:lnTo>
                  <a:lnTo>
                    <a:pt x="904" y="522"/>
                  </a:lnTo>
                  <a:lnTo>
                    <a:pt x="904" y="394"/>
                  </a:lnTo>
                  <a:lnTo>
                    <a:pt x="904" y="128"/>
                  </a:lnTo>
                  <a:lnTo>
                    <a:pt x="904" y="0"/>
                  </a:lnTo>
                  <a:lnTo>
                    <a:pt x="0" y="0"/>
                  </a:lnTo>
                  <a:lnTo>
                    <a:pt x="0" y="1914"/>
                  </a:lnTo>
                  <a:lnTo>
                    <a:pt x="0" y="1937"/>
                  </a:lnTo>
                  <a:lnTo>
                    <a:pt x="0" y="1960"/>
                  </a:lnTo>
                  <a:lnTo>
                    <a:pt x="904" y="1960"/>
                  </a:lnTo>
                  <a:lnTo>
                    <a:pt x="904" y="1914"/>
                  </a:lnTo>
                  <a:close/>
                  <a:moveTo>
                    <a:pt x="394" y="1171"/>
                  </a:moveTo>
                  <a:lnTo>
                    <a:pt x="128" y="1171"/>
                  </a:lnTo>
                  <a:lnTo>
                    <a:pt x="128" y="905"/>
                  </a:lnTo>
                  <a:lnTo>
                    <a:pt x="394" y="905"/>
                  </a:lnTo>
                  <a:lnTo>
                    <a:pt x="394" y="1171"/>
                  </a:lnTo>
                  <a:close/>
                  <a:moveTo>
                    <a:pt x="394" y="789"/>
                  </a:moveTo>
                  <a:lnTo>
                    <a:pt x="128" y="789"/>
                  </a:lnTo>
                  <a:lnTo>
                    <a:pt x="128" y="522"/>
                  </a:lnTo>
                  <a:lnTo>
                    <a:pt x="394" y="522"/>
                  </a:lnTo>
                  <a:lnTo>
                    <a:pt x="394" y="789"/>
                  </a:lnTo>
                  <a:close/>
                  <a:moveTo>
                    <a:pt x="394" y="394"/>
                  </a:moveTo>
                  <a:lnTo>
                    <a:pt x="128" y="394"/>
                  </a:lnTo>
                  <a:lnTo>
                    <a:pt x="128" y="128"/>
                  </a:lnTo>
                  <a:lnTo>
                    <a:pt x="394" y="128"/>
                  </a:lnTo>
                  <a:lnTo>
                    <a:pt x="394" y="394"/>
                  </a:lnTo>
                  <a:close/>
                  <a:moveTo>
                    <a:pt x="776" y="1171"/>
                  </a:moveTo>
                  <a:lnTo>
                    <a:pt x="510" y="1171"/>
                  </a:lnTo>
                  <a:lnTo>
                    <a:pt x="510" y="905"/>
                  </a:lnTo>
                  <a:lnTo>
                    <a:pt x="776" y="905"/>
                  </a:lnTo>
                  <a:lnTo>
                    <a:pt x="776" y="1171"/>
                  </a:lnTo>
                  <a:close/>
                  <a:moveTo>
                    <a:pt x="776" y="789"/>
                  </a:moveTo>
                  <a:lnTo>
                    <a:pt x="510" y="789"/>
                  </a:lnTo>
                  <a:lnTo>
                    <a:pt x="510" y="522"/>
                  </a:lnTo>
                  <a:lnTo>
                    <a:pt x="776" y="522"/>
                  </a:lnTo>
                  <a:lnTo>
                    <a:pt x="776" y="789"/>
                  </a:lnTo>
                  <a:close/>
                  <a:moveTo>
                    <a:pt x="510" y="394"/>
                  </a:moveTo>
                  <a:lnTo>
                    <a:pt x="510" y="128"/>
                  </a:lnTo>
                  <a:lnTo>
                    <a:pt x="776" y="128"/>
                  </a:lnTo>
                  <a:lnTo>
                    <a:pt x="776" y="394"/>
                  </a:lnTo>
                  <a:lnTo>
                    <a:pt x="510" y="394"/>
                  </a:lnTo>
                  <a:close/>
                </a:path>
              </a:pathLst>
            </a:custGeom>
            <a:solidFill>
              <a:srgbClr val="D67160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/>
            </a:p>
          </p:txBody>
        </p:sp>
        <p:sp>
          <p:nvSpPr>
            <p:cNvPr id="75" name="任意多边形 278">
              <a:extLst>
                <a:ext uri="{FF2B5EF4-FFF2-40B4-BE49-F238E27FC236}">
                  <a16:creationId xmlns:a16="http://schemas.microsoft.com/office/drawing/2014/main" id="{556E6D98-D288-469C-BB7E-B368DC173C1A}"/>
                </a:ext>
              </a:extLst>
            </p:cNvPr>
            <p:cNvSpPr/>
            <p:nvPr/>
          </p:nvSpPr>
          <p:spPr bwMode="auto">
            <a:xfrm>
              <a:off x="4449763" y="1708150"/>
              <a:ext cx="3273423" cy="4013200"/>
            </a:xfrm>
            <a:custGeom>
              <a:avLst/>
              <a:gdLst>
                <a:gd name="T0" fmla="*/ 81 w 2062"/>
                <a:gd name="T1" fmla="*/ 568 h 2528"/>
                <a:gd name="T2" fmla="*/ 81 w 2062"/>
                <a:gd name="T3" fmla="*/ 2482 h 2528"/>
                <a:gd name="T4" fmla="*/ 81 w 2062"/>
                <a:gd name="T5" fmla="*/ 2528 h 2528"/>
                <a:gd name="T6" fmla="*/ 1981 w 2062"/>
                <a:gd name="T7" fmla="*/ 2528 h 2528"/>
                <a:gd name="T8" fmla="*/ 1981 w 2062"/>
                <a:gd name="T9" fmla="*/ 2482 h 2528"/>
                <a:gd name="T10" fmla="*/ 1981 w 2062"/>
                <a:gd name="T11" fmla="*/ 568 h 2528"/>
                <a:gd name="T12" fmla="*/ 1981 w 2062"/>
                <a:gd name="T13" fmla="*/ 371 h 2528"/>
                <a:gd name="T14" fmla="*/ 2062 w 2062"/>
                <a:gd name="T15" fmla="*/ 371 h 2528"/>
                <a:gd name="T16" fmla="*/ 2062 w 2062"/>
                <a:gd name="T17" fmla="*/ 185 h 2528"/>
                <a:gd name="T18" fmla="*/ 2062 w 2062"/>
                <a:gd name="T19" fmla="*/ 0 h 2528"/>
                <a:gd name="T20" fmla="*/ 1159 w 2062"/>
                <a:gd name="T21" fmla="*/ 0 h 2528"/>
                <a:gd name="T22" fmla="*/ 1159 w 2062"/>
                <a:gd name="T23" fmla="*/ 139 h 2528"/>
                <a:gd name="T24" fmla="*/ 904 w 2062"/>
                <a:gd name="T25" fmla="*/ 139 h 2528"/>
                <a:gd name="T26" fmla="*/ 904 w 2062"/>
                <a:gd name="T27" fmla="*/ 0 h 2528"/>
                <a:gd name="T28" fmla="*/ 0 w 2062"/>
                <a:gd name="T29" fmla="*/ 0 h 2528"/>
                <a:gd name="T30" fmla="*/ 0 w 2062"/>
                <a:gd name="T31" fmla="*/ 185 h 2528"/>
                <a:gd name="T32" fmla="*/ 0 w 2062"/>
                <a:gd name="T33" fmla="*/ 371 h 2528"/>
                <a:gd name="T34" fmla="*/ 81 w 2062"/>
                <a:gd name="T35" fmla="*/ 371 h 2528"/>
                <a:gd name="T36" fmla="*/ 81 w 2062"/>
                <a:gd name="T37" fmla="*/ 568 h 2528"/>
                <a:gd name="T38" fmla="*/ 626 w 2062"/>
                <a:gd name="T39" fmla="*/ 2482 h 2528"/>
                <a:gd name="T40" fmla="*/ 232 w 2062"/>
                <a:gd name="T41" fmla="*/ 2482 h 2528"/>
                <a:gd name="T42" fmla="*/ 232 w 2062"/>
                <a:gd name="T43" fmla="*/ 1786 h 2528"/>
                <a:gd name="T44" fmla="*/ 626 w 2062"/>
                <a:gd name="T45" fmla="*/ 1786 h 2528"/>
                <a:gd name="T46" fmla="*/ 626 w 2062"/>
                <a:gd name="T47" fmla="*/ 2482 h 2528"/>
                <a:gd name="T48" fmla="*/ 1008 w 2062"/>
                <a:gd name="T49" fmla="*/ 2482 h 2528"/>
                <a:gd name="T50" fmla="*/ 672 w 2062"/>
                <a:gd name="T51" fmla="*/ 2482 h 2528"/>
                <a:gd name="T52" fmla="*/ 672 w 2062"/>
                <a:gd name="T53" fmla="*/ 1786 h 2528"/>
                <a:gd name="T54" fmla="*/ 1008 w 2062"/>
                <a:gd name="T55" fmla="*/ 1786 h 2528"/>
                <a:gd name="T56" fmla="*/ 1008 w 2062"/>
                <a:gd name="T57" fmla="*/ 2482 h 2528"/>
                <a:gd name="T58" fmla="*/ 1402 w 2062"/>
                <a:gd name="T59" fmla="*/ 2482 h 2528"/>
                <a:gd name="T60" fmla="*/ 1054 w 2062"/>
                <a:gd name="T61" fmla="*/ 2482 h 2528"/>
                <a:gd name="T62" fmla="*/ 1054 w 2062"/>
                <a:gd name="T63" fmla="*/ 1786 h 2528"/>
                <a:gd name="T64" fmla="*/ 1402 w 2062"/>
                <a:gd name="T65" fmla="*/ 1786 h 2528"/>
                <a:gd name="T66" fmla="*/ 1402 w 2062"/>
                <a:gd name="T67" fmla="*/ 2482 h 2528"/>
                <a:gd name="T68" fmla="*/ 1842 w 2062"/>
                <a:gd name="T69" fmla="*/ 2482 h 2528"/>
                <a:gd name="T70" fmla="*/ 1448 w 2062"/>
                <a:gd name="T71" fmla="*/ 2482 h 2528"/>
                <a:gd name="T72" fmla="*/ 1448 w 2062"/>
                <a:gd name="T73" fmla="*/ 1786 h 2528"/>
                <a:gd name="T74" fmla="*/ 1842 w 2062"/>
                <a:gd name="T75" fmla="*/ 1786 h 2528"/>
                <a:gd name="T76" fmla="*/ 1842 w 2062"/>
                <a:gd name="T77" fmla="*/ 2482 h 2528"/>
                <a:gd name="T78" fmla="*/ 1842 w 2062"/>
                <a:gd name="T79" fmla="*/ 1554 h 2528"/>
                <a:gd name="T80" fmla="*/ 232 w 2062"/>
                <a:gd name="T81" fmla="*/ 1554 h 2528"/>
                <a:gd name="T82" fmla="*/ 232 w 2062"/>
                <a:gd name="T83" fmla="*/ 1345 h 2528"/>
                <a:gd name="T84" fmla="*/ 1842 w 2062"/>
                <a:gd name="T85" fmla="*/ 1345 h 2528"/>
                <a:gd name="T86" fmla="*/ 1842 w 2062"/>
                <a:gd name="T87" fmla="*/ 1554 h 2528"/>
                <a:gd name="T88" fmla="*/ 1842 w 2062"/>
                <a:gd name="T89" fmla="*/ 1113 h 2528"/>
                <a:gd name="T90" fmla="*/ 232 w 2062"/>
                <a:gd name="T91" fmla="*/ 1113 h 2528"/>
                <a:gd name="T92" fmla="*/ 232 w 2062"/>
                <a:gd name="T93" fmla="*/ 916 h 2528"/>
                <a:gd name="T94" fmla="*/ 1842 w 2062"/>
                <a:gd name="T95" fmla="*/ 916 h 2528"/>
                <a:gd name="T96" fmla="*/ 1842 w 2062"/>
                <a:gd name="T97" fmla="*/ 1113 h 2528"/>
                <a:gd name="T98" fmla="*/ 1842 w 2062"/>
                <a:gd name="T99" fmla="*/ 684 h 2528"/>
                <a:gd name="T100" fmla="*/ 232 w 2062"/>
                <a:gd name="T101" fmla="*/ 684 h 2528"/>
                <a:gd name="T102" fmla="*/ 232 w 2062"/>
                <a:gd name="T103" fmla="*/ 475 h 2528"/>
                <a:gd name="T104" fmla="*/ 1842 w 2062"/>
                <a:gd name="T105" fmla="*/ 475 h 2528"/>
                <a:gd name="T106" fmla="*/ 1842 w 2062"/>
                <a:gd name="T107" fmla="*/ 684 h 2528"/>
                <a:gd name="T108" fmla="*/ 46 w 2062"/>
                <a:gd name="T109" fmla="*/ 325 h 2528"/>
                <a:gd name="T110" fmla="*/ 46 w 2062"/>
                <a:gd name="T111" fmla="*/ 232 h 2528"/>
                <a:gd name="T112" fmla="*/ 2016 w 2062"/>
                <a:gd name="T113" fmla="*/ 232 h 2528"/>
                <a:gd name="T114" fmla="*/ 2016 w 2062"/>
                <a:gd name="T115" fmla="*/ 325 h 2528"/>
                <a:gd name="T116" fmla="*/ 950 w 2062"/>
                <a:gd name="T117" fmla="*/ 325 h 2528"/>
                <a:gd name="T118" fmla="*/ 46 w 2062"/>
                <a:gd name="T119" fmla="*/ 325 h 2528"/>
                <a:gd name="connsiteX0" fmla="*/ 393 w 10000"/>
                <a:gd name="connsiteY0" fmla="*/ 2247 h 10000"/>
                <a:gd name="connsiteX1" fmla="*/ 393 w 10000"/>
                <a:gd name="connsiteY1" fmla="*/ 9818 h 10000"/>
                <a:gd name="connsiteX2" fmla="*/ 393 w 10000"/>
                <a:gd name="connsiteY2" fmla="*/ 10000 h 10000"/>
                <a:gd name="connsiteX3" fmla="*/ 9607 w 10000"/>
                <a:gd name="connsiteY3" fmla="*/ 10000 h 10000"/>
                <a:gd name="connsiteX4" fmla="*/ 9607 w 10000"/>
                <a:gd name="connsiteY4" fmla="*/ 9818 h 10000"/>
                <a:gd name="connsiteX5" fmla="*/ 9607 w 10000"/>
                <a:gd name="connsiteY5" fmla="*/ 2247 h 10000"/>
                <a:gd name="connsiteX6" fmla="*/ 9607 w 10000"/>
                <a:gd name="connsiteY6" fmla="*/ 1468 h 10000"/>
                <a:gd name="connsiteX7" fmla="*/ 10000 w 10000"/>
                <a:gd name="connsiteY7" fmla="*/ 1468 h 10000"/>
                <a:gd name="connsiteX8" fmla="*/ 10000 w 10000"/>
                <a:gd name="connsiteY8" fmla="*/ 732 h 10000"/>
                <a:gd name="connsiteX9" fmla="*/ 10000 w 10000"/>
                <a:gd name="connsiteY9" fmla="*/ 0 h 10000"/>
                <a:gd name="connsiteX10" fmla="*/ 5621 w 10000"/>
                <a:gd name="connsiteY10" fmla="*/ 0 h 10000"/>
                <a:gd name="connsiteX11" fmla="*/ 5621 w 10000"/>
                <a:gd name="connsiteY11" fmla="*/ 550 h 10000"/>
                <a:gd name="connsiteX12" fmla="*/ 4384 w 10000"/>
                <a:gd name="connsiteY12" fmla="*/ 0 h 10000"/>
                <a:gd name="connsiteX13" fmla="*/ 0 w 10000"/>
                <a:gd name="connsiteY13" fmla="*/ 0 h 10000"/>
                <a:gd name="connsiteX14" fmla="*/ 0 w 10000"/>
                <a:gd name="connsiteY14" fmla="*/ 732 h 10000"/>
                <a:gd name="connsiteX15" fmla="*/ 0 w 10000"/>
                <a:gd name="connsiteY15" fmla="*/ 1468 h 10000"/>
                <a:gd name="connsiteX16" fmla="*/ 393 w 10000"/>
                <a:gd name="connsiteY16" fmla="*/ 1468 h 10000"/>
                <a:gd name="connsiteX17" fmla="*/ 393 w 10000"/>
                <a:gd name="connsiteY17" fmla="*/ 2247 h 10000"/>
                <a:gd name="connsiteX18" fmla="*/ 3036 w 10000"/>
                <a:gd name="connsiteY18" fmla="*/ 9818 h 10000"/>
                <a:gd name="connsiteX19" fmla="*/ 1125 w 10000"/>
                <a:gd name="connsiteY19" fmla="*/ 9818 h 10000"/>
                <a:gd name="connsiteX20" fmla="*/ 1125 w 10000"/>
                <a:gd name="connsiteY20" fmla="*/ 7065 h 10000"/>
                <a:gd name="connsiteX21" fmla="*/ 3036 w 10000"/>
                <a:gd name="connsiteY21" fmla="*/ 7065 h 10000"/>
                <a:gd name="connsiteX22" fmla="*/ 3036 w 10000"/>
                <a:gd name="connsiteY22" fmla="*/ 9818 h 10000"/>
                <a:gd name="connsiteX23" fmla="*/ 4888 w 10000"/>
                <a:gd name="connsiteY23" fmla="*/ 9818 h 10000"/>
                <a:gd name="connsiteX24" fmla="*/ 3259 w 10000"/>
                <a:gd name="connsiteY24" fmla="*/ 9818 h 10000"/>
                <a:gd name="connsiteX25" fmla="*/ 3259 w 10000"/>
                <a:gd name="connsiteY25" fmla="*/ 7065 h 10000"/>
                <a:gd name="connsiteX26" fmla="*/ 4888 w 10000"/>
                <a:gd name="connsiteY26" fmla="*/ 7065 h 10000"/>
                <a:gd name="connsiteX27" fmla="*/ 4888 w 10000"/>
                <a:gd name="connsiteY27" fmla="*/ 9818 h 10000"/>
                <a:gd name="connsiteX28" fmla="*/ 6799 w 10000"/>
                <a:gd name="connsiteY28" fmla="*/ 9818 h 10000"/>
                <a:gd name="connsiteX29" fmla="*/ 5112 w 10000"/>
                <a:gd name="connsiteY29" fmla="*/ 9818 h 10000"/>
                <a:gd name="connsiteX30" fmla="*/ 5112 w 10000"/>
                <a:gd name="connsiteY30" fmla="*/ 7065 h 10000"/>
                <a:gd name="connsiteX31" fmla="*/ 6799 w 10000"/>
                <a:gd name="connsiteY31" fmla="*/ 7065 h 10000"/>
                <a:gd name="connsiteX32" fmla="*/ 6799 w 10000"/>
                <a:gd name="connsiteY32" fmla="*/ 9818 h 10000"/>
                <a:gd name="connsiteX33" fmla="*/ 8933 w 10000"/>
                <a:gd name="connsiteY33" fmla="*/ 9818 h 10000"/>
                <a:gd name="connsiteX34" fmla="*/ 7022 w 10000"/>
                <a:gd name="connsiteY34" fmla="*/ 9818 h 10000"/>
                <a:gd name="connsiteX35" fmla="*/ 7022 w 10000"/>
                <a:gd name="connsiteY35" fmla="*/ 7065 h 10000"/>
                <a:gd name="connsiteX36" fmla="*/ 8933 w 10000"/>
                <a:gd name="connsiteY36" fmla="*/ 7065 h 10000"/>
                <a:gd name="connsiteX37" fmla="*/ 8933 w 10000"/>
                <a:gd name="connsiteY37" fmla="*/ 9818 h 10000"/>
                <a:gd name="connsiteX38" fmla="*/ 8933 w 10000"/>
                <a:gd name="connsiteY38" fmla="*/ 6147 h 10000"/>
                <a:gd name="connsiteX39" fmla="*/ 1125 w 10000"/>
                <a:gd name="connsiteY39" fmla="*/ 6147 h 10000"/>
                <a:gd name="connsiteX40" fmla="*/ 1125 w 10000"/>
                <a:gd name="connsiteY40" fmla="*/ 5320 h 10000"/>
                <a:gd name="connsiteX41" fmla="*/ 8933 w 10000"/>
                <a:gd name="connsiteY41" fmla="*/ 5320 h 10000"/>
                <a:gd name="connsiteX42" fmla="*/ 8933 w 10000"/>
                <a:gd name="connsiteY42" fmla="*/ 6147 h 10000"/>
                <a:gd name="connsiteX43" fmla="*/ 8933 w 10000"/>
                <a:gd name="connsiteY43" fmla="*/ 4403 h 10000"/>
                <a:gd name="connsiteX44" fmla="*/ 1125 w 10000"/>
                <a:gd name="connsiteY44" fmla="*/ 4403 h 10000"/>
                <a:gd name="connsiteX45" fmla="*/ 1125 w 10000"/>
                <a:gd name="connsiteY45" fmla="*/ 3623 h 10000"/>
                <a:gd name="connsiteX46" fmla="*/ 8933 w 10000"/>
                <a:gd name="connsiteY46" fmla="*/ 3623 h 10000"/>
                <a:gd name="connsiteX47" fmla="*/ 8933 w 10000"/>
                <a:gd name="connsiteY47" fmla="*/ 4403 h 10000"/>
                <a:gd name="connsiteX48" fmla="*/ 8933 w 10000"/>
                <a:gd name="connsiteY48" fmla="*/ 2706 h 10000"/>
                <a:gd name="connsiteX49" fmla="*/ 1125 w 10000"/>
                <a:gd name="connsiteY49" fmla="*/ 2706 h 10000"/>
                <a:gd name="connsiteX50" fmla="*/ 1125 w 10000"/>
                <a:gd name="connsiteY50" fmla="*/ 1879 h 10000"/>
                <a:gd name="connsiteX51" fmla="*/ 8933 w 10000"/>
                <a:gd name="connsiteY51" fmla="*/ 1879 h 10000"/>
                <a:gd name="connsiteX52" fmla="*/ 8933 w 10000"/>
                <a:gd name="connsiteY52" fmla="*/ 2706 h 10000"/>
                <a:gd name="connsiteX53" fmla="*/ 223 w 10000"/>
                <a:gd name="connsiteY53" fmla="*/ 1286 h 10000"/>
                <a:gd name="connsiteX54" fmla="*/ 223 w 10000"/>
                <a:gd name="connsiteY54" fmla="*/ 918 h 10000"/>
                <a:gd name="connsiteX55" fmla="*/ 9777 w 10000"/>
                <a:gd name="connsiteY55" fmla="*/ 918 h 10000"/>
                <a:gd name="connsiteX56" fmla="*/ 9777 w 10000"/>
                <a:gd name="connsiteY56" fmla="*/ 1286 h 10000"/>
                <a:gd name="connsiteX57" fmla="*/ 4607 w 10000"/>
                <a:gd name="connsiteY57" fmla="*/ 1286 h 10000"/>
                <a:gd name="connsiteX58" fmla="*/ 223 w 10000"/>
                <a:gd name="connsiteY58" fmla="*/ 1286 h 10000"/>
                <a:gd name="connsiteX0" fmla="*/ 393 w 10000"/>
                <a:gd name="connsiteY0" fmla="*/ 2247 h 10000"/>
                <a:gd name="connsiteX1" fmla="*/ 393 w 10000"/>
                <a:gd name="connsiteY1" fmla="*/ 9818 h 10000"/>
                <a:gd name="connsiteX2" fmla="*/ 393 w 10000"/>
                <a:gd name="connsiteY2" fmla="*/ 10000 h 10000"/>
                <a:gd name="connsiteX3" fmla="*/ 9607 w 10000"/>
                <a:gd name="connsiteY3" fmla="*/ 10000 h 10000"/>
                <a:gd name="connsiteX4" fmla="*/ 9607 w 10000"/>
                <a:gd name="connsiteY4" fmla="*/ 9818 h 10000"/>
                <a:gd name="connsiteX5" fmla="*/ 9607 w 10000"/>
                <a:gd name="connsiteY5" fmla="*/ 2247 h 10000"/>
                <a:gd name="connsiteX6" fmla="*/ 9607 w 10000"/>
                <a:gd name="connsiteY6" fmla="*/ 1468 h 10000"/>
                <a:gd name="connsiteX7" fmla="*/ 10000 w 10000"/>
                <a:gd name="connsiteY7" fmla="*/ 1468 h 10000"/>
                <a:gd name="connsiteX8" fmla="*/ 10000 w 10000"/>
                <a:gd name="connsiteY8" fmla="*/ 732 h 10000"/>
                <a:gd name="connsiteX9" fmla="*/ 10000 w 10000"/>
                <a:gd name="connsiteY9" fmla="*/ 0 h 10000"/>
                <a:gd name="connsiteX10" fmla="*/ 5621 w 10000"/>
                <a:gd name="connsiteY10" fmla="*/ 0 h 10000"/>
                <a:gd name="connsiteX11" fmla="*/ 4384 w 10000"/>
                <a:gd name="connsiteY11" fmla="*/ 0 h 10000"/>
                <a:gd name="connsiteX12" fmla="*/ 0 w 10000"/>
                <a:gd name="connsiteY12" fmla="*/ 0 h 10000"/>
                <a:gd name="connsiteX13" fmla="*/ 0 w 10000"/>
                <a:gd name="connsiteY13" fmla="*/ 732 h 10000"/>
                <a:gd name="connsiteX14" fmla="*/ 0 w 10000"/>
                <a:gd name="connsiteY14" fmla="*/ 1468 h 10000"/>
                <a:gd name="connsiteX15" fmla="*/ 393 w 10000"/>
                <a:gd name="connsiteY15" fmla="*/ 1468 h 10000"/>
                <a:gd name="connsiteX16" fmla="*/ 393 w 10000"/>
                <a:gd name="connsiteY16" fmla="*/ 2247 h 10000"/>
                <a:gd name="connsiteX17" fmla="*/ 3036 w 10000"/>
                <a:gd name="connsiteY17" fmla="*/ 9818 h 10000"/>
                <a:gd name="connsiteX18" fmla="*/ 1125 w 10000"/>
                <a:gd name="connsiteY18" fmla="*/ 9818 h 10000"/>
                <a:gd name="connsiteX19" fmla="*/ 1125 w 10000"/>
                <a:gd name="connsiteY19" fmla="*/ 7065 h 10000"/>
                <a:gd name="connsiteX20" fmla="*/ 3036 w 10000"/>
                <a:gd name="connsiteY20" fmla="*/ 7065 h 10000"/>
                <a:gd name="connsiteX21" fmla="*/ 3036 w 10000"/>
                <a:gd name="connsiteY21" fmla="*/ 9818 h 10000"/>
                <a:gd name="connsiteX22" fmla="*/ 4888 w 10000"/>
                <a:gd name="connsiteY22" fmla="*/ 9818 h 10000"/>
                <a:gd name="connsiteX23" fmla="*/ 3259 w 10000"/>
                <a:gd name="connsiteY23" fmla="*/ 9818 h 10000"/>
                <a:gd name="connsiteX24" fmla="*/ 3259 w 10000"/>
                <a:gd name="connsiteY24" fmla="*/ 7065 h 10000"/>
                <a:gd name="connsiteX25" fmla="*/ 4888 w 10000"/>
                <a:gd name="connsiteY25" fmla="*/ 7065 h 10000"/>
                <a:gd name="connsiteX26" fmla="*/ 4888 w 10000"/>
                <a:gd name="connsiteY26" fmla="*/ 9818 h 10000"/>
                <a:gd name="connsiteX27" fmla="*/ 6799 w 10000"/>
                <a:gd name="connsiteY27" fmla="*/ 9818 h 10000"/>
                <a:gd name="connsiteX28" fmla="*/ 5112 w 10000"/>
                <a:gd name="connsiteY28" fmla="*/ 9818 h 10000"/>
                <a:gd name="connsiteX29" fmla="*/ 5112 w 10000"/>
                <a:gd name="connsiteY29" fmla="*/ 7065 h 10000"/>
                <a:gd name="connsiteX30" fmla="*/ 6799 w 10000"/>
                <a:gd name="connsiteY30" fmla="*/ 7065 h 10000"/>
                <a:gd name="connsiteX31" fmla="*/ 6799 w 10000"/>
                <a:gd name="connsiteY31" fmla="*/ 9818 h 10000"/>
                <a:gd name="connsiteX32" fmla="*/ 8933 w 10000"/>
                <a:gd name="connsiteY32" fmla="*/ 9818 h 10000"/>
                <a:gd name="connsiteX33" fmla="*/ 7022 w 10000"/>
                <a:gd name="connsiteY33" fmla="*/ 9818 h 10000"/>
                <a:gd name="connsiteX34" fmla="*/ 7022 w 10000"/>
                <a:gd name="connsiteY34" fmla="*/ 7065 h 10000"/>
                <a:gd name="connsiteX35" fmla="*/ 8933 w 10000"/>
                <a:gd name="connsiteY35" fmla="*/ 7065 h 10000"/>
                <a:gd name="connsiteX36" fmla="*/ 8933 w 10000"/>
                <a:gd name="connsiteY36" fmla="*/ 9818 h 10000"/>
                <a:gd name="connsiteX37" fmla="*/ 8933 w 10000"/>
                <a:gd name="connsiteY37" fmla="*/ 6147 h 10000"/>
                <a:gd name="connsiteX38" fmla="*/ 1125 w 10000"/>
                <a:gd name="connsiteY38" fmla="*/ 6147 h 10000"/>
                <a:gd name="connsiteX39" fmla="*/ 1125 w 10000"/>
                <a:gd name="connsiteY39" fmla="*/ 5320 h 10000"/>
                <a:gd name="connsiteX40" fmla="*/ 8933 w 10000"/>
                <a:gd name="connsiteY40" fmla="*/ 5320 h 10000"/>
                <a:gd name="connsiteX41" fmla="*/ 8933 w 10000"/>
                <a:gd name="connsiteY41" fmla="*/ 6147 h 10000"/>
                <a:gd name="connsiteX42" fmla="*/ 8933 w 10000"/>
                <a:gd name="connsiteY42" fmla="*/ 4403 h 10000"/>
                <a:gd name="connsiteX43" fmla="*/ 1125 w 10000"/>
                <a:gd name="connsiteY43" fmla="*/ 4403 h 10000"/>
                <a:gd name="connsiteX44" fmla="*/ 1125 w 10000"/>
                <a:gd name="connsiteY44" fmla="*/ 3623 h 10000"/>
                <a:gd name="connsiteX45" fmla="*/ 8933 w 10000"/>
                <a:gd name="connsiteY45" fmla="*/ 3623 h 10000"/>
                <a:gd name="connsiteX46" fmla="*/ 8933 w 10000"/>
                <a:gd name="connsiteY46" fmla="*/ 4403 h 10000"/>
                <a:gd name="connsiteX47" fmla="*/ 8933 w 10000"/>
                <a:gd name="connsiteY47" fmla="*/ 2706 h 10000"/>
                <a:gd name="connsiteX48" fmla="*/ 1125 w 10000"/>
                <a:gd name="connsiteY48" fmla="*/ 2706 h 10000"/>
                <a:gd name="connsiteX49" fmla="*/ 1125 w 10000"/>
                <a:gd name="connsiteY49" fmla="*/ 1879 h 10000"/>
                <a:gd name="connsiteX50" fmla="*/ 8933 w 10000"/>
                <a:gd name="connsiteY50" fmla="*/ 1879 h 10000"/>
                <a:gd name="connsiteX51" fmla="*/ 8933 w 10000"/>
                <a:gd name="connsiteY51" fmla="*/ 2706 h 10000"/>
                <a:gd name="connsiteX52" fmla="*/ 223 w 10000"/>
                <a:gd name="connsiteY52" fmla="*/ 1286 h 10000"/>
                <a:gd name="connsiteX53" fmla="*/ 223 w 10000"/>
                <a:gd name="connsiteY53" fmla="*/ 918 h 10000"/>
                <a:gd name="connsiteX54" fmla="*/ 9777 w 10000"/>
                <a:gd name="connsiteY54" fmla="*/ 918 h 10000"/>
                <a:gd name="connsiteX55" fmla="*/ 9777 w 10000"/>
                <a:gd name="connsiteY55" fmla="*/ 1286 h 10000"/>
                <a:gd name="connsiteX56" fmla="*/ 4607 w 10000"/>
                <a:gd name="connsiteY56" fmla="*/ 1286 h 10000"/>
                <a:gd name="connsiteX57" fmla="*/ 223 w 10000"/>
                <a:gd name="connsiteY57" fmla="*/ 1286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0000" h="10000">
                  <a:moveTo>
                    <a:pt x="393" y="2247"/>
                  </a:moveTo>
                  <a:lnTo>
                    <a:pt x="393" y="9818"/>
                  </a:lnTo>
                  <a:lnTo>
                    <a:pt x="393" y="10000"/>
                  </a:lnTo>
                  <a:lnTo>
                    <a:pt x="9607" y="10000"/>
                  </a:lnTo>
                  <a:lnTo>
                    <a:pt x="9607" y="9818"/>
                  </a:lnTo>
                  <a:lnTo>
                    <a:pt x="9607" y="2247"/>
                  </a:lnTo>
                  <a:lnTo>
                    <a:pt x="9607" y="1468"/>
                  </a:lnTo>
                  <a:lnTo>
                    <a:pt x="10000" y="1468"/>
                  </a:lnTo>
                  <a:lnTo>
                    <a:pt x="10000" y="732"/>
                  </a:lnTo>
                  <a:lnTo>
                    <a:pt x="10000" y="0"/>
                  </a:lnTo>
                  <a:lnTo>
                    <a:pt x="5621" y="0"/>
                  </a:lnTo>
                  <a:lnTo>
                    <a:pt x="4384" y="0"/>
                  </a:lnTo>
                  <a:lnTo>
                    <a:pt x="0" y="0"/>
                  </a:lnTo>
                  <a:lnTo>
                    <a:pt x="0" y="732"/>
                  </a:lnTo>
                  <a:lnTo>
                    <a:pt x="0" y="1468"/>
                  </a:lnTo>
                  <a:lnTo>
                    <a:pt x="393" y="1468"/>
                  </a:lnTo>
                  <a:lnTo>
                    <a:pt x="393" y="2247"/>
                  </a:lnTo>
                  <a:close/>
                  <a:moveTo>
                    <a:pt x="3036" y="9818"/>
                  </a:moveTo>
                  <a:lnTo>
                    <a:pt x="1125" y="9818"/>
                  </a:lnTo>
                  <a:lnTo>
                    <a:pt x="1125" y="7065"/>
                  </a:lnTo>
                  <a:lnTo>
                    <a:pt x="3036" y="7065"/>
                  </a:lnTo>
                  <a:lnTo>
                    <a:pt x="3036" y="9818"/>
                  </a:lnTo>
                  <a:close/>
                  <a:moveTo>
                    <a:pt x="4888" y="9818"/>
                  </a:moveTo>
                  <a:lnTo>
                    <a:pt x="3259" y="9818"/>
                  </a:lnTo>
                  <a:lnTo>
                    <a:pt x="3259" y="7065"/>
                  </a:lnTo>
                  <a:lnTo>
                    <a:pt x="4888" y="7065"/>
                  </a:lnTo>
                  <a:lnTo>
                    <a:pt x="4888" y="9818"/>
                  </a:lnTo>
                  <a:close/>
                  <a:moveTo>
                    <a:pt x="6799" y="9818"/>
                  </a:moveTo>
                  <a:lnTo>
                    <a:pt x="5112" y="9818"/>
                  </a:lnTo>
                  <a:lnTo>
                    <a:pt x="5112" y="7065"/>
                  </a:lnTo>
                  <a:lnTo>
                    <a:pt x="6799" y="7065"/>
                  </a:lnTo>
                  <a:lnTo>
                    <a:pt x="6799" y="9818"/>
                  </a:lnTo>
                  <a:close/>
                  <a:moveTo>
                    <a:pt x="8933" y="9818"/>
                  </a:moveTo>
                  <a:lnTo>
                    <a:pt x="7022" y="9818"/>
                  </a:lnTo>
                  <a:lnTo>
                    <a:pt x="7022" y="7065"/>
                  </a:lnTo>
                  <a:lnTo>
                    <a:pt x="8933" y="7065"/>
                  </a:lnTo>
                  <a:lnTo>
                    <a:pt x="8933" y="9818"/>
                  </a:lnTo>
                  <a:close/>
                  <a:moveTo>
                    <a:pt x="8933" y="6147"/>
                  </a:moveTo>
                  <a:lnTo>
                    <a:pt x="1125" y="6147"/>
                  </a:lnTo>
                  <a:lnTo>
                    <a:pt x="1125" y="5320"/>
                  </a:lnTo>
                  <a:lnTo>
                    <a:pt x="8933" y="5320"/>
                  </a:lnTo>
                  <a:lnTo>
                    <a:pt x="8933" y="6147"/>
                  </a:lnTo>
                  <a:close/>
                  <a:moveTo>
                    <a:pt x="8933" y="4403"/>
                  </a:moveTo>
                  <a:lnTo>
                    <a:pt x="1125" y="4403"/>
                  </a:lnTo>
                  <a:lnTo>
                    <a:pt x="1125" y="3623"/>
                  </a:lnTo>
                  <a:lnTo>
                    <a:pt x="8933" y="3623"/>
                  </a:lnTo>
                  <a:lnTo>
                    <a:pt x="8933" y="4403"/>
                  </a:lnTo>
                  <a:close/>
                  <a:moveTo>
                    <a:pt x="8933" y="2706"/>
                  </a:moveTo>
                  <a:lnTo>
                    <a:pt x="1125" y="2706"/>
                  </a:lnTo>
                  <a:lnTo>
                    <a:pt x="1125" y="1879"/>
                  </a:lnTo>
                  <a:lnTo>
                    <a:pt x="8933" y="1879"/>
                  </a:lnTo>
                  <a:lnTo>
                    <a:pt x="8933" y="2706"/>
                  </a:lnTo>
                  <a:close/>
                  <a:moveTo>
                    <a:pt x="223" y="1286"/>
                  </a:moveTo>
                  <a:lnTo>
                    <a:pt x="223" y="918"/>
                  </a:lnTo>
                  <a:lnTo>
                    <a:pt x="9777" y="918"/>
                  </a:lnTo>
                  <a:lnTo>
                    <a:pt x="9777" y="1286"/>
                  </a:lnTo>
                  <a:lnTo>
                    <a:pt x="4607" y="1286"/>
                  </a:lnTo>
                  <a:lnTo>
                    <a:pt x="223" y="128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F5A1D279-2F77-4F93-AC82-09575BBC9A0A}"/>
              </a:ext>
            </a:extLst>
          </p:cNvPr>
          <p:cNvGrpSpPr/>
          <p:nvPr/>
        </p:nvGrpSpPr>
        <p:grpSpPr>
          <a:xfrm>
            <a:off x="9809100" y="2573321"/>
            <a:ext cx="844132" cy="543864"/>
            <a:chOff x="7565326" y="3262312"/>
            <a:chExt cx="556164" cy="358330"/>
          </a:xfrm>
        </p:grpSpPr>
        <p:sp>
          <p:nvSpPr>
            <p:cNvPr id="51" name="任意多边形 216">
              <a:extLst>
                <a:ext uri="{FF2B5EF4-FFF2-40B4-BE49-F238E27FC236}">
                  <a16:creationId xmlns:a16="http://schemas.microsoft.com/office/drawing/2014/main" id="{6A6DC785-A9D8-493D-96D3-697E54C2AD2A}"/>
                </a:ext>
              </a:extLst>
            </p:cNvPr>
            <p:cNvSpPr/>
            <p:nvPr/>
          </p:nvSpPr>
          <p:spPr>
            <a:xfrm>
              <a:off x="7565326" y="3262312"/>
              <a:ext cx="556164" cy="358330"/>
            </a:xfrm>
            <a:custGeom>
              <a:avLst/>
              <a:gdLst>
                <a:gd name="connsiteX0" fmla="*/ 0 w 556164"/>
                <a:gd name="connsiteY0" fmla="*/ 0 h 358330"/>
                <a:gd name="connsiteX1" fmla="*/ 556165 w 556164"/>
                <a:gd name="connsiteY1" fmla="*/ 0 h 358330"/>
                <a:gd name="connsiteX2" fmla="*/ 556165 w 556164"/>
                <a:gd name="connsiteY2" fmla="*/ 358331 h 358330"/>
                <a:gd name="connsiteX3" fmla="*/ 0 w 556164"/>
                <a:gd name="connsiteY3" fmla="*/ 358331 h 358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6164" h="358330">
                  <a:moveTo>
                    <a:pt x="0" y="0"/>
                  </a:moveTo>
                  <a:lnTo>
                    <a:pt x="556165" y="0"/>
                  </a:lnTo>
                  <a:lnTo>
                    <a:pt x="556165" y="358331"/>
                  </a:lnTo>
                  <a:lnTo>
                    <a:pt x="0" y="358331"/>
                  </a:lnTo>
                  <a:close/>
                </a:path>
              </a:pathLst>
            </a:custGeom>
            <a:solidFill>
              <a:srgbClr val="D67160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52" name="任意多边形 217">
              <a:extLst>
                <a:ext uri="{FF2B5EF4-FFF2-40B4-BE49-F238E27FC236}">
                  <a16:creationId xmlns:a16="http://schemas.microsoft.com/office/drawing/2014/main" id="{3AE0C589-BFE5-4123-AEBF-FFC3BE912967}"/>
                </a:ext>
              </a:extLst>
            </p:cNvPr>
            <p:cNvSpPr/>
            <p:nvPr/>
          </p:nvSpPr>
          <p:spPr>
            <a:xfrm>
              <a:off x="7736680" y="3334702"/>
              <a:ext cx="213455" cy="213455"/>
            </a:xfrm>
            <a:custGeom>
              <a:avLst/>
              <a:gdLst>
                <a:gd name="connsiteX0" fmla="*/ 142018 w 213455"/>
                <a:gd name="connsiteY0" fmla="*/ 71056 h 213455"/>
                <a:gd name="connsiteX1" fmla="*/ 141732 w 213455"/>
                <a:gd name="connsiteY1" fmla="*/ 0 h 213455"/>
                <a:gd name="connsiteX2" fmla="*/ 70676 w 213455"/>
                <a:gd name="connsiteY2" fmla="*/ 381 h 213455"/>
                <a:gd name="connsiteX3" fmla="*/ 71056 w 213455"/>
                <a:gd name="connsiteY3" fmla="*/ 71438 h 213455"/>
                <a:gd name="connsiteX4" fmla="*/ 0 w 213455"/>
                <a:gd name="connsiteY4" fmla="*/ 71723 h 213455"/>
                <a:gd name="connsiteX5" fmla="*/ 381 w 213455"/>
                <a:gd name="connsiteY5" fmla="*/ 142780 h 213455"/>
                <a:gd name="connsiteX6" fmla="*/ 71342 w 213455"/>
                <a:gd name="connsiteY6" fmla="*/ 142399 h 213455"/>
                <a:gd name="connsiteX7" fmla="*/ 71723 w 213455"/>
                <a:gd name="connsiteY7" fmla="*/ 213455 h 213455"/>
                <a:gd name="connsiteX8" fmla="*/ 142780 w 213455"/>
                <a:gd name="connsiteY8" fmla="*/ 213074 h 213455"/>
                <a:gd name="connsiteX9" fmla="*/ 142399 w 213455"/>
                <a:gd name="connsiteY9" fmla="*/ 142113 h 213455"/>
                <a:gd name="connsiteX10" fmla="*/ 213455 w 213455"/>
                <a:gd name="connsiteY10" fmla="*/ 141732 h 213455"/>
                <a:gd name="connsiteX11" fmla="*/ 213074 w 213455"/>
                <a:gd name="connsiteY11" fmla="*/ 70676 h 21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455" h="213455">
                  <a:moveTo>
                    <a:pt x="142018" y="71056"/>
                  </a:moveTo>
                  <a:lnTo>
                    <a:pt x="141732" y="0"/>
                  </a:lnTo>
                  <a:lnTo>
                    <a:pt x="70676" y="381"/>
                  </a:lnTo>
                  <a:lnTo>
                    <a:pt x="71056" y="71438"/>
                  </a:lnTo>
                  <a:lnTo>
                    <a:pt x="0" y="71723"/>
                  </a:lnTo>
                  <a:lnTo>
                    <a:pt x="381" y="142780"/>
                  </a:lnTo>
                  <a:lnTo>
                    <a:pt x="71342" y="142399"/>
                  </a:lnTo>
                  <a:lnTo>
                    <a:pt x="71723" y="213455"/>
                  </a:lnTo>
                  <a:lnTo>
                    <a:pt x="142780" y="213074"/>
                  </a:lnTo>
                  <a:lnTo>
                    <a:pt x="142399" y="142113"/>
                  </a:lnTo>
                  <a:lnTo>
                    <a:pt x="213455" y="141732"/>
                  </a:lnTo>
                  <a:lnTo>
                    <a:pt x="213074" y="7067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41F0A566-9EBB-4223-AEE3-39C6EEA604ED}"/>
              </a:ext>
            </a:extLst>
          </p:cNvPr>
          <p:cNvGrpSpPr/>
          <p:nvPr/>
        </p:nvGrpSpPr>
        <p:grpSpPr>
          <a:xfrm>
            <a:off x="673100" y="1130299"/>
            <a:ext cx="10845800" cy="4401822"/>
            <a:chOff x="4587811" y="2468499"/>
            <a:chExt cx="3017043" cy="1685034"/>
          </a:xfrm>
        </p:grpSpPr>
        <p:sp>
          <p:nvSpPr>
            <p:cNvPr id="49" name="任意多边形 265">
              <a:extLst>
                <a:ext uri="{FF2B5EF4-FFF2-40B4-BE49-F238E27FC236}">
                  <a16:creationId xmlns:a16="http://schemas.microsoft.com/office/drawing/2014/main" id="{90189946-456F-4FDC-8DDE-3F27EFF4CCE4}"/>
                </a:ext>
              </a:extLst>
            </p:cNvPr>
            <p:cNvSpPr/>
            <p:nvPr/>
          </p:nvSpPr>
          <p:spPr>
            <a:xfrm>
              <a:off x="4587811" y="2468499"/>
              <a:ext cx="3017043" cy="218384"/>
            </a:xfrm>
            <a:custGeom>
              <a:avLst/>
              <a:gdLst>
                <a:gd name="connsiteX0" fmla="*/ 0 w 3017043"/>
                <a:gd name="connsiteY0" fmla="*/ 0 h 280987"/>
                <a:gd name="connsiteX1" fmla="*/ 3017044 w 3017043"/>
                <a:gd name="connsiteY1" fmla="*/ 0 h 280987"/>
                <a:gd name="connsiteX2" fmla="*/ 3017044 w 3017043"/>
                <a:gd name="connsiteY2" fmla="*/ 280988 h 280987"/>
                <a:gd name="connsiteX3" fmla="*/ 0 w 3017043"/>
                <a:gd name="connsiteY3" fmla="*/ 280988 h 28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7043" h="280987">
                  <a:moveTo>
                    <a:pt x="0" y="0"/>
                  </a:moveTo>
                  <a:lnTo>
                    <a:pt x="3017044" y="0"/>
                  </a:lnTo>
                  <a:lnTo>
                    <a:pt x="3017044" y="280988"/>
                  </a:lnTo>
                  <a:lnTo>
                    <a:pt x="0" y="280988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n-US" altLang="zh-CN" sz="1600" b="1" dirty="0">
                  <a:solidFill>
                    <a:schemeClr val="bg1"/>
                  </a:solidFill>
                </a:rPr>
                <a:t>BNSG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软件过程</a:t>
              </a:r>
              <a:endParaRPr lang="en-US" altLang="zh-CN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任意多边形 266">
              <a:extLst>
                <a:ext uri="{FF2B5EF4-FFF2-40B4-BE49-F238E27FC236}">
                  <a16:creationId xmlns:a16="http://schemas.microsoft.com/office/drawing/2014/main" id="{AF80B0AD-0122-44AB-8CD2-D9FDD83AE764}"/>
                </a:ext>
              </a:extLst>
            </p:cNvPr>
            <p:cNvSpPr/>
            <p:nvPr/>
          </p:nvSpPr>
          <p:spPr>
            <a:xfrm>
              <a:off x="4587811" y="2468499"/>
              <a:ext cx="3017043" cy="1685034"/>
            </a:xfrm>
            <a:custGeom>
              <a:avLst/>
              <a:gdLst>
                <a:gd name="connsiteX0" fmla="*/ 0 w 3017043"/>
                <a:gd name="connsiteY0" fmla="*/ 0 h 1920335"/>
                <a:gd name="connsiteX1" fmla="*/ 3017044 w 3017043"/>
                <a:gd name="connsiteY1" fmla="*/ 0 h 1920335"/>
                <a:gd name="connsiteX2" fmla="*/ 3017044 w 3017043"/>
                <a:gd name="connsiteY2" fmla="*/ 1920335 h 1920335"/>
                <a:gd name="connsiteX3" fmla="*/ 0 w 3017043"/>
                <a:gd name="connsiteY3" fmla="*/ 1920335 h 1920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7043" h="1920335">
                  <a:moveTo>
                    <a:pt x="0" y="0"/>
                  </a:moveTo>
                  <a:lnTo>
                    <a:pt x="3017044" y="0"/>
                  </a:lnTo>
                  <a:lnTo>
                    <a:pt x="3017044" y="1920335"/>
                  </a:lnTo>
                  <a:lnTo>
                    <a:pt x="0" y="1920335"/>
                  </a:lnTo>
                  <a:close/>
                </a:path>
              </a:pathLst>
            </a:custGeom>
            <a:noFill/>
            <a:ln w="22011" cap="rnd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7" name="椭圆 16">
            <a:extLst>
              <a:ext uri="{FF2B5EF4-FFF2-40B4-BE49-F238E27FC236}">
                <a16:creationId xmlns:a16="http://schemas.microsoft.com/office/drawing/2014/main" id="{EADC3275-19C8-4BB5-8606-8BFB4F8D88EA}"/>
              </a:ext>
            </a:extLst>
          </p:cNvPr>
          <p:cNvSpPr/>
          <p:nvPr/>
        </p:nvSpPr>
        <p:spPr>
          <a:xfrm>
            <a:off x="5416296" y="4874007"/>
            <a:ext cx="1359408" cy="1359408"/>
          </a:xfrm>
          <a:prstGeom prst="ellipse">
            <a:avLst/>
          </a:prstGeom>
          <a:ln w="38100">
            <a:solidFill>
              <a:schemeClr val="bg1">
                <a:lumMod val="95000"/>
                <a:alpha val="7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ln w="38100">
                  <a:solidFill>
                    <a:schemeClr val="bg1">
                      <a:lumMod val="95000"/>
                      <a:alpha val="60000"/>
                    </a:schemeClr>
                  </a:solidFill>
                </a:ln>
              </a:rPr>
              <a:t>BNSG</a:t>
            </a:r>
            <a:endParaRPr lang="zh-CN" altLang="en-US" dirty="0">
              <a:ln w="38100">
                <a:solidFill>
                  <a:schemeClr val="bg1">
                    <a:lumMod val="95000"/>
                    <a:alpha val="60000"/>
                  </a:schemeClr>
                </a:solidFill>
              </a:ln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F30F613D-7A3A-4694-B632-A126295D4778}"/>
              </a:ext>
            </a:extLst>
          </p:cNvPr>
          <p:cNvSpPr/>
          <p:nvPr/>
        </p:nvSpPr>
        <p:spPr>
          <a:xfrm>
            <a:off x="1770334" y="1982677"/>
            <a:ext cx="381000" cy="381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 fontScale="55000" lnSpcReduction="20000"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CA368A5D-4EA9-4A71-8060-6A193A9A37D9}"/>
              </a:ext>
            </a:extLst>
          </p:cNvPr>
          <p:cNvSpPr/>
          <p:nvPr/>
        </p:nvSpPr>
        <p:spPr>
          <a:xfrm>
            <a:off x="3837917" y="1982677"/>
            <a:ext cx="381000" cy="381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 fontScale="55000" lnSpcReduction="20000"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63C56DE4-4455-4B81-ADD0-2EBC569CCAF0}"/>
              </a:ext>
            </a:extLst>
          </p:cNvPr>
          <p:cNvSpPr/>
          <p:nvPr/>
        </p:nvSpPr>
        <p:spPr>
          <a:xfrm>
            <a:off x="5905500" y="1982677"/>
            <a:ext cx="381000" cy="381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 fontScale="55000" lnSpcReduction="20000"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D48EEBC5-5CEB-43C8-BEF5-6256E1676F0C}"/>
              </a:ext>
            </a:extLst>
          </p:cNvPr>
          <p:cNvSpPr/>
          <p:nvPr/>
        </p:nvSpPr>
        <p:spPr>
          <a:xfrm>
            <a:off x="7973083" y="1982677"/>
            <a:ext cx="381000" cy="381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 fontScale="55000" lnSpcReduction="20000"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3B89BB22-6807-479D-AB3E-EEBC60488554}"/>
              </a:ext>
            </a:extLst>
          </p:cNvPr>
          <p:cNvSpPr/>
          <p:nvPr/>
        </p:nvSpPr>
        <p:spPr>
          <a:xfrm>
            <a:off x="10040666" y="1982677"/>
            <a:ext cx="381000" cy="381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 fontScale="55000" lnSpcReduction="20000"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5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690920BA-D1EA-49F6-B36B-A6180902E8F3}"/>
              </a:ext>
            </a:extLst>
          </p:cNvPr>
          <p:cNvGrpSpPr/>
          <p:nvPr/>
        </p:nvGrpSpPr>
        <p:grpSpPr>
          <a:xfrm>
            <a:off x="1172997" y="3483392"/>
            <a:ext cx="1584742" cy="1089684"/>
            <a:chOff x="4705207" y="2746749"/>
            <a:chExt cx="1584742" cy="1089684"/>
          </a:xfrm>
        </p:grpSpPr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8184C865-0B53-49D1-BD68-01A287394EB1}"/>
                </a:ext>
              </a:extLst>
            </p:cNvPr>
            <p:cNvSpPr txBox="1"/>
            <p:nvPr/>
          </p:nvSpPr>
          <p:spPr bwMode="auto">
            <a:xfrm>
              <a:off x="4705207" y="2746749"/>
              <a:ext cx="1584742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1400" b="1" dirty="0"/>
                <a:t>开题讨论</a:t>
              </a:r>
              <a:endParaRPr lang="en-US" altLang="zh-CN" sz="1400" b="1" dirty="0"/>
            </a:p>
          </p:txBody>
        </p:sp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5FC140BE-D8F5-496B-9DAF-B9C1273791F1}"/>
                </a:ext>
              </a:extLst>
            </p:cNvPr>
            <p:cNvSpPr/>
            <p:nvPr/>
          </p:nvSpPr>
          <p:spPr bwMode="auto">
            <a:xfrm>
              <a:off x="4705207" y="3188554"/>
              <a:ext cx="1584742" cy="647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确定需求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确定技术栈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zh-CN" altLang="en-US" sz="1100" i="1" u="sng" dirty="0"/>
                <a:t>全身心投入</a:t>
              </a:r>
              <a:endParaRPr lang="en-US" altLang="zh-CN" sz="1100" i="1" u="sng" dirty="0"/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BBB4C5DF-5E56-49A4-91C3-8577B469A05E}"/>
              </a:ext>
            </a:extLst>
          </p:cNvPr>
          <p:cNvGrpSpPr/>
          <p:nvPr/>
        </p:nvGrpSpPr>
        <p:grpSpPr>
          <a:xfrm>
            <a:off x="3236046" y="3483392"/>
            <a:ext cx="1584742" cy="1089684"/>
            <a:chOff x="4705207" y="2746749"/>
            <a:chExt cx="1584742" cy="1089684"/>
          </a:xfrm>
        </p:grpSpPr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8F2D7DBB-5672-4307-86AA-C69D5CCE7974}"/>
                </a:ext>
              </a:extLst>
            </p:cNvPr>
            <p:cNvSpPr txBox="1"/>
            <p:nvPr/>
          </p:nvSpPr>
          <p:spPr bwMode="auto">
            <a:xfrm>
              <a:off x="4705207" y="2746749"/>
              <a:ext cx="1584742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1400" b="1" dirty="0">
                  <a:solidFill>
                    <a:srgbClr val="FF0000"/>
                  </a:solidFill>
                </a:rPr>
                <a:t>着手开发</a:t>
              </a:r>
              <a:endParaRPr lang="en-US" altLang="zh-CN" sz="1400" b="1" dirty="0">
                <a:solidFill>
                  <a:srgbClr val="FF0000"/>
                </a:solidFill>
              </a:endParaRP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C2F0F35F-0531-459A-86F1-A9E2427812BE}"/>
                </a:ext>
              </a:extLst>
            </p:cNvPr>
            <p:cNvSpPr/>
            <p:nvPr/>
          </p:nvSpPr>
          <p:spPr bwMode="auto">
            <a:xfrm>
              <a:off x="4705207" y="3188554"/>
              <a:ext cx="1584742" cy="647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紧跟着讨论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保证紧密顺畅的沟通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zh-CN" altLang="en-US" sz="1100" i="1" u="sng" dirty="0"/>
                <a:t>全身心投入</a:t>
              </a:r>
              <a:endParaRPr lang="en-US" altLang="zh-CN" sz="1100" i="1" u="sng" dirty="0"/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14DE0510-036E-4968-84E4-F4BAD79DF6F6}"/>
              </a:ext>
            </a:extLst>
          </p:cNvPr>
          <p:cNvGrpSpPr/>
          <p:nvPr/>
        </p:nvGrpSpPr>
        <p:grpSpPr>
          <a:xfrm>
            <a:off x="5299095" y="3483392"/>
            <a:ext cx="1584742" cy="1089684"/>
            <a:chOff x="4705207" y="2746749"/>
            <a:chExt cx="1584742" cy="1089684"/>
          </a:xfrm>
        </p:grpSpPr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736AE7A1-42EC-460F-A973-6B6E50C2331A}"/>
                </a:ext>
              </a:extLst>
            </p:cNvPr>
            <p:cNvSpPr txBox="1"/>
            <p:nvPr/>
          </p:nvSpPr>
          <p:spPr bwMode="auto">
            <a:xfrm>
              <a:off x="4705207" y="2746749"/>
              <a:ext cx="1584742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1400" b="1" dirty="0"/>
                <a:t>浑水摸鱼</a:t>
              </a:r>
              <a:endParaRPr lang="en-US" altLang="zh-CN" sz="1400" b="1" dirty="0"/>
            </a:p>
          </p:txBody>
        </p:sp>
        <p:sp>
          <p:nvSpPr>
            <p:cNvPr id="38" name="矩形 37">
              <a:extLst>
                <a:ext uri="{FF2B5EF4-FFF2-40B4-BE49-F238E27FC236}">
                  <a16:creationId xmlns:a16="http://schemas.microsoft.com/office/drawing/2014/main" id="{8B268D1A-CFF6-47E8-B323-D94E12BA25A5}"/>
                </a:ext>
              </a:extLst>
            </p:cNvPr>
            <p:cNvSpPr/>
            <p:nvPr/>
          </p:nvSpPr>
          <p:spPr bwMode="auto">
            <a:xfrm>
              <a:off x="4705207" y="3188554"/>
              <a:ext cx="1584742" cy="647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完成学业任务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为验收预留返工时间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技术学习，项目构思</a:t>
              </a:r>
              <a:endParaRPr lang="en-US" altLang="zh-CN" sz="1100" dirty="0"/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F6708873-8EB0-4DFE-ADE0-E66DA7856E77}"/>
              </a:ext>
            </a:extLst>
          </p:cNvPr>
          <p:cNvGrpSpPr/>
          <p:nvPr/>
        </p:nvGrpSpPr>
        <p:grpSpPr>
          <a:xfrm>
            <a:off x="7362144" y="3483392"/>
            <a:ext cx="1584742" cy="1089684"/>
            <a:chOff x="4705207" y="2746749"/>
            <a:chExt cx="1584742" cy="1089684"/>
          </a:xfrm>
        </p:grpSpPr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CCE1475E-8BD6-4748-BDED-D1636ABBE46C}"/>
                </a:ext>
              </a:extLst>
            </p:cNvPr>
            <p:cNvSpPr txBox="1"/>
            <p:nvPr/>
          </p:nvSpPr>
          <p:spPr bwMode="auto">
            <a:xfrm>
              <a:off x="4705207" y="2746749"/>
              <a:ext cx="1584742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1400" b="1" dirty="0"/>
                <a:t>着手返工</a:t>
              </a:r>
              <a:endParaRPr lang="en-US" altLang="zh-CN" sz="1400" b="1" dirty="0"/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00C59C09-2983-4C1E-8BAD-F31F8E0877EB}"/>
                </a:ext>
              </a:extLst>
            </p:cNvPr>
            <p:cNvSpPr/>
            <p:nvPr/>
          </p:nvSpPr>
          <p:spPr bwMode="auto">
            <a:xfrm>
              <a:off x="4705207" y="3188554"/>
              <a:ext cx="1584742" cy="647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完善</a:t>
              </a:r>
              <a:r>
                <a:rPr lang="en-US" altLang="zh-CN" sz="1100" dirty="0"/>
                <a:t>Demo</a:t>
              </a:r>
              <a:r>
                <a:rPr lang="zh-CN" altLang="en-US" sz="1100" dirty="0"/>
                <a:t>版本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zh-CN" altLang="en-US" sz="1100" i="1" u="sng" dirty="0"/>
                <a:t>全身心投入</a:t>
              </a:r>
              <a:endParaRPr lang="en-US" altLang="zh-CN" sz="1100" i="1" u="sng" dirty="0"/>
            </a:p>
            <a:p>
              <a:pPr algn="ctr">
                <a:lnSpc>
                  <a:spcPct val="120000"/>
                </a:lnSpc>
              </a:pPr>
              <a:endParaRPr lang="en-US" altLang="zh-CN" sz="1100" dirty="0"/>
            </a:p>
          </p:txBody>
        </p: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4DE57490-6CB5-47AD-978F-9D959770ACB5}"/>
              </a:ext>
            </a:extLst>
          </p:cNvPr>
          <p:cNvGrpSpPr/>
          <p:nvPr/>
        </p:nvGrpSpPr>
        <p:grpSpPr>
          <a:xfrm>
            <a:off x="9425193" y="3483392"/>
            <a:ext cx="1584742" cy="1089684"/>
            <a:chOff x="4705207" y="2746749"/>
            <a:chExt cx="1584742" cy="1089684"/>
          </a:xfrm>
        </p:grpSpPr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8036FBAD-4A26-4E1D-A116-7B17FEC8A919}"/>
                </a:ext>
              </a:extLst>
            </p:cNvPr>
            <p:cNvSpPr txBox="1"/>
            <p:nvPr/>
          </p:nvSpPr>
          <p:spPr bwMode="auto">
            <a:xfrm>
              <a:off x="4705207" y="2746749"/>
              <a:ext cx="1584742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1400" b="1" dirty="0"/>
                <a:t>答辩</a:t>
              </a:r>
              <a:r>
                <a:rPr lang="en-US" altLang="zh-CN" sz="1400" b="1" dirty="0"/>
                <a:t>/</a:t>
              </a:r>
              <a:r>
                <a:rPr lang="zh-CN" altLang="en-US" sz="1400" b="1" dirty="0"/>
                <a:t>验收</a:t>
              </a:r>
              <a:endParaRPr lang="en-US" altLang="zh-CN" sz="1400" b="1" dirty="0"/>
            </a:p>
          </p:txBody>
        </p:sp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F85E0321-3381-4018-8062-BC885EBB727C}"/>
                </a:ext>
              </a:extLst>
            </p:cNvPr>
            <p:cNvSpPr/>
            <p:nvPr/>
          </p:nvSpPr>
          <p:spPr bwMode="auto">
            <a:xfrm>
              <a:off x="4705207" y="3188554"/>
              <a:ext cx="1584742" cy="647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完成文档、</a:t>
              </a:r>
              <a:r>
                <a:rPr lang="en-US" altLang="zh-CN" sz="1100" dirty="0"/>
                <a:t>PPT</a:t>
              </a:r>
              <a:r>
                <a:rPr lang="zh-CN" altLang="en-US" sz="1100" dirty="0"/>
                <a:t>等工作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zh-CN" altLang="en-US" sz="1100" i="1" u="sng" dirty="0"/>
                <a:t>全身心投入</a:t>
              </a:r>
              <a:endParaRPr lang="en-US" altLang="zh-CN" sz="1100" i="1" u="sng" dirty="0"/>
            </a:p>
          </p:txBody>
        </p:sp>
      </p:grpSp>
      <p:sp>
        <p:nvSpPr>
          <p:cNvPr id="29" name="任意多边形 296">
            <a:extLst>
              <a:ext uri="{FF2B5EF4-FFF2-40B4-BE49-F238E27FC236}">
                <a16:creationId xmlns:a16="http://schemas.microsoft.com/office/drawing/2014/main" id="{5C1EC6D7-618F-4ACA-98C7-A22923DCC47D}"/>
              </a:ext>
            </a:extLst>
          </p:cNvPr>
          <p:cNvSpPr/>
          <p:nvPr/>
        </p:nvSpPr>
        <p:spPr bwMode="auto">
          <a:xfrm>
            <a:off x="2771007" y="2621192"/>
            <a:ext cx="447236" cy="448122"/>
          </a:xfrm>
          <a:custGeom>
            <a:avLst/>
            <a:gdLst>
              <a:gd name="connsiteX0" fmla="*/ 155052 w 447236"/>
              <a:gd name="connsiteY0" fmla="*/ 428506 h 448122"/>
              <a:gd name="connsiteX1" fmla="*/ 153825 w 447236"/>
              <a:gd name="connsiteY1" fmla="*/ 430038 h 448122"/>
              <a:gd name="connsiteX2" fmla="*/ 153825 w 447236"/>
              <a:gd name="connsiteY2" fmla="*/ 433716 h 448122"/>
              <a:gd name="connsiteX3" fmla="*/ 155052 w 447236"/>
              <a:gd name="connsiteY3" fmla="*/ 434942 h 448122"/>
              <a:gd name="connsiteX4" fmla="*/ 161189 w 447236"/>
              <a:gd name="connsiteY4" fmla="*/ 434942 h 448122"/>
              <a:gd name="connsiteX5" fmla="*/ 162417 w 447236"/>
              <a:gd name="connsiteY5" fmla="*/ 433716 h 448122"/>
              <a:gd name="connsiteX6" fmla="*/ 162417 w 447236"/>
              <a:gd name="connsiteY6" fmla="*/ 430038 h 448122"/>
              <a:gd name="connsiteX7" fmla="*/ 161189 w 447236"/>
              <a:gd name="connsiteY7" fmla="*/ 428506 h 448122"/>
              <a:gd name="connsiteX8" fmla="*/ 155052 w 447236"/>
              <a:gd name="connsiteY8" fmla="*/ 428506 h 448122"/>
              <a:gd name="connsiteX9" fmla="*/ 144312 w 447236"/>
              <a:gd name="connsiteY9" fmla="*/ 428506 h 448122"/>
              <a:gd name="connsiteX10" fmla="*/ 143085 w 447236"/>
              <a:gd name="connsiteY10" fmla="*/ 430038 h 448122"/>
              <a:gd name="connsiteX11" fmla="*/ 143085 w 447236"/>
              <a:gd name="connsiteY11" fmla="*/ 433716 h 448122"/>
              <a:gd name="connsiteX12" fmla="*/ 144312 w 447236"/>
              <a:gd name="connsiteY12" fmla="*/ 434942 h 448122"/>
              <a:gd name="connsiteX13" fmla="*/ 150449 w 447236"/>
              <a:gd name="connsiteY13" fmla="*/ 434942 h 448122"/>
              <a:gd name="connsiteX14" fmla="*/ 151677 w 447236"/>
              <a:gd name="connsiteY14" fmla="*/ 433716 h 448122"/>
              <a:gd name="connsiteX15" fmla="*/ 151677 w 447236"/>
              <a:gd name="connsiteY15" fmla="*/ 430038 h 448122"/>
              <a:gd name="connsiteX16" fmla="*/ 150449 w 447236"/>
              <a:gd name="connsiteY16" fmla="*/ 428506 h 448122"/>
              <a:gd name="connsiteX17" fmla="*/ 144312 w 447236"/>
              <a:gd name="connsiteY17" fmla="*/ 428506 h 448122"/>
              <a:gd name="connsiteX18" fmla="*/ 133572 w 447236"/>
              <a:gd name="connsiteY18" fmla="*/ 428506 h 448122"/>
              <a:gd name="connsiteX19" fmla="*/ 132345 w 447236"/>
              <a:gd name="connsiteY19" fmla="*/ 430038 h 448122"/>
              <a:gd name="connsiteX20" fmla="*/ 132345 w 447236"/>
              <a:gd name="connsiteY20" fmla="*/ 433716 h 448122"/>
              <a:gd name="connsiteX21" fmla="*/ 133572 w 447236"/>
              <a:gd name="connsiteY21" fmla="*/ 434942 h 448122"/>
              <a:gd name="connsiteX22" fmla="*/ 139709 w 447236"/>
              <a:gd name="connsiteY22" fmla="*/ 434942 h 448122"/>
              <a:gd name="connsiteX23" fmla="*/ 140937 w 447236"/>
              <a:gd name="connsiteY23" fmla="*/ 433716 h 448122"/>
              <a:gd name="connsiteX24" fmla="*/ 140937 w 447236"/>
              <a:gd name="connsiteY24" fmla="*/ 430038 h 448122"/>
              <a:gd name="connsiteX25" fmla="*/ 139709 w 447236"/>
              <a:gd name="connsiteY25" fmla="*/ 428506 h 448122"/>
              <a:gd name="connsiteX26" fmla="*/ 133572 w 447236"/>
              <a:gd name="connsiteY26" fmla="*/ 428506 h 448122"/>
              <a:gd name="connsiteX27" fmla="*/ 213492 w 447236"/>
              <a:gd name="connsiteY27" fmla="*/ 421388 h 448122"/>
              <a:gd name="connsiteX28" fmla="*/ 213946 w 447236"/>
              <a:gd name="connsiteY28" fmla="*/ 422000 h 448122"/>
              <a:gd name="connsiteX29" fmla="*/ 214253 w 447236"/>
              <a:gd name="connsiteY29" fmla="*/ 422307 h 448122"/>
              <a:gd name="connsiteX30" fmla="*/ 213024 w 447236"/>
              <a:gd name="connsiteY30" fmla="*/ 423838 h 448122"/>
              <a:gd name="connsiteX31" fmla="*/ 212533 w 447236"/>
              <a:gd name="connsiteY31" fmla="*/ 423674 h 448122"/>
              <a:gd name="connsiteX32" fmla="*/ 234451 w 447236"/>
              <a:gd name="connsiteY32" fmla="*/ 420576 h 448122"/>
              <a:gd name="connsiteX33" fmla="*/ 234389 w 447236"/>
              <a:gd name="connsiteY33" fmla="*/ 425298 h 448122"/>
              <a:gd name="connsiteX34" fmla="*/ 234499 w 447236"/>
              <a:gd name="connsiteY34" fmla="*/ 425160 h 448122"/>
              <a:gd name="connsiteX35" fmla="*/ 235113 w 447236"/>
              <a:gd name="connsiteY35" fmla="*/ 421484 h 448122"/>
              <a:gd name="connsiteX36" fmla="*/ 234806 w 447236"/>
              <a:gd name="connsiteY36" fmla="*/ 420871 h 448122"/>
              <a:gd name="connsiteX37" fmla="*/ 232056 w 447236"/>
              <a:gd name="connsiteY37" fmla="*/ 420445 h 448122"/>
              <a:gd name="connsiteX38" fmla="*/ 231459 w 447236"/>
              <a:gd name="connsiteY38" fmla="*/ 420871 h 448122"/>
              <a:gd name="connsiteX39" fmla="*/ 231152 w 447236"/>
              <a:gd name="connsiteY39" fmla="*/ 421484 h 448122"/>
              <a:gd name="connsiteX40" fmla="*/ 232073 w 447236"/>
              <a:gd name="connsiteY40" fmla="*/ 425160 h 448122"/>
              <a:gd name="connsiteX41" fmla="*/ 232141 w 447236"/>
              <a:gd name="connsiteY41" fmla="*/ 425248 h 448122"/>
              <a:gd name="connsiteX42" fmla="*/ 170985 w 447236"/>
              <a:gd name="connsiteY42" fmla="*/ 417599 h 448122"/>
              <a:gd name="connsiteX43" fmla="*/ 171995 w 447236"/>
              <a:gd name="connsiteY43" fmla="*/ 420044 h 448122"/>
              <a:gd name="connsiteX44" fmla="*/ 171262 w 447236"/>
              <a:gd name="connsiteY44" fmla="*/ 420775 h 448122"/>
              <a:gd name="connsiteX45" fmla="*/ 170954 w 447236"/>
              <a:gd name="connsiteY45" fmla="*/ 421082 h 448122"/>
              <a:gd name="connsiteX46" fmla="*/ 169726 w 447236"/>
              <a:gd name="connsiteY46" fmla="*/ 418938 h 448122"/>
              <a:gd name="connsiteX47" fmla="*/ 155052 w 447236"/>
              <a:gd name="connsiteY47" fmla="*/ 416859 h 448122"/>
              <a:gd name="connsiteX48" fmla="*/ 153825 w 447236"/>
              <a:gd name="connsiteY48" fmla="*/ 418085 h 448122"/>
              <a:gd name="connsiteX49" fmla="*/ 153825 w 447236"/>
              <a:gd name="connsiteY49" fmla="*/ 422069 h 448122"/>
              <a:gd name="connsiteX50" fmla="*/ 155052 w 447236"/>
              <a:gd name="connsiteY50" fmla="*/ 423295 h 448122"/>
              <a:gd name="connsiteX51" fmla="*/ 161189 w 447236"/>
              <a:gd name="connsiteY51" fmla="*/ 423295 h 448122"/>
              <a:gd name="connsiteX52" fmla="*/ 162417 w 447236"/>
              <a:gd name="connsiteY52" fmla="*/ 422069 h 448122"/>
              <a:gd name="connsiteX53" fmla="*/ 162417 w 447236"/>
              <a:gd name="connsiteY53" fmla="*/ 418085 h 448122"/>
              <a:gd name="connsiteX54" fmla="*/ 161189 w 447236"/>
              <a:gd name="connsiteY54" fmla="*/ 416859 h 448122"/>
              <a:gd name="connsiteX55" fmla="*/ 155052 w 447236"/>
              <a:gd name="connsiteY55" fmla="*/ 416859 h 448122"/>
              <a:gd name="connsiteX56" fmla="*/ 144312 w 447236"/>
              <a:gd name="connsiteY56" fmla="*/ 416859 h 448122"/>
              <a:gd name="connsiteX57" fmla="*/ 143085 w 447236"/>
              <a:gd name="connsiteY57" fmla="*/ 418085 h 448122"/>
              <a:gd name="connsiteX58" fmla="*/ 143085 w 447236"/>
              <a:gd name="connsiteY58" fmla="*/ 422069 h 448122"/>
              <a:gd name="connsiteX59" fmla="*/ 144312 w 447236"/>
              <a:gd name="connsiteY59" fmla="*/ 423295 h 448122"/>
              <a:gd name="connsiteX60" fmla="*/ 150449 w 447236"/>
              <a:gd name="connsiteY60" fmla="*/ 423295 h 448122"/>
              <a:gd name="connsiteX61" fmla="*/ 151677 w 447236"/>
              <a:gd name="connsiteY61" fmla="*/ 422069 h 448122"/>
              <a:gd name="connsiteX62" fmla="*/ 151677 w 447236"/>
              <a:gd name="connsiteY62" fmla="*/ 418085 h 448122"/>
              <a:gd name="connsiteX63" fmla="*/ 150449 w 447236"/>
              <a:gd name="connsiteY63" fmla="*/ 416859 h 448122"/>
              <a:gd name="connsiteX64" fmla="*/ 144312 w 447236"/>
              <a:gd name="connsiteY64" fmla="*/ 416859 h 448122"/>
              <a:gd name="connsiteX65" fmla="*/ 133572 w 447236"/>
              <a:gd name="connsiteY65" fmla="*/ 416859 h 448122"/>
              <a:gd name="connsiteX66" fmla="*/ 132345 w 447236"/>
              <a:gd name="connsiteY66" fmla="*/ 418085 h 448122"/>
              <a:gd name="connsiteX67" fmla="*/ 132345 w 447236"/>
              <a:gd name="connsiteY67" fmla="*/ 422069 h 448122"/>
              <a:gd name="connsiteX68" fmla="*/ 133572 w 447236"/>
              <a:gd name="connsiteY68" fmla="*/ 423295 h 448122"/>
              <a:gd name="connsiteX69" fmla="*/ 139709 w 447236"/>
              <a:gd name="connsiteY69" fmla="*/ 423295 h 448122"/>
              <a:gd name="connsiteX70" fmla="*/ 140937 w 447236"/>
              <a:gd name="connsiteY70" fmla="*/ 422069 h 448122"/>
              <a:gd name="connsiteX71" fmla="*/ 140937 w 447236"/>
              <a:gd name="connsiteY71" fmla="*/ 418085 h 448122"/>
              <a:gd name="connsiteX72" fmla="*/ 139709 w 447236"/>
              <a:gd name="connsiteY72" fmla="*/ 416859 h 448122"/>
              <a:gd name="connsiteX73" fmla="*/ 133572 w 447236"/>
              <a:gd name="connsiteY73" fmla="*/ 416859 h 448122"/>
              <a:gd name="connsiteX74" fmla="*/ 287340 w 447236"/>
              <a:gd name="connsiteY74" fmla="*/ 416486 h 448122"/>
              <a:gd name="connsiteX75" fmla="*/ 283658 w 447236"/>
              <a:gd name="connsiteY75" fmla="*/ 420164 h 448122"/>
              <a:gd name="connsiteX76" fmla="*/ 287340 w 447236"/>
              <a:gd name="connsiteY76" fmla="*/ 423842 h 448122"/>
              <a:gd name="connsiteX77" fmla="*/ 291023 w 447236"/>
              <a:gd name="connsiteY77" fmla="*/ 420164 h 448122"/>
              <a:gd name="connsiteX78" fmla="*/ 287340 w 447236"/>
              <a:gd name="connsiteY78" fmla="*/ 416486 h 448122"/>
              <a:gd name="connsiteX79" fmla="*/ 231869 w 447236"/>
              <a:gd name="connsiteY79" fmla="*/ 409869 h 448122"/>
              <a:gd name="connsiteX80" fmla="*/ 229587 w 447236"/>
              <a:gd name="connsiteY80" fmla="*/ 411067 h 448122"/>
              <a:gd name="connsiteX81" fmla="*/ 229587 w 447236"/>
              <a:gd name="connsiteY81" fmla="*/ 413212 h 448122"/>
              <a:gd name="connsiteX82" fmla="*/ 231962 w 447236"/>
              <a:gd name="connsiteY82" fmla="*/ 415108 h 448122"/>
              <a:gd name="connsiteX83" fmla="*/ 234594 w 447236"/>
              <a:gd name="connsiteY83" fmla="*/ 409812 h 448122"/>
              <a:gd name="connsiteX84" fmla="*/ 234524 w 447236"/>
              <a:gd name="connsiteY84" fmla="*/ 415123 h 448122"/>
              <a:gd name="connsiteX85" fmla="*/ 236678 w 447236"/>
              <a:gd name="connsiteY85" fmla="*/ 413212 h 448122"/>
              <a:gd name="connsiteX86" fmla="*/ 236985 w 447236"/>
              <a:gd name="connsiteY86" fmla="*/ 411067 h 448122"/>
              <a:gd name="connsiteX87" fmla="*/ 155052 w 447236"/>
              <a:gd name="connsiteY87" fmla="*/ 405211 h 448122"/>
              <a:gd name="connsiteX88" fmla="*/ 153825 w 447236"/>
              <a:gd name="connsiteY88" fmla="*/ 406437 h 448122"/>
              <a:gd name="connsiteX89" fmla="*/ 153825 w 447236"/>
              <a:gd name="connsiteY89" fmla="*/ 410116 h 448122"/>
              <a:gd name="connsiteX90" fmla="*/ 155052 w 447236"/>
              <a:gd name="connsiteY90" fmla="*/ 411648 h 448122"/>
              <a:gd name="connsiteX91" fmla="*/ 161189 w 447236"/>
              <a:gd name="connsiteY91" fmla="*/ 411648 h 448122"/>
              <a:gd name="connsiteX92" fmla="*/ 162417 w 447236"/>
              <a:gd name="connsiteY92" fmla="*/ 410116 h 448122"/>
              <a:gd name="connsiteX93" fmla="*/ 162417 w 447236"/>
              <a:gd name="connsiteY93" fmla="*/ 406437 h 448122"/>
              <a:gd name="connsiteX94" fmla="*/ 161189 w 447236"/>
              <a:gd name="connsiteY94" fmla="*/ 405211 h 448122"/>
              <a:gd name="connsiteX95" fmla="*/ 155052 w 447236"/>
              <a:gd name="connsiteY95" fmla="*/ 405211 h 448122"/>
              <a:gd name="connsiteX96" fmla="*/ 144312 w 447236"/>
              <a:gd name="connsiteY96" fmla="*/ 405211 h 448122"/>
              <a:gd name="connsiteX97" fmla="*/ 143085 w 447236"/>
              <a:gd name="connsiteY97" fmla="*/ 406437 h 448122"/>
              <a:gd name="connsiteX98" fmla="*/ 143085 w 447236"/>
              <a:gd name="connsiteY98" fmla="*/ 410116 h 448122"/>
              <a:gd name="connsiteX99" fmla="*/ 144312 w 447236"/>
              <a:gd name="connsiteY99" fmla="*/ 411648 h 448122"/>
              <a:gd name="connsiteX100" fmla="*/ 150449 w 447236"/>
              <a:gd name="connsiteY100" fmla="*/ 411648 h 448122"/>
              <a:gd name="connsiteX101" fmla="*/ 151677 w 447236"/>
              <a:gd name="connsiteY101" fmla="*/ 410116 h 448122"/>
              <a:gd name="connsiteX102" fmla="*/ 151677 w 447236"/>
              <a:gd name="connsiteY102" fmla="*/ 406437 h 448122"/>
              <a:gd name="connsiteX103" fmla="*/ 150449 w 447236"/>
              <a:gd name="connsiteY103" fmla="*/ 405211 h 448122"/>
              <a:gd name="connsiteX104" fmla="*/ 144312 w 447236"/>
              <a:gd name="connsiteY104" fmla="*/ 405211 h 448122"/>
              <a:gd name="connsiteX105" fmla="*/ 133572 w 447236"/>
              <a:gd name="connsiteY105" fmla="*/ 405211 h 448122"/>
              <a:gd name="connsiteX106" fmla="*/ 132345 w 447236"/>
              <a:gd name="connsiteY106" fmla="*/ 406437 h 448122"/>
              <a:gd name="connsiteX107" fmla="*/ 132345 w 447236"/>
              <a:gd name="connsiteY107" fmla="*/ 410116 h 448122"/>
              <a:gd name="connsiteX108" fmla="*/ 133572 w 447236"/>
              <a:gd name="connsiteY108" fmla="*/ 411648 h 448122"/>
              <a:gd name="connsiteX109" fmla="*/ 139709 w 447236"/>
              <a:gd name="connsiteY109" fmla="*/ 411648 h 448122"/>
              <a:gd name="connsiteX110" fmla="*/ 140937 w 447236"/>
              <a:gd name="connsiteY110" fmla="*/ 410116 h 448122"/>
              <a:gd name="connsiteX111" fmla="*/ 140937 w 447236"/>
              <a:gd name="connsiteY111" fmla="*/ 406437 h 448122"/>
              <a:gd name="connsiteX112" fmla="*/ 139709 w 447236"/>
              <a:gd name="connsiteY112" fmla="*/ 405211 h 448122"/>
              <a:gd name="connsiteX113" fmla="*/ 133572 w 447236"/>
              <a:gd name="connsiteY113" fmla="*/ 405211 h 448122"/>
              <a:gd name="connsiteX114" fmla="*/ 186886 w 447236"/>
              <a:gd name="connsiteY114" fmla="*/ 398533 h 448122"/>
              <a:gd name="connsiteX115" fmla="*/ 186935 w 447236"/>
              <a:gd name="connsiteY115" fmla="*/ 398568 h 448122"/>
              <a:gd name="connsiteX116" fmla="*/ 189341 w 447236"/>
              <a:gd name="connsiteY116" fmla="*/ 428431 h 448122"/>
              <a:gd name="connsiteX117" fmla="*/ 189686 w 447236"/>
              <a:gd name="connsiteY117" fmla="*/ 432719 h 448122"/>
              <a:gd name="connsiteX118" fmla="*/ 191222 w 447236"/>
              <a:gd name="connsiteY118" fmla="*/ 433943 h 448122"/>
              <a:gd name="connsiteX119" fmla="*/ 192143 w 447236"/>
              <a:gd name="connsiteY119" fmla="*/ 433025 h 448122"/>
              <a:gd name="connsiteX120" fmla="*/ 197670 w 447236"/>
              <a:gd name="connsiteY120" fmla="*/ 418019 h 448122"/>
              <a:gd name="connsiteX121" fmla="*/ 200741 w 447236"/>
              <a:gd name="connsiteY121" fmla="*/ 425981 h 448122"/>
              <a:gd name="connsiteX122" fmla="*/ 202584 w 447236"/>
              <a:gd name="connsiteY122" fmla="*/ 426900 h 448122"/>
              <a:gd name="connsiteX123" fmla="*/ 203198 w 447236"/>
              <a:gd name="connsiteY123" fmla="*/ 426288 h 448122"/>
              <a:gd name="connsiteX124" fmla="*/ 208111 w 447236"/>
              <a:gd name="connsiteY124" fmla="*/ 418019 h 448122"/>
              <a:gd name="connsiteX125" fmla="*/ 212103 w 447236"/>
              <a:gd name="connsiteY125" fmla="*/ 423531 h 448122"/>
              <a:gd name="connsiteX126" fmla="*/ 212533 w 447236"/>
              <a:gd name="connsiteY126" fmla="*/ 423674 h 448122"/>
              <a:gd name="connsiteX127" fmla="*/ 211374 w 447236"/>
              <a:gd name="connsiteY127" fmla="*/ 426441 h 448122"/>
              <a:gd name="connsiteX128" fmla="*/ 193064 w 447236"/>
              <a:gd name="connsiteY128" fmla="*/ 446499 h 448122"/>
              <a:gd name="connsiteX129" fmla="*/ 174639 w 447236"/>
              <a:gd name="connsiteY129" fmla="*/ 426441 h 448122"/>
              <a:gd name="connsiteX130" fmla="*/ 171995 w 447236"/>
              <a:gd name="connsiteY130" fmla="*/ 420044 h 448122"/>
              <a:gd name="connsiteX131" fmla="*/ 174639 w 447236"/>
              <a:gd name="connsiteY131" fmla="*/ 417407 h 448122"/>
              <a:gd name="connsiteX132" fmla="*/ 176482 w 447236"/>
              <a:gd name="connsiteY132" fmla="*/ 423225 h 448122"/>
              <a:gd name="connsiteX133" fmla="*/ 178017 w 447236"/>
              <a:gd name="connsiteY133" fmla="*/ 423838 h 448122"/>
              <a:gd name="connsiteX134" fmla="*/ 178939 w 447236"/>
              <a:gd name="connsiteY134" fmla="*/ 423225 h 448122"/>
              <a:gd name="connsiteX135" fmla="*/ 185925 w 447236"/>
              <a:gd name="connsiteY135" fmla="*/ 401521 h 448122"/>
              <a:gd name="connsiteX136" fmla="*/ 231662 w 447236"/>
              <a:gd name="connsiteY136" fmla="*/ 398173 h 448122"/>
              <a:gd name="connsiteX137" fmla="*/ 231459 w 447236"/>
              <a:gd name="connsiteY137" fmla="*/ 398200 h 448122"/>
              <a:gd name="connsiteX138" fmla="*/ 228273 w 447236"/>
              <a:gd name="connsiteY138" fmla="*/ 400881 h 448122"/>
              <a:gd name="connsiteX139" fmla="*/ 231766 w 447236"/>
              <a:gd name="connsiteY139" fmla="*/ 404021 h 448122"/>
              <a:gd name="connsiteX140" fmla="*/ 234748 w 447236"/>
              <a:gd name="connsiteY140" fmla="*/ 398152 h 448122"/>
              <a:gd name="connsiteX141" fmla="*/ 234670 w 447236"/>
              <a:gd name="connsiteY141" fmla="*/ 404089 h 448122"/>
              <a:gd name="connsiteX142" fmla="*/ 234806 w 447236"/>
              <a:gd name="connsiteY142" fmla="*/ 404021 h 448122"/>
              <a:gd name="connsiteX143" fmla="*/ 235113 w 447236"/>
              <a:gd name="connsiteY143" fmla="*/ 398200 h 448122"/>
              <a:gd name="connsiteX144" fmla="*/ 185694 w 447236"/>
              <a:gd name="connsiteY144" fmla="*/ 394439 h 448122"/>
              <a:gd name="connsiteX145" fmla="*/ 189379 w 447236"/>
              <a:gd name="connsiteY145" fmla="*/ 397195 h 448122"/>
              <a:gd name="connsiteX146" fmla="*/ 189659 w 447236"/>
              <a:gd name="connsiteY146" fmla="*/ 400544 h 448122"/>
              <a:gd name="connsiteX147" fmla="*/ 186935 w 447236"/>
              <a:gd name="connsiteY147" fmla="*/ 398568 h 448122"/>
              <a:gd name="connsiteX148" fmla="*/ 186923 w 447236"/>
              <a:gd name="connsiteY148" fmla="*/ 398420 h 448122"/>
              <a:gd name="connsiteX149" fmla="*/ 186886 w 447236"/>
              <a:gd name="connsiteY149" fmla="*/ 398533 h 448122"/>
              <a:gd name="connsiteX150" fmla="*/ 184834 w 447236"/>
              <a:gd name="connsiteY150" fmla="*/ 397045 h 448122"/>
              <a:gd name="connsiteX151" fmla="*/ 155052 w 447236"/>
              <a:gd name="connsiteY151" fmla="*/ 393564 h 448122"/>
              <a:gd name="connsiteX152" fmla="*/ 153825 w 447236"/>
              <a:gd name="connsiteY152" fmla="*/ 394790 h 448122"/>
              <a:gd name="connsiteX153" fmla="*/ 153825 w 447236"/>
              <a:gd name="connsiteY153" fmla="*/ 398468 h 448122"/>
              <a:gd name="connsiteX154" fmla="*/ 155052 w 447236"/>
              <a:gd name="connsiteY154" fmla="*/ 399694 h 448122"/>
              <a:gd name="connsiteX155" fmla="*/ 161189 w 447236"/>
              <a:gd name="connsiteY155" fmla="*/ 399694 h 448122"/>
              <a:gd name="connsiteX156" fmla="*/ 162417 w 447236"/>
              <a:gd name="connsiteY156" fmla="*/ 398468 h 448122"/>
              <a:gd name="connsiteX157" fmla="*/ 162417 w 447236"/>
              <a:gd name="connsiteY157" fmla="*/ 394790 h 448122"/>
              <a:gd name="connsiteX158" fmla="*/ 161189 w 447236"/>
              <a:gd name="connsiteY158" fmla="*/ 393564 h 448122"/>
              <a:gd name="connsiteX159" fmla="*/ 155052 w 447236"/>
              <a:gd name="connsiteY159" fmla="*/ 393564 h 448122"/>
              <a:gd name="connsiteX160" fmla="*/ 144312 w 447236"/>
              <a:gd name="connsiteY160" fmla="*/ 393564 h 448122"/>
              <a:gd name="connsiteX161" fmla="*/ 143085 w 447236"/>
              <a:gd name="connsiteY161" fmla="*/ 394790 h 448122"/>
              <a:gd name="connsiteX162" fmla="*/ 143085 w 447236"/>
              <a:gd name="connsiteY162" fmla="*/ 398468 h 448122"/>
              <a:gd name="connsiteX163" fmla="*/ 144312 w 447236"/>
              <a:gd name="connsiteY163" fmla="*/ 399694 h 448122"/>
              <a:gd name="connsiteX164" fmla="*/ 150449 w 447236"/>
              <a:gd name="connsiteY164" fmla="*/ 399694 h 448122"/>
              <a:gd name="connsiteX165" fmla="*/ 151677 w 447236"/>
              <a:gd name="connsiteY165" fmla="*/ 398468 h 448122"/>
              <a:gd name="connsiteX166" fmla="*/ 151677 w 447236"/>
              <a:gd name="connsiteY166" fmla="*/ 394790 h 448122"/>
              <a:gd name="connsiteX167" fmla="*/ 150449 w 447236"/>
              <a:gd name="connsiteY167" fmla="*/ 393564 h 448122"/>
              <a:gd name="connsiteX168" fmla="*/ 144312 w 447236"/>
              <a:gd name="connsiteY168" fmla="*/ 393564 h 448122"/>
              <a:gd name="connsiteX169" fmla="*/ 133572 w 447236"/>
              <a:gd name="connsiteY169" fmla="*/ 393564 h 448122"/>
              <a:gd name="connsiteX170" fmla="*/ 132345 w 447236"/>
              <a:gd name="connsiteY170" fmla="*/ 394790 h 448122"/>
              <a:gd name="connsiteX171" fmla="*/ 132345 w 447236"/>
              <a:gd name="connsiteY171" fmla="*/ 398468 h 448122"/>
              <a:gd name="connsiteX172" fmla="*/ 133572 w 447236"/>
              <a:gd name="connsiteY172" fmla="*/ 399694 h 448122"/>
              <a:gd name="connsiteX173" fmla="*/ 139709 w 447236"/>
              <a:gd name="connsiteY173" fmla="*/ 399694 h 448122"/>
              <a:gd name="connsiteX174" fmla="*/ 140937 w 447236"/>
              <a:gd name="connsiteY174" fmla="*/ 398468 h 448122"/>
              <a:gd name="connsiteX175" fmla="*/ 140937 w 447236"/>
              <a:gd name="connsiteY175" fmla="*/ 394790 h 448122"/>
              <a:gd name="connsiteX176" fmla="*/ 139709 w 447236"/>
              <a:gd name="connsiteY176" fmla="*/ 393564 h 448122"/>
              <a:gd name="connsiteX177" fmla="*/ 206269 w 447236"/>
              <a:gd name="connsiteY177" fmla="*/ 393214 h 448122"/>
              <a:gd name="connsiteX178" fmla="*/ 219780 w 447236"/>
              <a:gd name="connsiteY178" fmla="*/ 406382 h 448122"/>
              <a:gd name="connsiteX179" fmla="*/ 213492 w 447236"/>
              <a:gd name="connsiteY179" fmla="*/ 421388 h 448122"/>
              <a:gd name="connsiteX180" fmla="*/ 209378 w 447236"/>
              <a:gd name="connsiteY180" fmla="*/ 415837 h 448122"/>
              <a:gd name="connsiteX181" fmla="*/ 208725 w 447236"/>
              <a:gd name="connsiteY181" fmla="*/ 414957 h 448122"/>
              <a:gd name="connsiteX182" fmla="*/ 208418 w 447236"/>
              <a:gd name="connsiteY182" fmla="*/ 414651 h 448122"/>
              <a:gd name="connsiteX183" fmla="*/ 206883 w 447236"/>
              <a:gd name="connsiteY183" fmla="*/ 415263 h 448122"/>
              <a:gd name="connsiteX184" fmla="*/ 202277 w 447236"/>
              <a:gd name="connsiteY184" fmla="*/ 422919 h 448122"/>
              <a:gd name="connsiteX185" fmla="*/ 198592 w 447236"/>
              <a:gd name="connsiteY185" fmla="*/ 413732 h 448122"/>
              <a:gd name="connsiteX186" fmla="*/ 197978 w 447236"/>
              <a:gd name="connsiteY186" fmla="*/ 413119 h 448122"/>
              <a:gd name="connsiteX187" fmla="*/ 196442 w 447236"/>
              <a:gd name="connsiteY187" fmla="*/ 414038 h 448122"/>
              <a:gd name="connsiteX188" fmla="*/ 191836 w 447236"/>
              <a:gd name="connsiteY188" fmla="*/ 426594 h 448122"/>
              <a:gd name="connsiteX189" fmla="*/ 189686 w 447236"/>
              <a:gd name="connsiteY189" fmla="*/ 400870 h 448122"/>
              <a:gd name="connsiteX190" fmla="*/ 189659 w 447236"/>
              <a:gd name="connsiteY190" fmla="*/ 400544 h 448122"/>
              <a:gd name="connsiteX191" fmla="*/ 193064 w 447236"/>
              <a:gd name="connsiteY191" fmla="*/ 403014 h 448122"/>
              <a:gd name="connsiteX192" fmla="*/ 206269 w 447236"/>
              <a:gd name="connsiteY192" fmla="*/ 393214 h 448122"/>
              <a:gd name="connsiteX193" fmla="*/ 179553 w 447236"/>
              <a:gd name="connsiteY193" fmla="*/ 393214 h 448122"/>
              <a:gd name="connsiteX194" fmla="*/ 184834 w 447236"/>
              <a:gd name="connsiteY194" fmla="*/ 397045 h 448122"/>
              <a:gd name="connsiteX195" fmla="*/ 178708 w 447236"/>
              <a:gd name="connsiteY195" fmla="*/ 415608 h 448122"/>
              <a:gd name="connsiteX196" fmla="*/ 177710 w 447236"/>
              <a:gd name="connsiteY196" fmla="*/ 418632 h 448122"/>
              <a:gd name="connsiteX197" fmla="*/ 176175 w 447236"/>
              <a:gd name="connsiteY197" fmla="*/ 414651 h 448122"/>
              <a:gd name="connsiteX198" fmla="*/ 175868 w 447236"/>
              <a:gd name="connsiteY198" fmla="*/ 414038 h 448122"/>
              <a:gd name="connsiteX199" fmla="*/ 174332 w 447236"/>
              <a:gd name="connsiteY199" fmla="*/ 414038 h 448122"/>
              <a:gd name="connsiteX200" fmla="*/ 170985 w 447236"/>
              <a:gd name="connsiteY200" fmla="*/ 417599 h 448122"/>
              <a:gd name="connsiteX201" fmla="*/ 166348 w 447236"/>
              <a:gd name="connsiteY201" fmla="*/ 406382 h 448122"/>
              <a:gd name="connsiteX202" fmla="*/ 179553 w 447236"/>
              <a:gd name="connsiteY202" fmla="*/ 393214 h 448122"/>
              <a:gd name="connsiteX203" fmla="*/ 237599 w 447236"/>
              <a:gd name="connsiteY203" fmla="*/ 389009 h 448122"/>
              <a:gd name="connsiteX204" fmla="*/ 238765 w 447236"/>
              <a:gd name="connsiteY204" fmla="*/ 389009 h 448122"/>
              <a:gd name="connsiteX205" fmla="*/ 238520 w 447236"/>
              <a:gd name="connsiteY205" fmla="*/ 389315 h 448122"/>
              <a:gd name="connsiteX206" fmla="*/ 237599 w 447236"/>
              <a:gd name="connsiteY206" fmla="*/ 389009 h 448122"/>
              <a:gd name="connsiteX207" fmla="*/ 228700 w 447236"/>
              <a:gd name="connsiteY207" fmla="*/ 388854 h 448122"/>
              <a:gd name="connsiteX208" fmla="*/ 228973 w 447236"/>
              <a:gd name="connsiteY208" fmla="*/ 389009 h 448122"/>
              <a:gd name="connsiteX209" fmla="*/ 228052 w 447236"/>
              <a:gd name="connsiteY209" fmla="*/ 389315 h 448122"/>
              <a:gd name="connsiteX210" fmla="*/ 227806 w 447236"/>
              <a:gd name="connsiteY210" fmla="*/ 389009 h 448122"/>
              <a:gd name="connsiteX211" fmla="*/ 228666 w 447236"/>
              <a:gd name="connsiteY211" fmla="*/ 389009 h 448122"/>
              <a:gd name="connsiteX212" fmla="*/ 240669 w 447236"/>
              <a:gd name="connsiteY212" fmla="*/ 385333 h 448122"/>
              <a:gd name="connsiteX213" fmla="*/ 239441 w 447236"/>
              <a:gd name="connsiteY213" fmla="*/ 385639 h 448122"/>
              <a:gd name="connsiteX214" fmla="*/ 238827 w 447236"/>
              <a:gd name="connsiteY214" fmla="*/ 386252 h 448122"/>
              <a:gd name="connsiteX215" fmla="*/ 240055 w 447236"/>
              <a:gd name="connsiteY215" fmla="*/ 386252 h 448122"/>
              <a:gd name="connsiteX216" fmla="*/ 240669 w 447236"/>
              <a:gd name="connsiteY216" fmla="*/ 385333 h 448122"/>
              <a:gd name="connsiteX217" fmla="*/ 225903 w 447236"/>
              <a:gd name="connsiteY217" fmla="*/ 385333 h 448122"/>
              <a:gd name="connsiteX218" fmla="*/ 226517 w 447236"/>
              <a:gd name="connsiteY218" fmla="*/ 386252 h 448122"/>
              <a:gd name="connsiteX219" fmla="*/ 227438 w 447236"/>
              <a:gd name="connsiteY219" fmla="*/ 386252 h 448122"/>
              <a:gd name="connsiteX220" fmla="*/ 226824 w 447236"/>
              <a:gd name="connsiteY220" fmla="*/ 385639 h 448122"/>
              <a:gd name="connsiteX221" fmla="*/ 225903 w 447236"/>
              <a:gd name="connsiteY221" fmla="*/ 385333 h 448122"/>
              <a:gd name="connsiteX222" fmla="*/ 242746 w 447236"/>
              <a:gd name="connsiteY222" fmla="*/ 365317 h 448122"/>
              <a:gd name="connsiteX223" fmla="*/ 244894 w 447236"/>
              <a:gd name="connsiteY223" fmla="*/ 365623 h 448122"/>
              <a:gd name="connsiteX224" fmla="*/ 249191 w 447236"/>
              <a:gd name="connsiteY224" fmla="*/ 367153 h 448122"/>
              <a:gd name="connsiteX225" fmla="*/ 257478 w 447236"/>
              <a:gd name="connsiteY225" fmla="*/ 368376 h 448122"/>
              <a:gd name="connsiteX226" fmla="*/ 275279 w 447236"/>
              <a:gd name="connsiteY226" fmla="*/ 368376 h 448122"/>
              <a:gd name="connsiteX227" fmla="*/ 264230 w 447236"/>
              <a:gd name="connsiteY227" fmla="*/ 372660 h 448122"/>
              <a:gd name="connsiteX228" fmla="*/ 263002 w 447236"/>
              <a:gd name="connsiteY228" fmla="*/ 375413 h 448122"/>
              <a:gd name="connsiteX229" fmla="*/ 258399 w 447236"/>
              <a:gd name="connsiteY229" fmla="*/ 375719 h 448122"/>
              <a:gd name="connsiteX230" fmla="*/ 255022 w 447236"/>
              <a:gd name="connsiteY230" fmla="*/ 379390 h 448122"/>
              <a:gd name="connsiteX231" fmla="*/ 253795 w 447236"/>
              <a:gd name="connsiteY231" fmla="*/ 379390 h 448122"/>
              <a:gd name="connsiteX232" fmla="*/ 251953 w 447236"/>
              <a:gd name="connsiteY232" fmla="*/ 379084 h 448122"/>
              <a:gd name="connsiteX233" fmla="*/ 249805 w 447236"/>
              <a:gd name="connsiteY233" fmla="*/ 378167 h 448122"/>
              <a:gd name="connsiteX234" fmla="*/ 248270 w 447236"/>
              <a:gd name="connsiteY234" fmla="*/ 380920 h 448122"/>
              <a:gd name="connsiteX235" fmla="*/ 244587 w 447236"/>
              <a:gd name="connsiteY235" fmla="*/ 380614 h 448122"/>
              <a:gd name="connsiteX236" fmla="*/ 243666 w 447236"/>
              <a:gd name="connsiteY236" fmla="*/ 381532 h 448122"/>
              <a:gd name="connsiteX237" fmla="*/ 238142 w 447236"/>
              <a:gd name="connsiteY237" fmla="*/ 380920 h 448122"/>
              <a:gd name="connsiteX238" fmla="*/ 236607 w 447236"/>
              <a:gd name="connsiteY238" fmla="*/ 380614 h 448122"/>
              <a:gd name="connsiteX239" fmla="*/ 236607 w 447236"/>
              <a:gd name="connsiteY239" fmla="*/ 369600 h 448122"/>
              <a:gd name="connsiteX240" fmla="*/ 239676 w 447236"/>
              <a:gd name="connsiteY240" fmla="*/ 368376 h 448122"/>
              <a:gd name="connsiteX241" fmla="*/ 240904 w 447236"/>
              <a:gd name="connsiteY241" fmla="*/ 365929 h 448122"/>
              <a:gd name="connsiteX242" fmla="*/ 242746 w 447236"/>
              <a:gd name="connsiteY242" fmla="*/ 365317 h 448122"/>
              <a:gd name="connsiteX243" fmla="*/ 223839 w 447236"/>
              <a:gd name="connsiteY243" fmla="*/ 365317 h 448122"/>
              <a:gd name="connsiteX244" fmla="*/ 225373 w 447236"/>
              <a:gd name="connsiteY244" fmla="*/ 365929 h 448122"/>
              <a:gd name="connsiteX245" fmla="*/ 226908 w 447236"/>
              <a:gd name="connsiteY245" fmla="*/ 368376 h 448122"/>
              <a:gd name="connsiteX246" fmla="*/ 229670 w 447236"/>
              <a:gd name="connsiteY246" fmla="*/ 369600 h 448122"/>
              <a:gd name="connsiteX247" fmla="*/ 229670 w 447236"/>
              <a:gd name="connsiteY247" fmla="*/ 380614 h 448122"/>
              <a:gd name="connsiteX248" fmla="*/ 228136 w 447236"/>
              <a:gd name="connsiteY248" fmla="*/ 380920 h 448122"/>
              <a:gd name="connsiteX249" fmla="*/ 222918 w 447236"/>
              <a:gd name="connsiteY249" fmla="*/ 381532 h 448122"/>
              <a:gd name="connsiteX250" fmla="*/ 221997 w 447236"/>
              <a:gd name="connsiteY250" fmla="*/ 380614 h 448122"/>
              <a:gd name="connsiteX251" fmla="*/ 218314 w 447236"/>
              <a:gd name="connsiteY251" fmla="*/ 380920 h 448122"/>
              <a:gd name="connsiteX252" fmla="*/ 216473 w 447236"/>
              <a:gd name="connsiteY252" fmla="*/ 378167 h 448122"/>
              <a:gd name="connsiteX253" fmla="*/ 214631 w 447236"/>
              <a:gd name="connsiteY253" fmla="*/ 379084 h 448122"/>
              <a:gd name="connsiteX254" fmla="*/ 212790 w 447236"/>
              <a:gd name="connsiteY254" fmla="*/ 379390 h 448122"/>
              <a:gd name="connsiteX255" fmla="*/ 211255 w 447236"/>
              <a:gd name="connsiteY255" fmla="*/ 379390 h 448122"/>
              <a:gd name="connsiteX256" fmla="*/ 208186 w 447236"/>
              <a:gd name="connsiteY256" fmla="*/ 375719 h 448122"/>
              <a:gd name="connsiteX257" fmla="*/ 203275 w 447236"/>
              <a:gd name="connsiteY257" fmla="*/ 375413 h 448122"/>
              <a:gd name="connsiteX258" fmla="*/ 202047 w 447236"/>
              <a:gd name="connsiteY258" fmla="*/ 372660 h 448122"/>
              <a:gd name="connsiteX259" fmla="*/ 190998 w 447236"/>
              <a:gd name="connsiteY259" fmla="*/ 368376 h 448122"/>
              <a:gd name="connsiteX260" fmla="*/ 208800 w 447236"/>
              <a:gd name="connsiteY260" fmla="*/ 368376 h 448122"/>
              <a:gd name="connsiteX261" fmla="*/ 217087 w 447236"/>
              <a:gd name="connsiteY261" fmla="*/ 367153 h 448122"/>
              <a:gd name="connsiteX262" fmla="*/ 221383 w 447236"/>
              <a:gd name="connsiteY262" fmla="*/ 365623 h 448122"/>
              <a:gd name="connsiteX263" fmla="*/ 223839 w 447236"/>
              <a:gd name="connsiteY263" fmla="*/ 365317 h 448122"/>
              <a:gd name="connsiteX264" fmla="*/ 147381 w 447236"/>
              <a:gd name="connsiteY264" fmla="*/ 360155 h 448122"/>
              <a:gd name="connsiteX265" fmla="*/ 155052 w 447236"/>
              <a:gd name="connsiteY265" fmla="*/ 363220 h 448122"/>
              <a:gd name="connsiteX266" fmla="*/ 158428 w 447236"/>
              <a:gd name="connsiteY266" fmla="*/ 371189 h 448122"/>
              <a:gd name="connsiteX267" fmla="*/ 155052 w 447236"/>
              <a:gd name="connsiteY267" fmla="*/ 378852 h 448122"/>
              <a:gd name="connsiteX268" fmla="*/ 147381 w 447236"/>
              <a:gd name="connsiteY268" fmla="*/ 381917 h 448122"/>
              <a:gd name="connsiteX269" fmla="*/ 139709 w 447236"/>
              <a:gd name="connsiteY269" fmla="*/ 378852 h 448122"/>
              <a:gd name="connsiteX270" fmla="*/ 136334 w 447236"/>
              <a:gd name="connsiteY270" fmla="*/ 371189 h 448122"/>
              <a:gd name="connsiteX271" fmla="*/ 139709 w 447236"/>
              <a:gd name="connsiteY271" fmla="*/ 363220 h 448122"/>
              <a:gd name="connsiteX272" fmla="*/ 147381 w 447236"/>
              <a:gd name="connsiteY272" fmla="*/ 360155 h 448122"/>
              <a:gd name="connsiteX273" fmla="*/ 233293 w 447236"/>
              <a:gd name="connsiteY273" fmla="*/ 358970 h 448122"/>
              <a:gd name="connsiteX274" fmla="*/ 237935 w 447236"/>
              <a:gd name="connsiteY274" fmla="*/ 363561 h 448122"/>
              <a:gd name="connsiteX275" fmla="*/ 235150 w 447236"/>
              <a:gd name="connsiteY275" fmla="*/ 367845 h 448122"/>
              <a:gd name="connsiteX276" fmla="*/ 234823 w 447236"/>
              <a:gd name="connsiteY276" fmla="*/ 392548 h 448122"/>
              <a:gd name="connsiteX277" fmla="*/ 244967 w 447236"/>
              <a:gd name="connsiteY277" fmla="*/ 390235 h 448122"/>
              <a:gd name="connsiteX278" fmla="*/ 245581 w 447236"/>
              <a:gd name="connsiteY278" fmla="*/ 387784 h 448122"/>
              <a:gd name="connsiteX279" fmla="*/ 244353 w 447236"/>
              <a:gd name="connsiteY279" fmla="*/ 387171 h 448122"/>
              <a:gd name="connsiteX280" fmla="*/ 241590 w 447236"/>
              <a:gd name="connsiteY280" fmla="*/ 389009 h 448122"/>
              <a:gd name="connsiteX281" fmla="*/ 238765 w 447236"/>
              <a:gd name="connsiteY281" fmla="*/ 389009 h 448122"/>
              <a:gd name="connsiteX282" fmla="*/ 239748 w 447236"/>
              <a:gd name="connsiteY282" fmla="*/ 387784 h 448122"/>
              <a:gd name="connsiteX283" fmla="*/ 237599 w 447236"/>
              <a:gd name="connsiteY283" fmla="*/ 389009 h 448122"/>
              <a:gd name="connsiteX284" fmla="*/ 237292 w 447236"/>
              <a:gd name="connsiteY284" fmla="*/ 386252 h 448122"/>
              <a:gd name="connsiteX285" fmla="*/ 239134 w 447236"/>
              <a:gd name="connsiteY285" fmla="*/ 383801 h 448122"/>
              <a:gd name="connsiteX286" fmla="*/ 240976 w 447236"/>
              <a:gd name="connsiteY286" fmla="*/ 383188 h 448122"/>
              <a:gd name="connsiteX287" fmla="*/ 248037 w 447236"/>
              <a:gd name="connsiteY287" fmla="*/ 384414 h 448122"/>
              <a:gd name="connsiteX288" fmla="*/ 249879 w 447236"/>
              <a:gd name="connsiteY288" fmla="*/ 388703 h 448122"/>
              <a:gd name="connsiteX289" fmla="*/ 248344 w 447236"/>
              <a:gd name="connsiteY289" fmla="*/ 392379 h 448122"/>
              <a:gd name="connsiteX290" fmla="*/ 241319 w 447236"/>
              <a:gd name="connsiteY290" fmla="*/ 396399 h 448122"/>
              <a:gd name="connsiteX291" fmla="*/ 242481 w 447236"/>
              <a:gd name="connsiteY291" fmla="*/ 404327 h 448122"/>
              <a:gd name="connsiteX292" fmla="*/ 237578 w 447236"/>
              <a:gd name="connsiteY292" fmla="*/ 406880 h 448122"/>
              <a:gd name="connsiteX293" fmla="*/ 240055 w 447236"/>
              <a:gd name="connsiteY293" fmla="*/ 408004 h 448122"/>
              <a:gd name="connsiteX294" fmla="*/ 241590 w 447236"/>
              <a:gd name="connsiteY294" fmla="*/ 415356 h 448122"/>
              <a:gd name="connsiteX295" fmla="*/ 237906 w 447236"/>
              <a:gd name="connsiteY295" fmla="*/ 418114 h 448122"/>
              <a:gd name="connsiteX296" fmla="*/ 235841 w 447236"/>
              <a:gd name="connsiteY296" fmla="*/ 418702 h 448122"/>
              <a:gd name="connsiteX297" fmla="*/ 239718 w 447236"/>
              <a:gd name="connsiteY297" fmla="*/ 422403 h 448122"/>
              <a:gd name="connsiteX298" fmla="*/ 235034 w 447236"/>
              <a:gd name="connsiteY298" fmla="*/ 429001 h 448122"/>
              <a:gd name="connsiteX299" fmla="*/ 236678 w 447236"/>
              <a:gd name="connsiteY299" fmla="*/ 431134 h 448122"/>
              <a:gd name="connsiteX300" fmla="*/ 240362 w 447236"/>
              <a:gd name="connsiteY300" fmla="*/ 435270 h 448122"/>
              <a:gd name="connsiteX301" fmla="*/ 237906 w 447236"/>
              <a:gd name="connsiteY301" fmla="*/ 434657 h 448122"/>
              <a:gd name="connsiteX302" fmla="*/ 234303 w 447236"/>
              <a:gd name="connsiteY302" fmla="*/ 431781 h 448122"/>
              <a:gd name="connsiteX303" fmla="*/ 234236 w 447236"/>
              <a:gd name="connsiteY303" fmla="*/ 436834 h 448122"/>
              <a:gd name="connsiteX304" fmla="*/ 234221 w 447236"/>
              <a:gd name="connsiteY304" fmla="*/ 437929 h 448122"/>
              <a:gd name="connsiteX305" fmla="*/ 232365 w 447236"/>
              <a:gd name="connsiteY305" fmla="*/ 437929 h 448122"/>
              <a:gd name="connsiteX306" fmla="*/ 232252 w 447236"/>
              <a:gd name="connsiteY306" fmla="*/ 431549 h 448122"/>
              <a:gd name="connsiteX307" fmla="*/ 228359 w 447236"/>
              <a:gd name="connsiteY307" fmla="*/ 434657 h 448122"/>
              <a:gd name="connsiteX308" fmla="*/ 225903 w 447236"/>
              <a:gd name="connsiteY308" fmla="*/ 435270 h 448122"/>
              <a:gd name="connsiteX309" fmla="*/ 229740 w 447236"/>
              <a:gd name="connsiteY309" fmla="*/ 431134 h 448122"/>
              <a:gd name="connsiteX310" fmla="*/ 231343 w 447236"/>
              <a:gd name="connsiteY310" fmla="*/ 429122 h 448122"/>
              <a:gd name="connsiteX311" fmla="*/ 226853 w 447236"/>
              <a:gd name="connsiteY311" fmla="*/ 422403 h 448122"/>
              <a:gd name="connsiteX312" fmla="*/ 230695 w 447236"/>
              <a:gd name="connsiteY312" fmla="*/ 418735 h 448122"/>
              <a:gd name="connsiteX313" fmla="*/ 228359 w 447236"/>
              <a:gd name="connsiteY313" fmla="*/ 418114 h 448122"/>
              <a:gd name="connsiteX314" fmla="*/ 224982 w 447236"/>
              <a:gd name="connsiteY314" fmla="*/ 415356 h 448122"/>
              <a:gd name="connsiteX315" fmla="*/ 226517 w 447236"/>
              <a:gd name="connsiteY315" fmla="*/ 408004 h 448122"/>
              <a:gd name="connsiteX316" fmla="*/ 228945 w 447236"/>
              <a:gd name="connsiteY316" fmla="*/ 406902 h 448122"/>
              <a:gd name="connsiteX317" fmla="*/ 223783 w 447236"/>
              <a:gd name="connsiteY317" fmla="*/ 404327 h 448122"/>
              <a:gd name="connsiteX318" fmla="*/ 225066 w 447236"/>
              <a:gd name="connsiteY318" fmla="*/ 396349 h 448122"/>
              <a:gd name="connsiteX319" fmla="*/ 218227 w 447236"/>
              <a:gd name="connsiteY319" fmla="*/ 392379 h 448122"/>
              <a:gd name="connsiteX320" fmla="*/ 216385 w 447236"/>
              <a:gd name="connsiteY320" fmla="*/ 388703 h 448122"/>
              <a:gd name="connsiteX321" fmla="*/ 218227 w 447236"/>
              <a:gd name="connsiteY321" fmla="*/ 384414 h 448122"/>
              <a:gd name="connsiteX322" fmla="*/ 225289 w 447236"/>
              <a:gd name="connsiteY322" fmla="*/ 383188 h 448122"/>
              <a:gd name="connsiteX323" fmla="*/ 227131 w 447236"/>
              <a:gd name="connsiteY323" fmla="*/ 383801 h 448122"/>
              <a:gd name="connsiteX324" fmla="*/ 229280 w 447236"/>
              <a:gd name="connsiteY324" fmla="*/ 386252 h 448122"/>
              <a:gd name="connsiteX325" fmla="*/ 228700 w 447236"/>
              <a:gd name="connsiteY325" fmla="*/ 388854 h 448122"/>
              <a:gd name="connsiteX326" fmla="*/ 226824 w 447236"/>
              <a:gd name="connsiteY326" fmla="*/ 387784 h 448122"/>
              <a:gd name="connsiteX327" fmla="*/ 227806 w 447236"/>
              <a:gd name="connsiteY327" fmla="*/ 389009 h 448122"/>
              <a:gd name="connsiteX328" fmla="*/ 224675 w 447236"/>
              <a:gd name="connsiteY328" fmla="*/ 389009 h 448122"/>
              <a:gd name="connsiteX329" fmla="*/ 221911 w 447236"/>
              <a:gd name="connsiteY329" fmla="*/ 387171 h 448122"/>
              <a:gd name="connsiteX330" fmla="*/ 220683 w 447236"/>
              <a:gd name="connsiteY330" fmla="*/ 387784 h 448122"/>
              <a:gd name="connsiteX331" fmla="*/ 221604 w 447236"/>
              <a:gd name="connsiteY331" fmla="*/ 390235 h 448122"/>
              <a:gd name="connsiteX332" fmla="*/ 231564 w 447236"/>
              <a:gd name="connsiteY332" fmla="*/ 392573 h 448122"/>
              <a:gd name="connsiteX333" fmla="*/ 231281 w 447236"/>
              <a:gd name="connsiteY333" fmla="*/ 376606 h 448122"/>
              <a:gd name="connsiteX334" fmla="*/ 231127 w 447236"/>
              <a:gd name="connsiteY334" fmla="*/ 367845 h 448122"/>
              <a:gd name="connsiteX335" fmla="*/ 228341 w 447236"/>
              <a:gd name="connsiteY335" fmla="*/ 363561 h 448122"/>
              <a:gd name="connsiteX336" fmla="*/ 233293 w 447236"/>
              <a:gd name="connsiteY336" fmla="*/ 358970 h 448122"/>
              <a:gd name="connsiteX337" fmla="*/ 147381 w 447236"/>
              <a:gd name="connsiteY337" fmla="*/ 358929 h 448122"/>
              <a:gd name="connsiteX338" fmla="*/ 138789 w 447236"/>
              <a:gd name="connsiteY338" fmla="*/ 362301 h 448122"/>
              <a:gd name="connsiteX339" fmla="*/ 135106 w 447236"/>
              <a:gd name="connsiteY339" fmla="*/ 371189 h 448122"/>
              <a:gd name="connsiteX340" fmla="*/ 138789 w 447236"/>
              <a:gd name="connsiteY340" fmla="*/ 379771 h 448122"/>
              <a:gd name="connsiteX341" fmla="*/ 147381 w 447236"/>
              <a:gd name="connsiteY341" fmla="*/ 383449 h 448122"/>
              <a:gd name="connsiteX342" fmla="*/ 155973 w 447236"/>
              <a:gd name="connsiteY342" fmla="*/ 379771 h 448122"/>
              <a:gd name="connsiteX343" fmla="*/ 159655 w 447236"/>
              <a:gd name="connsiteY343" fmla="*/ 371189 h 448122"/>
              <a:gd name="connsiteX344" fmla="*/ 155973 w 447236"/>
              <a:gd name="connsiteY344" fmla="*/ 362301 h 448122"/>
              <a:gd name="connsiteX345" fmla="*/ 147381 w 447236"/>
              <a:gd name="connsiteY345" fmla="*/ 358929 h 448122"/>
              <a:gd name="connsiteX346" fmla="*/ 292250 w 447236"/>
              <a:gd name="connsiteY346" fmla="*/ 353965 h 448122"/>
              <a:gd name="connsiteX347" fmla="*/ 284271 w 447236"/>
              <a:gd name="connsiteY347" fmla="*/ 361933 h 448122"/>
              <a:gd name="connsiteX348" fmla="*/ 292250 w 447236"/>
              <a:gd name="connsiteY348" fmla="*/ 369595 h 448122"/>
              <a:gd name="connsiteX349" fmla="*/ 299922 w 447236"/>
              <a:gd name="connsiteY349" fmla="*/ 361933 h 448122"/>
              <a:gd name="connsiteX350" fmla="*/ 292250 w 447236"/>
              <a:gd name="connsiteY350" fmla="*/ 353965 h 448122"/>
              <a:gd name="connsiteX351" fmla="*/ 248047 w 447236"/>
              <a:gd name="connsiteY351" fmla="*/ 347918 h 448122"/>
              <a:gd name="connsiteX352" fmla="*/ 247128 w 447236"/>
              <a:gd name="connsiteY352" fmla="*/ 348224 h 448122"/>
              <a:gd name="connsiteX353" fmla="*/ 246515 w 447236"/>
              <a:gd name="connsiteY353" fmla="*/ 349449 h 448122"/>
              <a:gd name="connsiteX354" fmla="*/ 247128 w 447236"/>
              <a:gd name="connsiteY354" fmla="*/ 350674 h 448122"/>
              <a:gd name="connsiteX355" fmla="*/ 248047 w 447236"/>
              <a:gd name="connsiteY355" fmla="*/ 350981 h 448122"/>
              <a:gd name="connsiteX356" fmla="*/ 249272 w 447236"/>
              <a:gd name="connsiteY356" fmla="*/ 350674 h 448122"/>
              <a:gd name="connsiteX357" fmla="*/ 249578 w 447236"/>
              <a:gd name="connsiteY357" fmla="*/ 349449 h 448122"/>
              <a:gd name="connsiteX358" fmla="*/ 249272 w 447236"/>
              <a:gd name="connsiteY358" fmla="*/ 348224 h 448122"/>
              <a:gd name="connsiteX359" fmla="*/ 248047 w 447236"/>
              <a:gd name="connsiteY359" fmla="*/ 347918 h 448122"/>
              <a:gd name="connsiteX360" fmla="*/ 248047 w 447236"/>
              <a:gd name="connsiteY360" fmla="*/ 343324 h 448122"/>
              <a:gd name="connsiteX361" fmla="*/ 254172 w 447236"/>
              <a:gd name="connsiteY361" fmla="*/ 349449 h 448122"/>
              <a:gd name="connsiteX362" fmla="*/ 248047 w 447236"/>
              <a:gd name="connsiteY362" fmla="*/ 355575 h 448122"/>
              <a:gd name="connsiteX363" fmla="*/ 241921 w 447236"/>
              <a:gd name="connsiteY363" fmla="*/ 349449 h 448122"/>
              <a:gd name="connsiteX364" fmla="*/ 248047 w 447236"/>
              <a:gd name="connsiteY364" fmla="*/ 343324 h 448122"/>
              <a:gd name="connsiteX365" fmla="*/ 248047 w 447236"/>
              <a:gd name="connsiteY365" fmla="*/ 342037 h 448122"/>
              <a:gd name="connsiteX366" fmla="*/ 241327 w 447236"/>
              <a:gd name="connsiteY366" fmla="*/ 344788 h 448122"/>
              <a:gd name="connsiteX367" fmla="*/ 238578 w 447236"/>
              <a:gd name="connsiteY367" fmla="*/ 351817 h 448122"/>
              <a:gd name="connsiteX368" fmla="*/ 241327 w 447236"/>
              <a:gd name="connsiteY368" fmla="*/ 358540 h 448122"/>
              <a:gd name="connsiteX369" fmla="*/ 248047 w 447236"/>
              <a:gd name="connsiteY369" fmla="*/ 361290 h 448122"/>
              <a:gd name="connsiteX370" fmla="*/ 255072 w 447236"/>
              <a:gd name="connsiteY370" fmla="*/ 358540 h 448122"/>
              <a:gd name="connsiteX371" fmla="*/ 257821 w 447236"/>
              <a:gd name="connsiteY371" fmla="*/ 351817 h 448122"/>
              <a:gd name="connsiteX372" fmla="*/ 255072 w 447236"/>
              <a:gd name="connsiteY372" fmla="*/ 344788 h 448122"/>
              <a:gd name="connsiteX373" fmla="*/ 248047 w 447236"/>
              <a:gd name="connsiteY373" fmla="*/ 342037 h 448122"/>
              <a:gd name="connsiteX374" fmla="*/ 201047 w 447236"/>
              <a:gd name="connsiteY374" fmla="*/ 341678 h 448122"/>
              <a:gd name="connsiteX375" fmla="*/ 201047 w 447236"/>
              <a:gd name="connsiteY375" fmla="*/ 344743 h 448122"/>
              <a:gd name="connsiteX376" fmla="*/ 203815 w 447236"/>
              <a:gd name="connsiteY376" fmla="*/ 344743 h 448122"/>
              <a:gd name="connsiteX377" fmla="*/ 203815 w 447236"/>
              <a:gd name="connsiteY377" fmla="*/ 341678 h 448122"/>
              <a:gd name="connsiteX378" fmla="*/ 201047 w 447236"/>
              <a:gd name="connsiteY378" fmla="*/ 341678 h 448122"/>
              <a:gd name="connsiteX379" fmla="*/ 213417 w 447236"/>
              <a:gd name="connsiteY379" fmla="*/ 338850 h 448122"/>
              <a:gd name="connsiteX380" fmla="*/ 205895 w 447236"/>
              <a:gd name="connsiteY380" fmla="*/ 346348 h 448122"/>
              <a:gd name="connsiteX381" fmla="*/ 203073 w 447236"/>
              <a:gd name="connsiteY381" fmla="*/ 349162 h 448122"/>
              <a:gd name="connsiteX382" fmla="*/ 208922 w 447236"/>
              <a:gd name="connsiteY382" fmla="*/ 355034 h 448122"/>
              <a:gd name="connsiteX383" fmla="*/ 212729 w 447236"/>
              <a:gd name="connsiteY383" fmla="*/ 358855 h 448122"/>
              <a:gd name="connsiteX384" fmla="*/ 217958 w 447236"/>
              <a:gd name="connsiteY384" fmla="*/ 360995 h 448122"/>
              <a:gd name="connsiteX385" fmla="*/ 223187 w 447236"/>
              <a:gd name="connsiteY385" fmla="*/ 358855 h 448122"/>
              <a:gd name="connsiteX386" fmla="*/ 225032 w 447236"/>
              <a:gd name="connsiteY386" fmla="*/ 353659 h 448122"/>
              <a:gd name="connsiteX387" fmla="*/ 223187 w 447236"/>
              <a:gd name="connsiteY387" fmla="*/ 348462 h 448122"/>
              <a:gd name="connsiteX388" fmla="*/ 196435 w 447236"/>
              <a:gd name="connsiteY388" fmla="*/ 337079 h 448122"/>
              <a:gd name="connsiteX389" fmla="*/ 196435 w 447236"/>
              <a:gd name="connsiteY389" fmla="*/ 340145 h 448122"/>
              <a:gd name="connsiteX390" fmla="*/ 199202 w 447236"/>
              <a:gd name="connsiteY390" fmla="*/ 340145 h 448122"/>
              <a:gd name="connsiteX391" fmla="*/ 199202 w 447236"/>
              <a:gd name="connsiteY391" fmla="*/ 337079 h 448122"/>
              <a:gd name="connsiteX392" fmla="*/ 196435 w 447236"/>
              <a:gd name="connsiteY392" fmla="*/ 337079 h 448122"/>
              <a:gd name="connsiteX393" fmla="*/ 205967 w 447236"/>
              <a:gd name="connsiteY393" fmla="*/ 336773 h 448122"/>
              <a:gd name="connsiteX394" fmla="*/ 205967 w 447236"/>
              <a:gd name="connsiteY394" fmla="*/ 339532 h 448122"/>
              <a:gd name="connsiteX395" fmla="*/ 209042 w 447236"/>
              <a:gd name="connsiteY395" fmla="*/ 339532 h 448122"/>
              <a:gd name="connsiteX396" fmla="*/ 209042 w 447236"/>
              <a:gd name="connsiteY396" fmla="*/ 336773 h 448122"/>
              <a:gd name="connsiteX397" fmla="*/ 205967 w 447236"/>
              <a:gd name="connsiteY397" fmla="*/ 336773 h 448122"/>
              <a:gd name="connsiteX398" fmla="*/ 201355 w 447236"/>
              <a:gd name="connsiteY398" fmla="*/ 332174 h 448122"/>
              <a:gd name="connsiteX399" fmla="*/ 201355 w 447236"/>
              <a:gd name="connsiteY399" fmla="*/ 334933 h 448122"/>
              <a:gd name="connsiteX400" fmla="*/ 204430 w 447236"/>
              <a:gd name="connsiteY400" fmla="*/ 334933 h 448122"/>
              <a:gd name="connsiteX401" fmla="*/ 204430 w 447236"/>
              <a:gd name="connsiteY401" fmla="*/ 332174 h 448122"/>
              <a:gd name="connsiteX402" fmla="*/ 201355 w 447236"/>
              <a:gd name="connsiteY402" fmla="*/ 332174 h 448122"/>
              <a:gd name="connsiteX403" fmla="*/ 153802 w 447236"/>
              <a:gd name="connsiteY403" fmla="*/ 323988 h 448122"/>
              <a:gd name="connsiteX404" fmla="*/ 148257 w 447236"/>
              <a:gd name="connsiteY404" fmla="*/ 332259 h 448122"/>
              <a:gd name="connsiteX405" fmla="*/ 153802 w 447236"/>
              <a:gd name="connsiteY405" fmla="*/ 340224 h 448122"/>
              <a:gd name="connsiteX406" fmla="*/ 146717 w 447236"/>
              <a:gd name="connsiteY406" fmla="*/ 332259 h 448122"/>
              <a:gd name="connsiteX407" fmla="*/ 153802 w 447236"/>
              <a:gd name="connsiteY407" fmla="*/ 323988 h 448122"/>
              <a:gd name="connsiteX408" fmla="*/ 262733 w 447236"/>
              <a:gd name="connsiteY408" fmla="*/ 321184 h 448122"/>
              <a:gd name="connsiteX409" fmla="*/ 269818 w 447236"/>
              <a:gd name="connsiteY409" fmla="*/ 326393 h 448122"/>
              <a:gd name="connsiteX410" fmla="*/ 276903 w 447236"/>
              <a:gd name="connsiteY410" fmla="*/ 321184 h 448122"/>
              <a:gd name="connsiteX411" fmla="*/ 283988 w 447236"/>
              <a:gd name="connsiteY411" fmla="*/ 328232 h 448122"/>
              <a:gd name="connsiteX412" fmla="*/ 269818 w 447236"/>
              <a:gd name="connsiteY412" fmla="*/ 349376 h 448122"/>
              <a:gd name="connsiteX413" fmla="*/ 255648 w 447236"/>
              <a:gd name="connsiteY413" fmla="*/ 328232 h 448122"/>
              <a:gd name="connsiteX414" fmla="*/ 262733 w 447236"/>
              <a:gd name="connsiteY414" fmla="*/ 321184 h 448122"/>
              <a:gd name="connsiteX415" fmla="*/ 147603 w 447236"/>
              <a:gd name="connsiteY415" fmla="*/ 320888 h 448122"/>
              <a:gd name="connsiteX416" fmla="*/ 140289 w 447236"/>
              <a:gd name="connsiteY416" fmla="*/ 332253 h 448122"/>
              <a:gd name="connsiteX417" fmla="*/ 147603 w 447236"/>
              <a:gd name="connsiteY417" fmla="*/ 343619 h 448122"/>
              <a:gd name="connsiteX418" fmla="*/ 138156 w 447236"/>
              <a:gd name="connsiteY418" fmla="*/ 332253 h 448122"/>
              <a:gd name="connsiteX419" fmla="*/ 147603 w 447236"/>
              <a:gd name="connsiteY419" fmla="*/ 320888 h 448122"/>
              <a:gd name="connsiteX420" fmla="*/ 157200 w 447236"/>
              <a:gd name="connsiteY420" fmla="*/ 320003 h 448122"/>
              <a:gd name="connsiteX421" fmla="*/ 160883 w 447236"/>
              <a:gd name="connsiteY421" fmla="*/ 320003 h 448122"/>
              <a:gd name="connsiteX422" fmla="*/ 162110 w 447236"/>
              <a:gd name="connsiteY422" fmla="*/ 321229 h 448122"/>
              <a:gd name="connsiteX423" fmla="*/ 162110 w 447236"/>
              <a:gd name="connsiteY423" fmla="*/ 351573 h 448122"/>
              <a:gd name="connsiteX424" fmla="*/ 164872 w 447236"/>
              <a:gd name="connsiteY424" fmla="*/ 356477 h 448122"/>
              <a:gd name="connsiteX425" fmla="*/ 164872 w 447236"/>
              <a:gd name="connsiteY425" fmla="*/ 444751 h 448122"/>
              <a:gd name="connsiteX426" fmla="*/ 161496 w 447236"/>
              <a:gd name="connsiteY426" fmla="*/ 448122 h 448122"/>
              <a:gd name="connsiteX427" fmla="*/ 133265 w 447236"/>
              <a:gd name="connsiteY427" fmla="*/ 448122 h 448122"/>
              <a:gd name="connsiteX428" fmla="*/ 129890 w 447236"/>
              <a:gd name="connsiteY428" fmla="*/ 444751 h 448122"/>
              <a:gd name="connsiteX429" fmla="*/ 129890 w 447236"/>
              <a:gd name="connsiteY429" fmla="*/ 357396 h 448122"/>
              <a:gd name="connsiteX430" fmla="*/ 136948 w 447236"/>
              <a:gd name="connsiteY430" fmla="*/ 350347 h 448122"/>
              <a:gd name="connsiteX431" fmla="*/ 155973 w 447236"/>
              <a:gd name="connsiteY431" fmla="*/ 350347 h 448122"/>
              <a:gd name="connsiteX432" fmla="*/ 155973 w 447236"/>
              <a:gd name="connsiteY432" fmla="*/ 321229 h 448122"/>
              <a:gd name="connsiteX433" fmla="*/ 157200 w 447236"/>
              <a:gd name="connsiteY433" fmla="*/ 320003 h 448122"/>
              <a:gd name="connsiteX434" fmla="*/ 295319 w 447236"/>
              <a:gd name="connsiteY434" fmla="*/ 317800 h 448122"/>
              <a:gd name="connsiteX435" fmla="*/ 304219 w 447236"/>
              <a:gd name="connsiteY435" fmla="*/ 320559 h 448122"/>
              <a:gd name="connsiteX436" fmla="*/ 304833 w 447236"/>
              <a:gd name="connsiteY436" fmla="*/ 321785 h 448122"/>
              <a:gd name="connsiteX437" fmla="*/ 303912 w 447236"/>
              <a:gd name="connsiteY437" fmla="*/ 323930 h 448122"/>
              <a:gd name="connsiteX438" fmla="*/ 302991 w 447236"/>
              <a:gd name="connsiteY438" fmla="*/ 324543 h 448122"/>
              <a:gd name="connsiteX439" fmla="*/ 302378 w 447236"/>
              <a:gd name="connsiteY439" fmla="*/ 324543 h 448122"/>
              <a:gd name="connsiteX440" fmla="*/ 298081 w 447236"/>
              <a:gd name="connsiteY440" fmla="*/ 338028 h 448122"/>
              <a:gd name="connsiteX441" fmla="*/ 299002 w 447236"/>
              <a:gd name="connsiteY441" fmla="*/ 338334 h 448122"/>
              <a:gd name="connsiteX442" fmla="*/ 300843 w 447236"/>
              <a:gd name="connsiteY442" fmla="*/ 341706 h 448122"/>
              <a:gd name="connsiteX443" fmla="*/ 299002 w 447236"/>
              <a:gd name="connsiteY443" fmla="*/ 347835 h 448122"/>
              <a:gd name="connsiteX444" fmla="*/ 303605 w 447236"/>
              <a:gd name="connsiteY444" fmla="*/ 350593 h 448122"/>
              <a:gd name="connsiteX445" fmla="*/ 299002 w 447236"/>
              <a:gd name="connsiteY445" fmla="*/ 425374 h 448122"/>
              <a:gd name="connsiteX446" fmla="*/ 307901 w 447236"/>
              <a:gd name="connsiteY446" fmla="*/ 440392 h 448122"/>
              <a:gd name="connsiteX447" fmla="*/ 312505 w 447236"/>
              <a:gd name="connsiteY447" fmla="*/ 440392 h 448122"/>
              <a:gd name="connsiteX448" fmla="*/ 314039 w 447236"/>
              <a:gd name="connsiteY448" fmla="*/ 441924 h 448122"/>
              <a:gd name="connsiteX449" fmla="*/ 314039 w 447236"/>
              <a:gd name="connsiteY449" fmla="*/ 444376 h 448122"/>
              <a:gd name="connsiteX450" fmla="*/ 312505 w 447236"/>
              <a:gd name="connsiteY450" fmla="*/ 445908 h 448122"/>
              <a:gd name="connsiteX451" fmla="*/ 243456 w 447236"/>
              <a:gd name="connsiteY451" fmla="*/ 445908 h 448122"/>
              <a:gd name="connsiteX452" fmla="*/ 241921 w 447236"/>
              <a:gd name="connsiteY452" fmla="*/ 444376 h 448122"/>
              <a:gd name="connsiteX453" fmla="*/ 241921 w 447236"/>
              <a:gd name="connsiteY453" fmla="*/ 441924 h 448122"/>
              <a:gd name="connsiteX454" fmla="*/ 243456 w 447236"/>
              <a:gd name="connsiteY454" fmla="*/ 440392 h 448122"/>
              <a:gd name="connsiteX455" fmla="*/ 280896 w 447236"/>
              <a:gd name="connsiteY455" fmla="*/ 440392 h 448122"/>
              <a:gd name="connsiteX456" fmla="*/ 280896 w 447236"/>
              <a:gd name="connsiteY456" fmla="*/ 432730 h 448122"/>
              <a:gd name="connsiteX457" fmla="*/ 273224 w 447236"/>
              <a:gd name="connsiteY457" fmla="*/ 429052 h 448122"/>
              <a:gd name="connsiteX458" fmla="*/ 273530 w 447236"/>
              <a:gd name="connsiteY458" fmla="*/ 428132 h 448122"/>
              <a:gd name="connsiteX459" fmla="*/ 270155 w 447236"/>
              <a:gd name="connsiteY459" fmla="*/ 427213 h 448122"/>
              <a:gd name="connsiteX460" fmla="*/ 262789 w 447236"/>
              <a:gd name="connsiteY460" fmla="*/ 427519 h 448122"/>
              <a:gd name="connsiteX461" fmla="*/ 253276 w 447236"/>
              <a:gd name="connsiteY461" fmla="*/ 421083 h 448122"/>
              <a:gd name="connsiteX462" fmla="*/ 262789 w 447236"/>
              <a:gd name="connsiteY462" fmla="*/ 418019 h 448122"/>
              <a:gd name="connsiteX463" fmla="*/ 271996 w 447236"/>
              <a:gd name="connsiteY463" fmla="*/ 424761 h 448122"/>
              <a:gd name="connsiteX464" fmla="*/ 271996 w 447236"/>
              <a:gd name="connsiteY464" fmla="*/ 425681 h 448122"/>
              <a:gd name="connsiteX465" fmla="*/ 274451 w 447236"/>
              <a:gd name="connsiteY465" fmla="*/ 426294 h 448122"/>
              <a:gd name="connsiteX466" fmla="*/ 282430 w 447236"/>
              <a:gd name="connsiteY466" fmla="*/ 408211 h 448122"/>
              <a:gd name="connsiteX467" fmla="*/ 251742 w 447236"/>
              <a:gd name="connsiteY467" fmla="*/ 400243 h 448122"/>
              <a:gd name="connsiteX468" fmla="*/ 250821 w 447236"/>
              <a:gd name="connsiteY468" fmla="*/ 398711 h 448122"/>
              <a:gd name="connsiteX469" fmla="*/ 251742 w 447236"/>
              <a:gd name="connsiteY469" fmla="*/ 395952 h 448122"/>
              <a:gd name="connsiteX470" fmla="*/ 252969 w 447236"/>
              <a:gd name="connsiteY470" fmla="*/ 395033 h 448122"/>
              <a:gd name="connsiteX471" fmla="*/ 291330 w 447236"/>
              <a:gd name="connsiteY471" fmla="*/ 405147 h 448122"/>
              <a:gd name="connsiteX472" fmla="*/ 292250 w 447236"/>
              <a:gd name="connsiteY472" fmla="*/ 406679 h 448122"/>
              <a:gd name="connsiteX473" fmla="*/ 291637 w 447236"/>
              <a:gd name="connsiteY473" fmla="*/ 408518 h 448122"/>
              <a:gd name="connsiteX474" fmla="*/ 294705 w 447236"/>
              <a:gd name="connsiteY474" fmla="*/ 408518 h 448122"/>
              <a:gd name="connsiteX475" fmla="*/ 307901 w 447236"/>
              <a:gd name="connsiteY475" fmla="*/ 388290 h 448122"/>
              <a:gd name="connsiteX476" fmla="*/ 288568 w 447236"/>
              <a:gd name="connsiteY476" fmla="*/ 380015 h 448122"/>
              <a:gd name="connsiteX477" fmla="*/ 285806 w 447236"/>
              <a:gd name="connsiteY477" fmla="*/ 389210 h 448122"/>
              <a:gd name="connsiteX478" fmla="*/ 282430 w 447236"/>
              <a:gd name="connsiteY478" fmla="*/ 391048 h 448122"/>
              <a:gd name="connsiteX479" fmla="*/ 281816 w 447236"/>
              <a:gd name="connsiteY479" fmla="*/ 390742 h 448122"/>
              <a:gd name="connsiteX480" fmla="*/ 280589 w 447236"/>
              <a:gd name="connsiteY480" fmla="*/ 394726 h 448122"/>
              <a:gd name="connsiteX481" fmla="*/ 278747 w 447236"/>
              <a:gd name="connsiteY481" fmla="*/ 395646 h 448122"/>
              <a:gd name="connsiteX482" fmla="*/ 273224 w 447236"/>
              <a:gd name="connsiteY482" fmla="*/ 393807 h 448122"/>
              <a:gd name="connsiteX483" fmla="*/ 272303 w 447236"/>
              <a:gd name="connsiteY483" fmla="*/ 391968 h 448122"/>
              <a:gd name="connsiteX484" fmla="*/ 273530 w 447236"/>
              <a:gd name="connsiteY484" fmla="*/ 387984 h 448122"/>
              <a:gd name="connsiteX485" fmla="*/ 272917 w 447236"/>
              <a:gd name="connsiteY485" fmla="*/ 387984 h 448122"/>
              <a:gd name="connsiteX486" fmla="*/ 271075 w 447236"/>
              <a:gd name="connsiteY486" fmla="*/ 384612 h 448122"/>
              <a:gd name="connsiteX487" fmla="*/ 286113 w 447236"/>
              <a:gd name="connsiteY487" fmla="*/ 337108 h 448122"/>
              <a:gd name="connsiteX488" fmla="*/ 289488 w 447236"/>
              <a:gd name="connsiteY488" fmla="*/ 335270 h 448122"/>
              <a:gd name="connsiteX489" fmla="*/ 290102 w 447236"/>
              <a:gd name="connsiteY489" fmla="*/ 335576 h 448122"/>
              <a:gd name="connsiteX490" fmla="*/ 294399 w 447236"/>
              <a:gd name="connsiteY490" fmla="*/ 321785 h 448122"/>
              <a:gd name="connsiteX491" fmla="*/ 293785 w 447236"/>
              <a:gd name="connsiteY491" fmla="*/ 321785 h 448122"/>
              <a:gd name="connsiteX492" fmla="*/ 293171 w 447236"/>
              <a:gd name="connsiteY492" fmla="*/ 320559 h 448122"/>
              <a:gd name="connsiteX493" fmla="*/ 294092 w 447236"/>
              <a:gd name="connsiteY493" fmla="*/ 318413 h 448122"/>
              <a:gd name="connsiteX494" fmla="*/ 295319 w 447236"/>
              <a:gd name="connsiteY494" fmla="*/ 317800 h 448122"/>
              <a:gd name="connsiteX495" fmla="*/ 187507 w 447236"/>
              <a:gd name="connsiteY495" fmla="*/ 316060 h 448122"/>
              <a:gd name="connsiteX496" fmla="*/ 182278 w 447236"/>
              <a:gd name="connsiteY496" fmla="*/ 318199 h 448122"/>
              <a:gd name="connsiteX497" fmla="*/ 180125 w 447236"/>
              <a:gd name="connsiteY497" fmla="*/ 323396 h 448122"/>
              <a:gd name="connsiteX498" fmla="*/ 182278 w 447236"/>
              <a:gd name="connsiteY498" fmla="*/ 328287 h 448122"/>
              <a:gd name="connsiteX499" fmla="*/ 191887 w 447236"/>
              <a:gd name="connsiteY499" fmla="*/ 337934 h 448122"/>
              <a:gd name="connsiteX500" fmla="*/ 199452 w 447236"/>
              <a:gd name="connsiteY500" fmla="*/ 330392 h 448122"/>
              <a:gd name="connsiteX501" fmla="*/ 202119 w 447236"/>
              <a:gd name="connsiteY501" fmla="*/ 327734 h 448122"/>
              <a:gd name="connsiteX502" fmla="*/ 196273 w 447236"/>
              <a:gd name="connsiteY502" fmla="*/ 321982 h 448122"/>
              <a:gd name="connsiteX503" fmla="*/ 192428 w 447236"/>
              <a:gd name="connsiteY503" fmla="*/ 318199 h 448122"/>
              <a:gd name="connsiteX504" fmla="*/ 187507 w 447236"/>
              <a:gd name="connsiteY504" fmla="*/ 316060 h 448122"/>
              <a:gd name="connsiteX505" fmla="*/ 143027 w 447236"/>
              <a:gd name="connsiteY505" fmla="*/ 315427 h 448122"/>
              <a:gd name="connsiteX506" fmla="*/ 132045 w 447236"/>
              <a:gd name="connsiteY506" fmla="*/ 332259 h 448122"/>
              <a:gd name="connsiteX507" fmla="*/ 143027 w 447236"/>
              <a:gd name="connsiteY507" fmla="*/ 348785 h 448122"/>
              <a:gd name="connsiteX508" fmla="*/ 129300 w 447236"/>
              <a:gd name="connsiteY508" fmla="*/ 332259 h 448122"/>
              <a:gd name="connsiteX509" fmla="*/ 143027 w 447236"/>
              <a:gd name="connsiteY509" fmla="*/ 315427 h 448122"/>
              <a:gd name="connsiteX510" fmla="*/ 187507 w 447236"/>
              <a:gd name="connsiteY510" fmla="*/ 314837 h 448122"/>
              <a:gd name="connsiteX511" fmla="*/ 193351 w 447236"/>
              <a:gd name="connsiteY511" fmla="*/ 317282 h 448122"/>
              <a:gd name="connsiteX512" fmla="*/ 203040 w 447236"/>
              <a:gd name="connsiteY512" fmla="*/ 326815 h 448122"/>
              <a:gd name="connsiteX513" fmla="*/ 208581 w 447236"/>
              <a:gd name="connsiteY513" fmla="*/ 321291 h 448122"/>
              <a:gd name="connsiteX514" fmla="*/ 212425 w 447236"/>
              <a:gd name="connsiteY514" fmla="*/ 317459 h 448122"/>
              <a:gd name="connsiteX515" fmla="*/ 223495 w 447236"/>
              <a:gd name="connsiteY515" fmla="*/ 317459 h 448122"/>
              <a:gd name="connsiteX516" fmla="*/ 223495 w 447236"/>
              <a:gd name="connsiteY516" fmla="*/ 328802 h 448122"/>
              <a:gd name="connsiteX517" fmla="*/ 214338 w 447236"/>
              <a:gd name="connsiteY517" fmla="*/ 337931 h 448122"/>
              <a:gd name="connsiteX518" fmla="*/ 220265 w 447236"/>
              <a:gd name="connsiteY518" fmla="*/ 343762 h 448122"/>
              <a:gd name="connsiteX519" fmla="*/ 224110 w 447236"/>
              <a:gd name="connsiteY519" fmla="*/ 347545 h 448122"/>
              <a:gd name="connsiteX520" fmla="*/ 226570 w 447236"/>
              <a:gd name="connsiteY520" fmla="*/ 353659 h 448122"/>
              <a:gd name="connsiteX521" fmla="*/ 224110 w 447236"/>
              <a:gd name="connsiteY521" fmla="*/ 359772 h 448122"/>
              <a:gd name="connsiteX522" fmla="*/ 217958 w 447236"/>
              <a:gd name="connsiteY522" fmla="*/ 362218 h 448122"/>
              <a:gd name="connsiteX523" fmla="*/ 211806 w 447236"/>
              <a:gd name="connsiteY523" fmla="*/ 359772 h 448122"/>
              <a:gd name="connsiteX524" fmla="*/ 202151 w 447236"/>
              <a:gd name="connsiteY524" fmla="*/ 350080 h 448122"/>
              <a:gd name="connsiteX525" fmla="*/ 196858 w 447236"/>
              <a:gd name="connsiteY525" fmla="*/ 355358 h 448122"/>
              <a:gd name="connsiteX526" fmla="*/ 193052 w 447236"/>
              <a:gd name="connsiteY526" fmla="*/ 359151 h 448122"/>
              <a:gd name="connsiteX527" fmla="*/ 181674 w 447236"/>
              <a:gd name="connsiteY527" fmla="*/ 359151 h 448122"/>
              <a:gd name="connsiteX528" fmla="*/ 181674 w 447236"/>
              <a:gd name="connsiteY528" fmla="*/ 348115 h 448122"/>
              <a:gd name="connsiteX529" fmla="*/ 190966 w 447236"/>
              <a:gd name="connsiteY529" fmla="*/ 338852 h 448122"/>
              <a:gd name="connsiteX530" fmla="*/ 185161 w 447236"/>
              <a:gd name="connsiteY530" fmla="*/ 333025 h 448122"/>
              <a:gd name="connsiteX531" fmla="*/ 181355 w 447236"/>
              <a:gd name="connsiteY531" fmla="*/ 329204 h 448122"/>
              <a:gd name="connsiteX532" fmla="*/ 178894 w 447236"/>
              <a:gd name="connsiteY532" fmla="*/ 323396 h 448122"/>
              <a:gd name="connsiteX533" fmla="*/ 181355 w 447236"/>
              <a:gd name="connsiteY533" fmla="*/ 317282 h 448122"/>
              <a:gd name="connsiteX534" fmla="*/ 187507 w 447236"/>
              <a:gd name="connsiteY534" fmla="*/ 314837 h 448122"/>
              <a:gd name="connsiteX535" fmla="*/ 199820 w 447236"/>
              <a:gd name="connsiteY535" fmla="*/ 314087 h 448122"/>
              <a:gd name="connsiteX536" fmla="*/ 199821 w 447236"/>
              <a:gd name="connsiteY536" fmla="*/ 314088 h 448122"/>
              <a:gd name="connsiteX537" fmla="*/ 200745 w 447236"/>
              <a:gd name="connsiteY537" fmla="*/ 314088 h 448122"/>
              <a:gd name="connsiteX538" fmla="*/ 201668 w 447236"/>
              <a:gd name="connsiteY538" fmla="*/ 314088 h 448122"/>
              <a:gd name="connsiteX539" fmla="*/ 201668 w 447236"/>
              <a:gd name="connsiteY539" fmla="*/ 314087 h 448122"/>
              <a:gd name="connsiteX540" fmla="*/ 200992 w 447236"/>
              <a:gd name="connsiteY540" fmla="*/ 313129 h 448122"/>
              <a:gd name="connsiteX541" fmla="*/ 201020 w 447236"/>
              <a:gd name="connsiteY541" fmla="*/ 313168 h 448122"/>
              <a:gd name="connsiteX542" fmla="*/ 201030 w 447236"/>
              <a:gd name="connsiteY542" fmla="*/ 313154 h 448122"/>
              <a:gd name="connsiteX543" fmla="*/ 174725 w 447236"/>
              <a:gd name="connsiteY543" fmla="*/ 312657 h 448122"/>
              <a:gd name="connsiteX544" fmla="*/ 170648 w 447236"/>
              <a:gd name="connsiteY544" fmla="*/ 314394 h 448122"/>
              <a:gd name="connsiteX545" fmla="*/ 167607 w 447236"/>
              <a:gd name="connsiteY545" fmla="*/ 313487 h 448122"/>
              <a:gd name="connsiteX546" fmla="*/ 167664 w 447236"/>
              <a:gd name="connsiteY546" fmla="*/ 313611 h 448122"/>
              <a:gd name="connsiteX547" fmla="*/ 170422 w 447236"/>
              <a:gd name="connsiteY547" fmla="*/ 314530 h 448122"/>
              <a:gd name="connsiteX548" fmla="*/ 170728 w 447236"/>
              <a:gd name="connsiteY548" fmla="*/ 314530 h 448122"/>
              <a:gd name="connsiteX549" fmla="*/ 174712 w 447236"/>
              <a:gd name="connsiteY549" fmla="*/ 312691 h 448122"/>
              <a:gd name="connsiteX550" fmla="*/ 429011 w 447236"/>
              <a:gd name="connsiteY550" fmla="*/ 310428 h 448122"/>
              <a:gd name="connsiteX551" fmla="*/ 431286 w 447236"/>
              <a:gd name="connsiteY551" fmla="*/ 315733 h 448122"/>
              <a:gd name="connsiteX552" fmla="*/ 436819 w 447236"/>
              <a:gd name="connsiteY552" fmla="*/ 318222 h 448122"/>
              <a:gd name="connsiteX553" fmla="*/ 445918 w 447236"/>
              <a:gd name="connsiteY553" fmla="*/ 310340 h 448122"/>
              <a:gd name="connsiteX554" fmla="*/ 437999 w 447236"/>
              <a:gd name="connsiteY554" fmla="*/ 318244 h 448122"/>
              <a:gd name="connsiteX555" fmla="*/ 443862 w 447236"/>
              <a:gd name="connsiteY555" fmla="*/ 315733 h 448122"/>
              <a:gd name="connsiteX556" fmla="*/ 196064 w 447236"/>
              <a:gd name="connsiteY556" fmla="*/ 304479 h 448122"/>
              <a:gd name="connsiteX557" fmla="*/ 195491 w 447236"/>
              <a:gd name="connsiteY557" fmla="*/ 305201 h 448122"/>
              <a:gd name="connsiteX558" fmla="*/ 195511 w 447236"/>
              <a:gd name="connsiteY558" fmla="*/ 305230 h 448122"/>
              <a:gd name="connsiteX559" fmla="*/ 195511 w 447236"/>
              <a:gd name="connsiteY559" fmla="*/ 305203 h 448122"/>
              <a:gd name="connsiteX560" fmla="*/ 130397 w 447236"/>
              <a:gd name="connsiteY560" fmla="*/ 303117 h 448122"/>
              <a:gd name="connsiteX561" fmla="*/ 125792 w 447236"/>
              <a:gd name="connsiteY561" fmla="*/ 307409 h 448122"/>
              <a:gd name="connsiteX562" fmla="*/ 130397 w 447236"/>
              <a:gd name="connsiteY562" fmla="*/ 312009 h 448122"/>
              <a:gd name="connsiteX563" fmla="*/ 135001 w 447236"/>
              <a:gd name="connsiteY563" fmla="*/ 307409 h 448122"/>
              <a:gd name="connsiteX564" fmla="*/ 130397 w 447236"/>
              <a:gd name="connsiteY564" fmla="*/ 303117 h 448122"/>
              <a:gd name="connsiteX565" fmla="*/ 63789 w 447236"/>
              <a:gd name="connsiteY565" fmla="*/ 303117 h 448122"/>
              <a:gd name="connsiteX566" fmla="*/ 59185 w 447236"/>
              <a:gd name="connsiteY566" fmla="*/ 307409 h 448122"/>
              <a:gd name="connsiteX567" fmla="*/ 63789 w 447236"/>
              <a:gd name="connsiteY567" fmla="*/ 312009 h 448122"/>
              <a:gd name="connsiteX568" fmla="*/ 68086 w 447236"/>
              <a:gd name="connsiteY568" fmla="*/ 307409 h 448122"/>
              <a:gd name="connsiteX569" fmla="*/ 63789 w 447236"/>
              <a:gd name="connsiteY569" fmla="*/ 303117 h 448122"/>
              <a:gd name="connsiteX570" fmla="*/ 178187 w 447236"/>
              <a:gd name="connsiteY570" fmla="*/ 302387 h 448122"/>
              <a:gd name="connsiteX571" fmla="*/ 178036 w 447236"/>
              <a:gd name="connsiteY571" fmla="*/ 302459 h 448122"/>
              <a:gd name="connsiteX572" fmla="*/ 178036 w 447236"/>
              <a:gd name="connsiteY572" fmla="*/ 303989 h 448122"/>
              <a:gd name="connsiteX573" fmla="*/ 177034 w 447236"/>
              <a:gd name="connsiteY573" fmla="*/ 306777 h 448122"/>
              <a:gd name="connsiteX574" fmla="*/ 178082 w 447236"/>
              <a:gd name="connsiteY574" fmla="*/ 304109 h 448122"/>
              <a:gd name="connsiteX575" fmla="*/ 178082 w 447236"/>
              <a:gd name="connsiteY575" fmla="*/ 302576 h 448122"/>
              <a:gd name="connsiteX576" fmla="*/ 171035 w 447236"/>
              <a:gd name="connsiteY576" fmla="*/ 298898 h 448122"/>
              <a:gd name="connsiteX577" fmla="*/ 170360 w 447236"/>
              <a:gd name="connsiteY577" fmla="*/ 299262 h 448122"/>
              <a:gd name="connsiteX578" fmla="*/ 165383 w 447236"/>
              <a:gd name="connsiteY578" fmla="*/ 305771 h 448122"/>
              <a:gd name="connsiteX579" fmla="*/ 165212 w 447236"/>
              <a:gd name="connsiteY579" fmla="*/ 306254 h 448122"/>
              <a:gd name="connsiteX580" fmla="*/ 165326 w 447236"/>
              <a:gd name="connsiteY580" fmla="*/ 305845 h 448122"/>
              <a:gd name="connsiteX581" fmla="*/ 165107 w 447236"/>
              <a:gd name="connsiteY581" fmla="*/ 306131 h 448122"/>
              <a:gd name="connsiteX582" fmla="*/ 165216 w 447236"/>
              <a:gd name="connsiteY582" fmla="*/ 306268 h 448122"/>
              <a:gd name="connsiteX583" fmla="*/ 165212 w 447236"/>
              <a:gd name="connsiteY583" fmla="*/ 306254 h 448122"/>
              <a:gd name="connsiteX584" fmla="*/ 165219 w 447236"/>
              <a:gd name="connsiteY584" fmla="*/ 306271 h 448122"/>
              <a:gd name="connsiteX585" fmla="*/ 170658 w 447236"/>
              <a:gd name="connsiteY585" fmla="*/ 313102 h 448122"/>
              <a:gd name="connsiteX586" fmla="*/ 171035 w 447236"/>
              <a:gd name="connsiteY586" fmla="*/ 313304 h 448122"/>
              <a:gd name="connsiteX587" fmla="*/ 171126 w 447236"/>
              <a:gd name="connsiteY587" fmla="*/ 313251 h 448122"/>
              <a:gd name="connsiteX588" fmla="*/ 176497 w 447236"/>
              <a:gd name="connsiteY588" fmla="*/ 306131 h 448122"/>
              <a:gd name="connsiteX589" fmla="*/ 171422 w 447236"/>
              <a:gd name="connsiteY589" fmla="*/ 299124 h 448122"/>
              <a:gd name="connsiteX590" fmla="*/ 170956 w 447236"/>
              <a:gd name="connsiteY590" fmla="*/ 298481 h 448122"/>
              <a:gd name="connsiteX591" fmla="*/ 171021 w 447236"/>
              <a:gd name="connsiteY591" fmla="*/ 298571 h 448122"/>
              <a:gd name="connsiteX592" fmla="*/ 170865 w 447236"/>
              <a:gd name="connsiteY592" fmla="*/ 298600 h 448122"/>
              <a:gd name="connsiteX593" fmla="*/ 170728 w 447236"/>
              <a:gd name="connsiteY593" fmla="*/ 298285 h 448122"/>
              <a:gd name="connsiteX594" fmla="*/ 167848 w 447236"/>
              <a:gd name="connsiteY594" fmla="*/ 299171 h 448122"/>
              <a:gd name="connsiteX595" fmla="*/ 170865 w 447236"/>
              <a:gd name="connsiteY595" fmla="*/ 298600 h 448122"/>
              <a:gd name="connsiteX596" fmla="*/ 170771 w 447236"/>
              <a:gd name="connsiteY596" fmla="*/ 298723 h 448122"/>
              <a:gd name="connsiteX597" fmla="*/ 171035 w 447236"/>
              <a:gd name="connsiteY597" fmla="*/ 298591 h 448122"/>
              <a:gd name="connsiteX598" fmla="*/ 171037 w 447236"/>
              <a:gd name="connsiteY598" fmla="*/ 298593 h 448122"/>
              <a:gd name="connsiteX599" fmla="*/ 171021 w 447236"/>
              <a:gd name="connsiteY599" fmla="*/ 298571 h 448122"/>
              <a:gd name="connsiteX600" fmla="*/ 172530 w 447236"/>
              <a:gd name="connsiteY600" fmla="*/ 298285 h 448122"/>
              <a:gd name="connsiteX601" fmla="*/ 201344 w 447236"/>
              <a:gd name="connsiteY601" fmla="*/ 297872 h 448122"/>
              <a:gd name="connsiteX602" fmla="*/ 195819 w 447236"/>
              <a:gd name="connsiteY602" fmla="*/ 305203 h 448122"/>
              <a:gd name="connsiteX603" fmla="*/ 195819 w 447236"/>
              <a:gd name="connsiteY603" fmla="*/ 305509 h 448122"/>
              <a:gd name="connsiteX604" fmla="*/ 195903 w 447236"/>
              <a:gd name="connsiteY604" fmla="*/ 305796 h 448122"/>
              <a:gd name="connsiteX605" fmla="*/ 200260 w 447236"/>
              <a:gd name="connsiteY605" fmla="*/ 312074 h 448122"/>
              <a:gd name="connsiteX606" fmla="*/ 201036 w 447236"/>
              <a:gd name="connsiteY606" fmla="*/ 313145 h 448122"/>
              <a:gd name="connsiteX607" fmla="*/ 206549 w 447236"/>
              <a:gd name="connsiteY607" fmla="*/ 305201 h 448122"/>
              <a:gd name="connsiteX608" fmla="*/ 187199 w 447236"/>
              <a:gd name="connsiteY608" fmla="*/ 297544 h 448122"/>
              <a:gd name="connsiteX609" fmla="*/ 186903 w 447236"/>
              <a:gd name="connsiteY609" fmla="*/ 297838 h 448122"/>
              <a:gd name="connsiteX610" fmla="*/ 187345 w 447236"/>
              <a:gd name="connsiteY610" fmla="*/ 297544 h 448122"/>
              <a:gd name="connsiteX611" fmla="*/ 201360 w 447236"/>
              <a:gd name="connsiteY611" fmla="*/ 296625 h 448122"/>
              <a:gd name="connsiteX612" fmla="*/ 196797 w 447236"/>
              <a:gd name="connsiteY612" fmla="*/ 297693 h 448122"/>
              <a:gd name="connsiteX613" fmla="*/ 201617 w 447236"/>
              <a:gd name="connsiteY613" fmla="*/ 296625 h 448122"/>
              <a:gd name="connsiteX614" fmla="*/ 180534 w 447236"/>
              <a:gd name="connsiteY614" fmla="*/ 294020 h 448122"/>
              <a:gd name="connsiteX615" fmla="*/ 180498 w 447236"/>
              <a:gd name="connsiteY615" fmla="*/ 294197 h 448122"/>
              <a:gd name="connsiteX616" fmla="*/ 180190 w 447236"/>
              <a:gd name="connsiteY616" fmla="*/ 295727 h 448122"/>
              <a:gd name="connsiteX617" fmla="*/ 180236 w 447236"/>
              <a:gd name="connsiteY617" fmla="*/ 295788 h 448122"/>
              <a:gd name="connsiteX618" fmla="*/ 180534 w 447236"/>
              <a:gd name="connsiteY618" fmla="*/ 294300 h 448122"/>
              <a:gd name="connsiteX619" fmla="*/ 104306 w 447236"/>
              <a:gd name="connsiteY619" fmla="*/ 292692 h 448122"/>
              <a:gd name="connsiteX620" fmla="*/ 104613 w 447236"/>
              <a:gd name="connsiteY620" fmla="*/ 292692 h 448122"/>
              <a:gd name="connsiteX621" fmla="*/ 105227 w 447236"/>
              <a:gd name="connsiteY621" fmla="*/ 292692 h 448122"/>
              <a:gd name="connsiteX622" fmla="*/ 105534 w 447236"/>
              <a:gd name="connsiteY622" fmla="*/ 292692 h 448122"/>
              <a:gd name="connsiteX623" fmla="*/ 105534 w 447236"/>
              <a:gd name="connsiteY623" fmla="*/ 292999 h 448122"/>
              <a:gd name="connsiteX624" fmla="*/ 105534 w 447236"/>
              <a:gd name="connsiteY624" fmla="*/ 293305 h 448122"/>
              <a:gd name="connsiteX625" fmla="*/ 105227 w 447236"/>
              <a:gd name="connsiteY625" fmla="*/ 293612 h 448122"/>
              <a:gd name="connsiteX626" fmla="*/ 104920 w 447236"/>
              <a:gd name="connsiteY626" fmla="*/ 293612 h 448122"/>
              <a:gd name="connsiteX627" fmla="*/ 104306 w 447236"/>
              <a:gd name="connsiteY627" fmla="*/ 293612 h 448122"/>
              <a:gd name="connsiteX628" fmla="*/ 104306 w 447236"/>
              <a:gd name="connsiteY628" fmla="*/ 293305 h 448122"/>
              <a:gd name="connsiteX629" fmla="*/ 104306 w 447236"/>
              <a:gd name="connsiteY629" fmla="*/ 292999 h 448122"/>
              <a:gd name="connsiteX630" fmla="*/ 104306 w 447236"/>
              <a:gd name="connsiteY630" fmla="*/ 292692 h 448122"/>
              <a:gd name="connsiteX631" fmla="*/ 117812 w 447236"/>
              <a:gd name="connsiteY631" fmla="*/ 291159 h 448122"/>
              <a:gd name="connsiteX632" fmla="*/ 117812 w 447236"/>
              <a:gd name="connsiteY632" fmla="*/ 291772 h 448122"/>
              <a:gd name="connsiteX633" fmla="*/ 117812 w 447236"/>
              <a:gd name="connsiteY633" fmla="*/ 292692 h 448122"/>
              <a:gd name="connsiteX634" fmla="*/ 117198 w 447236"/>
              <a:gd name="connsiteY634" fmla="*/ 292692 h 448122"/>
              <a:gd name="connsiteX635" fmla="*/ 117505 w 447236"/>
              <a:gd name="connsiteY635" fmla="*/ 291772 h 448122"/>
              <a:gd name="connsiteX636" fmla="*/ 117812 w 447236"/>
              <a:gd name="connsiteY636" fmla="*/ 291159 h 448122"/>
              <a:gd name="connsiteX637" fmla="*/ 95098 w 447236"/>
              <a:gd name="connsiteY637" fmla="*/ 291159 h 448122"/>
              <a:gd name="connsiteX638" fmla="*/ 95405 w 447236"/>
              <a:gd name="connsiteY638" fmla="*/ 291159 h 448122"/>
              <a:gd name="connsiteX639" fmla="*/ 95405 w 447236"/>
              <a:gd name="connsiteY639" fmla="*/ 291772 h 448122"/>
              <a:gd name="connsiteX640" fmla="*/ 95405 w 447236"/>
              <a:gd name="connsiteY640" fmla="*/ 292692 h 448122"/>
              <a:gd name="connsiteX641" fmla="*/ 95098 w 447236"/>
              <a:gd name="connsiteY641" fmla="*/ 292692 h 448122"/>
              <a:gd name="connsiteX642" fmla="*/ 94791 w 447236"/>
              <a:gd name="connsiteY642" fmla="*/ 292692 h 448122"/>
              <a:gd name="connsiteX643" fmla="*/ 94484 w 447236"/>
              <a:gd name="connsiteY643" fmla="*/ 292692 h 448122"/>
              <a:gd name="connsiteX644" fmla="*/ 94791 w 447236"/>
              <a:gd name="connsiteY644" fmla="*/ 291772 h 448122"/>
              <a:gd name="connsiteX645" fmla="*/ 95098 w 447236"/>
              <a:gd name="connsiteY645" fmla="*/ 291159 h 448122"/>
              <a:gd name="connsiteX646" fmla="*/ 104613 w 447236"/>
              <a:gd name="connsiteY646" fmla="*/ 290546 h 448122"/>
              <a:gd name="connsiteX647" fmla="*/ 104920 w 447236"/>
              <a:gd name="connsiteY647" fmla="*/ 290546 h 448122"/>
              <a:gd name="connsiteX648" fmla="*/ 105534 w 447236"/>
              <a:gd name="connsiteY648" fmla="*/ 290546 h 448122"/>
              <a:gd name="connsiteX649" fmla="*/ 105841 w 447236"/>
              <a:gd name="connsiteY649" fmla="*/ 290852 h 448122"/>
              <a:gd name="connsiteX650" fmla="*/ 105841 w 447236"/>
              <a:gd name="connsiteY650" fmla="*/ 291466 h 448122"/>
              <a:gd name="connsiteX651" fmla="*/ 105227 w 447236"/>
              <a:gd name="connsiteY651" fmla="*/ 291466 h 448122"/>
              <a:gd name="connsiteX652" fmla="*/ 104613 w 447236"/>
              <a:gd name="connsiteY652" fmla="*/ 291466 h 448122"/>
              <a:gd name="connsiteX653" fmla="*/ 104613 w 447236"/>
              <a:gd name="connsiteY653" fmla="*/ 291159 h 448122"/>
              <a:gd name="connsiteX654" fmla="*/ 104613 w 447236"/>
              <a:gd name="connsiteY654" fmla="*/ 290852 h 448122"/>
              <a:gd name="connsiteX655" fmla="*/ 104613 w 447236"/>
              <a:gd name="connsiteY655" fmla="*/ 290546 h 448122"/>
              <a:gd name="connsiteX656" fmla="*/ 129476 w 447236"/>
              <a:gd name="connsiteY656" fmla="*/ 289626 h 448122"/>
              <a:gd name="connsiteX657" fmla="*/ 129476 w 447236"/>
              <a:gd name="connsiteY657" fmla="*/ 289932 h 448122"/>
              <a:gd name="connsiteX658" fmla="*/ 128555 w 447236"/>
              <a:gd name="connsiteY658" fmla="*/ 294532 h 448122"/>
              <a:gd name="connsiteX659" fmla="*/ 128862 w 447236"/>
              <a:gd name="connsiteY659" fmla="*/ 294532 h 448122"/>
              <a:gd name="connsiteX660" fmla="*/ 131624 w 447236"/>
              <a:gd name="connsiteY660" fmla="*/ 294532 h 448122"/>
              <a:gd name="connsiteX661" fmla="*/ 131931 w 447236"/>
              <a:gd name="connsiteY661" fmla="*/ 294532 h 448122"/>
              <a:gd name="connsiteX662" fmla="*/ 131931 w 447236"/>
              <a:gd name="connsiteY662" fmla="*/ 293918 h 448122"/>
              <a:gd name="connsiteX663" fmla="*/ 131931 w 447236"/>
              <a:gd name="connsiteY663" fmla="*/ 293612 h 448122"/>
              <a:gd name="connsiteX664" fmla="*/ 130090 w 447236"/>
              <a:gd name="connsiteY664" fmla="*/ 293612 h 448122"/>
              <a:gd name="connsiteX665" fmla="*/ 129783 w 447236"/>
              <a:gd name="connsiteY665" fmla="*/ 293612 h 448122"/>
              <a:gd name="connsiteX666" fmla="*/ 129783 w 447236"/>
              <a:gd name="connsiteY666" fmla="*/ 293305 h 448122"/>
              <a:gd name="connsiteX667" fmla="*/ 130090 w 447236"/>
              <a:gd name="connsiteY667" fmla="*/ 292692 h 448122"/>
              <a:gd name="connsiteX668" fmla="*/ 131624 w 447236"/>
              <a:gd name="connsiteY668" fmla="*/ 292692 h 448122"/>
              <a:gd name="connsiteX669" fmla="*/ 131931 w 447236"/>
              <a:gd name="connsiteY669" fmla="*/ 292385 h 448122"/>
              <a:gd name="connsiteX670" fmla="*/ 131931 w 447236"/>
              <a:gd name="connsiteY670" fmla="*/ 291772 h 448122"/>
              <a:gd name="connsiteX671" fmla="*/ 131624 w 447236"/>
              <a:gd name="connsiteY671" fmla="*/ 291466 h 448122"/>
              <a:gd name="connsiteX672" fmla="*/ 130397 w 447236"/>
              <a:gd name="connsiteY672" fmla="*/ 291466 h 448122"/>
              <a:gd name="connsiteX673" fmla="*/ 130397 w 447236"/>
              <a:gd name="connsiteY673" fmla="*/ 291159 h 448122"/>
              <a:gd name="connsiteX674" fmla="*/ 130397 w 447236"/>
              <a:gd name="connsiteY674" fmla="*/ 290852 h 448122"/>
              <a:gd name="connsiteX675" fmla="*/ 130397 w 447236"/>
              <a:gd name="connsiteY675" fmla="*/ 290546 h 448122"/>
              <a:gd name="connsiteX676" fmla="*/ 130703 w 447236"/>
              <a:gd name="connsiteY676" fmla="*/ 290546 h 448122"/>
              <a:gd name="connsiteX677" fmla="*/ 132238 w 447236"/>
              <a:gd name="connsiteY677" fmla="*/ 290546 h 448122"/>
              <a:gd name="connsiteX678" fmla="*/ 132545 w 447236"/>
              <a:gd name="connsiteY678" fmla="*/ 290546 h 448122"/>
              <a:gd name="connsiteX679" fmla="*/ 132545 w 447236"/>
              <a:gd name="connsiteY679" fmla="*/ 289932 h 448122"/>
              <a:gd name="connsiteX680" fmla="*/ 132238 w 447236"/>
              <a:gd name="connsiteY680" fmla="*/ 289626 h 448122"/>
              <a:gd name="connsiteX681" fmla="*/ 129783 w 447236"/>
              <a:gd name="connsiteY681" fmla="*/ 289626 h 448122"/>
              <a:gd name="connsiteX682" fmla="*/ 129476 w 447236"/>
              <a:gd name="connsiteY682" fmla="*/ 289626 h 448122"/>
              <a:gd name="connsiteX683" fmla="*/ 126099 w 447236"/>
              <a:gd name="connsiteY683" fmla="*/ 289626 h 448122"/>
              <a:gd name="connsiteX684" fmla="*/ 125485 w 447236"/>
              <a:gd name="connsiteY684" fmla="*/ 289932 h 448122"/>
              <a:gd name="connsiteX685" fmla="*/ 125178 w 447236"/>
              <a:gd name="connsiteY685" fmla="*/ 290546 h 448122"/>
              <a:gd name="connsiteX686" fmla="*/ 125178 w 447236"/>
              <a:gd name="connsiteY686" fmla="*/ 291159 h 448122"/>
              <a:gd name="connsiteX687" fmla="*/ 124565 w 447236"/>
              <a:gd name="connsiteY687" fmla="*/ 292999 h 448122"/>
              <a:gd name="connsiteX688" fmla="*/ 124565 w 447236"/>
              <a:gd name="connsiteY688" fmla="*/ 293612 h 448122"/>
              <a:gd name="connsiteX689" fmla="*/ 124872 w 447236"/>
              <a:gd name="connsiteY689" fmla="*/ 294225 h 448122"/>
              <a:gd name="connsiteX690" fmla="*/ 125485 w 447236"/>
              <a:gd name="connsiteY690" fmla="*/ 294532 h 448122"/>
              <a:gd name="connsiteX691" fmla="*/ 126099 w 447236"/>
              <a:gd name="connsiteY691" fmla="*/ 294532 h 448122"/>
              <a:gd name="connsiteX692" fmla="*/ 127020 w 447236"/>
              <a:gd name="connsiteY692" fmla="*/ 294532 h 448122"/>
              <a:gd name="connsiteX693" fmla="*/ 127941 w 447236"/>
              <a:gd name="connsiteY693" fmla="*/ 294225 h 448122"/>
              <a:gd name="connsiteX694" fmla="*/ 127941 w 447236"/>
              <a:gd name="connsiteY694" fmla="*/ 293918 h 448122"/>
              <a:gd name="connsiteX695" fmla="*/ 127327 w 447236"/>
              <a:gd name="connsiteY695" fmla="*/ 293305 h 448122"/>
              <a:gd name="connsiteX696" fmla="*/ 127020 w 447236"/>
              <a:gd name="connsiteY696" fmla="*/ 293305 h 448122"/>
              <a:gd name="connsiteX697" fmla="*/ 126713 w 447236"/>
              <a:gd name="connsiteY697" fmla="*/ 293612 h 448122"/>
              <a:gd name="connsiteX698" fmla="*/ 126406 w 447236"/>
              <a:gd name="connsiteY698" fmla="*/ 293612 h 448122"/>
              <a:gd name="connsiteX699" fmla="*/ 126099 w 447236"/>
              <a:gd name="connsiteY699" fmla="*/ 293612 h 448122"/>
              <a:gd name="connsiteX700" fmla="*/ 125792 w 447236"/>
              <a:gd name="connsiteY700" fmla="*/ 293305 h 448122"/>
              <a:gd name="connsiteX701" fmla="*/ 125792 w 447236"/>
              <a:gd name="connsiteY701" fmla="*/ 292999 h 448122"/>
              <a:gd name="connsiteX702" fmla="*/ 126099 w 447236"/>
              <a:gd name="connsiteY702" fmla="*/ 291159 h 448122"/>
              <a:gd name="connsiteX703" fmla="*/ 126406 w 447236"/>
              <a:gd name="connsiteY703" fmla="*/ 290852 h 448122"/>
              <a:gd name="connsiteX704" fmla="*/ 126406 w 447236"/>
              <a:gd name="connsiteY704" fmla="*/ 290546 h 448122"/>
              <a:gd name="connsiteX705" fmla="*/ 126713 w 447236"/>
              <a:gd name="connsiteY705" fmla="*/ 290546 h 448122"/>
              <a:gd name="connsiteX706" fmla="*/ 127020 w 447236"/>
              <a:gd name="connsiteY706" fmla="*/ 290546 h 448122"/>
              <a:gd name="connsiteX707" fmla="*/ 127634 w 447236"/>
              <a:gd name="connsiteY707" fmla="*/ 290852 h 448122"/>
              <a:gd name="connsiteX708" fmla="*/ 127941 w 447236"/>
              <a:gd name="connsiteY708" fmla="*/ 290852 h 448122"/>
              <a:gd name="connsiteX709" fmla="*/ 128248 w 447236"/>
              <a:gd name="connsiteY709" fmla="*/ 290546 h 448122"/>
              <a:gd name="connsiteX710" fmla="*/ 128248 w 447236"/>
              <a:gd name="connsiteY710" fmla="*/ 290239 h 448122"/>
              <a:gd name="connsiteX711" fmla="*/ 127634 w 447236"/>
              <a:gd name="connsiteY711" fmla="*/ 289626 h 448122"/>
              <a:gd name="connsiteX712" fmla="*/ 127020 w 447236"/>
              <a:gd name="connsiteY712" fmla="*/ 289626 h 448122"/>
              <a:gd name="connsiteX713" fmla="*/ 126099 w 447236"/>
              <a:gd name="connsiteY713" fmla="*/ 289626 h 448122"/>
              <a:gd name="connsiteX714" fmla="*/ 120881 w 447236"/>
              <a:gd name="connsiteY714" fmla="*/ 289626 h 448122"/>
              <a:gd name="connsiteX715" fmla="*/ 120574 w 447236"/>
              <a:gd name="connsiteY715" fmla="*/ 289932 h 448122"/>
              <a:gd name="connsiteX716" fmla="*/ 119653 w 447236"/>
              <a:gd name="connsiteY716" fmla="*/ 294532 h 448122"/>
              <a:gd name="connsiteX717" fmla="*/ 119960 w 447236"/>
              <a:gd name="connsiteY717" fmla="*/ 294532 h 448122"/>
              <a:gd name="connsiteX718" fmla="*/ 120574 w 447236"/>
              <a:gd name="connsiteY718" fmla="*/ 294532 h 448122"/>
              <a:gd name="connsiteX719" fmla="*/ 120881 w 447236"/>
              <a:gd name="connsiteY719" fmla="*/ 294532 h 448122"/>
              <a:gd name="connsiteX720" fmla="*/ 121495 w 447236"/>
              <a:gd name="connsiteY720" fmla="*/ 292079 h 448122"/>
              <a:gd name="connsiteX721" fmla="*/ 122416 w 447236"/>
              <a:gd name="connsiteY721" fmla="*/ 294532 h 448122"/>
              <a:gd name="connsiteX722" fmla="*/ 122723 w 447236"/>
              <a:gd name="connsiteY722" fmla="*/ 294532 h 448122"/>
              <a:gd name="connsiteX723" fmla="*/ 123337 w 447236"/>
              <a:gd name="connsiteY723" fmla="*/ 294532 h 448122"/>
              <a:gd name="connsiteX724" fmla="*/ 124258 w 447236"/>
              <a:gd name="connsiteY724" fmla="*/ 289932 h 448122"/>
              <a:gd name="connsiteX725" fmla="*/ 124258 w 447236"/>
              <a:gd name="connsiteY725" fmla="*/ 289626 h 448122"/>
              <a:gd name="connsiteX726" fmla="*/ 123337 w 447236"/>
              <a:gd name="connsiteY726" fmla="*/ 289626 h 448122"/>
              <a:gd name="connsiteX727" fmla="*/ 123337 w 447236"/>
              <a:gd name="connsiteY727" fmla="*/ 289932 h 448122"/>
              <a:gd name="connsiteX728" fmla="*/ 122723 w 447236"/>
              <a:gd name="connsiteY728" fmla="*/ 292385 h 448122"/>
              <a:gd name="connsiteX729" fmla="*/ 121802 w 447236"/>
              <a:gd name="connsiteY729" fmla="*/ 289932 h 448122"/>
              <a:gd name="connsiteX730" fmla="*/ 121495 w 447236"/>
              <a:gd name="connsiteY730" fmla="*/ 289626 h 448122"/>
              <a:gd name="connsiteX731" fmla="*/ 120881 w 447236"/>
              <a:gd name="connsiteY731" fmla="*/ 289626 h 448122"/>
              <a:gd name="connsiteX732" fmla="*/ 117198 w 447236"/>
              <a:gd name="connsiteY732" fmla="*/ 289626 h 448122"/>
              <a:gd name="connsiteX733" fmla="*/ 115356 w 447236"/>
              <a:gd name="connsiteY733" fmla="*/ 294532 h 448122"/>
              <a:gd name="connsiteX734" fmla="*/ 116277 w 447236"/>
              <a:gd name="connsiteY734" fmla="*/ 294532 h 448122"/>
              <a:gd name="connsiteX735" fmla="*/ 116584 w 447236"/>
              <a:gd name="connsiteY735" fmla="*/ 294532 h 448122"/>
              <a:gd name="connsiteX736" fmla="*/ 116584 w 447236"/>
              <a:gd name="connsiteY736" fmla="*/ 293918 h 448122"/>
              <a:gd name="connsiteX737" fmla="*/ 116891 w 447236"/>
              <a:gd name="connsiteY737" fmla="*/ 293612 h 448122"/>
              <a:gd name="connsiteX738" fmla="*/ 117812 w 447236"/>
              <a:gd name="connsiteY738" fmla="*/ 293612 h 448122"/>
              <a:gd name="connsiteX739" fmla="*/ 118119 w 447236"/>
              <a:gd name="connsiteY739" fmla="*/ 293918 h 448122"/>
              <a:gd name="connsiteX740" fmla="*/ 118119 w 447236"/>
              <a:gd name="connsiteY740" fmla="*/ 294532 h 448122"/>
              <a:gd name="connsiteX741" fmla="*/ 119040 w 447236"/>
              <a:gd name="connsiteY741" fmla="*/ 294532 h 448122"/>
              <a:gd name="connsiteX742" fmla="*/ 119040 w 447236"/>
              <a:gd name="connsiteY742" fmla="*/ 289626 h 448122"/>
              <a:gd name="connsiteX743" fmla="*/ 118733 w 447236"/>
              <a:gd name="connsiteY743" fmla="*/ 289626 h 448122"/>
              <a:gd name="connsiteX744" fmla="*/ 117505 w 447236"/>
              <a:gd name="connsiteY744" fmla="*/ 289626 h 448122"/>
              <a:gd name="connsiteX745" fmla="*/ 117198 w 447236"/>
              <a:gd name="connsiteY745" fmla="*/ 289626 h 448122"/>
              <a:gd name="connsiteX746" fmla="*/ 112901 w 447236"/>
              <a:gd name="connsiteY746" fmla="*/ 289626 h 448122"/>
              <a:gd name="connsiteX747" fmla="*/ 112901 w 447236"/>
              <a:gd name="connsiteY747" fmla="*/ 289932 h 448122"/>
              <a:gd name="connsiteX748" fmla="*/ 111980 w 447236"/>
              <a:gd name="connsiteY748" fmla="*/ 294532 h 448122"/>
              <a:gd name="connsiteX749" fmla="*/ 114742 w 447236"/>
              <a:gd name="connsiteY749" fmla="*/ 294532 h 448122"/>
              <a:gd name="connsiteX750" fmla="*/ 115049 w 447236"/>
              <a:gd name="connsiteY750" fmla="*/ 294532 h 448122"/>
              <a:gd name="connsiteX751" fmla="*/ 115356 w 447236"/>
              <a:gd name="connsiteY751" fmla="*/ 293918 h 448122"/>
              <a:gd name="connsiteX752" fmla="*/ 115049 w 447236"/>
              <a:gd name="connsiteY752" fmla="*/ 293612 h 448122"/>
              <a:gd name="connsiteX753" fmla="*/ 113515 w 447236"/>
              <a:gd name="connsiteY753" fmla="*/ 293612 h 448122"/>
              <a:gd name="connsiteX754" fmla="*/ 113208 w 447236"/>
              <a:gd name="connsiteY754" fmla="*/ 293612 h 448122"/>
              <a:gd name="connsiteX755" fmla="*/ 113208 w 447236"/>
              <a:gd name="connsiteY755" fmla="*/ 293305 h 448122"/>
              <a:gd name="connsiteX756" fmla="*/ 113821 w 447236"/>
              <a:gd name="connsiteY756" fmla="*/ 289932 h 448122"/>
              <a:gd name="connsiteX757" fmla="*/ 113821 w 447236"/>
              <a:gd name="connsiteY757" fmla="*/ 289626 h 448122"/>
              <a:gd name="connsiteX758" fmla="*/ 112901 w 447236"/>
              <a:gd name="connsiteY758" fmla="*/ 289626 h 448122"/>
              <a:gd name="connsiteX759" fmla="*/ 108296 w 447236"/>
              <a:gd name="connsiteY759" fmla="*/ 289626 h 448122"/>
              <a:gd name="connsiteX760" fmla="*/ 108296 w 447236"/>
              <a:gd name="connsiteY760" fmla="*/ 289932 h 448122"/>
              <a:gd name="connsiteX761" fmla="*/ 107683 w 447236"/>
              <a:gd name="connsiteY761" fmla="*/ 292999 h 448122"/>
              <a:gd name="connsiteX762" fmla="*/ 107683 w 447236"/>
              <a:gd name="connsiteY762" fmla="*/ 293612 h 448122"/>
              <a:gd name="connsiteX763" fmla="*/ 107989 w 447236"/>
              <a:gd name="connsiteY763" fmla="*/ 294225 h 448122"/>
              <a:gd name="connsiteX764" fmla="*/ 108296 w 447236"/>
              <a:gd name="connsiteY764" fmla="*/ 294532 h 448122"/>
              <a:gd name="connsiteX765" fmla="*/ 109217 w 447236"/>
              <a:gd name="connsiteY765" fmla="*/ 294532 h 448122"/>
              <a:gd name="connsiteX766" fmla="*/ 110138 w 447236"/>
              <a:gd name="connsiteY766" fmla="*/ 294532 h 448122"/>
              <a:gd name="connsiteX767" fmla="*/ 110445 w 447236"/>
              <a:gd name="connsiteY767" fmla="*/ 294225 h 448122"/>
              <a:gd name="connsiteX768" fmla="*/ 111059 w 447236"/>
              <a:gd name="connsiteY768" fmla="*/ 293612 h 448122"/>
              <a:gd name="connsiteX769" fmla="*/ 111059 w 447236"/>
              <a:gd name="connsiteY769" fmla="*/ 292999 h 448122"/>
              <a:gd name="connsiteX770" fmla="*/ 111673 w 447236"/>
              <a:gd name="connsiteY770" fmla="*/ 289932 h 448122"/>
              <a:gd name="connsiteX771" fmla="*/ 111673 w 447236"/>
              <a:gd name="connsiteY771" fmla="*/ 289626 h 448122"/>
              <a:gd name="connsiteX772" fmla="*/ 110752 w 447236"/>
              <a:gd name="connsiteY772" fmla="*/ 289626 h 448122"/>
              <a:gd name="connsiteX773" fmla="*/ 110445 w 447236"/>
              <a:gd name="connsiteY773" fmla="*/ 289932 h 448122"/>
              <a:gd name="connsiteX774" fmla="*/ 109831 w 447236"/>
              <a:gd name="connsiteY774" fmla="*/ 292999 h 448122"/>
              <a:gd name="connsiteX775" fmla="*/ 109831 w 447236"/>
              <a:gd name="connsiteY775" fmla="*/ 293612 h 448122"/>
              <a:gd name="connsiteX776" fmla="*/ 109217 w 447236"/>
              <a:gd name="connsiteY776" fmla="*/ 293612 h 448122"/>
              <a:gd name="connsiteX777" fmla="*/ 108910 w 447236"/>
              <a:gd name="connsiteY777" fmla="*/ 293612 h 448122"/>
              <a:gd name="connsiteX778" fmla="*/ 108603 w 447236"/>
              <a:gd name="connsiteY778" fmla="*/ 292999 h 448122"/>
              <a:gd name="connsiteX779" fmla="*/ 109217 w 447236"/>
              <a:gd name="connsiteY779" fmla="*/ 289932 h 448122"/>
              <a:gd name="connsiteX780" fmla="*/ 109217 w 447236"/>
              <a:gd name="connsiteY780" fmla="*/ 289626 h 448122"/>
              <a:gd name="connsiteX781" fmla="*/ 108296 w 447236"/>
              <a:gd name="connsiteY781" fmla="*/ 289626 h 448122"/>
              <a:gd name="connsiteX782" fmla="*/ 103692 w 447236"/>
              <a:gd name="connsiteY782" fmla="*/ 289626 h 448122"/>
              <a:gd name="connsiteX783" fmla="*/ 103692 w 447236"/>
              <a:gd name="connsiteY783" fmla="*/ 289932 h 448122"/>
              <a:gd name="connsiteX784" fmla="*/ 102771 w 447236"/>
              <a:gd name="connsiteY784" fmla="*/ 294532 h 448122"/>
              <a:gd name="connsiteX785" fmla="*/ 103078 w 447236"/>
              <a:gd name="connsiteY785" fmla="*/ 294532 h 448122"/>
              <a:gd name="connsiteX786" fmla="*/ 105227 w 447236"/>
              <a:gd name="connsiteY786" fmla="*/ 294532 h 448122"/>
              <a:gd name="connsiteX787" fmla="*/ 105841 w 447236"/>
              <a:gd name="connsiteY787" fmla="*/ 294532 h 448122"/>
              <a:gd name="connsiteX788" fmla="*/ 106148 w 447236"/>
              <a:gd name="connsiteY788" fmla="*/ 294225 h 448122"/>
              <a:gd name="connsiteX789" fmla="*/ 106762 w 447236"/>
              <a:gd name="connsiteY789" fmla="*/ 293612 h 448122"/>
              <a:gd name="connsiteX790" fmla="*/ 106762 w 447236"/>
              <a:gd name="connsiteY790" fmla="*/ 292999 h 448122"/>
              <a:gd name="connsiteX791" fmla="*/ 106762 w 447236"/>
              <a:gd name="connsiteY791" fmla="*/ 292385 h 448122"/>
              <a:gd name="connsiteX792" fmla="*/ 106148 w 447236"/>
              <a:gd name="connsiteY792" fmla="*/ 292079 h 448122"/>
              <a:gd name="connsiteX793" fmla="*/ 106762 w 447236"/>
              <a:gd name="connsiteY793" fmla="*/ 291772 h 448122"/>
              <a:gd name="connsiteX794" fmla="*/ 106762 w 447236"/>
              <a:gd name="connsiteY794" fmla="*/ 291466 h 448122"/>
              <a:gd name="connsiteX795" fmla="*/ 107069 w 447236"/>
              <a:gd name="connsiteY795" fmla="*/ 291159 h 448122"/>
              <a:gd name="connsiteX796" fmla="*/ 107069 w 447236"/>
              <a:gd name="connsiteY796" fmla="*/ 290852 h 448122"/>
              <a:gd name="connsiteX797" fmla="*/ 106762 w 447236"/>
              <a:gd name="connsiteY797" fmla="*/ 289932 h 448122"/>
              <a:gd name="connsiteX798" fmla="*/ 105534 w 447236"/>
              <a:gd name="connsiteY798" fmla="*/ 289626 h 448122"/>
              <a:gd name="connsiteX799" fmla="*/ 103999 w 447236"/>
              <a:gd name="connsiteY799" fmla="*/ 289626 h 448122"/>
              <a:gd name="connsiteX800" fmla="*/ 103692 w 447236"/>
              <a:gd name="connsiteY800" fmla="*/ 289626 h 448122"/>
              <a:gd name="connsiteX801" fmla="*/ 98167 w 447236"/>
              <a:gd name="connsiteY801" fmla="*/ 289626 h 448122"/>
              <a:gd name="connsiteX802" fmla="*/ 98167 w 447236"/>
              <a:gd name="connsiteY802" fmla="*/ 289932 h 448122"/>
              <a:gd name="connsiteX803" fmla="*/ 97553 w 447236"/>
              <a:gd name="connsiteY803" fmla="*/ 292079 h 448122"/>
              <a:gd name="connsiteX804" fmla="*/ 97246 w 447236"/>
              <a:gd name="connsiteY804" fmla="*/ 294532 h 448122"/>
              <a:gd name="connsiteX805" fmla="*/ 98167 w 447236"/>
              <a:gd name="connsiteY805" fmla="*/ 294532 h 448122"/>
              <a:gd name="connsiteX806" fmla="*/ 98474 w 447236"/>
              <a:gd name="connsiteY806" fmla="*/ 293612 h 448122"/>
              <a:gd name="connsiteX807" fmla="*/ 98781 w 447236"/>
              <a:gd name="connsiteY807" fmla="*/ 292385 h 448122"/>
              <a:gd name="connsiteX808" fmla="*/ 98781 w 447236"/>
              <a:gd name="connsiteY808" fmla="*/ 293305 h 448122"/>
              <a:gd name="connsiteX809" fmla="*/ 99088 w 447236"/>
              <a:gd name="connsiteY809" fmla="*/ 294225 h 448122"/>
              <a:gd name="connsiteX810" fmla="*/ 99088 w 447236"/>
              <a:gd name="connsiteY810" fmla="*/ 294532 h 448122"/>
              <a:gd name="connsiteX811" fmla="*/ 99395 w 447236"/>
              <a:gd name="connsiteY811" fmla="*/ 294532 h 448122"/>
              <a:gd name="connsiteX812" fmla="*/ 99702 w 447236"/>
              <a:gd name="connsiteY812" fmla="*/ 294532 h 448122"/>
              <a:gd name="connsiteX813" fmla="*/ 100009 w 447236"/>
              <a:gd name="connsiteY813" fmla="*/ 294225 h 448122"/>
              <a:gd name="connsiteX814" fmla="*/ 100623 w 447236"/>
              <a:gd name="connsiteY814" fmla="*/ 293305 h 448122"/>
              <a:gd name="connsiteX815" fmla="*/ 100930 w 447236"/>
              <a:gd name="connsiteY815" fmla="*/ 292385 h 448122"/>
              <a:gd name="connsiteX816" fmla="*/ 101237 w 447236"/>
              <a:gd name="connsiteY816" fmla="*/ 292385 h 448122"/>
              <a:gd name="connsiteX817" fmla="*/ 100930 w 447236"/>
              <a:gd name="connsiteY817" fmla="*/ 293305 h 448122"/>
              <a:gd name="connsiteX818" fmla="*/ 100623 w 447236"/>
              <a:gd name="connsiteY818" fmla="*/ 294532 h 448122"/>
              <a:gd name="connsiteX819" fmla="*/ 100930 w 447236"/>
              <a:gd name="connsiteY819" fmla="*/ 294532 h 448122"/>
              <a:gd name="connsiteX820" fmla="*/ 101544 w 447236"/>
              <a:gd name="connsiteY820" fmla="*/ 294532 h 448122"/>
              <a:gd name="connsiteX821" fmla="*/ 101851 w 447236"/>
              <a:gd name="connsiteY821" fmla="*/ 294532 h 448122"/>
              <a:gd name="connsiteX822" fmla="*/ 102771 w 447236"/>
              <a:gd name="connsiteY822" fmla="*/ 289932 h 448122"/>
              <a:gd name="connsiteX823" fmla="*/ 102771 w 447236"/>
              <a:gd name="connsiteY823" fmla="*/ 289626 h 448122"/>
              <a:gd name="connsiteX824" fmla="*/ 102464 w 447236"/>
              <a:gd name="connsiteY824" fmla="*/ 289626 h 448122"/>
              <a:gd name="connsiteX825" fmla="*/ 101851 w 447236"/>
              <a:gd name="connsiteY825" fmla="*/ 289626 h 448122"/>
              <a:gd name="connsiteX826" fmla="*/ 101544 w 447236"/>
              <a:gd name="connsiteY826" fmla="*/ 289626 h 448122"/>
              <a:gd name="connsiteX827" fmla="*/ 101544 w 447236"/>
              <a:gd name="connsiteY827" fmla="*/ 289932 h 448122"/>
              <a:gd name="connsiteX828" fmla="*/ 100623 w 447236"/>
              <a:gd name="connsiteY828" fmla="*/ 291466 h 448122"/>
              <a:gd name="connsiteX829" fmla="*/ 100316 w 447236"/>
              <a:gd name="connsiteY829" fmla="*/ 292079 h 448122"/>
              <a:gd name="connsiteX830" fmla="*/ 99702 w 447236"/>
              <a:gd name="connsiteY830" fmla="*/ 292692 h 448122"/>
              <a:gd name="connsiteX831" fmla="*/ 99395 w 447236"/>
              <a:gd name="connsiteY831" fmla="*/ 291466 h 448122"/>
              <a:gd name="connsiteX832" fmla="*/ 99088 w 447236"/>
              <a:gd name="connsiteY832" fmla="*/ 289932 h 448122"/>
              <a:gd name="connsiteX833" fmla="*/ 99088 w 447236"/>
              <a:gd name="connsiteY833" fmla="*/ 289626 h 448122"/>
              <a:gd name="connsiteX834" fmla="*/ 98781 w 447236"/>
              <a:gd name="connsiteY834" fmla="*/ 289626 h 448122"/>
              <a:gd name="connsiteX835" fmla="*/ 98167 w 447236"/>
              <a:gd name="connsiteY835" fmla="*/ 289626 h 448122"/>
              <a:gd name="connsiteX836" fmla="*/ 94791 w 447236"/>
              <a:gd name="connsiteY836" fmla="*/ 289626 h 448122"/>
              <a:gd name="connsiteX837" fmla="*/ 92642 w 447236"/>
              <a:gd name="connsiteY837" fmla="*/ 294532 h 448122"/>
              <a:gd name="connsiteX838" fmla="*/ 92949 w 447236"/>
              <a:gd name="connsiteY838" fmla="*/ 294532 h 448122"/>
              <a:gd name="connsiteX839" fmla="*/ 93563 w 447236"/>
              <a:gd name="connsiteY839" fmla="*/ 294532 h 448122"/>
              <a:gd name="connsiteX840" fmla="*/ 93870 w 447236"/>
              <a:gd name="connsiteY840" fmla="*/ 294532 h 448122"/>
              <a:gd name="connsiteX841" fmla="*/ 94177 w 447236"/>
              <a:gd name="connsiteY841" fmla="*/ 293918 h 448122"/>
              <a:gd name="connsiteX842" fmla="*/ 94177 w 447236"/>
              <a:gd name="connsiteY842" fmla="*/ 293612 h 448122"/>
              <a:gd name="connsiteX843" fmla="*/ 95098 w 447236"/>
              <a:gd name="connsiteY843" fmla="*/ 293612 h 448122"/>
              <a:gd name="connsiteX844" fmla="*/ 95405 w 447236"/>
              <a:gd name="connsiteY844" fmla="*/ 293612 h 448122"/>
              <a:gd name="connsiteX845" fmla="*/ 95405 w 447236"/>
              <a:gd name="connsiteY845" fmla="*/ 293918 h 448122"/>
              <a:gd name="connsiteX846" fmla="*/ 95405 w 447236"/>
              <a:gd name="connsiteY846" fmla="*/ 294532 h 448122"/>
              <a:gd name="connsiteX847" fmla="*/ 95712 w 447236"/>
              <a:gd name="connsiteY847" fmla="*/ 294532 h 448122"/>
              <a:gd name="connsiteX848" fmla="*/ 96326 w 447236"/>
              <a:gd name="connsiteY848" fmla="*/ 294532 h 448122"/>
              <a:gd name="connsiteX849" fmla="*/ 96632 w 447236"/>
              <a:gd name="connsiteY849" fmla="*/ 294532 h 448122"/>
              <a:gd name="connsiteX850" fmla="*/ 96326 w 447236"/>
              <a:gd name="connsiteY850" fmla="*/ 289626 h 448122"/>
              <a:gd name="connsiteX851" fmla="*/ 96019 w 447236"/>
              <a:gd name="connsiteY851" fmla="*/ 289626 h 448122"/>
              <a:gd name="connsiteX852" fmla="*/ 95098 w 447236"/>
              <a:gd name="connsiteY852" fmla="*/ 289626 h 448122"/>
              <a:gd name="connsiteX853" fmla="*/ 94791 w 447236"/>
              <a:gd name="connsiteY853" fmla="*/ 289626 h 448122"/>
              <a:gd name="connsiteX854" fmla="*/ 191034 w 447236"/>
              <a:gd name="connsiteY854" fmla="*/ 283383 h 448122"/>
              <a:gd name="connsiteX855" fmla="*/ 192828 w 447236"/>
              <a:gd name="connsiteY855" fmla="*/ 292905 h 448122"/>
              <a:gd name="connsiteX856" fmla="*/ 192432 w 447236"/>
              <a:gd name="connsiteY856" fmla="*/ 291723 h 448122"/>
              <a:gd name="connsiteX857" fmla="*/ 191466 w 447236"/>
              <a:gd name="connsiteY857" fmla="*/ 286111 h 448122"/>
              <a:gd name="connsiteX858" fmla="*/ 289502 w 447236"/>
              <a:gd name="connsiteY858" fmla="*/ 279549 h 448122"/>
              <a:gd name="connsiteX859" fmla="*/ 289196 w 447236"/>
              <a:gd name="connsiteY859" fmla="*/ 279855 h 448122"/>
              <a:gd name="connsiteX860" fmla="*/ 289502 w 447236"/>
              <a:gd name="connsiteY860" fmla="*/ 280162 h 448122"/>
              <a:gd name="connsiteX861" fmla="*/ 295301 w 447236"/>
              <a:gd name="connsiteY861" fmla="*/ 280162 h 448122"/>
              <a:gd name="connsiteX862" fmla="*/ 295911 w 447236"/>
              <a:gd name="connsiteY862" fmla="*/ 279855 h 448122"/>
              <a:gd name="connsiteX863" fmla="*/ 295301 w 447236"/>
              <a:gd name="connsiteY863" fmla="*/ 279549 h 448122"/>
              <a:gd name="connsiteX864" fmla="*/ 289502 w 447236"/>
              <a:gd name="connsiteY864" fmla="*/ 279549 h 448122"/>
              <a:gd name="connsiteX865" fmla="*/ 190141 w 447236"/>
              <a:gd name="connsiteY865" fmla="*/ 277736 h 448122"/>
              <a:gd name="connsiteX866" fmla="*/ 191034 w 447236"/>
              <a:gd name="connsiteY866" fmla="*/ 283383 h 448122"/>
              <a:gd name="connsiteX867" fmla="*/ 190585 w 447236"/>
              <a:gd name="connsiteY867" fmla="*/ 280999 h 448122"/>
              <a:gd name="connsiteX868" fmla="*/ 289502 w 447236"/>
              <a:gd name="connsiteY868" fmla="*/ 275870 h 448122"/>
              <a:gd name="connsiteX869" fmla="*/ 289196 w 447236"/>
              <a:gd name="connsiteY869" fmla="*/ 276177 h 448122"/>
              <a:gd name="connsiteX870" fmla="*/ 289502 w 447236"/>
              <a:gd name="connsiteY870" fmla="*/ 276790 h 448122"/>
              <a:gd name="connsiteX871" fmla="*/ 295301 w 447236"/>
              <a:gd name="connsiteY871" fmla="*/ 276790 h 448122"/>
              <a:gd name="connsiteX872" fmla="*/ 295911 w 447236"/>
              <a:gd name="connsiteY872" fmla="*/ 276177 h 448122"/>
              <a:gd name="connsiteX873" fmla="*/ 295301 w 447236"/>
              <a:gd name="connsiteY873" fmla="*/ 275870 h 448122"/>
              <a:gd name="connsiteX874" fmla="*/ 289502 w 447236"/>
              <a:gd name="connsiteY874" fmla="*/ 275870 h 448122"/>
              <a:gd name="connsiteX875" fmla="*/ 371594 w 447236"/>
              <a:gd name="connsiteY875" fmla="*/ 274689 h 448122"/>
              <a:gd name="connsiteX876" fmla="*/ 376166 w 447236"/>
              <a:gd name="connsiteY876" fmla="*/ 282575 h 448122"/>
              <a:gd name="connsiteX877" fmla="*/ 380738 w 447236"/>
              <a:gd name="connsiteY877" fmla="*/ 274689 h 448122"/>
              <a:gd name="connsiteX878" fmla="*/ 289502 w 447236"/>
              <a:gd name="connsiteY878" fmla="*/ 272498 h 448122"/>
              <a:gd name="connsiteX879" fmla="*/ 289196 w 447236"/>
              <a:gd name="connsiteY879" fmla="*/ 272804 h 448122"/>
              <a:gd name="connsiteX880" fmla="*/ 289502 w 447236"/>
              <a:gd name="connsiteY880" fmla="*/ 273111 h 448122"/>
              <a:gd name="connsiteX881" fmla="*/ 295301 w 447236"/>
              <a:gd name="connsiteY881" fmla="*/ 273111 h 448122"/>
              <a:gd name="connsiteX882" fmla="*/ 295911 w 447236"/>
              <a:gd name="connsiteY882" fmla="*/ 272804 h 448122"/>
              <a:gd name="connsiteX883" fmla="*/ 295301 w 447236"/>
              <a:gd name="connsiteY883" fmla="*/ 272498 h 448122"/>
              <a:gd name="connsiteX884" fmla="*/ 289502 w 447236"/>
              <a:gd name="connsiteY884" fmla="*/ 272498 h 448122"/>
              <a:gd name="connsiteX885" fmla="*/ 289502 w 447236"/>
              <a:gd name="connsiteY885" fmla="*/ 269126 h 448122"/>
              <a:gd name="connsiteX886" fmla="*/ 289196 w 447236"/>
              <a:gd name="connsiteY886" fmla="*/ 269432 h 448122"/>
              <a:gd name="connsiteX887" fmla="*/ 289502 w 447236"/>
              <a:gd name="connsiteY887" fmla="*/ 269739 h 448122"/>
              <a:gd name="connsiteX888" fmla="*/ 295301 w 447236"/>
              <a:gd name="connsiteY888" fmla="*/ 269739 h 448122"/>
              <a:gd name="connsiteX889" fmla="*/ 295911 w 447236"/>
              <a:gd name="connsiteY889" fmla="*/ 269432 h 448122"/>
              <a:gd name="connsiteX890" fmla="*/ 295301 w 447236"/>
              <a:gd name="connsiteY890" fmla="*/ 269126 h 448122"/>
              <a:gd name="connsiteX891" fmla="*/ 289502 w 447236"/>
              <a:gd name="connsiteY891" fmla="*/ 269126 h 448122"/>
              <a:gd name="connsiteX892" fmla="*/ 2454 w 447236"/>
              <a:gd name="connsiteY892" fmla="*/ 269052 h 448122"/>
              <a:gd name="connsiteX893" fmla="*/ 1227 w 447236"/>
              <a:gd name="connsiteY893" fmla="*/ 270278 h 448122"/>
              <a:gd name="connsiteX894" fmla="*/ 1227 w 447236"/>
              <a:gd name="connsiteY894" fmla="*/ 294794 h 448122"/>
              <a:gd name="connsiteX895" fmla="*/ 2454 w 447236"/>
              <a:gd name="connsiteY895" fmla="*/ 296326 h 448122"/>
              <a:gd name="connsiteX896" fmla="*/ 36512 w 447236"/>
              <a:gd name="connsiteY896" fmla="*/ 296326 h 448122"/>
              <a:gd name="connsiteX897" fmla="*/ 37739 w 447236"/>
              <a:gd name="connsiteY897" fmla="*/ 294794 h 448122"/>
              <a:gd name="connsiteX898" fmla="*/ 37739 w 447236"/>
              <a:gd name="connsiteY898" fmla="*/ 270278 h 448122"/>
              <a:gd name="connsiteX899" fmla="*/ 36512 w 447236"/>
              <a:gd name="connsiteY899" fmla="*/ 269052 h 448122"/>
              <a:gd name="connsiteX900" fmla="*/ 133830 w 447236"/>
              <a:gd name="connsiteY900" fmla="*/ 267309 h 448122"/>
              <a:gd name="connsiteX901" fmla="*/ 135988 w 447236"/>
              <a:gd name="connsiteY901" fmla="*/ 267309 h 448122"/>
              <a:gd name="connsiteX902" fmla="*/ 136605 w 447236"/>
              <a:gd name="connsiteY902" fmla="*/ 267919 h 448122"/>
              <a:gd name="connsiteX903" fmla="*/ 136605 w 447236"/>
              <a:gd name="connsiteY903" fmla="*/ 272193 h 448122"/>
              <a:gd name="connsiteX904" fmla="*/ 140922 w 447236"/>
              <a:gd name="connsiteY904" fmla="*/ 272193 h 448122"/>
              <a:gd name="connsiteX905" fmla="*/ 141847 w 447236"/>
              <a:gd name="connsiteY905" fmla="*/ 273109 h 448122"/>
              <a:gd name="connsiteX906" fmla="*/ 141847 w 447236"/>
              <a:gd name="connsiteY906" fmla="*/ 274941 h 448122"/>
              <a:gd name="connsiteX907" fmla="*/ 140922 w 447236"/>
              <a:gd name="connsiteY907" fmla="*/ 275857 h 448122"/>
              <a:gd name="connsiteX908" fmla="*/ 136605 w 447236"/>
              <a:gd name="connsiteY908" fmla="*/ 275857 h 448122"/>
              <a:gd name="connsiteX909" fmla="*/ 136605 w 447236"/>
              <a:gd name="connsiteY909" fmla="*/ 280130 h 448122"/>
              <a:gd name="connsiteX910" fmla="*/ 135988 w 447236"/>
              <a:gd name="connsiteY910" fmla="*/ 280741 h 448122"/>
              <a:gd name="connsiteX911" fmla="*/ 133830 w 447236"/>
              <a:gd name="connsiteY911" fmla="*/ 280741 h 448122"/>
              <a:gd name="connsiteX912" fmla="*/ 133213 w 447236"/>
              <a:gd name="connsiteY912" fmla="*/ 280130 h 448122"/>
              <a:gd name="connsiteX913" fmla="*/ 133213 w 447236"/>
              <a:gd name="connsiteY913" fmla="*/ 275857 h 448122"/>
              <a:gd name="connsiteX914" fmla="*/ 128588 w 447236"/>
              <a:gd name="connsiteY914" fmla="*/ 275857 h 448122"/>
              <a:gd name="connsiteX915" fmla="*/ 127972 w 447236"/>
              <a:gd name="connsiteY915" fmla="*/ 274941 h 448122"/>
              <a:gd name="connsiteX916" fmla="*/ 127972 w 447236"/>
              <a:gd name="connsiteY916" fmla="*/ 273109 h 448122"/>
              <a:gd name="connsiteX917" fmla="*/ 128588 w 447236"/>
              <a:gd name="connsiteY917" fmla="*/ 272193 h 448122"/>
              <a:gd name="connsiteX918" fmla="*/ 133213 w 447236"/>
              <a:gd name="connsiteY918" fmla="*/ 272193 h 448122"/>
              <a:gd name="connsiteX919" fmla="*/ 133213 w 447236"/>
              <a:gd name="connsiteY919" fmla="*/ 267919 h 448122"/>
              <a:gd name="connsiteX920" fmla="*/ 133830 w 447236"/>
              <a:gd name="connsiteY920" fmla="*/ 267309 h 448122"/>
              <a:gd name="connsiteX921" fmla="*/ 289502 w 447236"/>
              <a:gd name="connsiteY921" fmla="*/ 265447 h 448122"/>
              <a:gd name="connsiteX922" fmla="*/ 289196 w 447236"/>
              <a:gd name="connsiteY922" fmla="*/ 266060 h 448122"/>
              <a:gd name="connsiteX923" fmla="*/ 289502 w 447236"/>
              <a:gd name="connsiteY923" fmla="*/ 266367 h 448122"/>
              <a:gd name="connsiteX924" fmla="*/ 295301 w 447236"/>
              <a:gd name="connsiteY924" fmla="*/ 266367 h 448122"/>
              <a:gd name="connsiteX925" fmla="*/ 295911 w 447236"/>
              <a:gd name="connsiteY925" fmla="*/ 266060 h 448122"/>
              <a:gd name="connsiteX926" fmla="*/ 295301 w 447236"/>
              <a:gd name="connsiteY926" fmla="*/ 265447 h 448122"/>
              <a:gd name="connsiteX927" fmla="*/ 289502 w 447236"/>
              <a:gd name="connsiteY927" fmla="*/ 265447 h 448122"/>
              <a:gd name="connsiteX928" fmla="*/ 366202 w 447236"/>
              <a:gd name="connsiteY928" fmla="*/ 265390 h 448122"/>
              <a:gd name="connsiteX929" fmla="*/ 366203 w 447236"/>
              <a:gd name="connsiteY929" fmla="*/ 265390 h 448122"/>
              <a:gd name="connsiteX930" fmla="*/ 386128 w 447236"/>
              <a:gd name="connsiteY930" fmla="*/ 265390 h 448122"/>
              <a:gd name="connsiteX931" fmla="*/ 386117 w 447236"/>
              <a:gd name="connsiteY931" fmla="*/ 265410 h 448122"/>
              <a:gd name="connsiteX932" fmla="*/ 386129 w 447236"/>
              <a:gd name="connsiteY932" fmla="*/ 265390 h 448122"/>
              <a:gd name="connsiteX933" fmla="*/ 394099 w 447236"/>
              <a:gd name="connsiteY933" fmla="*/ 269670 h 448122"/>
              <a:gd name="connsiteX934" fmla="*/ 381431 w 447236"/>
              <a:gd name="connsiteY934" fmla="*/ 291656 h 448122"/>
              <a:gd name="connsiteX935" fmla="*/ 394099 w 447236"/>
              <a:gd name="connsiteY935" fmla="*/ 313508 h 448122"/>
              <a:gd name="connsiteX936" fmla="*/ 386129 w 447236"/>
              <a:gd name="connsiteY936" fmla="*/ 318084 h 448122"/>
              <a:gd name="connsiteX937" fmla="*/ 376166 w 447236"/>
              <a:gd name="connsiteY937" fmla="*/ 300793 h 448122"/>
              <a:gd name="connsiteX938" fmla="*/ 366203 w 447236"/>
              <a:gd name="connsiteY938" fmla="*/ 318084 h 448122"/>
              <a:gd name="connsiteX939" fmla="*/ 358232 w 447236"/>
              <a:gd name="connsiteY939" fmla="*/ 313508 h 448122"/>
              <a:gd name="connsiteX940" fmla="*/ 370901 w 447236"/>
              <a:gd name="connsiteY940" fmla="*/ 291656 h 448122"/>
              <a:gd name="connsiteX941" fmla="*/ 358232 w 447236"/>
              <a:gd name="connsiteY941" fmla="*/ 269670 h 448122"/>
              <a:gd name="connsiteX942" fmla="*/ 366202 w 447236"/>
              <a:gd name="connsiteY942" fmla="*/ 265390 h 448122"/>
              <a:gd name="connsiteX943" fmla="*/ 255242 w 447236"/>
              <a:gd name="connsiteY943" fmla="*/ 265156 h 448122"/>
              <a:gd name="connsiteX944" fmla="*/ 256863 w 447236"/>
              <a:gd name="connsiteY944" fmla="*/ 277787 h 448122"/>
              <a:gd name="connsiteX945" fmla="*/ 257817 w 447236"/>
              <a:gd name="connsiteY945" fmla="*/ 278581 h 448122"/>
              <a:gd name="connsiteX946" fmla="*/ 257817 w 447236"/>
              <a:gd name="connsiteY946" fmla="*/ 282866 h 448122"/>
              <a:gd name="connsiteX947" fmla="*/ 256936 w 447236"/>
              <a:gd name="connsiteY947" fmla="*/ 294959 h 448122"/>
              <a:gd name="connsiteX948" fmla="*/ 246556 w 447236"/>
              <a:gd name="connsiteY948" fmla="*/ 300804 h 448122"/>
              <a:gd name="connsiteX949" fmla="*/ 247394 w 447236"/>
              <a:gd name="connsiteY949" fmla="*/ 304703 h 448122"/>
              <a:gd name="connsiteX950" fmla="*/ 247702 w 447236"/>
              <a:gd name="connsiteY950" fmla="*/ 305317 h 448122"/>
              <a:gd name="connsiteX951" fmla="*/ 251699 w 447236"/>
              <a:gd name="connsiteY951" fmla="*/ 311142 h 448122"/>
              <a:gd name="connsiteX952" fmla="*/ 252929 w 447236"/>
              <a:gd name="connsiteY952" fmla="*/ 312062 h 448122"/>
              <a:gd name="connsiteX953" fmla="*/ 259694 w 447236"/>
              <a:gd name="connsiteY953" fmla="*/ 314208 h 448122"/>
              <a:gd name="connsiteX954" fmla="*/ 267075 w 447236"/>
              <a:gd name="connsiteY954" fmla="*/ 312982 h 448122"/>
              <a:gd name="connsiteX955" fmla="*/ 272917 w 447236"/>
              <a:gd name="connsiteY955" fmla="*/ 308383 h 448122"/>
              <a:gd name="connsiteX956" fmla="*/ 277837 w 447236"/>
              <a:gd name="connsiteY956" fmla="*/ 296119 h 448122"/>
              <a:gd name="connsiteX957" fmla="*/ 273840 w 447236"/>
              <a:gd name="connsiteY957" fmla="*/ 282321 h 448122"/>
              <a:gd name="connsiteX958" fmla="*/ 268920 w 447236"/>
              <a:gd name="connsiteY958" fmla="*/ 275883 h 448122"/>
              <a:gd name="connsiteX959" fmla="*/ 266578 w 447236"/>
              <a:gd name="connsiteY959" fmla="*/ 273771 h 448122"/>
              <a:gd name="connsiteX960" fmla="*/ 264553 w 447236"/>
              <a:gd name="connsiteY960" fmla="*/ 279826 h 448122"/>
              <a:gd name="connsiteX961" fmla="*/ 267936 w 447236"/>
              <a:gd name="connsiteY961" fmla="*/ 291471 h 448122"/>
              <a:gd name="connsiteX962" fmla="*/ 270830 w 447236"/>
              <a:gd name="connsiteY962" fmla="*/ 295509 h 448122"/>
              <a:gd name="connsiteX963" fmla="*/ 271949 w 447236"/>
              <a:gd name="connsiteY963" fmla="*/ 295509 h 448122"/>
              <a:gd name="connsiteX964" fmla="*/ 274680 w 447236"/>
              <a:gd name="connsiteY964" fmla="*/ 298842 h 448122"/>
              <a:gd name="connsiteX965" fmla="*/ 274376 w 447236"/>
              <a:gd name="connsiteY965" fmla="*/ 299751 h 448122"/>
              <a:gd name="connsiteX966" fmla="*/ 273770 w 447236"/>
              <a:gd name="connsiteY966" fmla="*/ 300660 h 448122"/>
              <a:gd name="connsiteX967" fmla="*/ 272556 w 447236"/>
              <a:gd name="connsiteY967" fmla="*/ 300357 h 448122"/>
              <a:gd name="connsiteX968" fmla="*/ 269826 w 447236"/>
              <a:gd name="connsiteY968" fmla="*/ 297327 h 448122"/>
              <a:gd name="connsiteX969" fmla="*/ 269826 w 447236"/>
              <a:gd name="connsiteY969" fmla="*/ 296115 h 448122"/>
              <a:gd name="connsiteX970" fmla="*/ 270080 w 447236"/>
              <a:gd name="connsiteY970" fmla="*/ 295945 h 448122"/>
              <a:gd name="connsiteX971" fmla="*/ 267013 w 447236"/>
              <a:gd name="connsiteY971" fmla="*/ 291778 h 448122"/>
              <a:gd name="connsiteX972" fmla="*/ 263323 w 447236"/>
              <a:gd name="connsiteY972" fmla="*/ 279826 h 448122"/>
              <a:gd name="connsiteX973" fmla="*/ 265779 w 447236"/>
              <a:gd name="connsiteY973" fmla="*/ 273049 h 448122"/>
              <a:gd name="connsiteX974" fmla="*/ 262462 w 447236"/>
              <a:gd name="connsiteY974" fmla="*/ 270057 h 448122"/>
              <a:gd name="connsiteX975" fmla="*/ 258464 w 447236"/>
              <a:gd name="connsiteY975" fmla="*/ 266991 h 448122"/>
              <a:gd name="connsiteX976" fmla="*/ 134694 w 447236"/>
              <a:gd name="connsiteY976" fmla="*/ 264484 h 448122"/>
              <a:gd name="connsiteX977" fmla="*/ 125178 w 447236"/>
              <a:gd name="connsiteY977" fmla="*/ 273989 h 448122"/>
              <a:gd name="connsiteX978" fmla="*/ 134694 w 447236"/>
              <a:gd name="connsiteY978" fmla="*/ 283800 h 448122"/>
              <a:gd name="connsiteX979" fmla="*/ 144516 w 447236"/>
              <a:gd name="connsiteY979" fmla="*/ 273989 h 448122"/>
              <a:gd name="connsiteX980" fmla="*/ 134694 w 447236"/>
              <a:gd name="connsiteY980" fmla="*/ 264484 h 448122"/>
              <a:gd name="connsiteX981" fmla="*/ 75146 w 447236"/>
              <a:gd name="connsiteY981" fmla="*/ 264484 h 448122"/>
              <a:gd name="connsiteX982" fmla="*/ 71770 w 447236"/>
              <a:gd name="connsiteY982" fmla="*/ 265403 h 448122"/>
              <a:gd name="connsiteX983" fmla="*/ 57036 w 447236"/>
              <a:gd name="connsiteY983" fmla="*/ 280121 h 448122"/>
              <a:gd name="connsiteX984" fmla="*/ 56423 w 447236"/>
              <a:gd name="connsiteY984" fmla="*/ 281347 h 448122"/>
              <a:gd name="connsiteX985" fmla="*/ 56423 w 447236"/>
              <a:gd name="connsiteY985" fmla="*/ 281961 h 448122"/>
              <a:gd name="connsiteX986" fmla="*/ 56423 w 447236"/>
              <a:gd name="connsiteY986" fmla="*/ 282267 h 448122"/>
              <a:gd name="connsiteX987" fmla="*/ 60413 w 447236"/>
              <a:gd name="connsiteY987" fmla="*/ 283494 h 448122"/>
              <a:gd name="connsiteX988" fmla="*/ 77295 w 447236"/>
              <a:gd name="connsiteY988" fmla="*/ 283494 h 448122"/>
              <a:gd name="connsiteX989" fmla="*/ 77295 w 447236"/>
              <a:gd name="connsiteY989" fmla="*/ 264484 h 448122"/>
              <a:gd name="connsiteX990" fmla="*/ 75146 w 447236"/>
              <a:gd name="connsiteY990" fmla="*/ 264484 h 448122"/>
              <a:gd name="connsiteX991" fmla="*/ 84969 w 447236"/>
              <a:gd name="connsiteY991" fmla="*/ 263870 h 448122"/>
              <a:gd name="connsiteX992" fmla="*/ 83434 w 447236"/>
              <a:gd name="connsiteY992" fmla="*/ 265403 h 448122"/>
              <a:gd name="connsiteX993" fmla="*/ 83434 w 447236"/>
              <a:gd name="connsiteY993" fmla="*/ 281961 h 448122"/>
              <a:gd name="connsiteX994" fmla="*/ 84969 w 447236"/>
              <a:gd name="connsiteY994" fmla="*/ 283494 h 448122"/>
              <a:gd name="connsiteX995" fmla="*/ 112594 w 447236"/>
              <a:gd name="connsiteY995" fmla="*/ 283494 h 448122"/>
              <a:gd name="connsiteX996" fmla="*/ 114128 w 447236"/>
              <a:gd name="connsiteY996" fmla="*/ 281961 h 448122"/>
              <a:gd name="connsiteX997" fmla="*/ 114128 w 447236"/>
              <a:gd name="connsiteY997" fmla="*/ 265403 h 448122"/>
              <a:gd name="connsiteX998" fmla="*/ 112594 w 447236"/>
              <a:gd name="connsiteY998" fmla="*/ 263870 h 448122"/>
              <a:gd name="connsiteX999" fmla="*/ 84969 w 447236"/>
              <a:gd name="connsiteY999" fmla="*/ 263870 h 448122"/>
              <a:gd name="connsiteX1000" fmla="*/ 245549 w 447236"/>
              <a:gd name="connsiteY1000" fmla="*/ 262392 h 448122"/>
              <a:gd name="connsiteX1001" fmla="*/ 237862 w 447236"/>
              <a:gd name="connsiteY1001" fmla="*/ 263006 h 448122"/>
              <a:gd name="connsiteX1002" fmla="*/ 236595 w 447236"/>
              <a:gd name="connsiteY1002" fmla="*/ 263848 h 448122"/>
              <a:gd name="connsiteX1003" fmla="*/ 236421 w 447236"/>
              <a:gd name="connsiteY1003" fmla="*/ 264568 h 448122"/>
              <a:gd name="connsiteX1004" fmla="*/ 234660 w 447236"/>
              <a:gd name="connsiteY1004" fmla="*/ 278095 h 448122"/>
              <a:gd name="connsiteX1005" fmla="*/ 235146 w 447236"/>
              <a:gd name="connsiteY1005" fmla="*/ 278581 h 448122"/>
              <a:gd name="connsiteX1006" fmla="*/ 235146 w 447236"/>
              <a:gd name="connsiteY1006" fmla="*/ 283173 h 448122"/>
              <a:gd name="connsiteX1007" fmla="*/ 235836 w 447236"/>
              <a:gd name="connsiteY1007" fmla="*/ 293122 h 448122"/>
              <a:gd name="connsiteX1008" fmla="*/ 244951 w 447236"/>
              <a:gd name="connsiteY1008" fmla="*/ 298298 h 448122"/>
              <a:gd name="connsiteX1009" fmla="*/ 253947 w 447236"/>
              <a:gd name="connsiteY1009" fmla="*/ 293122 h 448122"/>
              <a:gd name="connsiteX1010" fmla="*/ 254751 w 447236"/>
              <a:gd name="connsiteY1010" fmla="*/ 283173 h 448122"/>
              <a:gd name="connsiteX1011" fmla="*/ 254445 w 447236"/>
              <a:gd name="connsiteY1011" fmla="*/ 278581 h 448122"/>
              <a:gd name="connsiteX1012" fmla="*/ 255583 w 447236"/>
              <a:gd name="connsiteY1012" fmla="*/ 277444 h 448122"/>
              <a:gd name="connsiteX1013" fmla="*/ 253895 w 447236"/>
              <a:gd name="connsiteY1013" fmla="*/ 264568 h 448122"/>
              <a:gd name="connsiteX1014" fmla="*/ 253868 w 447236"/>
              <a:gd name="connsiteY1014" fmla="*/ 264466 h 448122"/>
              <a:gd name="connsiteX1015" fmla="*/ 289502 w 447236"/>
              <a:gd name="connsiteY1015" fmla="*/ 262075 h 448122"/>
              <a:gd name="connsiteX1016" fmla="*/ 289196 w 447236"/>
              <a:gd name="connsiteY1016" fmla="*/ 262381 h 448122"/>
              <a:gd name="connsiteX1017" fmla="*/ 289502 w 447236"/>
              <a:gd name="connsiteY1017" fmla="*/ 262688 h 448122"/>
              <a:gd name="connsiteX1018" fmla="*/ 295301 w 447236"/>
              <a:gd name="connsiteY1018" fmla="*/ 262688 h 448122"/>
              <a:gd name="connsiteX1019" fmla="*/ 295911 w 447236"/>
              <a:gd name="connsiteY1019" fmla="*/ 262381 h 448122"/>
              <a:gd name="connsiteX1020" fmla="*/ 295301 w 447236"/>
              <a:gd name="connsiteY1020" fmla="*/ 262075 h 448122"/>
              <a:gd name="connsiteX1021" fmla="*/ 289502 w 447236"/>
              <a:gd name="connsiteY1021" fmla="*/ 262075 h 448122"/>
              <a:gd name="connsiteX1022" fmla="*/ 187888 w 447236"/>
              <a:gd name="connsiteY1022" fmla="*/ 261809 h 448122"/>
              <a:gd name="connsiteX1023" fmla="*/ 186980 w 447236"/>
              <a:gd name="connsiteY1023" fmla="*/ 262458 h 448122"/>
              <a:gd name="connsiteX1024" fmla="*/ 187958 w 447236"/>
              <a:gd name="connsiteY1024" fmla="*/ 261809 h 448122"/>
              <a:gd name="connsiteX1025" fmla="*/ 156502 w 447236"/>
              <a:gd name="connsiteY1025" fmla="*/ 260519 h 448122"/>
              <a:gd name="connsiteX1026" fmla="*/ 156502 w 447236"/>
              <a:gd name="connsiteY1026" fmla="*/ 267870 h 448122"/>
              <a:gd name="connsiteX1027" fmla="*/ 157421 w 447236"/>
              <a:gd name="connsiteY1027" fmla="*/ 280734 h 448122"/>
              <a:gd name="connsiteX1028" fmla="*/ 157727 w 447236"/>
              <a:gd name="connsiteY1028" fmla="*/ 284104 h 448122"/>
              <a:gd name="connsiteX1029" fmla="*/ 158645 w 447236"/>
              <a:gd name="connsiteY1029" fmla="*/ 294211 h 448122"/>
              <a:gd name="connsiteX1030" fmla="*/ 158952 w 447236"/>
              <a:gd name="connsiteY1030" fmla="*/ 296662 h 448122"/>
              <a:gd name="connsiteX1031" fmla="*/ 159564 w 447236"/>
              <a:gd name="connsiteY1031" fmla="*/ 300950 h 448122"/>
              <a:gd name="connsiteX1032" fmla="*/ 160176 w 447236"/>
              <a:gd name="connsiteY1032" fmla="*/ 296662 h 448122"/>
              <a:gd name="connsiteX1033" fmla="*/ 160176 w 447236"/>
              <a:gd name="connsiteY1033" fmla="*/ 294211 h 448122"/>
              <a:gd name="connsiteX1034" fmla="*/ 161401 w 447236"/>
              <a:gd name="connsiteY1034" fmla="*/ 284104 h 448122"/>
              <a:gd name="connsiteX1035" fmla="*/ 161707 w 447236"/>
              <a:gd name="connsiteY1035" fmla="*/ 280734 h 448122"/>
              <a:gd name="connsiteX1036" fmla="*/ 162319 w 447236"/>
              <a:gd name="connsiteY1036" fmla="*/ 267870 h 448122"/>
              <a:gd name="connsiteX1037" fmla="*/ 162625 w 447236"/>
              <a:gd name="connsiteY1037" fmla="*/ 260519 h 448122"/>
              <a:gd name="connsiteX1038" fmla="*/ 162319 w 447236"/>
              <a:gd name="connsiteY1038" fmla="*/ 289004 h 448122"/>
              <a:gd name="connsiteX1039" fmla="*/ 161707 w 447236"/>
              <a:gd name="connsiteY1039" fmla="*/ 295436 h 448122"/>
              <a:gd name="connsiteX1040" fmla="*/ 161401 w 447236"/>
              <a:gd name="connsiteY1040" fmla="*/ 296968 h 448122"/>
              <a:gd name="connsiteX1041" fmla="*/ 161095 w 447236"/>
              <a:gd name="connsiteY1041" fmla="*/ 297581 h 448122"/>
              <a:gd name="connsiteX1042" fmla="*/ 160176 w 447236"/>
              <a:gd name="connsiteY1042" fmla="*/ 308301 h 448122"/>
              <a:gd name="connsiteX1043" fmla="*/ 159564 w 447236"/>
              <a:gd name="connsiteY1043" fmla="*/ 313508 h 448122"/>
              <a:gd name="connsiteX1044" fmla="*/ 158952 w 447236"/>
              <a:gd name="connsiteY1044" fmla="*/ 308301 h 448122"/>
              <a:gd name="connsiteX1045" fmla="*/ 158033 w 447236"/>
              <a:gd name="connsiteY1045" fmla="*/ 297581 h 448122"/>
              <a:gd name="connsiteX1046" fmla="*/ 157421 w 447236"/>
              <a:gd name="connsiteY1046" fmla="*/ 296968 h 448122"/>
              <a:gd name="connsiteX1047" fmla="*/ 157421 w 447236"/>
              <a:gd name="connsiteY1047" fmla="*/ 295436 h 448122"/>
              <a:gd name="connsiteX1048" fmla="*/ 156808 w 447236"/>
              <a:gd name="connsiteY1048" fmla="*/ 289004 h 448122"/>
              <a:gd name="connsiteX1049" fmla="*/ 156502 w 447236"/>
              <a:gd name="connsiteY1049" fmla="*/ 260519 h 448122"/>
              <a:gd name="connsiteX1050" fmla="*/ 289502 w 447236"/>
              <a:gd name="connsiteY1050" fmla="*/ 258396 h 448122"/>
              <a:gd name="connsiteX1051" fmla="*/ 289196 w 447236"/>
              <a:gd name="connsiteY1051" fmla="*/ 258703 h 448122"/>
              <a:gd name="connsiteX1052" fmla="*/ 289502 w 447236"/>
              <a:gd name="connsiteY1052" fmla="*/ 259316 h 448122"/>
              <a:gd name="connsiteX1053" fmla="*/ 295301 w 447236"/>
              <a:gd name="connsiteY1053" fmla="*/ 259316 h 448122"/>
              <a:gd name="connsiteX1054" fmla="*/ 295911 w 447236"/>
              <a:gd name="connsiteY1054" fmla="*/ 258703 h 448122"/>
              <a:gd name="connsiteX1055" fmla="*/ 295301 w 447236"/>
              <a:gd name="connsiteY1055" fmla="*/ 258396 h 448122"/>
              <a:gd name="connsiteX1056" fmla="*/ 289502 w 447236"/>
              <a:gd name="connsiteY1056" fmla="*/ 258396 h 448122"/>
              <a:gd name="connsiteX1057" fmla="*/ 289502 w 447236"/>
              <a:gd name="connsiteY1057" fmla="*/ 255024 h 448122"/>
              <a:gd name="connsiteX1058" fmla="*/ 289196 w 447236"/>
              <a:gd name="connsiteY1058" fmla="*/ 255330 h 448122"/>
              <a:gd name="connsiteX1059" fmla="*/ 289502 w 447236"/>
              <a:gd name="connsiteY1059" fmla="*/ 255637 h 448122"/>
              <a:gd name="connsiteX1060" fmla="*/ 295301 w 447236"/>
              <a:gd name="connsiteY1060" fmla="*/ 255637 h 448122"/>
              <a:gd name="connsiteX1061" fmla="*/ 295911 w 447236"/>
              <a:gd name="connsiteY1061" fmla="*/ 255330 h 448122"/>
              <a:gd name="connsiteX1062" fmla="*/ 295301 w 447236"/>
              <a:gd name="connsiteY1062" fmla="*/ 255024 h 448122"/>
              <a:gd name="connsiteX1063" fmla="*/ 289502 w 447236"/>
              <a:gd name="connsiteY1063" fmla="*/ 255024 h 448122"/>
              <a:gd name="connsiteX1064" fmla="*/ 84355 w 447236"/>
              <a:gd name="connsiteY1064" fmla="*/ 253139 h 448122"/>
              <a:gd name="connsiteX1065" fmla="*/ 88038 w 447236"/>
              <a:gd name="connsiteY1065" fmla="*/ 253139 h 448122"/>
              <a:gd name="connsiteX1066" fmla="*/ 91721 w 447236"/>
              <a:gd name="connsiteY1066" fmla="*/ 256818 h 448122"/>
              <a:gd name="connsiteX1067" fmla="*/ 91721 w 447236"/>
              <a:gd name="connsiteY1067" fmla="*/ 259271 h 448122"/>
              <a:gd name="connsiteX1068" fmla="*/ 146665 w 447236"/>
              <a:gd name="connsiteY1068" fmla="*/ 259271 h 448122"/>
              <a:gd name="connsiteX1069" fmla="*/ 151883 w 447236"/>
              <a:gd name="connsiteY1069" fmla="*/ 264484 h 448122"/>
              <a:gd name="connsiteX1070" fmla="*/ 151883 w 447236"/>
              <a:gd name="connsiteY1070" fmla="*/ 302197 h 448122"/>
              <a:gd name="connsiteX1071" fmla="*/ 146665 w 447236"/>
              <a:gd name="connsiteY1071" fmla="*/ 307409 h 448122"/>
              <a:gd name="connsiteX1072" fmla="*/ 139298 w 447236"/>
              <a:gd name="connsiteY1072" fmla="*/ 307409 h 448122"/>
              <a:gd name="connsiteX1073" fmla="*/ 130397 w 447236"/>
              <a:gd name="connsiteY1073" fmla="*/ 316608 h 448122"/>
              <a:gd name="connsiteX1074" fmla="*/ 121495 w 447236"/>
              <a:gd name="connsiteY1074" fmla="*/ 307409 h 448122"/>
              <a:gd name="connsiteX1075" fmla="*/ 80364 w 447236"/>
              <a:gd name="connsiteY1075" fmla="*/ 307409 h 448122"/>
              <a:gd name="connsiteX1076" fmla="*/ 72691 w 447236"/>
              <a:gd name="connsiteY1076" fmla="*/ 307409 h 448122"/>
              <a:gd name="connsiteX1077" fmla="*/ 63789 w 447236"/>
              <a:gd name="connsiteY1077" fmla="*/ 316608 h 448122"/>
              <a:gd name="connsiteX1078" fmla="*/ 54581 w 447236"/>
              <a:gd name="connsiteY1078" fmla="*/ 307409 h 448122"/>
              <a:gd name="connsiteX1079" fmla="*/ 50898 w 447236"/>
              <a:gd name="connsiteY1079" fmla="*/ 307409 h 448122"/>
              <a:gd name="connsiteX1080" fmla="*/ 43838 w 447236"/>
              <a:gd name="connsiteY1080" fmla="*/ 302197 h 448122"/>
              <a:gd name="connsiteX1081" fmla="*/ 43838 w 447236"/>
              <a:gd name="connsiteY1081" fmla="*/ 301277 h 448122"/>
              <a:gd name="connsiteX1082" fmla="*/ 43838 w 447236"/>
              <a:gd name="connsiteY1082" fmla="*/ 291466 h 448122"/>
              <a:gd name="connsiteX1083" fmla="*/ 45372 w 447236"/>
              <a:gd name="connsiteY1083" fmla="*/ 288399 h 448122"/>
              <a:gd name="connsiteX1084" fmla="*/ 70849 w 447236"/>
              <a:gd name="connsiteY1084" fmla="*/ 261417 h 448122"/>
              <a:gd name="connsiteX1085" fmla="*/ 76374 w 447236"/>
              <a:gd name="connsiteY1085" fmla="*/ 259271 h 448122"/>
              <a:gd name="connsiteX1086" fmla="*/ 80364 w 447236"/>
              <a:gd name="connsiteY1086" fmla="*/ 259271 h 448122"/>
              <a:gd name="connsiteX1087" fmla="*/ 80671 w 447236"/>
              <a:gd name="connsiteY1087" fmla="*/ 259271 h 448122"/>
              <a:gd name="connsiteX1088" fmla="*/ 80671 w 447236"/>
              <a:gd name="connsiteY1088" fmla="*/ 256818 h 448122"/>
              <a:gd name="connsiteX1089" fmla="*/ 84355 w 447236"/>
              <a:gd name="connsiteY1089" fmla="*/ 253139 h 448122"/>
              <a:gd name="connsiteX1090" fmla="*/ 337952 w 447236"/>
              <a:gd name="connsiteY1090" fmla="*/ 252548 h 448122"/>
              <a:gd name="connsiteX1091" fmla="*/ 340407 w 447236"/>
              <a:gd name="connsiteY1091" fmla="*/ 252548 h 448122"/>
              <a:gd name="connsiteX1092" fmla="*/ 341021 w 447236"/>
              <a:gd name="connsiteY1092" fmla="*/ 253773 h 448122"/>
              <a:gd name="connsiteX1093" fmla="*/ 342555 w 447236"/>
              <a:gd name="connsiteY1093" fmla="*/ 275213 h 448122"/>
              <a:gd name="connsiteX1094" fmla="*/ 347466 w 447236"/>
              <a:gd name="connsiteY1094" fmla="*/ 281952 h 448122"/>
              <a:gd name="connsiteX1095" fmla="*/ 358822 w 447236"/>
              <a:gd name="connsiteY1095" fmla="*/ 299410 h 448122"/>
              <a:gd name="connsiteX1096" fmla="*/ 348387 w 447236"/>
              <a:gd name="connsiteY1096" fmla="*/ 316869 h 448122"/>
              <a:gd name="connsiteX1097" fmla="*/ 344090 w 447236"/>
              <a:gd name="connsiteY1097" fmla="*/ 317788 h 448122"/>
              <a:gd name="connsiteX1098" fmla="*/ 335189 w 447236"/>
              <a:gd name="connsiteY1098" fmla="*/ 317788 h 448122"/>
              <a:gd name="connsiteX1099" fmla="*/ 330892 w 447236"/>
              <a:gd name="connsiteY1099" fmla="*/ 316869 h 448122"/>
              <a:gd name="connsiteX1100" fmla="*/ 320150 w 447236"/>
              <a:gd name="connsiteY1100" fmla="*/ 299410 h 448122"/>
              <a:gd name="connsiteX1101" fmla="*/ 331199 w 447236"/>
              <a:gd name="connsiteY1101" fmla="*/ 282258 h 448122"/>
              <a:gd name="connsiteX1102" fmla="*/ 335803 w 447236"/>
              <a:gd name="connsiteY1102" fmla="*/ 275520 h 448122"/>
              <a:gd name="connsiteX1103" fmla="*/ 337338 w 447236"/>
              <a:gd name="connsiteY1103" fmla="*/ 253773 h 448122"/>
              <a:gd name="connsiteX1104" fmla="*/ 337952 w 447236"/>
              <a:gd name="connsiteY1104" fmla="*/ 252548 h 448122"/>
              <a:gd name="connsiteX1105" fmla="*/ 289502 w 447236"/>
              <a:gd name="connsiteY1105" fmla="*/ 251039 h 448122"/>
              <a:gd name="connsiteX1106" fmla="*/ 289196 w 447236"/>
              <a:gd name="connsiteY1106" fmla="*/ 251652 h 448122"/>
              <a:gd name="connsiteX1107" fmla="*/ 289502 w 447236"/>
              <a:gd name="connsiteY1107" fmla="*/ 251958 h 448122"/>
              <a:gd name="connsiteX1108" fmla="*/ 295301 w 447236"/>
              <a:gd name="connsiteY1108" fmla="*/ 251958 h 448122"/>
              <a:gd name="connsiteX1109" fmla="*/ 295911 w 447236"/>
              <a:gd name="connsiteY1109" fmla="*/ 251652 h 448122"/>
              <a:gd name="connsiteX1110" fmla="*/ 295301 w 447236"/>
              <a:gd name="connsiteY1110" fmla="*/ 251039 h 448122"/>
              <a:gd name="connsiteX1111" fmla="*/ 289502 w 447236"/>
              <a:gd name="connsiteY1111" fmla="*/ 251039 h 448122"/>
              <a:gd name="connsiteX1112" fmla="*/ 187885 w 447236"/>
              <a:gd name="connsiteY1112" fmla="*/ 250936 h 448122"/>
              <a:gd name="connsiteX1113" fmla="*/ 187885 w 447236"/>
              <a:gd name="connsiteY1113" fmla="*/ 261504 h 448122"/>
              <a:gd name="connsiteX1114" fmla="*/ 187888 w 447236"/>
              <a:gd name="connsiteY1114" fmla="*/ 261503 h 448122"/>
              <a:gd name="connsiteX1115" fmla="*/ 187888 w 447236"/>
              <a:gd name="connsiteY1115" fmla="*/ 251081 h 448122"/>
              <a:gd name="connsiteX1116" fmla="*/ 185683 w 447236"/>
              <a:gd name="connsiteY1116" fmla="*/ 250402 h 448122"/>
              <a:gd name="connsiteX1117" fmla="*/ 185684 w 447236"/>
              <a:gd name="connsiteY1117" fmla="*/ 250433 h 448122"/>
              <a:gd name="connsiteX1118" fmla="*/ 185684 w 447236"/>
              <a:gd name="connsiteY1118" fmla="*/ 250433 h 448122"/>
              <a:gd name="connsiteX1119" fmla="*/ 351931 w 447236"/>
              <a:gd name="connsiteY1119" fmla="*/ 248299 h 448122"/>
              <a:gd name="connsiteX1120" fmla="*/ 352344 w 447236"/>
              <a:gd name="connsiteY1120" fmla="*/ 249826 h 448122"/>
              <a:gd name="connsiteX1121" fmla="*/ 360938 w 447236"/>
              <a:gd name="connsiteY1121" fmla="*/ 257804 h 448122"/>
              <a:gd name="connsiteX1122" fmla="*/ 381196 w 447236"/>
              <a:gd name="connsiteY1122" fmla="*/ 257804 h 448122"/>
              <a:gd name="connsiteX1123" fmla="*/ 389790 w 447236"/>
              <a:gd name="connsiteY1123" fmla="*/ 249826 h 448122"/>
              <a:gd name="connsiteX1124" fmla="*/ 389800 w 447236"/>
              <a:gd name="connsiteY1124" fmla="*/ 249791 h 448122"/>
              <a:gd name="connsiteX1125" fmla="*/ 381264 w 447236"/>
              <a:gd name="connsiteY1125" fmla="*/ 257714 h 448122"/>
              <a:gd name="connsiteX1126" fmla="*/ 361020 w 447236"/>
              <a:gd name="connsiteY1126" fmla="*/ 257714 h 448122"/>
              <a:gd name="connsiteX1127" fmla="*/ 352432 w 447236"/>
              <a:gd name="connsiteY1127" fmla="*/ 249743 h 448122"/>
              <a:gd name="connsiteX1128" fmla="*/ 289502 w 447236"/>
              <a:gd name="connsiteY1128" fmla="*/ 247360 h 448122"/>
              <a:gd name="connsiteX1129" fmla="*/ 289196 w 447236"/>
              <a:gd name="connsiteY1129" fmla="*/ 247973 h 448122"/>
              <a:gd name="connsiteX1130" fmla="*/ 289502 w 447236"/>
              <a:gd name="connsiteY1130" fmla="*/ 248279 h 448122"/>
              <a:gd name="connsiteX1131" fmla="*/ 295301 w 447236"/>
              <a:gd name="connsiteY1131" fmla="*/ 248279 h 448122"/>
              <a:gd name="connsiteX1132" fmla="*/ 295911 w 447236"/>
              <a:gd name="connsiteY1132" fmla="*/ 247973 h 448122"/>
              <a:gd name="connsiteX1133" fmla="*/ 295301 w 447236"/>
              <a:gd name="connsiteY1133" fmla="*/ 247360 h 448122"/>
              <a:gd name="connsiteX1134" fmla="*/ 289502 w 447236"/>
              <a:gd name="connsiteY1134" fmla="*/ 247360 h 448122"/>
              <a:gd name="connsiteX1135" fmla="*/ 289502 w 447236"/>
              <a:gd name="connsiteY1135" fmla="*/ 243988 h 448122"/>
              <a:gd name="connsiteX1136" fmla="*/ 289196 w 447236"/>
              <a:gd name="connsiteY1136" fmla="*/ 244601 h 448122"/>
              <a:gd name="connsiteX1137" fmla="*/ 289502 w 447236"/>
              <a:gd name="connsiteY1137" fmla="*/ 244907 h 448122"/>
              <a:gd name="connsiteX1138" fmla="*/ 295301 w 447236"/>
              <a:gd name="connsiteY1138" fmla="*/ 244907 h 448122"/>
              <a:gd name="connsiteX1139" fmla="*/ 295911 w 447236"/>
              <a:gd name="connsiteY1139" fmla="*/ 244601 h 448122"/>
              <a:gd name="connsiteX1140" fmla="*/ 295301 w 447236"/>
              <a:gd name="connsiteY1140" fmla="*/ 243988 h 448122"/>
              <a:gd name="connsiteX1141" fmla="*/ 289502 w 447236"/>
              <a:gd name="connsiteY1141" fmla="*/ 243988 h 448122"/>
              <a:gd name="connsiteX1142" fmla="*/ 245054 w 447236"/>
              <a:gd name="connsiteY1142" fmla="*/ 240858 h 448122"/>
              <a:gd name="connsiteX1143" fmla="*/ 241012 w 447236"/>
              <a:gd name="connsiteY1143" fmla="*/ 245557 h 448122"/>
              <a:gd name="connsiteX1144" fmla="*/ 237393 w 447236"/>
              <a:gd name="connsiteY1144" fmla="*/ 260542 h 448122"/>
              <a:gd name="connsiteX1145" fmla="*/ 245857 w 447236"/>
              <a:gd name="connsiteY1145" fmla="*/ 259939 h 448122"/>
              <a:gd name="connsiteX1146" fmla="*/ 253201 w 447236"/>
              <a:gd name="connsiteY1146" fmla="*/ 261892 h 448122"/>
              <a:gd name="connsiteX1147" fmla="*/ 248963 w 447236"/>
              <a:gd name="connsiteY1147" fmla="*/ 245557 h 448122"/>
              <a:gd name="connsiteX1148" fmla="*/ 289502 w 447236"/>
              <a:gd name="connsiteY1148" fmla="*/ 240309 h 448122"/>
              <a:gd name="connsiteX1149" fmla="*/ 289196 w 447236"/>
              <a:gd name="connsiteY1149" fmla="*/ 240615 h 448122"/>
              <a:gd name="connsiteX1150" fmla="*/ 289502 w 447236"/>
              <a:gd name="connsiteY1150" fmla="*/ 240922 h 448122"/>
              <a:gd name="connsiteX1151" fmla="*/ 295301 w 447236"/>
              <a:gd name="connsiteY1151" fmla="*/ 240922 h 448122"/>
              <a:gd name="connsiteX1152" fmla="*/ 295911 w 447236"/>
              <a:gd name="connsiteY1152" fmla="*/ 240615 h 448122"/>
              <a:gd name="connsiteX1153" fmla="*/ 295301 w 447236"/>
              <a:gd name="connsiteY1153" fmla="*/ 240309 h 448122"/>
              <a:gd name="connsiteX1154" fmla="*/ 289502 w 447236"/>
              <a:gd name="connsiteY1154" fmla="*/ 240309 h 448122"/>
              <a:gd name="connsiteX1155" fmla="*/ 205020 w 447236"/>
              <a:gd name="connsiteY1155" fmla="*/ 238723 h 448122"/>
              <a:gd name="connsiteX1156" fmla="*/ 204103 w 447236"/>
              <a:gd name="connsiteY1156" fmla="*/ 239395 h 448122"/>
              <a:gd name="connsiteX1157" fmla="*/ 202262 w 447236"/>
              <a:gd name="connsiteY1157" fmla="*/ 247053 h 448122"/>
              <a:gd name="connsiteX1158" fmla="*/ 204103 w 447236"/>
              <a:gd name="connsiteY1158" fmla="*/ 250729 h 448122"/>
              <a:gd name="connsiteX1159" fmla="*/ 205040 w 447236"/>
              <a:gd name="connsiteY1159" fmla="*/ 251633 h 448122"/>
              <a:gd name="connsiteX1160" fmla="*/ 205040 w 447236"/>
              <a:gd name="connsiteY1160" fmla="*/ 248268 h 448122"/>
              <a:gd name="connsiteX1161" fmla="*/ 205020 w 447236"/>
              <a:gd name="connsiteY1161" fmla="*/ 248268 h 448122"/>
              <a:gd name="connsiteX1162" fmla="*/ 11966 w 447236"/>
              <a:gd name="connsiteY1162" fmla="*/ 236875 h 448122"/>
              <a:gd name="connsiteX1163" fmla="*/ 27307 w 447236"/>
              <a:gd name="connsiteY1163" fmla="*/ 236875 h 448122"/>
              <a:gd name="connsiteX1164" fmla="*/ 29762 w 447236"/>
              <a:gd name="connsiteY1164" fmla="*/ 244843 h 448122"/>
              <a:gd name="connsiteX1165" fmla="*/ 38967 w 447236"/>
              <a:gd name="connsiteY1165" fmla="*/ 270891 h 448122"/>
              <a:gd name="connsiteX1166" fmla="*/ 38660 w 447236"/>
              <a:gd name="connsiteY1166" fmla="*/ 314407 h 448122"/>
              <a:gd name="connsiteX1167" fmla="*/ 34978 w 447236"/>
              <a:gd name="connsiteY1167" fmla="*/ 318084 h 448122"/>
              <a:gd name="connsiteX1168" fmla="*/ 3988 w 447236"/>
              <a:gd name="connsiteY1168" fmla="*/ 318084 h 448122"/>
              <a:gd name="connsiteX1169" fmla="*/ 307 w 447236"/>
              <a:gd name="connsiteY1169" fmla="*/ 314407 h 448122"/>
              <a:gd name="connsiteX1170" fmla="*/ 0 w 447236"/>
              <a:gd name="connsiteY1170" fmla="*/ 270891 h 448122"/>
              <a:gd name="connsiteX1171" fmla="*/ 9205 w 447236"/>
              <a:gd name="connsiteY1171" fmla="*/ 244843 h 448122"/>
              <a:gd name="connsiteX1172" fmla="*/ 11966 w 447236"/>
              <a:gd name="connsiteY1172" fmla="*/ 236875 h 448122"/>
              <a:gd name="connsiteX1173" fmla="*/ 184543 w 447236"/>
              <a:gd name="connsiteY1173" fmla="*/ 231534 h 448122"/>
              <a:gd name="connsiteX1174" fmla="*/ 185354 w 447236"/>
              <a:gd name="connsiteY1174" fmla="*/ 239304 h 448122"/>
              <a:gd name="connsiteX1175" fmla="*/ 185094 w 447236"/>
              <a:gd name="connsiteY1175" fmla="*/ 233901 h 448122"/>
              <a:gd name="connsiteX1176" fmla="*/ 184799 w 447236"/>
              <a:gd name="connsiteY1176" fmla="*/ 232064 h 448122"/>
              <a:gd name="connsiteX1177" fmla="*/ 186969 w 447236"/>
              <a:gd name="connsiteY1177" fmla="*/ 230851 h 448122"/>
              <a:gd name="connsiteX1178" fmla="*/ 187275 w 447236"/>
              <a:gd name="connsiteY1178" fmla="*/ 231157 h 448122"/>
              <a:gd name="connsiteX1179" fmla="*/ 187270 w 447236"/>
              <a:gd name="connsiteY1179" fmla="*/ 231157 h 448122"/>
              <a:gd name="connsiteX1180" fmla="*/ 187307 w 447236"/>
              <a:gd name="connsiteY1180" fmla="*/ 231287 h 448122"/>
              <a:gd name="connsiteX1181" fmla="*/ 187275 w 447236"/>
              <a:gd name="connsiteY1181" fmla="*/ 231157 h 448122"/>
              <a:gd name="connsiteX1182" fmla="*/ 187888 w 447236"/>
              <a:gd name="connsiteY1182" fmla="*/ 232077 h 448122"/>
              <a:gd name="connsiteX1183" fmla="*/ 187888 w 447236"/>
              <a:gd name="connsiteY1183" fmla="*/ 233303 h 448122"/>
              <a:gd name="connsiteX1184" fmla="*/ 188194 w 447236"/>
              <a:gd name="connsiteY1184" fmla="*/ 251081 h 448122"/>
              <a:gd name="connsiteX1185" fmla="*/ 188194 w 447236"/>
              <a:gd name="connsiteY1185" fmla="*/ 261809 h 448122"/>
              <a:gd name="connsiteX1186" fmla="*/ 188135 w 447236"/>
              <a:gd name="connsiteY1186" fmla="*/ 261809 h 448122"/>
              <a:gd name="connsiteX1187" fmla="*/ 189007 w 447236"/>
              <a:gd name="connsiteY1187" fmla="*/ 269397 h 448122"/>
              <a:gd name="connsiteX1188" fmla="*/ 190141 w 447236"/>
              <a:gd name="connsiteY1188" fmla="*/ 277736 h 448122"/>
              <a:gd name="connsiteX1189" fmla="*/ 188895 w 447236"/>
              <a:gd name="connsiteY1189" fmla="*/ 269852 h 448122"/>
              <a:gd name="connsiteX1190" fmla="*/ 187840 w 447236"/>
              <a:gd name="connsiteY1190" fmla="*/ 262193 h 448122"/>
              <a:gd name="connsiteX1191" fmla="*/ 188122 w 447236"/>
              <a:gd name="connsiteY1191" fmla="*/ 262006 h 448122"/>
              <a:gd name="connsiteX1192" fmla="*/ 187815 w 447236"/>
              <a:gd name="connsiteY1192" fmla="*/ 262006 h 448122"/>
              <a:gd name="connsiteX1193" fmla="*/ 187840 w 447236"/>
              <a:gd name="connsiteY1193" fmla="*/ 262193 h 448122"/>
              <a:gd name="connsiteX1194" fmla="*/ 187839 w 447236"/>
              <a:gd name="connsiteY1194" fmla="*/ 262194 h 448122"/>
              <a:gd name="connsiteX1195" fmla="*/ 188824 w 447236"/>
              <a:gd name="connsiteY1195" fmla="*/ 269402 h 448122"/>
              <a:gd name="connsiteX1196" fmla="*/ 188895 w 447236"/>
              <a:gd name="connsiteY1196" fmla="*/ 269852 h 448122"/>
              <a:gd name="connsiteX1197" fmla="*/ 190008 w 447236"/>
              <a:gd name="connsiteY1197" fmla="*/ 277937 h 448122"/>
              <a:gd name="connsiteX1198" fmla="*/ 190585 w 447236"/>
              <a:gd name="connsiteY1198" fmla="*/ 280999 h 448122"/>
              <a:gd name="connsiteX1199" fmla="*/ 190585 w 447236"/>
              <a:gd name="connsiteY1199" fmla="*/ 281001 h 448122"/>
              <a:gd name="connsiteX1200" fmla="*/ 191466 w 447236"/>
              <a:gd name="connsiteY1200" fmla="*/ 286111 h 448122"/>
              <a:gd name="connsiteX1201" fmla="*/ 192347 w 447236"/>
              <a:gd name="connsiteY1201" fmla="*/ 291685 h 448122"/>
              <a:gd name="connsiteX1202" fmla="*/ 192846 w 447236"/>
              <a:gd name="connsiteY1202" fmla="*/ 293001 h 448122"/>
              <a:gd name="connsiteX1203" fmla="*/ 192828 w 447236"/>
              <a:gd name="connsiteY1203" fmla="*/ 292905 h 448122"/>
              <a:gd name="connsiteX1204" fmla="*/ 192967 w 447236"/>
              <a:gd name="connsiteY1204" fmla="*/ 293318 h 448122"/>
              <a:gd name="connsiteX1205" fmla="*/ 194444 w 447236"/>
              <a:gd name="connsiteY1205" fmla="*/ 297210 h 448122"/>
              <a:gd name="connsiteX1206" fmla="*/ 194587 w 447236"/>
              <a:gd name="connsiteY1206" fmla="*/ 297544 h 448122"/>
              <a:gd name="connsiteX1207" fmla="*/ 194548 w 447236"/>
              <a:gd name="connsiteY1207" fmla="*/ 297485 h 448122"/>
              <a:gd name="connsiteX1208" fmla="*/ 194569 w 447236"/>
              <a:gd name="connsiteY1208" fmla="*/ 297540 h 448122"/>
              <a:gd name="connsiteX1209" fmla="*/ 194587 w 447236"/>
              <a:gd name="connsiteY1209" fmla="*/ 297544 h 448122"/>
              <a:gd name="connsiteX1210" fmla="*/ 195686 w 447236"/>
              <a:gd name="connsiteY1210" fmla="*/ 297763 h 448122"/>
              <a:gd name="connsiteX1211" fmla="*/ 196127 w 447236"/>
              <a:gd name="connsiteY1211" fmla="*/ 297544 h 448122"/>
              <a:gd name="connsiteX1212" fmla="*/ 201360 w 447236"/>
              <a:gd name="connsiteY1212" fmla="*/ 296319 h 448122"/>
              <a:gd name="connsiteX1213" fmla="*/ 201668 w 447236"/>
              <a:gd name="connsiteY1213" fmla="*/ 296319 h 448122"/>
              <a:gd name="connsiteX1214" fmla="*/ 206286 w 447236"/>
              <a:gd name="connsiteY1214" fmla="*/ 299382 h 448122"/>
              <a:gd name="connsiteX1215" fmla="*/ 201668 w 447236"/>
              <a:gd name="connsiteY1215" fmla="*/ 296625 h 448122"/>
              <a:gd name="connsiteX1216" fmla="*/ 201641 w 447236"/>
              <a:gd name="connsiteY1216" fmla="*/ 296625 h 448122"/>
              <a:gd name="connsiteX1217" fmla="*/ 206242 w 447236"/>
              <a:gd name="connsiteY1217" fmla="*/ 299379 h 448122"/>
              <a:gd name="connsiteX1218" fmla="*/ 207154 w 447236"/>
              <a:gd name="connsiteY1218" fmla="*/ 305898 h 448122"/>
              <a:gd name="connsiteX1219" fmla="*/ 207825 w 447236"/>
              <a:gd name="connsiteY1219" fmla="*/ 304897 h 448122"/>
              <a:gd name="connsiteX1220" fmla="*/ 207164 w 447236"/>
              <a:gd name="connsiteY1220" fmla="*/ 305970 h 448122"/>
              <a:gd name="connsiteX1221" fmla="*/ 207432 w 447236"/>
              <a:gd name="connsiteY1221" fmla="*/ 307882 h 448122"/>
              <a:gd name="connsiteX1222" fmla="*/ 202676 w 447236"/>
              <a:gd name="connsiteY1222" fmla="*/ 313257 h 448122"/>
              <a:gd name="connsiteX1223" fmla="*/ 201976 w 447236"/>
              <a:gd name="connsiteY1223" fmla="*/ 314394 h 448122"/>
              <a:gd name="connsiteX1224" fmla="*/ 200745 w 447236"/>
              <a:gd name="connsiteY1224" fmla="*/ 314394 h 448122"/>
              <a:gd name="connsiteX1225" fmla="*/ 199821 w 447236"/>
              <a:gd name="connsiteY1225" fmla="*/ 314394 h 448122"/>
              <a:gd name="connsiteX1226" fmla="*/ 196025 w 447236"/>
              <a:gd name="connsiteY1226" fmla="*/ 311197 h 448122"/>
              <a:gd name="connsiteX1227" fmla="*/ 195798 w 447236"/>
              <a:gd name="connsiteY1227" fmla="*/ 311023 h 448122"/>
              <a:gd name="connsiteX1228" fmla="*/ 195695 w 447236"/>
              <a:gd name="connsiteY1228" fmla="*/ 310594 h 448122"/>
              <a:gd name="connsiteX1229" fmla="*/ 193972 w 447236"/>
              <a:gd name="connsiteY1229" fmla="*/ 304590 h 448122"/>
              <a:gd name="connsiteX1230" fmla="*/ 193972 w 447236"/>
              <a:gd name="connsiteY1230" fmla="*/ 302562 h 448122"/>
              <a:gd name="connsiteX1231" fmla="*/ 193955 w 447236"/>
              <a:gd name="connsiteY1231" fmla="*/ 302443 h 448122"/>
              <a:gd name="connsiteX1232" fmla="*/ 193647 w 447236"/>
              <a:gd name="connsiteY1232" fmla="*/ 301524 h 448122"/>
              <a:gd name="connsiteX1233" fmla="*/ 192114 w 447236"/>
              <a:gd name="connsiteY1233" fmla="*/ 299689 h 448122"/>
              <a:gd name="connsiteX1234" fmla="*/ 190893 w 447236"/>
              <a:gd name="connsiteY1234" fmla="*/ 299689 h 448122"/>
              <a:gd name="connsiteX1235" fmla="*/ 188738 w 447236"/>
              <a:gd name="connsiteY1235" fmla="*/ 299995 h 448122"/>
              <a:gd name="connsiteX1236" fmla="*/ 188122 w 447236"/>
              <a:gd name="connsiteY1236" fmla="*/ 299995 h 448122"/>
              <a:gd name="connsiteX1237" fmla="*/ 187199 w 447236"/>
              <a:gd name="connsiteY1237" fmla="*/ 299689 h 448122"/>
              <a:gd name="connsiteX1238" fmla="*/ 186891 w 447236"/>
              <a:gd name="connsiteY1238" fmla="*/ 297850 h 448122"/>
              <a:gd name="connsiteX1239" fmla="*/ 187199 w 447236"/>
              <a:gd name="connsiteY1239" fmla="*/ 299382 h 448122"/>
              <a:gd name="connsiteX1240" fmla="*/ 188122 w 447236"/>
              <a:gd name="connsiteY1240" fmla="*/ 299689 h 448122"/>
              <a:gd name="connsiteX1241" fmla="*/ 188738 w 447236"/>
              <a:gd name="connsiteY1241" fmla="*/ 299689 h 448122"/>
              <a:gd name="connsiteX1242" fmla="*/ 188761 w 447236"/>
              <a:gd name="connsiteY1242" fmla="*/ 299685 h 448122"/>
              <a:gd name="connsiteX1243" fmla="*/ 188733 w 447236"/>
              <a:gd name="connsiteY1243" fmla="*/ 299685 h 448122"/>
              <a:gd name="connsiteX1244" fmla="*/ 186892 w 447236"/>
              <a:gd name="connsiteY1244" fmla="*/ 297849 h 448122"/>
              <a:gd name="connsiteX1245" fmla="*/ 186891 w 447236"/>
              <a:gd name="connsiteY1245" fmla="*/ 297850 h 448122"/>
              <a:gd name="connsiteX1246" fmla="*/ 186892 w 447236"/>
              <a:gd name="connsiteY1246" fmla="*/ 297849 h 448122"/>
              <a:gd name="connsiteX1247" fmla="*/ 186890 w 447236"/>
              <a:gd name="connsiteY1247" fmla="*/ 297847 h 448122"/>
              <a:gd name="connsiteX1248" fmla="*/ 186894 w 447236"/>
              <a:gd name="connsiteY1248" fmla="*/ 297844 h 448122"/>
              <a:gd name="connsiteX1249" fmla="*/ 187199 w 447236"/>
              <a:gd name="connsiteY1249" fmla="*/ 297238 h 448122"/>
              <a:gd name="connsiteX1250" fmla="*/ 187806 w 447236"/>
              <a:gd name="connsiteY1250" fmla="*/ 297238 h 448122"/>
              <a:gd name="connsiteX1251" fmla="*/ 187811 w 447236"/>
              <a:gd name="connsiteY1251" fmla="*/ 297234 h 448122"/>
              <a:gd name="connsiteX1252" fmla="*/ 187862 w 447236"/>
              <a:gd name="connsiteY1252" fmla="*/ 297228 h 448122"/>
              <a:gd name="connsiteX1253" fmla="*/ 189354 w 447236"/>
              <a:gd name="connsiteY1253" fmla="*/ 296931 h 448122"/>
              <a:gd name="connsiteX1254" fmla="*/ 190585 w 447236"/>
              <a:gd name="connsiteY1254" fmla="*/ 296625 h 448122"/>
              <a:gd name="connsiteX1255" fmla="*/ 191201 w 447236"/>
              <a:gd name="connsiteY1255" fmla="*/ 295400 h 448122"/>
              <a:gd name="connsiteX1256" fmla="*/ 191201 w 447236"/>
              <a:gd name="connsiteY1256" fmla="*/ 294787 h 448122"/>
              <a:gd name="connsiteX1257" fmla="*/ 189694 w 447236"/>
              <a:gd name="connsiteY1257" fmla="*/ 284887 h 448122"/>
              <a:gd name="connsiteX1258" fmla="*/ 189654 w 447236"/>
              <a:gd name="connsiteY1258" fmla="*/ 284670 h 448122"/>
              <a:gd name="connsiteX1259" fmla="*/ 186993 w 447236"/>
              <a:gd name="connsiteY1259" fmla="*/ 267539 h 448122"/>
              <a:gd name="connsiteX1260" fmla="*/ 186318 w 447236"/>
              <a:gd name="connsiteY1260" fmla="*/ 263203 h 448122"/>
              <a:gd name="connsiteX1261" fmla="*/ 186320 w 447236"/>
              <a:gd name="connsiteY1261" fmla="*/ 263202 h 448122"/>
              <a:gd name="connsiteX1262" fmla="*/ 186296 w 447236"/>
              <a:gd name="connsiteY1262" fmla="*/ 263046 h 448122"/>
              <a:gd name="connsiteX1263" fmla="*/ 186281 w 447236"/>
              <a:gd name="connsiteY1263" fmla="*/ 262957 h 448122"/>
              <a:gd name="connsiteX1264" fmla="*/ 186280 w 447236"/>
              <a:gd name="connsiteY1264" fmla="*/ 262958 h 448122"/>
              <a:gd name="connsiteX1265" fmla="*/ 186318 w 447236"/>
              <a:gd name="connsiteY1265" fmla="*/ 263203 h 448122"/>
              <a:gd name="connsiteX1266" fmla="*/ 186275 w 447236"/>
              <a:gd name="connsiteY1266" fmla="*/ 263232 h 448122"/>
              <a:gd name="connsiteX1267" fmla="*/ 186275 w 447236"/>
              <a:gd name="connsiteY1267" fmla="*/ 262961 h 448122"/>
              <a:gd name="connsiteX1268" fmla="*/ 185743 w 447236"/>
              <a:gd name="connsiteY1268" fmla="*/ 263342 h 448122"/>
              <a:gd name="connsiteX1269" fmla="*/ 184211 w 447236"/>
              <a:gd name="connsiteY1269" fmla="*/ 275296 h 448122"/>
              <a:gd name="connsiteX1270" fmla="*/ 182985 w 447236"/>
              <a:gd name="connsiteY1270" fmla="*/ 281733 h 448122"/>
              <a:gd name="connsiteX1271" fmla="*/ 181147 w 447236"/>
              <a:gd name="connsiteY1271" fmla="*/ 291235 h 448122"/>
              <a:gd name="connsiteX1272" fmla="*/ 181398 w 447236"/>
              <a:gd name="connsiteY1272" fmla="*/ 289676 h 448122"/>
              <a:gd name="connsiteX1273" fmla="*/ 181114 w 447236"/>
              <a:gd name="connsiteY1273" fmla="*/ 291136 h 448122"/>
              <a:gd name="connsiteX1274" fmla="*/ 180590 w 447236"/>
              <a:gd name="connsiteY1274" fmla="*/ 293741 h 448122"/>
              <a:gd name="connsiteX1275" fmla="*/ 181147 w 447236"/>
              <a:gd name="connsiteY1275" fmla="*/ 291235 h 448122"/>
              <a:gd name="connsiteX1276" fmla="*/ 180840 w 447236"/>
              <a:gd name="connsiteY1276" fmla="*/ 294300 h 448122"/>
              <a:gd name="connsiteX1277" fmla="*/ 180534 w 447236"/>
              <a:gd name="connsiteY1277" fmla="*/ 295833 h 448122"/>
              <a:gd name="connsiteX1278" fmla="*/ 180534 w 447236"/>
              <a:gd name="connsiteY1278" fmla="*/ 296182 h 448122"/>
              <a:gd name="connsiteX1279" fmla="*/ 181114 w 447236"/>
              <a:gd name="connsiteY1279" fmla="*/ 296951 h 448122"/>
              <a:gd name="connsiteX1280" fmla="*/ 181729 w 447236"/>
              <a:gd name="connsiteY1280" fmla="*/ 296951 h 448122"/>
              <a:gd name="connsiteX1281" fmla="*/ 183884 w 447236"/>
              <a:gd name="connsiteY1281" fmla="*/ 297257 h 448122"/>
              <a:gd name="connsiteX1282" fmla="*/ 184500 w 447236"/>
              <a:gd name="connsiteY1282" fmla="*/ 297257 h 448122"/>
              <a:gd name="connsiteX1283" fmla="*/ 184500 w 447236"/>
              <a:gd name="connsiteY1283" fmla="*/ 297365 h 448122"/>
              <a:gd name="connsiteX1284" fmla="*/ 184517 w 447236"/>
              <a:gd name="connsiteY1284" fmla="*/ 297365 h 448122"/>
              <a:gd name="connsiteX1285" fmla="*/ 185130 w 447236"/>
              <a:gd name="connsiteY1285" fmla="*/ 297672 h 448122"/>
              <a:gd name="connsiteX1286" fmla="*/ 185130 w 447236"/>
              <a:gd name="connsiteY1286" fmla="*/ 298285 h 448122"/>
              <a:gd name="connsiteX1287" fmla="*/ 185130 w 447236"/>
              <a:gd name="connsiteY1287" fmla="*/ 299204 h 448122"/>
              <a:gd name="connsiteX1288" fmla="*/ 184824 w 447236"/>
              <a:gd name="connsiteY1288" fmla="*/ 299511 h 448122"/>
              <a:gd name="connsiteX1289" fmla="*/ 184517 w 447236"/>
              <a:gd name="connsiteY1289" fmla="*/ 299511 h 448122"/>
              <a:gd name="connsiteX1290" fmla="*/ 184824 w 447236"/>
              <a:gd name="connsiteY1290" fmla="*/ 299204 h 448122"/>
              <a:gd name="connsiteX1291" fmla="*/ 184824 w 447236"/>
              <a:gd name="connsiteY1291" fmla="*/ 298285 h 448122"/>
              <a:gd name="connsiteX1292" fmla="*/ 184824 w 447236"/>
              <a:gd name="connsiteY1292" fmla="*/ 297672 h 448122"/>
              <a:gd name="connsiteX1293" fmla="*/ 184517 w 447236"/>
              <a:gd name="connsiteY1293" fmla="*/ 297672 h 448122"/>
              <a:gd name="connsiteX1294" fmla="*/ 184500 w 447236"/>
              <a:gd name="connsiteY1294" fmla="*/ 297672 h 448122"/>
              <a:gd name="connsiteX1295" fmla="*/ 184500 w 447236"/>
              <a:gd name="connsiteY1295" fmla="*/ 299399 h 448122"/>
              <a:gd name="connsiteX1296" fmla="*/ 184316 w 447236"/>
              <a:gd name="connsiteY1296" fmla="*/ 299486 h 448122"/>
              <a:gd name="connsiteX1297" fmla="*/ 184517 w 447236"/>
              <a:gd name="connsiteY1297" fmla="*/ 299511 h 448122"/>
              <a:gd name="connsiteX1298" fmla="*/ 184263 w 447236"/>
              <a:gd name="connsiteY1298" fmla="*/ 299511 h 448122"/>
              <a:gd name="connsiteX1299" fmla="*/ 178575 w 447236"/>
              <a:gd name="connsiteY1299" fmla="*/ 302204 h 448122"/>
              <a:gd name="connsiteX1300" fmla="*/ 178389 w 447236"/>
              <a:gd name="connsiteY1300" fmla="*/ 302576 h 448122"/>
              <a:gd name="connsiteX1301" fmla="*/ 178389 w 447236"/>
              <a:gd name="connsiteY1301" fmla="*/ 304109 h 448122"/>
              <a:gd name="connsiteX1302" fmla="*/ 175018 w 447236"/>
              <a:gd name="connsiteY1302" fmla="*/ 312998 h 448122"/>
              <a:gd name="connsiteX1303" fmla="*/ 171630 w 447236"/>
              <a:gd name="connsiteY1303" fmla="*/ 314450 h 448122"/>
              <a:gd name="connsiteX1304" fmla="*/ 174986 w 447236"/>
              <a:gd name="connsiteY1304" fmla="*/ 318380 h 448122"/>
              <a:gd name="connsiteX1305" fmla="*/ 174986 w 447236"/>
              <a:gd name="connsiteY1305" fmla="*/ 337389 h 448122"/>
              <a:gd name="connsiteX1306" fmla="*/ 175605 w 447236"/>
              <a:gd name="connsiteY1306" fmla="*/ 337389 h 448122"/>
              <a:gd name="connsiteX1307" fmla="*/ 176533 w 447236"/>
              <a:gd name="connsiteY1307" fmla="*/ 338309 h 448122"/>
              <a:gd name="connsiteX1308" fmla="*/ 176533 w 447236"/>
              <a:gd name="connsiteY1308" fmla="*/ 338922 h 448122"/>
              <a:gd name="connsiteX1309" fmla="*/ 175605 w 447236"/>
              <a:gd name="connsiteY1309" fmla="*/ 339842 h 448122"/>
              <a:gd name="connsiteX1310" fmla="*/ 174057 w 447236"/>
              <a:gd name="connsiteY1310" fmla="*/ 339842 h 448122"/>
              <a:gd name="connsiteX1311" fmla="*/ 174367 w 447236"/>
              <a:gd name="connsiteY1311" fmla="*/ 377247 h 448122"/>
              <a:gd name="connsiteX1312" fmla="*/ 172510 w 447236"/>
              <a:gd name="connsiteY1312" fmla="*/ 393804 h 448122"/>
              <a:gd name="connsiteX1313" fmla="*/ 170963 w 447236"/>
              <a:gd name="connsiteY1313" fmla="*/ 393804 h 448122"/>
              <a:gd name="connsiteX1314" fmla="*/ 169106 w 447236"/>
              <a:gd name="connsiteY1314" fmla="*/ 377247 h 448122"/>
              <a:gd name="connsiteX1315" fmla="*/ 169415 w 447236"/>
              <a:gd name="connsiteY1315" fmla="*/ 339842 h 448122"/>
              <a:gd name="connsiteX1316" fmla="*/ 167868 w 447236"/>
              <a:gd name="connsiteY1316" fmla="*/ 339842 h 448122"/>
              <a:gd name="connsiteX1317" fmla="*/ 166939 w 447236"/>
              <a:gd name="connsiteY1317" fmla="*/ 338922 h 448122"/>
              <a:gd name="connsiteX1318" fmla="*/ 166939 w 447236"/>
              <a:gd name="connsiteY1318" fmla="*/ 338309 h 448122"/>
              <a:gd name="connsiteX1319" fmla="*/ 167868 w 447236"/>
              <a:gd name="connsiteY1319" fmla="*/ 337389 h 448122"/>
              <a:gd name="connsiteX1320" fmla="*/ 168487 w 447236"/>
              <a:gd name="connsiteY1320" fmla="*/ 337389 h 448122"/>
              <a:gd name="connsiteX1321" fmla="*/ 168487 w 447236"/>
              <a:gd name="connsiteY1321" fmla="*/ 318380 h 448122"/>
              <a:gd name="connsiteX1322" fmla="*/ 171492 w 447236"/>
              <a:gd name="connsiteY1322" fmla="*/ 314509 h 448122"/>
              <a:gd name="connsiteX1323" fmla="*/ 170728 w 447236"/>
              <a:gd name="connsiteY1323" fmla="*/ 314837 h 448122"/>
              <a:gd name="connsiteX1324" fmla="*/ 170422 w 447236"/>
              <a:gd name="connsiteY1324" fmla="*/ 314837 h 448122"/>
              <a:gd name="connsiteX1325" fmla="*/ 167664 w 447236"/>
              <a:gd name="connsiteY1325" fmla="*/ 313917 h 448122"/>
              <a:gd name="connsiteX1326" fmla="*/ 165941 w 447236"/>
              <a:gd name="connsiteY1326" fmla="*/ 310327 h 448122"/>
              <a:gd name="connsiteX1327" fmla="*/ 164107 w 447236"/>
              <a:gd name="connsiteY1327" fmla="*/ 306782 h 448122"/>
              <a:gd name="connsiteX1328" fmla="*/ 164162 w 447236"/>
              <a:gd name="connsiteY1328" fmla="*/ 306621 h 448122"/>
              <a:gd name="connsiteX1329" fmla="*/ 163987 w 447236"/>
              <a:gd name="connsiteY1329" fmla="*/ 306254 h 448122"/>
              <a:gd name="connsiteX1330" fmla="*/ 165883 w 447236"/>
              <a:gd name="connsiteY1330" fmla="*/ 301617 h 448122"/>
              <a:gd name="connsiteX1331" fmla="*/ 166647 w 447236"/>
              <a:gd name="connsiteY1331" fmla="*/ 299399 h 448122"/>
              <a:gd name="connsiteX1332" fmla="*/ 167414 w 447236"/>
              <a:gd name="connsiteY1332" fmla="*/ 299254 h 448122"/>
              <a:gd name="connsiteX1333" fmla="*/ 170728 w 447236"/>
              <a:gd name="connsiteY1333" fmla="*/ 297978 h 448122"/>
              <a:gd name="connsiteX1334" fmla="*/ 172788 w 447236"/>
              <a:gd name="connsiteY1334" fmla="*/ 298236 h 448122"/>
              <a:gd name="connsiteX1335" fmla="*/ 173111 w 447236"/>
              <a:gd name="connsiteY1335" fmla="*/ 298175 h 448122"/>
              <a:gd name="connsiteX1336" fmla="*/ 176189 w 447236"/>
              <a:gd name="connsiteY1336" fmla="*/ 298787 h 448122"/>
              <a:gd name="connsiteX1337" fmla="*/ 177981 w 447236"/>
              <a:gd name="connsiteY1337" fmla="*/ 297005 h 448122"/>
              <a:gd name="connsiteX1338" fmla="*/ 178082 w 447236"/>
              <a:gd name="connsiteY1338" fmla="*/ 296752 h 448122"/>
              <a:gd name="connsiteX1339" fmla="*/ 180534 w 447236"/>
              <a:gd name="connsiteY1339" fmla="*/ 285411 h 448122"/>
              <a:gd name="connsiteX1340" fmla="*/ 183861 w 447236"/>
              <a:gd name="connsiteY1340" fmla="*/ 265440 h 448122"/>
              <a:gd name="connsiteX1341" fmla="*/ 184192 w 447236"/>
              <a:gd name="connsiteY1341" fmla="*/ 263289 h 448122"/>
              <a:gd name="connsiteX1342" fmla="*/ 184208 w 447236"/>
              <a:gd name="connsiteY1342" fmla="*/ 262977 h 448122"/>
              <a:gd name="connsiteX1343" fmla="*/ 184208 w 447236"/>
              <a:gd name="connsiteY1343" fmla="*/ 244010 h 448122"/>
              <a:gd name="connsiteX1344" fmla="*/ 184208 w 447236"/>
              <a:gd name="connsiteY1344" fmla="*/ 243997 h 448122"/>
              <a:gd name="connsiteX1345" fmla="*/ 183913 w 447236"/>
              <a:gd name="connsiteY1345" fmla="*/ 236350 h 448122"/>
              <a:gd name="connsiteX1346" fmla="*/ 184208 w 447236"/>
              <a:gd name="connsiteY1346" fmla="*/ 232064 h 448122"/>
              <a:gd name="connsiteX1347" fmla="*/ 184208 w 447236"/>
              <a:gd name="connsiteY1347" fmla="*/ 231452 h 448122"/>
              <a:gd name="connsiteX1348" fmla="*/ 184504 w 447236"/>
              <a:gd name="connsiteY1348" fmla="*/ 231146 h 448122"/>
              <a:gd name="connsiteX1349" fmla="*/ 184799 w 447236"/>
              <a:gd name="connsiteY1349" fmla="*/ 231146 h 448122"/>
              <a:gd name="connsiteX1350" fmla="*/ 185094 w 447236"/>
              <a:gd name="connsiteY1350" fmla="*/ 232370 h 448122"/>
              <a:gd name="connsiteX1351" fmla="*/ 185647 w 447236"/>
              <a:gd name="connsiteY1351" fmla="*/ 242205 h 448122"/>
              <a:gd name="connsiteX1352" fmla="*/ 185971 w 447236"/>
              <a:gd name="connsiteY1352" fmla="*/ 250240 h 448122"/>
              <a:gd name="connsiteX1353" fmla="*/ 186355 w 447236"/>
              <a:gd name="connsiteY1353" fmla="*/ 249856 h 448122"/>
              <a:gd name="connsiteX1354" fmla="*/ 186356 w 447236"/>
              <a:gd name="connsiteY1354" fmla="*/ 249819 h 448122"/>
              <a:gd name="connsiteX1355" fmla="*/ 186356 w 447236"/>
              <a:gd name="connsiteY1355" fmla="*/ 240046 h 448122"/>
              <a:gd name="connsiteX1356" fmla="*/ 186654 w 447236"/>
              <a:gd name="connsiteY1356" fmla="*/ 234673 h 448122"/>
              <a:gd name="connsiteX1357" fmla="*/ 186654 w 447236"/>
              <a:gd name="connsiteY1357" fmla="*/ 231463 h 448122"/>
              <a:gd name="connsiteX1358" fmla="*/ 186672 w 447236"/>
              <a:gd name="connsiteY1358" fmla="*/ 231454 h 448122"/>
              <a:gd name="connsiteX1359" fmla="*/ 186969 w 447236"/>
              <a:gd name="connsiteY1359" fmla="*/ 231157 h 448122"/>
              <a:gd name="connsiteX1360" fmla="*/ 186969 w 447236"/>
              <a:gd name="connsiteY1360" fmla="*/ 231307 h 448122"/>
              <a:gd name="connsiteX1361" fmla="*/ 187269 w 447236"/>
              <a:gd name="connsiteY1361" fmla="*/ 231157 h 448122"/>
              <a:gd name="connsiteX1362" fmla="*/ 186969 w 447236"/>
              <a:gd name="connsiteY1362" fmla="*/ 231157 h 448122"/>
              <a:gd name="connsiteX1363" fmla="*/ 186969 w 447236"/>
              <a:gd name="connsiteY1363" fmla="*/ 230851 h 448122"/>
              <a:gd name="connsiteX1364" fmla="*/ 133540 w 447236"/>
              <a:gd name="connsiteY1364" fmla="*/ 228046 h 448122"/>
              <a:gd name="connsiteX1365" fmla="*/ 135687 w 447236"/>
              <a:gd name="connsiteY1365" fmla="*/ 228046 h 448122"/>
              <a:gd name="connsiteX1366" fmla="*/ 136608 w 447236"/>
              <a:gd name="connsiteY1366" fmla="*/ 228966 h 448122"/>
              <a:gd name="connsiteX1367" fmla="*/ 136608 w 447236"/>
              <a:gd name="connsiteY1367" fmla="*/ 233875 h 448122"/>
              <a:gd name="connsiteX1368" fmla="*/ 141516 w 447236"/>
              <a:gd name="connsiteY1368" fmla="*/ 233875 h 448122"/>
              <a:gd name="connsiteX1369" fmla="*/ 142437 w 447236"/>
              <a:gd name="connsiteY1369" fmla="*/ 234488 h 448122"/>
              <a:gd name="connsiteX1370" fmla="*/ 142437 w 447236"/>
              <a:gd name="connsiteY1370" fmla="*/ 236943 h 448122"/>
              <a:gd name="connsiteX1371" fmla="*/ 141516 w 447236"/>
              <a:gd name="connsiteY1371" fmla="*/ 237863 h 448122"/>
              <a:gd name="connsiteX1372" fmla="*/ 136608 w 447236"/>
              <a:gd name="connsiteY1372" fmla="*/ 237863 h 448122"/>
              <a:gd name="connsiteX1373" fmla="*/ 136608 w 447236"/>
              <a:gd name="connsiteY1373" fmla="*/ 242772 h 448122"/>
              <a:gd name="connsiteX1374" fmla="*/ 135687 w 447236"/>
              <a:gd name="connsiteY1374" fmla="*/ 243692 h 448122"/>
              <a:gd name="connsiteX1375" fmla="*/ 133540 w 447236"/>
              <a:gd name="connsiteY1375" fmla="*/ 243692 h 448122"/>
              <a:gd name="connsiteX1376" fmla="*/ 132620 w 447236"/>
              <a:gd name="connsiteY1376" fmla="*/ 242772 h 448122"/>
              <a:gd name="connsiteX1377" fmla="*/ 132620 w 447236"/>
              <a:gd name="connsiteY1377" fmla="*/ 237863 h 448122"/>
              <a:gd name="connsiteX1378" fmla="*/ 127711 w 447236"/>
              <a:gd name="connsiteY1378" fmla="*/ 237863 h 448122"/>
              <a:gd name="connsiteX1379" fmla="*/ 126791 w 447236"/>
              <a:gd name="connsiteY1379" fmla="*/ 236943 h 448122"/>
              <a:gd name="connsiteX1380" fmla="*/ 126791 w 447236"/>
              <a:gd name="connsiteY1380" fmla="*/ 234488 h 448122"/>
              <a:gd name="connsiteX1381" fmla="*/ 127711 w 447236"/>
              <a:gd name="connsiteY1381" fmla="*/ 233875 h 448122"/>
              <a:gd name="connsiteX1382" fmla="*/ 132620 w 447236"/>
              <a:gd name="connsiteY1382" fmla="*/ 233875 h 448122"/>
              <a:gd name="connsiteX1383" fmla="*/ 132620 w 447236"/>
              <a:gd name="connsiteY1383" fmla="*/ 228966 h 448122"/>
              <a:gd name="connsiteX1384" fmla="*/ 133540 w 447236"/>
              <a:gd name="connsiteY1384" fmla="*/ 228046 h 448122"/>
              <a:gd name="connsiteX1385" fmla="*/ 437421 w 447236"/>
              <a:gd name="connsiteY1385" fmla="*/ 225537 h 448122"/>
              <a:gd name="connsiteX1386" fmla="*/ 441037 w 447236"/>
              <a:gd name="connsiteY1386" fmla="*/ 229225 h 448122"/>
              <a:gd name="connsiteX1387" fmla="*/ 439832 w 447236"/>
              <a:gd name="connsiteY1387" fmla="*/ 231990 h 448122"/>
              <a:gd name="connsiteX1388" fmla="*/ 439832 w 447236"/>
              <a:gd name="connsiteY1388" fmla="*/ 236017 h 448122"/>
              <a:gd name="connsiteX1389" fmla="*/ 442929 w 447236"/>
              <a:gd name="connsiteY1389" fmla="*/ 236017 h 448122"/>
              <a:gd name="connsiteX1390" fmla="*/ 443546 w 447236"/>
              <a:gd name="connsiteY1390" fmla="*/ 236312 h 448122"/>
              <a:gd name="connsiteX1391" fmla="*/ 442929 w 447236"/>
              <a:gd name="connsiteY1391" fmla="*/ 236903 h 448122"/>
              <a:gd name="connsiteX1392" fmla="*/ 439832 w 447236"/>
              <a:gd name="connsiteY1392" fmla="*/ 236903 h 448122"/>
              <a:gd name="connsiteX1393" fmla="*/ 439832 w 447236"/>
              <a:gd name="connsiteY1393" fmla="*/ 239707 h 448122"/>
              <a:gd name="connsiteX1394" fmla="*/ 441170 w 447236"/>
              <a:gd name="connsiteY1394" fmla="*/ 239707 h 448122"/>
              <a:gd name="connsiteX1395" fmla="*/ 441479 w 447236"/>
              <a:gd name="connsiteY1395" fmla="*/ 240002 h 448122"/>
              <a:gd name="connsiteX1396" fmla="*/ 441170 w 447236"/>
              <a:gd name="connsiteY1396" fmla="*/ 240297 h 448122"/>
              <a:gd name="connsiteX1397" fmla="*/ 439832 w 447236"/>
              <a:gd name="connsiteY1397" fmla="*/ 240297 h 448122"/>
              <a:gd name="connsiteX1398" fmla="*/ 439832 w 447236"/>
              <a:gd name="connsiteY1398" fmla="*/ 243692 h 448122"/>
              <a:gd name="connsiteX1399" fmla="*/ 442929 w 447236"/>
              <a:gd name="connsiteY1399" fmla="*/ 243692 h 448122"/>
              <a:gd name="connsiteX1400" fmla="*/ 443546 w 447236"/>
              <a:gd name="connsiteY1400" fmla="*/ 244283 h 448122"/>
              <a:gd name="connsiteX1401" fmla="*/ 442929 w 447236"/>
              <a:gd name="connsiteY1401" fmla="*/ 244578 h 448122"/>
              <a:gd name="connsiteX1402" fmla="*/ 439832 w 447236"/>
              <a:gd name="connsiteY1402" fmla="*/ 244578 h 448122"/>
              <a:gd name="connsiteX1403" fmla="*/ 439832 w 447236"/>
              <a:gd name="connsiteY1403" fmla="*/ 247382 h 448122"/>
              <a:gd name="connsiteX1404" fmla="*/ 441170 w 447236"/>
              <a:gd name="connsiteY1404" fmla="*/ 247382 h 448122"/>
              <a:gd name="connsiteX1405" fmla="*/ 441479 w 447236"/>
              <a:gd name="connsiteY1405" fmla="*/ 247677 h 448122"/>
              <a:gd name="connsiteX1406" fmla="*/ 441170 w 447236"/>
              <a:gd name="connsiteY1406" fmla="*/ 247972 h 448122"/>
              <a:gd name="connsiteX1407" fmla="*/ 439832 w 447236"/>
              <a:gd name="connsiteY1407" fmla="*/ 247972 h 448122"/>
              <a:gd name="connsiteX1408" fmla="*/ 439832 w 447236"/>
              <a:gd name="connsiteY1408" fmla="*/ 251368 h 448122"/>
              <a:gd name="connsiteX1409" fmla="*/ 442929 w 447236"/>
              <a:gd name="connsiteY1409" fmla="*/ 251368 h 448122"/>
              <a:gd name="connsiteX1410" fmla="*/ 443546 w 447236"/>
              <a:gd name="connsiteY1410" fmla="*/ 251663 h 448122"/>
              <a:gd name="connsiteX1411" fmla="*/ 442929 w 447236"/>
              <a:gd name="connsiteY1411" fmla="*/ 251958 h 448122"/>
              <a:gd name="connsiteX1412" fmla="*/ 439832 w 447236"/>
              <a:gd name="connsiteY1412" fmla="*/ 251958 h 448122"/>
              <a:gd name="connsiteX1413" fmla="*/ 439832 w 447236"/>
              <a:gd name="connsiteY1413" fmla="*/ 255058 h 448122"/>
              <a:gd name="connsiteX1414" fmla="*/ 441170 w 447236"/>
              <a:gd name="connsiteY1414" fmla="*/ 255058 h 448122"/>
              <a:gd name="connsiteX1415" fmla="*/ 441479 w 447236"/>
              <a:gd name="connsiteY1415" fmla="*/ 255353 h 448122"/>
              <a:gd name="connsiteX1416" fmla="*/ 441170 w 447236"/>
              <a:gd name="connsiteY1416" fmla="*/ 255648 h 448122"/>
              <a:gd name="connsiteX1417" fmla="*/ 439832 w 447236"/>
              <a:gd name="connsiteY1417" fmla="*/ 255648 h 448122"/>
              <a:gd name="connsiteX1418" fmla="*/ 439832 w 447236"/>
              <a:gd name="connsiteY1418" fmla="*/ 259338 h 448122"/>
              <a:gd name="connsiteX1419" fmla="*/ 442929 w 447236"/>
              <a:gd name="connsiteY1419" fmla="*/ 259338 h 448122"/>
              <a:gd name="connsiteX1420" fmla="*/ 443546 w 447236"/>
              <a:gd name="connsiteY1420" fmla="*/ 259633 h 448122"/>
              <a:gd name="connsiteX1421" fmla="*/ 442929 w 447236"/>
              <a:gd name="connsiteY1421" fmla="*/ 259928 h 448122"/>
              <a:gd name="connsiteX1422" fmla="*/ 439832 w 447236"/>
              <a:gd name="connsiteY1422" fmla="*/ 259928 h 448122"/>
              <a:gd name="connsiteX1423" fmla="*/ 439832 w 447236"/>
              <a:gd name="connsiteY1423" fmla="*/ 263028 h 448122"/>
              <a:gd name="connsiteX1424" fmla="*/ 439856 w 447236"/>
              <a:gd name="connsiteY1424" fmla="*/ 263028 h 448122"/>
              <a:gd name="connsiteX1425" fmla="*/ 441170 w 447236"/>
              <a:gd name="connsiteY1425" fmla="*/ 263028 h 448122"/>
              <a:gd name="connsiteX1426" fmla="*/ 441479 w 447236"/>
              <a:gd name="connsiteY1426" fmla="*/ 263323 h 448122"/>
              <a:gd name="connsiteX1427" fmla="*/ 441170 w 447236"/>
              <a:gd name="connsiteY1427" fmla="*/ 263618 h 448122"/>
              <a:gd name="connsiteX1428" fmla="*/ 439856 w 447236"/>
              <a:gd name="connsiteY1428" fmla="*/ 263618 h 448122"/>
              <a:gd name="connsiteX1429" fmla="*/ 439856 w 447236"/>
              <a:gd name="connsiteY1429" fmla="*/ 266718 h 448122"/>
              <a:gd name="connsiteX1430" fmla="*/ 442929 w 447236"/>
              <a:gd name="connsiteY1430" fmla="*/ 266718 h 448122"/>
              <a:gd name="connsiteX1431" fmla="*/ 443546 w 447236"/>
              <a:gd name="connsiteY1431" fmla="*/ 267013 h 448122"/>
              <a:gd name="connsiteX1432" fmla="*/ 442929 w 447236"/>
              <a:gd name="connsiteY1432" fmla="*/ 267308 h 448122"/>
              <a:gd name="connsiteX1433" fmla="*/ 439856 w 447236"/>
              <a:gd name="connsiteY1433" fmla="*/ 267308 h 448122"/>
              <a:gd name="connsiteX1434" fmla="*/ 439856 w 447236"/>
              <a:gd name="connsiteY1434" fmla="*/ 269965 h 448122"/>
              <a:gd name="connsiteX1435" fmla="*/ 441170 w 447236"/>
              <a:gd name="connsiteY1435" fmla="*/ 269965 h 448122"/>
              <a:gd name="connsiteX1436" fmla="*/ 441479 w 447236"/>
              <a:gd name="connsiteY1436" fmla="*/ 270654 h 448122"/>
              <a:gd name="connsiteX1437" fmla="*/ 441170 w 447236"/>
              <a:gd name="connsiteY1437" fmla="*/ 270998 h 448122"/>
              <a:gd name="connsiteX1438" fmla="*/ 439856 w 447236"/>
              <a:gd name="connsiteY1438" fmla="*/ 270998 h 448122"/>
              <a:gd name="connsiteX1439" fmla="*/ 439856 w 447236"/>
              <a:gd name="connsiteY1439" fmla="*/ 274246 h 448122"/>
              <a:gd name="connsiteX1440" fmla="*/ 442929 w 447236"/>
              <a:gd name="connsiteY1440" fmla="*/ 274246 h 448122"/>
              <a:gd name="connsiteX1441" fmla="*/ 443546 w 447236"/>
              <a:gd name="connsiteY1441" fmla="*/ 274615 h 448122"/>
              <a:gd name="connsiteX1442" fmla="*/ 442929 w 447236"/>
              <a:gd name="connsiteY1442" fmla="*/ 274984 h 448122"/>
              <a:gd name="connsiteX1443" fmla="*/ 439856 w 447236"/>
              <a:gd name="connsiteY1443" fmla="*/ 274984 h 448122"/>
              <a:gd name="connsiteX1444" fmla="*/ 439856 w 447236"/>
              <a:gd name="connsiteY1444" fmla="*/ 277936 h 448122"/>
              <a:gd name="connsiteX1445" fmla="*/ 441170 w 447236"/>
              <a:gd name="connsiteY1445" fmla="*/ 277936 h 448122"/>
              <a:gd name="connsiteX1446" fmla="*/ 441479 w 447236"/>
              <a:gd name="connsiteY1446" fmla="*/ 278305 h 448122"/>
              <a:gd name="connsiteX1447" fmla="*/ 441170 w 447236"/>
              <a:gd name="connsiteY1447" fmla="*/ 278674 h 448122"/>
              <a:gd name="connsiteX1448" fmla="*/ 439856 w 447236"/>
              <a:gd name="connsiteY1448" fmla="*/ 278674 h 448122"/>
              <a:gd name="connsiteX1449" fmla="*/ 439856 w 447236"/>
              <a:gd name="connsiteY1449" fmla="*/ 281921 h 448122"/>
              <a:gd name="connsiteX1450" fmla="*/ 442929 w 447236"/>
              <a:gd name="connsiteY1450" fmla="*/ 281921 h 448122"/>
              <a:gd name="connsiteX1451" fmla="*/ 443546 w 447236"/>
              <a:gd name="connsiteY1451" fmla="*/ 282290 h 448122"/>
              <a:gd name="connsiteX1452" fmla="*/ 442929 w 447236"/>
              <a:gd name="connsiteY1452" fmla="*/ 282659 h 448122"/>
              <a:gd name="connsiteX1453" fmla="*/ 439856 w 447236"/>
              <a:gd name="connsiteY1453" fmla="*/ 282659 h 448122"/>
              <a:gd name="connsiteX1454" fmla="*/ 439856 w 447236"/>
              <a:gd name="connsiteY1454" fmla="*/ 285316 h 448122"/>
              <a:gd name="connsiteX1455" fmla="*/ 441170 w 447236"/>
              <a:gd name="connsiteY1455" fmla="*/ 285316 h 448122"/>
              <a:gd name="connsiteX1456" fmla="*/ 441479 w 447236"/>
              <a:gd name="connsiteY1456" fmla="*/ 285611 h 448122"/>
              <a:gd name="connsiteX1457" fmla="*/ 441170 w 447236"/>
              <a:gd name="connsiteY1457" fmla="*/ 286202 h 448122"/>
              <a:gd name="connsiteX1458" fmla="*/ 439856 w 447236"/>
              <a:gd name="connsiteY1458" fmla="*/ 286202 h 448122"/>
              <a:gd name="connsiteX1459" fmla="*/ 439856 w 447236"/>
              <a:gd name="connsiteY1459" fmla="*/ 289597 h 448122"/>
              <a:gd name="connsiteX1460" fmla="*/ 442929 w 447236"/>
              <a:gd name="connsiteY1460" fmla="*/ 289597 h 448122"/>
              <a:gd name="connsiteX1461" fmla="*/ 443546 w 447236"/>
              <a:gd name="connsiteY1461" fmla="*/ 289892 h 448122"/>
              <a:gd name="connsiteX1462" fmla="*/ 442929 w 447236"/>
              <a:gd name="connsiteY1462" fmla="*/ 290187 h 448122"/>
              <a:gd name="connsiteX1463" fmla="*/ 439856 w 447236"/>
              <a:gd name="connsiteY1463" fmla="*/ 290187 h 448122"/>
              <a:gd name="connsiteX1464" fmla="*/ 439856 w 447236"/>
              <a:gd name="connsiteY1464" fmla="*/ 292275 h 448122"/>
              <a:gd name="connsiteX1465" fmla="*/ 439856 w 447236"/>
              <a:gd name="connsiteY1465" fmla="*/ 293287 h 448122"/>
              <a:gd name="connsiteX1466" fmla="*/ 441170 w 447236"/>
              <a:gd name="connsiteY1466" fmla="*/ 293287 h 448122"/>
              <a:gd name="connsiteX1467" fmla="*/ 441479 w 447236"/>
              <a:gd name="connsiteY1467" fmla="*/ 293582 h 448122"/>
              <a:gd name="connsiteX1468" fmla="*/ 441170 w 447236"/>
              <a:gd name="connsiteY1468" fmla="*/ 293877 h 448122"/>
              <a:gd name="connsiteX1469" fmla="*/ 439856 w 447236"/>
              <a:gd name="connsiteY1469" fmla="*/ 293877 h 448122"/>
              <a:gd name="connsiteX1470" fmla="*/ 439856 w 447236"/>
              <a:gd name="connsiteY1470" fmla="*/ 296453 h 448122"/>
              <a:gd name="connsiteX1471" fmla="*/ 437416 w 447236"/>
              <a:gd name="connsiteY1471" fmla="*/ 298600 h 448122"/>
              <a:gd name="connsiteX1472" fmla="*/ 435280 w 447236"/>
              <a:gd name="connsiteY1472" fmla="*/ 296453 h 448122"/>
              <a:gd name="connsiteX1473" fmla="*/ 435280 w 447236"/>
              <a:gd name="connsiteY1473" fmla="*/ 293877 h 448122"/>
              <a:gd name="connsiteX1474" fmla="*/ 433058 w 447236"/>
              <a:gd name="connsiteY1474" fmla="*/ 293877 h 448122"/>
              <a:gd name="connsiteX1475" fmla="*/ 431899 w 447236"/>
              <a:gd name="connsiteY1475" fmla="*/ 293877 h 448122"/>
              <a:gd name="connsiteX1476" fmla="*/ 431590 w 447236"/>
              <a:gd name="connsiteY1476" fmla="*/ 293582 h 448122"/>
              <a:gd name="connsiteX1477" fmla="*/ 431899 w 447236"/>
              <a:gd name="connsiteY1477" fmla="*/ 293287 h 448122"/>
              <a:gd name="connsiteX1478" fmla="*/ 435280 w 447236"/>
              <a:gd name="connsiteY1478" fmla="*/ 293287 h 448122"/>
              <a:gd name="connsiteX1479" fmla="*/ 435280 w 447236"/>
              <a:gd name="connsiteY1479" fmla="*/ 290187 h 448122"/>
              <a:gd name="connsiteX1480" fmla="*/ 434827 w 447236"/>
              <a:gd name="connsiteY1480" fmla="*/ 290187 h 448122"/>
              <a:gd name="connsiteX1481" fmla="*/ 433670 w 447236"/>
              <a:gd name="connsiteY1481" fmla="*/ 290187 h 448122"/>
              <a:gd name="connsiteX1482" fmla="*/ 433361 w 447236"/>
              <a:gd name="connsiteY1482" fmla="*/ 289892 h 448122"/>
              <a:gd name="connsiteX1483" fmla="*/ 433670 w 447236"/>
              <a:gd name="connsiteY1483" fmla="*/ 289597 h 448122"/>
              <a:gd name="connsiteX1484" fmla="*/ 435280 w 447236"/>
              <a:gd name="connsiteY1484" fmla="*/ 289597 h 448122"/>
              <a:gd name="connsiteX1485" fmla="*/ 435280 w 447236"/>
              <a:gd name="connsiteY1485" fmla="*/ 286202 h 448122"/>
              <a:gd name="connsiteX1486" fmla="*/ 433058 w 447236"/>
              <a:gd name="connsiteY1486" fmla="*/ 286202 h 448122"/>
              <a:gd name="connsiteX1487" fmla="*/ 431899 w 447236"/>
              <a:gd name="connsiteY1487" fmla="*/ 286202 h 448122"/>
              <a:gd name="connsiteX1488" fmla="*/ 431590 w 447236"/>
              <a:gd name="connsiteY1488" fmla="*/ 285611 h 448122"/>
              <a:gd name="connsiteX1489" fmla="*/ 431899 w 447236"/>
              <a:gd name="connsiteY1489" fmla="*/ 285316 h 448122"/>
              <a:gd name="connsiteX1490" fmla="*/ 435280 w 447236"/>
              <a:gd name="connsiteY1490" fmla="*/ 285316 h 448122"/>
              <a:gd name="connsiteX1491" fmla="*/ 435280 w 447236"/>
              <a:gd name="connsiteY1491" fmla="*/ 282659 h 448122"/>
              <a:gd name="connsiteX1492" fmla="*/ 434827 w 447236"/>
              <a:gd name="connsiteY1492" fmla="*/ 282659 h 448122"/>
              <a:gd name="connsiteX1493" fmla="*/ 433670 w 447236"/>
              <a:gd name="connsiteY1493" fmla="*/ 282659 h 448122"/>
              <a:gd name="connsiteX1494" fmla="*/ 433361 w 447236"/>
              <a:gd name="connsiteY1494" fmla="*/ 282290 h 448122"/>
              <a:gd name="connsiteX1495" fmla="*/ 433670 w 447236"/>
              <a:gd name="connsiteY1495" fmla="*/ 281921 h 448122"/>
              <a:gd name="connsiteX1496" fmla="*/ 435280 w 447236"/>
              <a:gd name="connsiteY1496" fmla="*/ 281921 h 448122"/>
              <a:gd name="connsiteX1497" fmla="*/ 435280 w 447236"/>
              <a:gd name="connsiteY1497" fmla="*/ 278674 h 448122"/>
              <a:gd name="connsiteX1498" fmla="*/ 433058 w 447236"/>
              <a:gd name="connsiteY1498" fmla="*/ 278674 h 448122"/>
              <a:gd name="connsiteX1499" fmla="*/ 431899 w 447236"/>
              <a:gd name="connsiteY1499" fmla="*/ 278674 h 448122"/>
              <a:gd name="connsiteX1500" fmla="*/ 431590 w 447236"/>
              <a:gd name="connsiteY1500" fmla="*/ 278305 h 448122"/>
              <a:gd name="connsiteX1501" fmla="*/ 431899 w 447236"/>
              <a:gd name="connsiteY1501" fmla="*/ 277936 h 448122"/>
              <a:gd name="connsiteX1502" fmla="*/ 435280 w 447236"/>
              <a:gd name="connsiteY1502" fmla="*/ 277936 h 448122"/>
              <a:gd name="connsiteX1503" fmla="*/ 435280 w 447236"/>
              <a:gd name="connsiteY1503" fmla="*/ 274984 h 448122"/>
              <a:gd name="connsiteX1504" fmla="*/ 434827 w 447236"/>
              <a:gd name="connsiteY1504" fmla="*/ 274984 h 448122"/>
              <a:gd name="connsiteX1505" fmla="*/ 433670 w 447236"/>
              <a:gd name="connsiteY1505" fmla="*/ 274984 h 448122"/>
              <a:gd name="connsiteX1506" fmla="*/ 433361 w 447236"/>
              <a:gd name="connsiteY1506" fmla="*/ 274615 h 448122"/>
              <a:gd name="connsiteX1507" fmla="*/ 433670 w 447236"/>
              <a:gd name="connsiteY1507" fmla="*/ 274246 h 448122"/>
              <a:gd name="connsiteX1508" fmla="*/ 435280 w 447236"/>
              <a:gd name="connsiteY1508" fmla="*/ 274246 h 448122"/>
              <a:gd name="connsiteX1509" fmla="*/ 435280 w 447236"/>
              <a:gd name="connsiteY1509" fmla="*/ 270998 h 448122"/>
              <a:gd name="connsiteX1510" fmla="*/ 433058 w 447236"/>
              <a:gd name="connsiteY1510" fmla="*/ 270998 h 448122"/>
              <a:gd name="connsiteX1511" fmla="*/ 431899 w 447236"/>
              <a:gd name="connsiteY1511" fmla="*/ 270998 h 448122"/>
              <a:gd name="connsiteX1512" fmla="*/ 431590 w 447236"/>
              <a:gd name="connsiteY1512" fmla="*/ 270654 h 448122"/>
              <a:gd name="connsiteX1513" fmla="*/ 431899 w 447236"/>
              <a:gd name="connsiteY1513" fmla="*/ 269965 h 448122"/>
              <a:gd name="connsiteX1514" fmla="*/ 435280 w 447236"/>
              <a:gd name="connsiteY1514" fmla="*/ 269965 h 448122"/>
              <a:gd name="connsiteX1515" fmla="*/ 435280 w 447236"/>
              <a:gd name="connsiteY1515" fmla="*/ 267308 h 448122"/>
              <a:gd name="connsiteX1516" fmla="*/ 434827 w 447236"/>
              <a:gd name="connsiteY1516" fmla="*/ 267308 h 448122"/>
              <a:gd name="connsiteX1517" fmla="*/ 433670 w 447236"/>
              <a:gd name="connsiteY1517" fmla="*/ 267308 h 448122"/>
              <a:gd name="connsiteX1518" fmla="*/ 433361 w 447236"/>
              <a:gd name="connsiteY1518" fmla="*/ 267013 h 448122"/>
              <a:gd name="connsiteX1519" fmla="*/ 433670 w 447236"/>
              <a:gd name="connsiteY1519" fmla="*/ 266718 h 448122"/>
              <a:gd name="connsiteX1520" fmla="*/ 435280 w 447236"/>
              <a:gd name="connsiteY1520" fmla="*/ 266718 h 448122"/>
              <a:gd name="connsiteX1521" fmla="*/ 435280 w 447236"/>
              <a:gd name="connsiteY1521" fmla="*/ 263618 h 448122"/>
              <a:gd name="connsiteX1522" fmla="*/ 433058 w 447236"/>
              <a:gd name="connsiteY1522" fmla="*/ 263618 h 448122"/>
              <a:gd name="connsiteX1523" fmla="*/ 431899 w 447236"/>
              <a:gd name="connsiteY1523" fmla="*/ 263618 h 448122"/>
              <a:gd name="connsiteX1524" fmla="*/ 431590 w 447236"/>
              <a:gd name="connsiteY1524" fmla="*/ 263323 h 448122"/>
              <a:gd name="connsiteX1525" fmla="*/ 431899 w 447236"/>
              <a:gd name="connsiteY1525" fmla="*/ 263028 h 448122"/>
              <a:gd name="connsiteX1526" fmla="*/ 435280 w 447236"/>
              <a:gd name="connsiteY1526" fmla="*/ 263028 h 448122"/>
              <a:gd name="connsiteX1527" fmla="*/ 435311 w 447236"/>
              <a:gd name="connsiteY1527" fmla="*/ 263028 h 448122"/>
              <a:gd name="connsiteX1528" fmla="*/ 435311 w 447236"/>
              <a:gd name="connsiteY1528" fmla="*/ 259928 h 448122"/>
              <a:gd name="connsiteX1529" fmla="*/ 434827 w 447236"/>
              <a:gd name="connsiteY1529" fmla="*/ 259928 h 448122"/>
              <a:gd name="connsiteX1530" fmla="*/ 433670 w 447236"/>
              <a:gd name="connsiteY1530" fmla="*/ 259928 h 448122"/>
              <a:gd name="connsiteX1531" fmla="*/ 433361 w 447236"/>
              <a:gd name="connsiteY1531" fmla="*/ 259633 h 448122"/>
              <a:gd name="connsiteX1532" fmla="*/ 433670 w 447236"/>
              <a:gd name="connsiteY1532" fmla="*/ 259338 h 448122"/>
              <a:gd name="connsiteX1533" fmla="*/ 435311 w 447236"/>
              <a:gd name="connsiteY1533" fmla="*/ 259338 h 448122"/>
              <a:gd name="connsiteX1534" fmla="*/ 435311 w 447236"/>
              <a:gd name="connsiteY1534" fmla="*/ 255648 h 448122"/>
              <a:gd name="connsiteX1535" fmla="*/ 433058 w 447236"/>
              <a:gd name="connsiteY1535" fmla="*/ 255648 h 448122"/>
              <a:gd name="connsiteX1536" fmla="*/ 431899 w 447236"/>
              <a:gd name="connsiteY1536" fmla="*/ 255648 h 448122"/>
              <a:gd name="connsiteX1537" fmla="*/ 431590 w 447236"/>
              <a:gd name="connsiteY1537" fmla="*/ 255353 h 448122"/>
              <a:gd name="connsiteX1538" fmla="*/ 431899 w 447236"/>
              <a:gd name="connsiteY1538" fmla="*/ 255058 h 448122"/>
              <a:gd name="connsiteX1539" fmla="*/ 435311 w 447236"/>
              <a:gd name="connsiteY1539" fmla="*/ 255058 h 448122"/>
              <a:gd name="connsiteX1540" fmla="*/ 435311 w 447236"/>
              <a:gd name="connsiteY1540" fmla="*/ 251958 h 448122"/>
              <a:gd name="connsiteX1541" fmla="*/ 434827 w 447236"/>
              <a:gd name="connsiteY1541" fmla="*/ 251958 h 448122"/>
              <a:gd name="connsiteX1542" fmla="*/ 433670 w 447236"/>
              <a:gd name="connsiteY1542" fmla="*/ 251958 h 448122"/>
              <a:gd name="connsiteX1543" fmla="*/ 433361 w 447236"/>
              <a:gd name="connsiteY1543" fmla="*/ 251663 h 448122"/>
              <a:gd name="connsiteX1544" fmla="*/ 433670 w 447236"/>
              <a:gd name="connsiteY1544" fmla="*/ 251368 h 448122"/>
              <a:gd name="connsiteX1545" fmla="*/ 435311 w 447236"/>
              <a:gd name="connsiteY1545" fmla="*/ 251368 h 448122"/>
              <a:gd name="connsiteX1546" fmla="*/ 435311 w 447236"/>
              <a:gd name="connsiteY1546" fmla="*/ 247972 h 448122"/>
              <a:gd name="connsiteX1547" fmla="*/ 433058 w 447236"/>
              <a:gd name="connsiteY1547" fmla="*/ 247972 h 448122"/>
              <a:gd name="connsiteX1548" fmla="*/ 431899 w 447236"/>
              <a:gd name="connsiteY1548" fmla="*/ 247972 h 448122"/>
              <a:gd name="connsiteX1549" fmla="*/ 431590 w 447236"/>
              <a:gd name="connsiteY1549" fmla="*/ 247677 h 448122"/>
              <a:gd name="connsiteX1550" fmla="*/ 431899 w 447236"/>
              <a:gd name="connsiteY1550" fmla="*/ 247382 h 448122"/>
              <a:gd name="connsiteX1551" fmla="*/ 435311 w 447236"/>
              <a:gd name="connsiteY1551" fmla="*/ 247382 h 448122"/>
              <a:gd name="connsiteX1552" fmla="*/ 435311 w 447236"/>
              <a:gd name="connsiteY1552" fmla="*/ 245084 h 448122"/>
              <a:gd name="connsiteX1553" fmla="*/ 435311 w 447236"/>
              <a:gd name="connsiteY1553" fmla="*/ 244578 h 448122"/>
              <a:gd name="connsiteX1554" fmla="*/ 434827 w 447236"/>
              <a:gd name="connsiteY1554" fmla="*/ 244578 h 448122"/>
              <a:gd name="connsiteX1555" fmla="*/ 433670 w 447236"/>
              <a:gd name="connsiteY1555" fmla="*/ 244578 h 448122"/>
              <a:gd name="connsiteX1556" fmla="*/ 433361 w 447236"/>
              <a:gd name="connsiteY1556" fmla="*/ 244283 h 448122"/>
              <a:gd name="connsiteX1557" fmla="*/ 433670 w 447236"/>
              <a:gd name="connsiteY1557" fmla="*/ 243692 h 448122"/>
              <a:gd name="connsiteX1558" fmla="*/ 435311 w 447236"/>
              <a:gd name="connsiteY1558" fmla="*/ 243692 h 448122"/>
              <a:gd name="connsiteX1559" fmla="*/ 435311 w 447236"/>
              <a:gd name="connsiteY1559" fmla="*/ 240297 h 448122"/>
              <a:gd name="connsiteX1560" fmla="*/ 433058 w 447236"/>
              <a:gd name="connsiteY1560" fmla="*/ 240297 h 448122"/>
              <a:gd name="connsiteX1561" fmla="*/ 431899 w 447236"/>
              <a:gd name="connsiteY1561" fmla="*/ 240297 h 448122"/>
              <a:gd name="connsiteX1562" fmla="*/ 431590 w 447236"/>
              <a:gd name="connsiteY1562" fmla="*/ 240002 h 448122"/>
              <a:gd name="connsiteX1563" fmla="*/ 431899 w 447236"/>
              <a:gd name="connsiteY1563" fmla="*/ 239707 h 448122"/>
              <a:gd name="connsiteX1564" fmla="*/ 435311 w 447236"/>
              <a:gd name="connsiteY1564" fmla="*/ 239707 h 448122"/>
              <a:gd name="connsiteX1565" fmla="*/ 435311 w 447236"/>
              <a:gd name="connsiteY1565" fmla="*/ 236903 h 448122"/>
              <a:gd name="connsiteX1566" fmla="*/ 434827 w 447236"/>
              <a:gd name="connsiteY1566" fmla="*/ 236903 h 448122"/>
              <a:gd name="connsiteX1567" fmla="*/ 433670 w 447236"/>
              <a:gd name="connsiteY1567" fmla="*/ 236903 h 448122"/>
              <a:gd name="connsiteX1568" fmla="*/ 433361 w 447236"/>
              <a:gd name="connsiteY1568" fmla="*/ 236312 h 448122"/>
              <a:gd name="connsiteX1569" fmla="*/ 433670 w 447236"/>
              <a:gd name="connsiteY1569" fmla="*/ 236017 h 448122"/>
              <a:gd name="connsiteX1570" fmla="*/ 435311 w 447236"/>
              <a:gd name="connsiteY1570" fmla="*/ 236017 h 448122"/>
              <a:gd name="connsiteX1571" fmla="*/ 435311 w 447236"/>
              <a:gd name="connsiteY1571" fmla="*/ 235870 h 448122"/>
              <a:gd name="connsiteX1572" fmla="*/ 435311 w 447236"/>
              <a:gd name="connsiteY1572" fmla="*/ 231990 h 448122"/>
              <a:gd name="connsiteX1573" fmla="*/ 433804 w 447236"/>
              <a:gd name="connsiteY1573" fmla="*/ 229225 h 448122"/>
              <a:gd name="connsiteX1574" fmla="*/ 437421 w 447236"/>
              <a:gd name="connsiteY1574" fmla="*/ 225537 h 448122"/>
              <a:gd name="connsiteX1575" fmla="*/ 49373 w 447236"/>
              <a:gd name="connsiteY1575" fmla="*/ 225537 h 448122"/>
              <a:gd name="connsiteX1576" fmla="*/ 51513 w 447236"/>
              <a:gd name="connsiteY1576" fmla="*/ 227679 h 448122"/>
              <a:gd name="connsiteX1577" fmla="*/ 51513 w 447236"/>
              <a:gd name="connsiteY1577" fmla="*/ 238083 h 448122"/>
              <a:gd name="connsiteX1578" fmla="*/ 53826 w 447236"/>
              <a:gd name="connsiteY1578" fmla="*/ 238083 h 448122"/>
              <a:gd name="connsiteX1579" fmla="*/ 55288 w 447236"/>
              <a:gd name="connsiteY1579" fmla="*/ 238083 h 448122"/>
              <a:gd name="connsiteX1580" fmla="*/ 56827 w 447236"/>
              <a:gd name="connsiteY1580" fmla="*/ 239327 h 448122"/>
              <a:gd name="connsiteX1581" fmla="*/ 56827 w 447236"/>
              <a:gd name="connsiteY1581" fmla="*/ 245548 h 448122"/>
              <a:gd name="connsiteX1582" fmla="*/ 55288 w 447236"/>
              <a:gd name="connsiteY1582" fmla="*/ 246792 h 448122"/>
              <a:gd name="connsiteX1583" fmla="*/ 54053 w 447236"/>
              <a:gd name="connsiteY1583" fmla="*/ 246792 h 448122"/>
              <a:gd name="connsiteX1584" fmla="*/ 57123 w 447236"/>
              <a:gd name="connsiteY1584" fmla="*/ 249848 h 448122"/>
              <a:gd name="connsiteX1585" fmla="*/ 57123 w 447236"/>
              <a:gd name="connsiteY1585" fmla="*/ 269714 h 448122"/>
              <a:gd name="connsiteX1586" fmla="*/ 54053 w 447236"/>
              <a:gd name="connsiteY1586" fmla="*/ 272770 h 448122"/>
              <a:gd name="connsiteX1587" fmla="*/ 44842 w 447236"/>
              <a:gd name="connsiteY1587" fmla="*/ 272770 h 448122"/>
              <a:gd name="connsiteX1588" fmla="*/ 41772 w 447236"/>
              <a:gd name="connsiteY1588" fmla="*/ 269714 h 448122"/>
              <a:gd name="connsiteX1589" fmla="*/ 41772 w 447236"/>
              <a:gd name="connsiteY1589" fmla="*/ 249848 h 448122"/>
              <a:gd name="connsiteX1590" fmla="*/ 44842 w 447236"/>
              <a:gd name="connsiteY1590" fmla="*/ 246792 h 448122"/>
              <a:gd name="connsiteX1591" fmla="*/ 43593 w 447236"/>
              <a:gd name="connsiteY1591" fmla="*/ 246792 h 448122"/>
              <a:gd name="connsiteX1592" fmla="*/ 42362 w 447236"/>
              <a:gd name="connsiteY1592" fmla="*/ 245548 h 448122"/>
              <a:gd name="connsiteX1593" fmla="*/ 42362 w 447236"/>
              <a:gd name="connsiteY1593" fmla="*/ 239327 h 448122"/>
              <a:gd name="connsiteX1594" fmla="*/ 43593 w 447236"/>
              <a:gd name="connsiteY1594" fmla="*/ 238083 h 448122"/>
              <a:gd name="connsiteX1595" fmla="*/ 47233 w 447236"/>
              <a:gd name="connsiteY1595" fmla="*/ 238083 h 448122"/>
              <a:gd name="connsiteX1596" fmla="*/ 47233 w 447236"/>
              <a:gd name="connsiteY1596" fmla="*/ 227679 h 448122"/>
              <a:gd name="connsiteX1597" fmla="*/ 49373 w 447236"/>
              <a:gd name="connsiteY1597" fmla="*/ 225537 h 448122"/>
              <a:gd name="connsiteX1598" fmla="*/ 14421 w 447236"/>
              <a:gd name="connsiteY1598" fmla="*/ 225537 h 448122"/>
              <a:gd name="connsiteX1599" fmla="*/ 24853 w 447236"/>
              <a:gd name="connsiteY1599" fmla="*/ 225537 h 448122"/>
              <a:gd name="connsiteX1600" fmla="*/ 28535 w 447236"/>
              <a:gd name="connsiteY1600" fmla="*/ 228908 h 448122"/>
              <a:gd name="connsiteX1601" fmla="*/ 28535 w 447236"/>
              <a:gd name="connsiteY1601" fmla="*/ 235956 h 448122"/>
              <a:gd name="connsiteX1602" fmla="*/ 10739 w 447236"/>
              <a:gd name="connsiteY1602" fmla="*/ 235956 h 448122"/>
              <a:gd name="connsiteX1603" fmla="*/ 10739 w 447236"/>
              <a:gd name="connsiteY1603" fmla="*/ 229214 h 448122"/>
              <a:gd name="connsiteX1604" fmla="*/ 14421 w 447236"/>
              <a:gd name="connsiteY1604" fmla="*/ 225537 h 448122"/>
              <a:gd name="connsiteX1605" fmla="*/ 134460 w 447236"/>
              <a:gd name="connsiteY1605" fmla="*/ 225001 h 448122"/>
              <a:gd name="connsiteX1606" fmla="*/ 123723 w 447236"/>
              <a:gd name="connsiteY1606" fmla="*/ 235712 h 448122"/>
              <a:gd name="connsiteX1607" fmla="*/ 134460 w 447236"/>
              <a:gd name="connsiteY1607" fmla="*/ 246424 h 448122"/>
              <a:gd name="connsiteX1608" fmla="*/ 145504 w 447236"/>
              <a:gd name="connsiteY1608" fmla="*/ 235712 h 448122"/>
              <a:gd name="connsiteX1609" fmla="*/ 134460 w 447236"/>
              <a:gd name="connsiteY1609" fmla="*/ 225001 h 448122"/>
              <a:gd name="connsiteX1610" fmla="*/ 133846 w 447236"/>
              <a:gd name="connsiteY1610" fmla="*/ 223471 h 448122"/>
              <a:gd name="connsiteX1611" fmla="*/ 173728 w 447236"/>
              <a:gd name="connsiteY1611" fmla="*/ 239385 h 448122"/>
              <a:gd name="connsiteX1612" fmla="*/ 163297 w 447236"/>
              <a:gd name="connsiteY1612" fmla="*/ 256829 h 448122"/>
              <a:gd name="connsiteX1613" fmla="*/ 133846 w 447236"/>
              <a:gd name="connsiteY1613" fmla="*/ 248260 h 448122"/>
              <a:gd name="connsiteX1614" fmla="*/ 106236 w 447236"/>
              <a:gd name="connsiteY1614" fmla="*/ 255911 h 448122"/>
              <a:gd name="connsiteX1615" fmla="*/ 95499 w 447236"/>
              <a:gd name="connsiteY1615" fmla="*/ 237855 h 448122"/>
              <a:gd name="connsiteX1616" fmla="*/ 133846 w 447236"/>
              <a:gd name="connsiteY1616" fmla="*/ 223471 h 448122"/>
              <a:gd name="connsiteX1617" fmla="*/ 83458 w 447236"/>
              <a:gd name="connsiteY1617" fmla="*/ 219838 h 448122"/>
              <a:gd name="connsiteX1618" fmla="*/ 87799 w 447236"/>
              <a:gd name="connsiteY1618" fmla="*/ 221869 h 448122"/>
              <a:gd name="connsiteX1619" fmla="*/ 86877 w 447236"/>
              <a:gd name="connsiteY1619" fmla="*/ 228613 h 448122"/>
              <a:gd name="connsiteX1620" fmla="*/ 85033 w 447236"/>
              <a:gd name="connsiteY1620" fmla="*/ 231372 h 448122"/>
              <a:gd name="connsiteX1621" fmla="*/ 84418 w 447236"/>
              <a:gd name="connsiteY1621" fmla="*/ 241795 h 448122"/>
              <a:gd name="connsiteX1622" fmla="*/ 83189 w 447236"/>
              <a:gd name="connsiteY1622" fmla="*/ 248233 h 448122"/>
              <a:gd name="connsiteX1623" fmla="*/ 81345 w 447236"/>
              <a:gd name="connsiteY1623" fmla="*/ 252525 h 448122"/>
              <a:gd name="connsiteX1624" fmla="*/ 80423 w 447236"/>
              <a:gd name="connsiteY1624" fmla="*/ 252831 h 448122"/>
              <a:gd name="connsiteX1625" fmla="*/ 79501 w 447236"/>
              <a:gd name="connsiteY1625" fmla="*/ 243328 h 448122"/>
              <a:gd name="connsiteX1626" fmla="*/ 78271 w 447236"/>
              <a:gd name="connsiteY1626" fmla="*/ 238423 h 448122"/>
              <a:gd name="connsiteX1627" fmla="*/ 77349 w 447236"/>
              <a:gd name="connsiteY1627" fmla="*/ 237810 h 448122"/>
              <a:gd name="connsiteX1628" fmla="*/ 76120 w 447236"/>
              <a:gd name="connsiteY1628" fmla="*/ 238423 h 448122"/>
              <a:gd name="connsiteX1629" fmla="*/ 75198 w 447236"/>
              <a:gd name="connsiteY1629" fmla="*/ 243328 h 448122"/>
              <a:gd name="connsiteX1630" fmla="*/ 73969 w 447236"/>
              <a:gd name="connsiteY1630" fmla="*/ 252831 h 448122"/>
              <a:gd name="connsiteX1631" fmla="*/ 73047 w 447236"/>
              <a:gd name="connsiteY1631" fmla="*/ 252525 h 448122"/>
              <a:gd name="connsiteX1632" fmla="*/ 71510 w 447236"/>
              <a:gd name="connsiteY1632" fmla="*/ 248233 h 448122"/>
              <a:gd name="connsiteX1633" fmla="*/ 69973 w 447236"/>
              <a:gd name="connsiteY1633" fmla="*/ 241795 h 448122"/>
              <a:gd name="connsiteX1634" fmla="*/ 69359 w 447236"/>
              <a:gd name="connsiteY1634" fmla="*/ 231372 h 448122"/>
              <a:gd name="connsiteX1635" fmla="*/ 67514 w 447236"/>
              <a:gd name="connsiteY1635" fmla="*/ 228613 h 448122"/>
              <a:gd name="connsiteX1636" fmla="*/ 66900 w 447236"/>
              <a:gd name="connsiteY1636" fmla="*/ 221869 h 448122"/>
              <a:gd name="connsiteX1637" fmla="*/ 77964 w 447236"/>
              <a:gd name="connsiteY1637" fmla="*/ 221256 h 448122"/>
              <a:gd name="connsiteX1638" fmla="*/ 83458 w 447236"/>
              <a:gd name="connsiteY1638" fmla="*/ 219838 h 448122"/>
              <a:gd name="connsiteX1639" fmla="*/ 399708 w 447236"/>
              <a:gd name="connsiteY1639" fmla="*/ 215205 h 448122"/>
              <a:gd name="connsiteX1640" fmla="*/ 407089 w 447236"/>
              <a:gd name="connsiteY1640" fmla="*/ 228636 h 448122"/>
              <a:gd name="connsiteX1641" fmla="*/ 416831 w 447236"/>
              <a:gd name="connsiteY1641" fmla="*/ 228636 h 448122"/>
              <a:gd name="connsiteX1642" fmla="*/ 417716 w 447236"/>
              <a:gd name="connsiteY1642" fmla="*/ 238083 h 448122"/>
              <a:gd name="connsiteX1643" fmla="*/ 418371 w 447236"/>
              <a:gd name="connsiteY1643" fmla="*/ 238083 h 448122"/>
              <a:gd name="connsiteX1644" fmla="*/ 420904 w 447236"/>
              <a:gd name="connsiteY1644" fmla="*/ 238083 h 448122"/>
              <a:gd name="connsiteX1645" fmla="*/ 422439 w 447236"/>
              <a:gd name="connsiteY1645" fmla="*/ 239323 h 448122"/>
              <a:gd name="connsiteX1646" fmla="*/ 422439 w 447236"/>
              <a:gd name="connsiteY1646" fmla="*/ 239943 h 448122"/>
              <a:gd name="connsiteX1647" fmla="*/ 420904 w 447236"/>
              <a:gd name="connsiteY1647" fmla="*/ 241183 h 448122"/>
              <a:gd name="connsiteX1648" fmla="*/ 420223 w 447236"/>
              <a:gd name="connsiteY1648" fmla="*/ 241183 h 448122"/>
              <a:gd name="connsiteX1649" fmla="*/ 424210 w 447236"/>
              <a:gd name="connsiteY1649" fmla="*/ 250692 h 448122"/>
              <a:gd name="connsiteX1650" fmla="*/ 424210 w 447236"/>
              <a:gd name="connsiteY1650" fmla="*/ 314800 h 448122"/>
              <a:gd name="connsiteX1651" fmla="*/ 419610 w 447236"/>
              <a:gd name="connsiteY1651" fmla="*/ 319708 h 448122"/>
              <a:gd name="connsiteX1652" fmla="*/ 410409 w 447236"/>
              <a:gd name="connsiteY1652" fmla="*/ 319708 h 448122"/>
              <a:gd name="connsiteX1653" fmla="*/ 401209 w 447236"/>
              <a:gd name="connsiteY1653" fmla="*/ 319708 h 448122"/>
              <a:gd name="connsiteX1654" fmla="*/ 396608 w 447236"/>
              <a:gd name="connsiteY1654" fmla="*/ 314800 h 448122"/>
              <a:gd name="connsiteX1655" fmla="*/ 396608 w 447236"/>
              <a:gd name="connsiteY1655" fmla="*/ 250692 h 448122"/>
              <a:gd name="connsiteX1656" fmla="*/ 400595 w 447236"/>
              <a:gd name="connsiteY1656" fmla="*/ 241183 h 448122"/>
              <a:gd name="connsiteX1657" fmla="*/ 400641 w 447236"/>
              <a:gd name="connsiteY1657" fmla="*/ 241183 h 448122"/>
              <a:gd name="connsiteX1658" fmla="*/ 399413 w 447236"/>
              <a:gd name="connsiteY1658" fmla="*/ 239943 h 448122"/>
              <a:gd name="connsiteX1659" fmla="*/ 399413 w 447236"/>
              <a:gd name="connsiteY1659" fmla="*/ 239323 h 448122"/>
              <a:gd name="connsiteX1660" fmla="*/ 400641 w 447236"/>
              <a:gd name="connsiteY1660" fmla="*/ 238083 h 448122"/>
              <a:gd name="connsiteX1661" fmla="*/ 403694 w 447236"/>
              <a:gd name="connsiteY1661" fmla="*/ 238083 h 448122"/>
              <a:gd name="connsiteX1662" fmla="*/ 404284 w 447236"/>
              <a:gd name="connsiteY1662" fmla="*/ 229522 h 448122"/>
              <a:gd name="connsiteX1663" fmla="*/ 397494 w 447236"/>
              <a:gd name="connsiteY1663" fmla="*/ 216386 h 448122"/>
              <a:gd name="connsiteX1664" fmla="*/ 136532 w 447236"/>
              <a:gd name="connsiteY1664" fmla="*/ 213286 h 448122"/>
              <a:gd name="connsiteX1665" fmla="*/ 136975 w 447236"/>
              <a:gd name="connsiteY1665" fmla="*/ 213286 h 448122"/>
              <a:gd name="connsiteX1666" fmla="*/ 137270 w 447236"/>
              <a:gd name="connsiteY1666" fmla="*/ 213286 h 448122"/>
              <a:gd name="connsiteX1667" fmla="*/ 137270 w 447236"/>
              <a:gd name="connsiteY1667" fmla="*/ 213876 h 448122"/>
              <a:gd name="connsiteX1668" fmla="*/ 136532 w 447236"/>
              <a:gd name="connsiteY1668" fmla="*/ 213876 h 448122"/>
              <a:gd name="connsiteX1669" fmla="*/ 434047 w 447236"/>
              <a:gd name="connsiteY1669" fmla="*/ 212400 h 448122"/>
              <a:gd name="connsiteX1670" fmla="*/ 434047 w 447236"/>
              <a:gd name="connsiteY1670" fmla="*/ 214023 h 448122"/>
              <a:gd name="connsiteX1671" fmla="*/ 434047 w 447236"/>
              <a:gd name="connsiteY1671" fmla="*/ 216092 h 448122"/>
              <a:gd name="connsiteX1672" fmla="*/ 433433 w 447236"/>
              <a:gd name="connsiteY1672" fmla="*/ 217932 h 448122"/>
              <a:gd name="connsiteX1673" fmla="*/ 432206 w 447236"/>
              <a:gd name="connsiteY1673" fmla="*/ 219158 h 448122"/>
              <a:gd name="connsiteX1674" fmla="*/ 429446 w 447236"/>
              <a:gd name="connsiteY1674" fmla="*/ 221917 h 448122"/>
              <a:gd name="connsiteX1675" fmla="*/ 428525 w 447236"/>
              <a:gd name="connsiteY1675" fmla="*/ 225596 h 448122"/>
              <a:gd name="connsiteX1676" fmla="*/ 428525 w 447236"/>
              <a:gd name="connsiteY1676" fmla="*/ 298832 h 448122"/>
              <a:gd name="connsiteX1677" fmla="*/ 428525 w 447236"/>
              <a:gd name="connsiteY1677" fmla="*/ 299252 h 448122"/>
              <a:gd name="connsiteX1678" fmla="*/ 440799 w 447236"/>
              <a:gd name="connsiteY1678" fmla="*/ 306253 h 448122"/>
              <a:gd name="connsiteX1679" fmla="*/ 446316 w 447236"/>
              <a:gd name="connsiteY1679" fmla="*/ 304876 h 448122"/>
              <a:gd name="connsiteX1680" fmla="*/ 446316 w 447236"/>
              <a:gd name="connsiteY1680" fmla="*/ 281667 h 448122"/>
              <a:gd name="connsiteX1681" fmla="*/ 446316 w 447236"/>
              <a:gd name="connsiteY1681" fmla="*/ 225596 h 448122"/>
              <a:gd name="connsiteX1682" fmla="*/ 445396 w 447236"/>
              <a:gd name="connsiteY1682" fmla="*/ 221917 h 448122"/>
              <a:gd name="connsiteX1683" fmla="*/ 442635 w 447236"/>
              <a:gd name="connsiteY1683" fmla="*/ 219158 h 448122"/>
              <a:gd name="connsiteX1684" fmla="*/ 441408 w 447236"/>
              <a:gd name="connsiteY1684" fmla="*/ 217932 h 448122"/>
              <a:gd name="connsiteX1685" fmla="*/ 440795 w 447236"/>
              <a:gd name="connsiteY1685" fmla="*/ 216399 h 448122"/>
              <a:gd name="connsiteX1686" fmla="*/ 440795 w 447236"/>
              <a:gd name="connsiteY1686" fmla="*/ 212400 h 448122"/>
              <a:gd name="connsiteX1687" fmla="*/ 434764 w 447236"/>
              <a:gd name="connsiteY1687" fmla="*/ 212400 h 448122"/>
              <a:gd name="connsiteX1688" fmla="*/ 307625 w 447236"/>
              <a:gd name="connsiteY1688" fmla="*/ 212400 h 448122"/>
              <a:gd name="connsiteX1689" fmla="*/ 311595 w 447236"/>
              <a:gd name="connsiteY1689" fmla="*/ 214546 h 448122"/>
              <a:gd name="connsiteX1690" fmla="*/ 313427 w 447236"/>
              <a:gd name="connsiteY1690" fmla="*/ 236928 h 448122"/>
              <a:gd name="connsiteX1691" fmla="*/ 312816 w 447236"/>
              <a:gd name="connsiteY1691" fmla="*/ 236928 h 448122"/>
              <a:gd name="connsiteX1692" fmla="*/ 312816 w 447236"/>
              <a:gd name="connsiteY1692" fmla="*/ 246432 h 448122"/>
              <a:gd name="connsiteX1693" fmla="*/ 314038 w 447236"/>
              <a:gd name="connsiteY1693" fmla="*/ 246739 h 448122"/>
              <a:gd name="connsiteX1694" fmla="*/ 314343 w 447236"/>
              <a:gd name="connsiteY1694" fmla="*/ 247965 h 448122"/>
              <a:gd name="connsiteX1695" fmla="*/ 313427 w 447236"/>
              <a:gd name="connsiteY1695" fmla="*/ 279238 h 448122"/>
              <a:gd name="connsiteX1696" fmla="*/ 313733 w 447236"/>
              <a:gd name="connsiteY1696" fmla="*/ 282304 h 448122"/>
              <a:gd name="connsiteX1697" fmla="*/ 315259 w 447236"/>
              <a:gd name="connsiteY1697" fmla="*/ 308978 h 448122"/>
              <a:gd name="connsiteX1698" fmla="*/ 311290 w 447236"/>
              <a:gd name="connsiteY1698" fmla="*/ 311737 h 448122"/>
              <a:gd name="connsiteX1699" fmla="*/ 307014 w 447236"/>
              <a:gd name="connsiteY1699" fmla="*/ 308978 h 448122"/>
              <a:gd name="connsiteX1700" fmla="*/ 308541 w 447236"/>
              <a:gd name="connsiteY1700" fmla="*/ 281997 h 448122"/>
              <a:gd name="connsiteX1701" fmla="*/ 308541 w 447236"/>
              <a:gd name="connsiteY1701" fmla="*/ 279238 h 448122"/>
              <a:gd name="connsiteX1702" fmla="*/ 307930 w 447236"/>
              <a:gd name="connsiteY1702" fmla="*/ 247965 h 448122"/>
              <a:gd name="connsiteX1703" fmla="*/ 308236 w 447236"/>
              <a:gd name="connsiteY1703" fmla="*/ 246739 h 448122"/>
              <a:gd name="connsiteX1704" fmla="*/ 309457 w 447236"/>
              <a:gd name="connsiteY1704" fmla="*/ 246432 h 448122"/>
              <a:gd name="connsiteX1705" fmla="*/ 309457 w 447236"/>
              <a:gd name="connsiteY1705" fmla="*/ 236928 h 448122"/>
              <a:gd name="connsiteX1706" fmla="*/ 309152 w 447236"/>
              <a:gd name="connsiteY1706" fmla="*/ 236928 h 448122"/>
              <a:gd name="connsiteX1707" fmla="*/ 308236 w 447236"/>
              <a:gd name="connsiteY1707" fmla="*/ 231102 h 448122"/>
              <a:gd name="connsiteX1708" fmla="*/ 307320 w 447236"/>
              <a:gd name="connsiteY1708" fmla="*/ 221904 h 448122"/>
              <a:gd name="connsiteX1709" fmla="*/ 307320 w 447236"/>
              <a:gd name="connsiteY1709" fmla="*/ 215159 h 448122"/>
              <a:gd name="connsiteX1710" fmla="*/ 307625 w 447236"/>
              <a:gd name="connsiteY1710" fmla="*/ 212400 h 448122"/>
              <a:gd name="connsiteX1711" fmla="*/ 68707 w 447236"/>
              <a:gd name="connsiteY1711" fmla="*/ 212130 h 448122"/>
              <a:gd name="connsiteX1712" fmla="*/ 68400 w 447236"/>
              <a:gd name="connsiteY1712" fmla="*/ 212437 h 448122"/>
              <a:gd name="connsiteX1713" fmla="*/ 68707 w 447236"/>
              <a:gd name="connsiteY1713" fmla="*/ 212745 h 448122"/>
              <a:gd name="connsiteX1714" fmla="*/ 81921 w 447236"/>
              <a:gd name="connsiteY1714" fmla="*/ 212745 h 448122"/>
              <a:gd name="connsiteX1715" fmla="*/ 82228 w 447236"/>
              <a:gd name="connsiteY1715" fmla="*/ 212437 h 448122"/>
              <a:gd name="connsiteX1716" fmla="*/ 81921 w 447236"/>
              <a:gd name="connsiteY1716" fmla="*/ 212130 h 448122"/>
              <a:gd name="connsiteX1717" fmla="*/ 68707 w 447236"/>
              <a:gd name="connsiteY1717" fmla="*/ 212130 h 448122"/>
              <a:gd name="connsiteX1718" fmla="*/ 151905 w 447236"/>
              <a:gd name="connsiteY1718" fmla="*/ 212052 h 448122"/>
              <a:gd name="connsiteX1719" fmla="*/ 155056 w 447236"/>
              <a:gd name="connsiteY1719" fmla="*/ 215205 h 448122"/>
              <a:gd name="connsiteX1720" fmla="*/ 156679 w 447236"/>
              <a:gd name="connsiteY1720" fmla="*/ 213581 h 448122"/>
              <a:gd name="connsiteX1721" fmla="*/ 153462 w 447236"/>
              <a:gd name="connsiteY1721" fmla="*/ 213581 h 448122"/>
              <a:gd name="connsiteX1722" fmla="*/ 152843 w 447236"/>
              <a:gd name="connsiteY1722" fmla="*/ 212969 h 448122"/>
              <a:gd name="connsiteX1723" fmla="*/ 152843 w 447236"/>
              <a:gd name="connsiteY1723" fmla="*/ 212052 h 448122"/>
              <a:gd name="connsiteX1724" fmla="*/ 138746 w 447236"/>
              <a:gd name="connsiteY1724" fmla="*/ 211809 h 448122"/>
              <a:gd name="connsiteX1725" fmla="*/ 138451 w 447236"/>
              <a:gd name="connsiteY1725" fmla="*/ 213285 h 448122"/>
              <a:gd name="connsiteX1726" fmla="*/ 139927 w 447236"/>
              <a:gd name="connsiteY1726" fmla="*/ 213285 h 448122"/>
              <a:gd name="connsiteX1727" fmla="*/ 140222 w 447236"/>
              <a:gd name="connsiteY1727" fmla="*/ 211809 h 448122"/>
              <a:gd name="connsiteX1728" fmla="*/ 134170 w 447236"/>
              <a:gd name="connsiteY1728" fmla="*/ 211514 h 448122"/>
              <a:gd name="connsiteX1729" fmla="*/ 134170 w 447236"/>
              <a:gd name="connsiteY1729" fmla="*/ 211809 h 448122"/>
              <a:gd name="connsiteX1730" fmla="*/ 134170 w 447236"/>
              <a:gd name="connsiteY1730" fmla="*/ 213285 h 448122"/>
              <a:gd name="connsiteX1731" fmla="*/ 133580 w 447236"/>
              <a:gd name="connsiteY1731" fmla="*/ 213581 h 448122"/>
              <a:gd name="connsiteX1732" fmla="*/ 133580 w 447236"/>
              <a:gd name="connsiteY1732" fmla="*/ 213285 h 448122"/>
              <a:gd name="connsiteX1733" fmla="*/ 133580 w 447236"/>
              <a:gd name="connsiteY1733" fmla="*/ 211809 h 448122"/>
              <a:gd name="connsiteX1734" fmla="*/ 138451 w 447236"/>
              <a:gd name="connsiteY1734" fmla="*/ 211219 h 448122"/>
              <a:gd name="connsiteX1735" fmla="*/ 138746 w 447236"/>
              <a:gd name="connsiteY1735" fmla="*/ 211219 h 448122"/>
              <a:gd name="connsiteX1736" fmla="*/ 140665 w 447236"/>
              <a:gd name="connsiteY1736" fmla="*/ 211219 h 448122"/>
              <a:gd name="connsiteX1737" fmla="*/ 140665 w 447236"/>
              <a:gd name="connsiteY1737" fmla="*/ 211514 h 448122"/>
              <a:gd name="connsiteX1738" fmla="*/ 140961 w 447236"/>
              <a:gd name="connsiteY1738" fmla="*/ 211514 h 448122"/>
              <a:gd name="connsiteX1739" fmla="*/ 140961 w 447236"/>
              <a:gd name="connsiteY1739" fmla="*/ 211809 h 448122"/>
              <a:gd name="connsiteX1740" fmla="*/ 140665 w 447236"/>
              <a:gd name="connsiteY1740" fmla="*/ 213285 h 448122"/>
              <a:gd name="connsiteX1741" fmla="*/ 140222 w 447236"/>
              <a:gd name="connsiteY1741" fmla="*/ 213581 h 448122"/>
              <a:gd name="connsiteX1742" fmla="*/ 139927 w 447236"/>
              <a:gd name="connsiteY1742" fmla="*/ 213876 h 448122"/>
              <a:gd name="connsiteX1743" fmla="*/ 138451 w 447236"/>
              <a:gd name="connsiteY1743" fmla="*/ 213876 h 448122"/>
              <a:gd name="connsiteX1744" fmla="*/ 138156 w 447236"/>
              <a:gd name="connsiteY1744" fmla="*/ 213581 h 448122"/>
              <a:gd name="connsiteX1745" fmla="*/ 137861 w 447236"/>
              <a:gd name="connsiteY1745" fmla="*/ 213285 h 448122"/>
              <a:gd name="connsiteX1746" fmla="*/ 138156 w 447236"/>
              <a:gd name="connsiteY1746" fmla="*/ 211809 h 448122"/>
              <a:gd name="connsiteX1747" fmla="*/ 138451 w 447236"/>
              <a:gd name="connsiteY1747" fmla="*/ 211514 h 448122"/>
              <a:gd name="connsiteX1748" fmla="*/ 134170 w 447236"/>
              <a:gd name="connsiteY1748" fmla="*/ 211219 h 448122"/>
              <a:gd name="connsiteX1749" fmla="*/ 134465 w 447236"/>
              <a:gd name="connsiteY1749" fmla="*/ 211219 h 448122"/>
              <a:gd name="connsiteX1750" fmla="*/ 135941 w 447236"/>
              <a:gd name="connsiteY1750" fmla="*/ 211219 h 448122"/>
              <a:gd name="connsiteX1751" fmla="*/ 136237 w 447236"/>
              <a:gd name="connsiteY1751" fmla="*/ 211219 h 448122"/>
              <a:gd name="connsiteX1752" fmla="*/ 136237 w 447236"/>
              <a:gd name="connsiteY1752" fmla="*/ 211514 h 448122"/>
              <a:gd name="connsiteX1753" fmla="*/ 136532 w 447236"/>
              <a:gd name="connsiteY1753" fmla="*/ 211809 h 448122"/>
              <a:gd name="connsiteX1754" fmla="*/ 136237 w 447236"/>
              <a:gd name="connsiteY1754" fmla="*/ 213285 h 448122"/>
              <a:gd name="connsiteX1755" fmla="*/ 135941 w 447236"/>
              <a:gd name="connsiteY1755" fmla="*/ 213581 h 448122"/>
              <a:gd name="connsiteX1756" fmla="*/ 135646 w 447236"/>
              <a:gd name="connsiteY1756" fmla="*/ 213876 h 448122"/>
              <a:gd name="connsiteX1757" fmla="*/ 135351 w 447236"/>
              <a:gd name="connsiteY1757" fmla="*/ 213876 h 448122"/>
              <a:gd name="connsiteX1758" fmla="*/ 133875 w 447236"/>
              <a:gd name="connsiteY1758" fmla="*/ 213876 h 448122"/>
              <a:gd name="connsiteX1759" fmla="*/ 133875 w 447236"/>
              <a:gd name="connsiteY1759" fmla="*/ 213581 h 448122"/>
              <a:gd name="connsiteX1760" fmla="*/ 134170 w 447236"/>
              <a:gd name="connsiteY1760" fmla="*/ 213285 h 448122"/>
              <a:gd name="connsiteX1761" fmla="*/ 135646 w 447236"/>
              <a:gd name="connsiteY1761" fmla="*/ 213285 h 448122"/>
              <a:gd name="connsiteX1762" fmla="*/ 135941 w 447236"/>
              <a:gd name="connsiteY1762" fmla="*/ 211809 h 448122"/>
              <a:gd name="connsiteX1763" fmla="*/ 134465 w 447236"/>
              <a:gd name="connsiteY1763" fmla="*/ 211809 h 448122"/>
              <a:gd name="connsiteX1764" fmla="*/ 134170 w 447236"/>
              <a:gd name="connsiteY1764" fmla="*/ 211514 h 448122"/>
              <a:gd name="connsiteX1765" fmla="*/ 130481 w 447236"/>
              <a:gd name="connsiteY1765" fmla="*/ 211219 h 448122"/>
              <a:gd name="connsiteX1766" fmla="*/ 131071 w 447236"/>
              <a:gd name="connsiteY1766" fmla="*/ 211219 h 448122"/>
              <a:gd name="connsiteX1767" fmla="*/ 132547 w 447236"/>
              <a:gd name="connsiteY1767" fmla="*/ 211219 h 448122"/>
              <a:gd name="connsiteX1768" fmla="*/ 132990 w 447236"/>
              <a:gd name="connsiteY1768" fmla="*/ 211219 h 448122"/>
              <a:gd name="connsiteX1769" fmla="*/ 132990 w 447236"/>
              <a:gd name="connsiteY1769" fmla="*/ 211514 h 448122"/>
              <a:gd name="connsiteX1770" fmla="*/ 133286 w 447236"/>
              <a:gd name="connsiteY1770" fmla="*/ 211809 h 448122"/>
              <a:gd name="connsiteX1771" fmla="*/ 132990 w 447236"/>
              <a:gd name="connsiteY1771" fmla="*/ 213285 h 448122"/>
              <a:gd name="connsiteX1772" fmla="*/ 132547 w 447236"/>
              <a:gd name="connsiteY1772" fmla="*/ 213581 h 448122"/>
              <a:gd name="connsiteX1773" fmla="*/ 132252 w 447236"/>
              <a:gd name="connsiteY1773" fmla="*/ 213876 h 448122"/>
              <a:gd name="connsiteX1774" fmla="*/ 130481 w 447236"/>
              <a:gd name="connsiteY1774" fmla="*/ 213876 h 448122"/>
              <a:gd name="connsiteX1775" fmla="*/ 130186 w 447236"/>
              <a:gd name="connsiteY1775" fmla="*/ 213581 h 448122"/>
              <a:gd name="connsiteX1776" fmla="*/ 130481 w 447236"/>
              <a:gd name="connsiteY1776" fmla="*/ 213285 h 448122"/>
              <a:gd name="connsiteX1777" fmla="*/ 132252 w 447236"/>
              <a:gd name="connsiteY1777" fmla="*/ 213285 h 448122"/>
              <a:gd name="connsiteX1778" fmla="*/ 132547 w 447236"/>
              <a:gd name="connsiteY1778" fmla="*/ 211809 h 448122"/>
              <a:gd name="connsiteX1779" fmla="*/ 130776 w 447236"/>
              <a:gd name="connsiteY1779" fmla="*/ 211809 h 448122"/>
              <a:gd name="connsiteX1780" fmla="*/ 130481 w 447236"/>
              <a:gd name="connsiteY1780" fmla="*/ 211514 h 448122"/>
              <a:gd name="connsiteX1781" fmla="*/ 157492 w 447236"/>
              <a:gd name="connsiteY1781" fmla="*/ 210263 h 448122"/>
              <a:gd name="connsiteX1782" fmla="*/ 157492 w 447236"/>
              <a:gd name="connsiteY1782" fmla="*/ 212767 h 448122"/>
              <a:gd name="connsiteX1783" fmla="*/ 158743 w 447236"/>
              <a:gd name="connsiteY1783" fmla="*/ 211515 h 448122"/>
              <a:gd name="connsiteX1784" fmla="*/ 152843 w 447236"/>
              <a:gd name="connsiteY1784" fmla="*/ 210039 h 448122"/>
              <a:gd name="connsiteX1785" fmla="*/ 152053 w 447236"/>
              <a:gd name="connsiteY1785" fmla="*/ 210829 h 448122"/>
              <a:gd name="connsiteX1786" fmla="*/ 152843 w 447236"/>
              <a:gd name="connsiteY1786" fmla="*/ 210829 h 448122"/>
              <a:gd name="connsiteX1787" fmla="*/ 138746 w 447236"/>
              <a:gd name="connsiteY1787" fmla="*/ 209005 h 448122"/>
              <a:gd name="connsiteX1788" fmla="*/ 139042 w 447236"/>
              <a:gd name="connsiteY1788" fmla="*/ 209300 h 448122"/>
              <a:gd name="connsiteX1789" fmla="*/ 138746 w 447236"/>
              <a:gd name="connsiteY1789" fmla="*/ 210924 h 448122"/>
              <a:gd name="connsiteX1790" fmla="*/ 138451 w 447236"/>
              <a:gd name="connsiteY1790" fmla="*/ 211219 h 448122"/>
              <a:gd name="connsiteX1791" fmla="*/ 138156 w 447236"/>
              <a:gd name="connsiteY1791" fmla="*/ 210924 h 448122"/>
              <a:gd name="connsiteX1792" fmla="*/ 138451 w 447236"/>
              <a:gd name="connsiteY1792" fmla="*/ 209300 h 448122"/>
              <a:gd name="connsiteX1793" fmla="*/ 139337 w 447236"/>
              <a:gd name="connsiteY1793" fmla="*/ 208710 h 448122"/>
              <a:gd name="connsiteX1794" fmla="*/ 140961 w 447236"/>
              <a:gd name="connsiteY1794" fmla="*/ 208710 h 448122"/>
              <a:gd name="connsiteX1795" fmla="*/ 141256 w 447236"/>
              <a:gd name="connsiteY1795" fmla="*/ 209005 h 448122"/>
              <a:gd name="connsiteX1796" fmla="*/ 140961 w 447236"/>
              <a:gd name="connsiteY1796" fmla="*/ 209300 h 448122"/>
              <a:gd name="connsiteX1797" fmla="*/ 139042 w 447236"/>
              <a:gd name="connsiteY1797" fmla="*/ 209300 h 448122"/>
              <a:gd name="connsiteX1798" fmla="*/ 139042 w 447236"/>
              <a:gd name="connsiteY1798" fmla="*/ 209005 h 448122"/>
              <a:gd name="connsiteX1799" fmla="*/ 134761 w 447236"/>
              <a:gd name="connsiteY1799" fmla="*/ 208710 h 448122"/>
              <a:gd name="connsiteX1800" fmla="*/ 136532 w 447236"/>
              <a:gd name="connsiteY1800" fmla="*/ 208710 h 448122"/>
              <a:gd name="connsiteX1801" fmla="*/ 136975 w 447236"/>
              <a:gd name="connsiteY1801" fmla="*/ 209005 h 448122"/>
              <a:gd name="connsiteX1802" fmla="*/ 136532 w 447236"/>
              <a:gd name="connsiteY1802" fmla="*/ 209300 h 448122"/>
              <a:gd name="connsiteX1803" fmla="*/ 134761 w 447236"/>
              <a:gd name="connsiteY1803" fmla="*/ 209300 h 448122"/>
              <a:gd name="connsiteX1804" fmla="*/ 134465 w 447236"/>
              <a:gd name="connsiteY1804" fmla="*/ 210924 h 448122"/>
              <a:gd name="connsiteX1805" fmla="*/ 134170 w 447236"/>
              <a:gd name="connsiteY1805" fmla="*/ 211219 h 448122"/>
              <a:gd name="connsiteX1806" fmla="*/ 133875 w 447236"/>
              <a:gd name="connsiteY1806" fmla="*/ 210924 h 448122"/>
              <a:gd name="connsiteX1807" fmla="*/ 134170 w 447236"/>
              <a:gd name="connsiteY1807" fmla="*/ 209300 h 448122"/>
              <a:gd name="connsiteX1808" fmla="*/ 134465 w 447236"/>
              <a:gd name="connsiteY1808" fmla="*/ 209005 h 448122"/>
              <a:gd name="connsiteX1809" fmla="*/ 131367 w 447236"/>
              <a:gd name="connsiteY1809" fmla="*/ 208710 h 448122"/>
              <a:gd name="connsiteX1810" fmla="*/ 133286 w 447236"/>
              <a:gd name="connsiteY1810" fmla="*/ 208710 h 448122"/>
              <a:gd name="connsiteX1811" fmla="*/ 133286 w 447236"/>
              <a:gd name="connsiteY1811" fmla="*/ 209005 h 448122"/>
              <a:gd name="connsiteX1812" fmla="*/ 133581 w 447236"/>
              <a:gd name="connsiteY1812" fmla="*/ 209005 h 448122"/>
              <a:gd name="connsiteX1813" fmla="*/ 133581 w 447236"/>
              <a:gd name="connsiteY1813" fmla="*/ 209300 h 448122"/>
              <a:gd name="connsiteX1814" fmla="*/ 133286 w 447236"/>
              <a:gd name="connsiteY1814" fmla="*/ 210924 h 448122"/>
              <a:gd name="connsiteX1815" fmla="*/ 132990 w 447236"/>
              <a:gd name="connsiteY1815" fmla="*/ 211219 h 448122"/>
              <a:gd name="connsiteX1816" fmla="*/ 132547 w 447236"/>
              <a:gd name="connsiteY1816" fmla="*/ 210924 h 448122"/>
              <a:gd name="connsiteX1817" fmla="*/ 132990 w 447236"/>
              <a:gd name="connsiteY1817" fmla="*/ 209300 h 448122"/>
              <a:gd name="connsiteX1818" fmla="*/ 131367 w 447236"/>
              <a:gd name="connsiteY1818" fmla="*/ 209300 h 448122"/>
              <a:gd name="connsiteX1819" fmla="*/ 131071 w 447236"/>
              <a:gd name="connsiteY1819" fmla="*/ 209005 h 448122"/>
              <a:gd name="connsiteX1820" fmla="*/ 155056 w 447236"/>
              <a:gd name="connsiteY1820" fmla="*/ 207825 h 448122"/>
              <a:gd name="connsiteX1821" fmla="*/ 153581 w 447236"/>
              <a:gd name="connsiteY1821" fmla="*/ 209301 h 448122"/>
              <a:gd name="connsiteX1822" fmla="*/ 156531 w 447236"/>
              <a:gd name="connsiteY1822" fmla="*/ 209301 h 448122"/>
              <a:gd name="connsiteX1823" fmla="*/ 128629 w 447236"/>
              <a:gd name="connsiteY1823" fmla="*/ 207825 h 448122"/>
              <a:gd name="connsiteX1824" fmla="*/ 127400 w 447236"/>
              <a:gd name="connsiteY1824" fmla="*/ 208747 h 448122"/>
              <a:gd name="connsiteX1825" fmla="*/ 127400 w 447236"/>
              <a:gd name="connsiteY1825" fmla="*/ 214282 h 448122"/>
              <a:gd name="connsiteX1826" fmla="*/ 128629 w 447236"/>
              <a:gd name="connsiteY1826" fmla="*/ 215205 h 448122"/>
              <a:gd name="connsiteX1827" fmla="*/ 142764 w 447236"/>
              <a:gd name="connsiteY1827" fmla="*/ 215205 h 448122"/>
              <a:gd name="connsiteX1828" fmla="*/ 143993 w 447236"/>
              <a:gd name="connsiteY1828" fmla="*/ 214282 h 448122"/>
              <a:gd name="connsiteX1829" fmla="*/ 143993 w 447236"/>
              <a:gd name="connsiteY1829" fmla="*/ 208747 h 448122"/>
              <a:gd name="connsiteX1830" fmla="*/ 142764 w 447236"/>
              <a:gd name="connsiteY1830" fmla="*/ 207825 h 448122"/>
              <a:gd name="connsiteX1831" fmla="*/ 128629 w 447236"/>
              <a:gd name="connsiteY1831" fmla="*/ 207825 h 448122"/>
              <a:gd name="connsiteX1832" fmla="*/ 191847 w 447236"/>
              <a:gd name="connsiteY1832" fmla="*/ 205020 h 448122"/>
              <a:gd name="connsiteX1833" fmla="*/ 192462 w 447236"/>
              <a:gd name="connsiteY1833" fmla="*/ 205325 h 448122"/>
              <a:gd name="connsiteX1834" fmla="*/ 192154 w 447236"/>
              <a:gd name="connsiteY1834" fmla="*/ 206240 h 448122"/>
              <a:gd name="connsiteX1835" fmla="*/ 191847 w 447236"/>
              <a:gd name="connsiteY1835" fmla="*/ 207155 h 448122"/>
              <a:gd name="connsiteX1836" fmla="*/ 191539 w 447236"/>
              <a:gd name="connsiteY1836" fmla="*/ 208681 h 448122"/>
              <a:gd name="connsiteX1837" fmla="*/ 190617 w 447236"/>
              <a:gd name="connsiteY1837" fmla="*/ 209291 h 448122"/>
              <a:gd name="connsiteX1838" fmla="*/ 190002 w 447236"/>
              <a:gd name="connsiteY1838" fmla="*/ 209596 h 448122"/>
              <a:gd name="connsiteX1839" fmla="*/ 189387 w 447236"/>
              <a:gd name="connsiteY1839" fmla="*/ 209291 h 448122"/>
              <a:gd name="connsiteX1840" fmla="*/ 189694 w 447236"/>
              <a:gd name="connsiteY1840" fmla="*/ 208376 h 448122"/>
              <a:gd name="connsiteX1841" fmla="*/ 190002 w 447236"/>
              <a:gd name="connsiteY1841" fmla="*/ 208071 h 448122"/>
              <a:gd name="connsiteX1842" fmla="*/ 190309 w 447236"/>
              <a:gd name="connsiteY1842" fmla="*/ 208071 h 448122"/>
              <a:gd name="connsiteX1843" fmla="*/ 190617 w 447236"/>
              <a:gd name="connsiteY1843" fmla="*/ 207155 h 448122"/>
              <a:gd name="connsiteX1844" fmla="*/ 191847 w 447236"/>
              <a:gd name="connsiteY1844" fmla="*/ 205020 h 448122"/>
              <a:gd name="connsiteX1845" fmla="*/ 49064 w 447236"/>
              <a:gd name="connsiteY1845" fmla="*/ 204421 h 448122"/>
              <a:gd name="connsiteX1846" fmla="*/ 49371 w 447236"/>
              <a:gd name="connsiteY1846" fmla="*/ 204421 h 448122"/>
              <a:gd name="connsiteX1847" fmla="*/ 49678 w 447236"/>
              <a:gd name="connsiteY1847" fmla="*/ 205953 h 448122"/>
              <a:gd name="connsiteX1848" fmla="*/ 49984 w 447236"/>
              <a:gd name="connsiteY1848" fmla="*/ 207484 h 448122"/>
              <a:gd name="connsiteX1849" fmla="*/ 49678 w 447236"/>
              <a:gd name="connsiteY1849" fmla="*/ 207484 h 448122"/>
              <a:gd name="connsiteX1850" fmla="*/ 48758 w 447236"/>
              <a:gd name="connsiteY1850" fmla="*/ 207484 h 448122"/>
              <a:gd name="connsiteX1851" fmla="*/ 49064 w 447236"/>
              <a:gd name="connsiteY1851" fmla="*/ 205953 h 448122"/>
              <a:gd name="connsiteX1852" fmla="*/ 49064 w 447236"/>
              <a:gd name="connsiteY1852" fmla="*/ 204421 h 448122"/>
              <a:gd name="connsiteX1853" fmla="*/ 115108 w 447236"/>
              <a:gd name="connsiteY1853" fmla="*/ 204135 h 448122"/>
              <a:gd name="connsiteX1854" fmla="*/ 164582 w 447236"/>
              <a:gd name="connsiteY1854" fmla="*/ 204135 h 448122"/>
              <a:gd name="connsiteX1855" fmla="*/ 169806 w 447236"/>
              <a:gd name="connsiteY1855" fmla="*/ 206287 h 448122"/>
              <a:gd name="connsiteX1856" fmla="*/ 171957 w 447236"/>
              <a:gd name="connsiteY1856" fmla="*/ 211515 h 448122"/>
              <a:gd name="connsiteX1857" fmla="*/ 169806 w 447236"/>
              <a:gd name="connsiteY1857" fmla="*/ 216742 h 448122"/>
              <a:gd name="connsiteX1858" fmla="*/ 164582 w 447236"/>
              <a:gd name="connsiteY1858" fmla="*/ 218895 h 448122"/>
              <a:gd name="connsiteX1859" fmla="*/ 114801 w 447236"/>
              <a:gd name="connsiteY1859" fmla="*/ 218587 h 448122"/>
              <a:gd name="connsiteX1860" fmla="*/ 90832 w 447236"/>
              <a:gd name="connsiteY1860" fmla="*/ 214282 h 448122"/>
              <a:gd name="connsiteX1861" fmla="*/ 80692 w 447236"/>
              <a:gd name="connsiteY1861" fmla="*/ 213667 h 448122"/>
              <a:gd name="connsiteX1862" fmla="*/ 70244 w 447236"/>
              <a:gd name="connsiteY1862" fmla="*/ 213360 h 448122"/>
              <a:gd name="connsiteX1863" fmla="*/ 67478 w 447236"/>
              <a:gd name="connsiteY1863" fmla="*/ 213052 h 448122"/>
              <a:gd name="connsiteX1864" fmla="*/ 66864 w 447236"/>
              <a:gd name="connsiteY1864" fmla="*/ 212130 h 448122"/>
              <a:gd name="connsiteX1865" fmla="*/ 67478 w 447236"/>
              <a:gd name="connsiteY1865" fmla="*/ 211515 h 448122"/>
              <a:gd name="connsiteX1866" fmla="*/ 70244 w 447236"/>
              <a:gd name="connsiteY1866" fmla="*/ 210900 h 448122"/>
              <a:gd name="connsiteX1867" fmla="*/ 80692 w 447236"/>
              <a:gd name="connsiteY1867" fmla="*/ 210285 h 448122"/>
              <a:gd name="connsiteX1868" fmla="*/ 90832 w 447236"/>
              <a:gd name="connsiteY1868" fmla="*/ 209362 h 448122"/>
              <a:gd name="connsiteX1869" fmla="*/ 115108 w 447236"/>
              <a:gd name="connsiteY1869" fmla="*/ 204135 h 448122"/>
              <a:gd name="connsiteX1870" fmla="*/ 31274 w 447236"/>
              <a:gd name="connsiteY1870" fmla="*/ 203809 h 448122"/>
              <a:gd name="connsiteX1871" fmla="*/ 31581 w 447236"/>
              <a:gd name="connsiteY1871" fmla="*/ 203809 h 448122"/>
              <a:gd name="connsiteX1872" fmla="*/ 32501 w 447236"/>
              <a:gd name="connsiteY1872" fmla="*/ 203809 h 448122"/>
              <a:gd name="connsiteX1873" fmla="*/ 33115 w 447236"/>
              <a:gd name="connsiteY1873" fmla="*/ 204115 h 448122"/>
              <a:gd name="connsiteX1874" fmla="*/ 33115 w 447236"/>
              <a:gd name="connsiteY1874" fmla="*/ 204728 h 448122"/>
              <a:gd name="connsiteX1875" fmla="*/ 33115 w 447236"/>
              <a:gd name="connsiteY1875" fmla="*/ 205340 h 448122"/>
              <a:gd name="connsiteX1876" fmla="*/ 32501 w 447236"/>
              <a:gd name="connsiteY1876" fmla="*/ 205340 h 448122"/>
              <a:gd name="connsiteX1877" fmla="*/ 31581 w 447236"/>
              <a:gd name="connsiteY1877" fmla="*/ 205340 h 448122"/>
              <a:gd name="connsiteX1878" fmla="*/ 31274 w 447236"/>
              <a:gd name="connsiteY1878" fmla="*/ 205340 h 448122"/>
              <a:gd name="connsiteX1879" fmla="*/ 31274 w 447236"/>
              <a:gd name="connsiteY1879" fmla="*/ 205034 h 448122"/>
              <a:gd name="connsiteX1880" fmla="*/ 31274 w 447236"/>
              <a:gd name="connsiteY1880" fmla="*/ 204115 h 448122"/>
              <a:gd name="connsiteX1881" fmla="*/ 31274 w 447236"/>
              <a:gd name="connsiteY1881" fmla="*/ 203809 h 448122"/>
              <a:gd name="connsiteX1882" fmla="*/ 16858 w 447236"/>
              <a:gd name="connsiteY1882" fmla="*/ 203503 h 448122"/>
              <a:gd name="connsiteX1883" fmla="*/ 17471 w 447236"/>
              <a:gd name="connsiteY1883" fmla="*/ 203809 h 448122"/>
              <a:gd name="connsiteX1884" fmla="*/ 17778 w 447236"/>
              <a:gd name="connsiteY1884" fmla="*/ 204728 h 448122"/>
              <a:gd name="connsiteX1885" fmla="*/ 17778 w 447236"/>
              <a:gd name="connsiteY1885" fmla="*/ 208097 h 448122"/>
              <a:gd name="connsiteX1886" fmla="*/ 17471 w 447236"/>
              <a:gd name="connsiteY1886" fmla="*/ 208709 h 448122"/>
              <a:gd name="connsiteX1887" fmla="*/ 16858 w 447236"/>
              <a:gd name="connsiteY1887" fmla="*/ 209016 h 448122"/>
              <a:gd name="connsiteX1888" fmla="*/ 15938 w 447236"/>
              <a:gd name="connsiteY1888" fmla="*/ 208709 h 448122"/>
              <a:gd name="connsiteX1889" fmla="*/ 15631 w 447236"/>
              <a:gd name="connsiteY1889" fmla="*/ 208097 h 448122"/>
              <a:gd name="connsiteX1890" fmla="*/ 15631 w 447236"/>
              <a:gd name="connsiteY1890" fmla="*/ 204728 h 448122"/>
              <a:gd name="connsiteX1891" fmla="*/ 15938 w 447236"/>
              <a:gd name="connsiteY1891" fmla="*/ 203809 h 448122"/>
              <a:gd name="connsiteX1892" fmla="*/ 16858 w 447236"/>
              <a:gd name="connsiteY1892" fmla="*/ 203503 h 448122"/>
              <a:gd name="connsiteX1893" fmla="*/ 53972 w 447236"/>
              <a:gd name="connsiteY1893" fmla="*/ 201971 h 448122"/>
              <a:gd name="connsiteX1894" fmla="*/ 53972 w 447236"/>
              <a:gd name="connsiteY1894" fmla="*/ 202277 h 448122"/>
              <a:gd name="connsiteX1895" fmla="*/ 53972 w 447236"/>
              <a:gd name="connsiteY1895" fmla="*/ 210547 h 448122"/>
              <a:gd name="connsiteX1896" fmla="*/ 54279 w 447236"/>
              <a:gd name="connsiteY1896" fmla="*/ 210853 h 448122"/>
              <a:gd name="connsiteX1897" fmla="*/ 59186 w 447236"/>
              <a:gd name="connsiteY1897" fmla="*/ 210853 h 448122"/>
              <a:gd name="connsiteX1898" fmla="*/ 59493 w 447236"/>
              <a:gd name="connsiteY1898" fmla="*/ 210547 h 448122"/>
              <a:gd name="connsiteX1899" fmla="*/ 59493 w 447236"/>
              <a:gd name="connsiteY1899" fmla="*/ 209322 h 448122"/>
              <a:gd name="connsiteX1900" fmla="*/ 59493 w 447236"/>
              <a:gd name="connsiteY1900" fmla="*/ 209016 h 448122"/>
              <a:gd name="connsiteX1901" fmla="*/ 59186 w 447236"/>
              <a:gd name="connsiteY1901" fmla="*/ 209016 h 448122"/>
              <a:gd name="connsiteX1902" fmla="*/ 56119 w 447236"/>
              <a:gd name="connsiteY1902" fmla="*/ 209016 h 448122"/>
              <a:gd name="connsiteX1903" fmla="*/ 55812 w 447236"/>
              <a:gd name="connsiteY1903" fmla="*/ 209016 h 448122"/>
              <a:gd name="connsiteX1904" fmla="*/ 55812 w 447236"/>
              <a:gd name="connsiteY1904" fmla="*/ 208709 h 448122"/>
              <a:gd name="connsiteX1905" fmla="*/ 55812 w 447236"/>
              <a:gd name="connsiteY1905" fmla="*/ 202277 h 448122"/>
              <a:gd name="connsiteX1906" fmla="*/ 55812 w 447236"/>
              <a:gd name="connsiteY1906" fmla="*/ 201971 h 448122"/>
              <a:gd name="connsiteX1907" fmla="*/ 55506 w 447236"/>
              <a:gd name="connsiteY1907" fmla="*/ 201971 h 448122"/>
              <a:gd name="connsiteX1908" fmla="*/ 54279 w 447236"/>
              <a:gd name="connsiteY1908" fmla="*/ 201971 h 448122"/>
              <a:gd name="connsiteX1909" fmla="*/ 53972 w 447236"/>
              <a:gd name="connsiteY1909" fmla="*/ 201971 h 448122"/>
              <a:gd name="connsiteX1910" fmla="*/ 48144 w 447236"/>
              <a:gd name="connsiteY1910" fmla="*/ 201971 h 448122"/>
              <a:gd name="connsiteX1911" fmla="*/ 47837 w 447236"/>
              <a:gd name="connsiteY1911" fmla="*/ 202277 h 448122"/>
              <a:gd name="connsiteX1912" fmla="*/ 45690 w 447236"/>
              <a:gd name="connsiteY1912" fmla="*/ 210547 h 448122"/>
              <a:gd name="connsiteX1913" fmla="*/ 45690 w 447236"/>
              <a:gd name="connsiteY1913" fmla="*/ 210853 h 448122"/>
              <a:gd name="connsiteX1914" fmla="*/ 45997 w 447236"/>
              <a:gd name="connsiteY1914" fmla="*/ 210853 h 448122"/>
              <a:gd name="connsiteX1915" fmla="*/ 47531 w 447236"/>
              <a:gd name="connsiteY1915" fmla="*/ 210853 h 448122"/>
              <a:gd name="connsiteX1916" fmla="*/ 47837 w 447236"/>
              <a:gd name="connsiteY1916" fmla="*/ 210853 h 448122"/>
              <a:gd name="connsiteX1917" fmla="*/ 47837 w 447236"/>
              <a:gd name="connsiteY1917" fmla="*/ 210547 h 448122"/>
              <a:gd name="connsiteX1918" fmla="*/ 48144 w 447236"/>
              <a:gd name="connsiteY1918" fmla="*/ 209628 h 448122"/>
              <a:gd name="connsiteX1919" fmla="*/ 48144 w 447236"/>
              <a:gd name="connsiteY1919" fmla="*/ 209322 h 448122"/>
              <a:gd name="connsiteX1920" fmla="*/ 48451 w 447236"/>
              <a:gd name="connsiteY1920" fmla="*/ 209322 h 448122"/>
              <a:gd name="connsiteX1921" fmla="*/ 50291 w 447236"/>
              <a:gd name="connsiteY1921" fmla="*/ 209322 h 448122"/>
              <a:gd name="connsiteX1922" fmla="*/ 50291 w 447236"/>
              <a:gd name="connsiteY1922" fmla="*/ 209628 h 448122"/>
              <a:gd name="connsiteX1923" fmla="*/ 50598 w 447236"/>
              <a:gd name="connsiteY1923" fmla="*/ 210547 h 448122"/>
              <a:gd name="connsiteX1924" fmla="*/ 50905 w 447236"/>
              <a:gd name="connsiteY1924" fmla="*/ 210853 h 448122"/>
              <a:gd name="connsiteX1925" fmla="*/ 52438 w 447236"/>
              <a:gd name="connsiteY1925" fmla="*/ 210853 h 448122"/>
              <a:gd name="connsiteX1926" fmla="*/ 52745 w 447236"/>
              <a:gd name="connsiteY1926" fmla="*/ 210547 h 448122"/>
              <a:gd name="connsiteX1927" fmla="*/ 50598 w 447236"/>
              <a:gd name="connsiteY1927" fmla="*/ 202277 h 448122"/>
              <a:gd name="connsiteX1928" fmla="*/ 50598 w 447236"/>
              <a:gd name="connsiteY1928" fmla="*/ 201971 h 448122"/>
              <a:gd name="connsiteX1929" fmla="*/ 50291 w 447236"/>
              <a:gd name="connsiteY1929" fmla="*/ 201971 h 448122"/>
              <a:gd name="connsiteX1930" fmla="*/ 48144 w 447236"/>
              <a:gd name="connsiteY1930" fmla="*/ 201971 h 448122"/>
              <a:gd name="connsiteX1931" fmla="*/ 39863 w 447236"/>
              <a:gd name="connsiteY1931" fmla="*/ 201971 h 448122"/>
              <a:gd name="connsiteX1932" fmla="*/ 39863 w 447236"/>
              <a:gd name="connsiteY1932" fmla="*/ 202277 h 448122"/>
              <a:gd name="connsiteX1933" fmla="*/ 39863 w 447236"/>
              <a:gd name="connsiteY1933" fmla="*/ 203503 h 448122"/>
              <a:gd name="connsiteX1934" fmla="*/ 39863 w 447236"/>
              <a:gd name="connsiteY1934" fmla="*/ 203809 h 448122"/>
              <a:gd name="connsiteX1935" fmla="*/ 40169 w 447236"/>
              <a:gd name="connsiteY1935" fmla="*/ 203809 h 448122"/>
              <a:gd name="connsiteX1936" fmla="*/ 41396 w 447236"/>
              <a:gd name="connsiteY1936" fmla="*/ 203809 h 448122"/>
              <a:gd name="connsiteX1937" fmla="*/ 41703 w 447236"/>
              <a:gd name="connsiteY1937" fmla="*/ 203809 h 448122"/>
              <a:gd name="connsiteX1938" fmla="*/ 41703 w 447236"/>
              <a:gd name="connsiteY1938" fmla="*/ 204115 h 448122"/>
              <a:gd name="connsiteX1939" fmla="*/ 41703 w 447236"/>
              <a:gd name="connsiteY1939" fmla="*/ 210547 h 448122"/>
              <a:gd name="connsiteX1940" fmla="*/ 42010 w 447236"/>
              <a:gd name="connsiteY1940" fmla="*/ 210853 h 448122"/>
              <a:gd name="connsiteX1941" fmla="*/ 43543 w 447236"/>
              <a:gd name="connsiteY1941" fmla="*/ 210853 h 448122"/>
              <a:gd name="connsiteX1942" fmla="*/ 43850 w 447236"/>
              <a:gd name="connsiteY1942" fmla="*/ 210547 h 448122"/>
              <a:gd name="connsiteX1943" fmla="*/ 43850 w 447236"/>
              <a:gd name="connsiteY1943" fmla="*/ 204115 h 448122"/>
              <a:gd name="connsiteX1944" fmla="*/ 43850 w 447236"/>
              <a:gd name="connsiteY1944" fmla="*/ 203809 h 448122"/>
              <a:gd name="connsiteX1945" fmla="*/ 44157 w 447236"/>
              <a:gd name="connsiteY1945" fmla="*/ 203809 h 448122"/>
              <a:gd name="connsiteX1946" fmla="*/ 45690 w 447236"/>
              <a:gd name="connsiteY1946" fmla="*/ 203809 h 448122"/>
              <a:gd name="connsiteX1947" fmla="*/ 45997 w 447236"/>
              <a:gd name="connsiteY1947" fmla="*/ 203809 h 448122"/>
              <a:gd name="connsiteX1948" fmla="*/ 45997 w 447236"/>
              <a:gd name="connsiteY1948" fmla="*/ 203503 h 448122"/>
              <a:gd name="connsiteX1949" fmla="*/ 45997 w 447236"/>
              <a:gd name="connsiteY1949" fmla="*/ 202277 h 448122"/>
              <a:gd name="connsiteX1950" fmla="*/ 45690 w 447236"/>
              <a:gd name="connsiteY1950" fmla="*/ 201971 h 448122"/>
              <a:gd name="connsiteX1951" fmla="*/ 40169 w 447236"/>
              <a:gd name="connsiteY1951" fmla="*/ 201971 h 448122"/>
              <a:gd name="connsiteX1952" fmla="*/ 39863 w 447236"/>
              <a:gd name="connsiteY1952" fmla="*/ 201971 h 448122"/>
              <a:gd name="connsiteX1953" fmla="*/ 36795 w 447236"/>
              <a:gd name="connsiteY1953" fmla="*/ 201971 h 448122"/>
              <a:gd name="connsiteX1954" fmla="*/ 36489 w 447236"/>
              <a:gd name="connsiteY1954" fmla="*/ 202277 h 448122"/>
              <a:gd name="connsiteX1955" fmla="*/ 36489 w 447236"/>
              <a:gd name="connsiteY1955" fmla="*/ 210547 h 448122"/>
              <a:gd name="connsiteX1956" fmla="*/ 36795 w 447236"/>
              <a:gd name="connsiteY1956" fmla="*/ 210853 h 448122"/>
              <a:gd name="connsiteX1957" fmla="*/ 38329 w 447236"/>
              <a:gd name="connsiteY1957" fmla="*/ 210853 h 448122"/>
              <a:gd name="connsiteX1958" fmla="*/ 38636 w 447236"/>
              <a:gd name="connsiteY1958" fmla="*/ 210547 h 448122"/>
              <a:gd name="connsiteX1959" fmla="*/ 38636 w 447236"/>
              <a:gd name="connsiteY1959" fmla="*/ 202277 h 448122"/>
              <a:gd name="connsiteX1960" fmla="*/ 38636 w 447236"/>
              <a:gd name="connsiteY1960" fmla="*/ 201971 h 448122"/>
              <a:gd name="connsiteX1961" fmla="*/ 38329 w 447236"/>
              <a:gd name="connsiteY1961" fmla="*/ 201971 h 448122"/>
              <a:gd name="connsiteX1962" fmla="*/ 36795 w 447236"/>
              <a:gd name="connsiteY1962" fmla="*/ 201971 h 448122"/>
              <a:gd name="connsiteX1963" fmla="*/ 29434 w 447236"/>
              <a:gd name="connsiteY1963" fmla="*/ 201971 h 448122"/>
              <a:gd name="connsiteX1964" fmla="*/ 29127 w 447236"/>
              <a:gd name="connsiteY1964" fmla="*/ 202277 h 448122"/>
              <a:gd name="connsiteX1965" fmla="*/ 29127 w 447236"/>
              <a:gd name="connsiteY1965" fmla="*/ 210547 h 448122"/>
              <a:gd name="connsiteX1966" fmla="*/ 29434 w 447236"/>
              <a:gd name="connsiteY1966" fmla="*/ 210853 h 448122"/>
              <a:gd name="connsiteX1967" fmla="*/ 30967 w 447236"/>
              <a:gd name="connsiteY1967" fmla="*/ 210853 h 448122"/>
              <a:gd name="connsiteX1968" fmla="*/ 31274 w 447236"/>
              <a:gd name="connsiteY1968" fmla="*/ 210547 h 448122"/>
              <a:gd name="connsiteX1969" fmla="*/ 31274 w 447236"/>
              <a:gd name="connsiteY1969" fmla="*/ 207484 h 448122"/>
              <a:gd name="connsiteX1970" fmla="*/ 31274 w 447236"/>
              <a:gd name="connsiteY1970" fmla="*/ 207178 h 448122"/>
              <a:gd name="connsiteX1971" fmla="*/ 31581 w 447236"/>
              <a:gd name="connsiteY1971" fmla="*/ 207178 h 448122"/>
              <a:gd name="connsiteX1972" fmla="*/ 32501 w 447236"/>
              <a:gd name="connsiteY1972" fmla="*/ 207178 h 448122"/>
              <a:gd name="connsiteX1973" fmla="*/ 33421 w 447236"/>
              <a:gd name="connsiteY1973" fmla="*/ 207178 h 448122"/>
              <a:gd name="connsiteX1974" fmla="*/ 34341 w 447236"/>
              <a:gd name="connsiteY1974" fmla="*/ 206565 h 448122"/>
              <a:gd name="connsiteX1975" fmla="*/ 34955 w 447236"/>
              <a:gd name="connsiteY1975" fmla="*/ 205647 h 448122"/>
              <a:gd name="connsiteX1976" fmla="*/ 35262 w 447236"/>
              <a:gd name="connsiteY1976" fmla="*/ 204728 h 448122"/>
              <a:gd name="connsiteX1977" fmla="*/ 34955 w 447236"/>
              <a:gd name="connsiteY1977" fmla="*/ 203503 h 448122"/>
              <a:gd name="connsiteX1978" fmla="*/ 34341 w 447236"/>
              <a:gd name="connsiteY1978" fmla="*/ 202584 h 448122"/>
              <a:gd name="connsiteX1979" fmla="*/ 33421 w 447236"/>
              <a:gd name="connsiteY1979" fmla="*/ 202277 h 448122"/>
              <a:gd name="connsiteX1980" fmla="*/ 32501 w 447236"/>
              <a:gd name="connsiteY1980" fmla="*/ 201971 h 448122"/>
              <a:gd name="connsiteX1981" fmla="*/ 29434 w 447236"/>
              <a:gd name="connsiteY1981" fmla="*/ 201971 h 448122"/>
              <a:gd name="connsiteX1982" fmla="*/ 23299 w 447236"/>
              <a:gd name="connsiteY1982" fmla="*/ 201971 h 448122"/>
              <a:gd name="connsiteX1983" fmla="*/ 22379 w 447236"/>
              <a:gd name="connsiteY1983" fmla="*/ 202584 h 448122"/>
              <a:gd name="connsiteX1984" fmla="*/ 21766 w 447236"/>
              <a:gd name="connsiteY1984" fmla="*/ 203503 h 448122"/>
              <a:gd name="connsiteX1985" fmla="*/ 21459 w 447236"/>
              <a:gd name="connsiteY1985" fmla="*/ 204421 h 448122"/>
              <a:gd name="connsiteX1986" fmla="*/ 21766 w 447236"/>
              <a:gd name="connsiteY1986" fmla="*/ 205340 h 448122"/>
              <a:gd name="connsiteX1987" fmla="*/ 22072 w 447236"/>
              <a:gd name="connsiteY1987" fmla="*/ 206259 h 448122"/>
              <a:gd name="connsiteX1988" fmla="*/ 22686 w 447236"/>
              <a:gd name="connsiteY1988" fmla="*/ 206565 h 448122"/>
              <a:gd name="connsiteX1989" fmla="*/ 23606 w 447236"/>
              <a:gd name="connsiteY1989" fmla="*/ 206872 h 448122"/>
              <a:gd name="connsiteX1990" fmla="*/ 25140 w 447236"/>
              <a:gd name="connsiteY1990" fmla="*/ 207484 h 448122"/>
              <a:gd name="connsiteX1991" fmla="*/ 25753 w 447236"/>
              <a:gd name="connsiteY1991" fmla="*/ 208403 h 448122"/>
              <a:gd name="connsiteX1992" fmla="*/ 25753 w 447236"/>
              <a:gd name="connsiteY1992" fmla="*/ 208709 h 448122"/>
              <a:gd name="connsiteX1993" fmla="*/ 25446 w 447236"/>
              <a:gd name="connsiteY1993" fmla="*/ 208709 h 448122"/>
              <a:gd name="connsiteX1994" fmla="*/ 25140 w 447236"/>
              <a:gd name="connsiteY1994" fmla="*/ 209016 h 448122"/>
              <a:gd name="connsiteX1995" fmla="*/ 24526 w 447236"/>
              <a:gd name="connsiteY1995" fmla="*/ 209016 h 448122"/>
              <a:gd name="connsiteX1996" fmla="*/ 24219 w 447236"/>
              <a:gd name="connsiteY1996" fmla="*/ 209016 h 448122"/>
              <a:gd name="connsiteX1997" fmla="*/ 23606 w 447236"/>
              <a:gd name="connsiteY1997" fmla="*/ 209016 h 448122"/>
              <a:gd name="connsiteX1998" fmla="*/ 22993 w 447236"/>
              <a:gd name="connsiteY1998" fmla="*/ 208709 h 448122"/>
              <a:gd name="connsiteX1999" fmla="*/ 22686 w 447236"/>
              <a:gd name="connsiteY1999" fmla="*/ 208403 h 448122"/>
              <a:gd name="connsiteX2000" fmla="*/ 22379 w 447236"/>
              <a:gd name="connsiteY2000" fmla="*/ 208097 h 448122"/>
              <a:gd name="connsiteX2001" fmla="*/ 22072 w 447236"/>
              <a:gd name="connsiteY2001" fmla="*/ 208403 h 448122"/>
              <a:gd name="connsiteX2002" fmla="*/ 21459 w 447236"/>
              <a:gd name="connsiteY2002" fmla="*/ 209322 h 448122"/>
              <a:gd name="connsiteX2003" fmla="*/ 21459 w 447236"/>
              <a:gd name="connsiteY2003" fmla="*/ 209628 h 448122"/>
              <a:gd name="connsiteX2004" fmla="*/ 21459 w 447236"/>
              <a:gd name="connsiteY2004" fmla="*/ 209935 h 448122"/>
              <a:gd name="connsiteX2005" fmla="*/ 22993 w 447236"/>
              <a:gd name="connsiteY2005" fmla="*/ 210547 h 448122"/>
              <a:gd name="connsiteX2006" fmla="*/ 24526 w 447236"/>
              <a:gd name="connsiteY2006" fmla="*/ 210853 h 448122"/>
              <a:gd name="connsiteX2007" fmla="*/ 25753 w 447236"/>
              <a:gd name="connsiteY2007" fmla="*/ 210853 h 448122"/>
              <a:gd name="connsiteX2008" fmla="*/ 26980 w 447236"/>
              <a:gd name="connsiteY2008" fmla="*/ 210241 h 448122"/>
              <a:gd name="connsiteX2009" fmla="*/ 27593 w 447236"/>
              <a:gd name="connsiteY2009" fmla="*/ 209322 h 448122"/>
              <a:gd name="connsiteX2010" fmla="*/ 27900 w 447236"/>
              <a:gd name="connsiteY2010" fmla="*/ 208097 h 448122"/>
              <a:gd name="connsiteX2011" fmla="*/ 27593 w 447236"/>
              <a:gd name="connsiteY2011" fmla="*/ 207178 h 448122"/>
              <a:gd name="connsiteX2012" fmla="*/ 26673 w 447236"/>
              <a:gd name="connsiteY2012" fmla="*/ 206259 h 448122"/>
              <a:gd name="connsiteX2013" fmla="*/ 25753 w 447236"/>
              <a:gd name="connsiteY2013" fmla="*/ 205647 h 448122"/>
              <a:gd name="connsiteX2014" fmla="*/ 24833 w 447236"/>
              <a:gd name="connsiteY2014" fmla="*/ 205340 h 448122"/>
              <a:gd name="connsiteX2015" fmla="*/ 24526 w 447236"/>
              <a:gd name="connsiteY2015" fmla="*/ 205340 h 448122"/>
              <a:gd name="connsiteX2016" fmla="*/ 24219 w 447236"/>
              <a:gd name="connsiteY2016" fmla="*/ 205034 h 448122"/>
              <a:gd name="connsiteX2017" fmla="*/ 23913 w 447236"/>
              <a:gd name="connsiteY2017" fmla="*/ 204728 h 448122"/>
              <a:gd name="connsiteX2018" fmla="*/ 23606 w 447236"/>
              <a:gd name="connsiteY2018" fmla="*/ 204421 h 448122"/>
              <a:gd name="connsiteX2019" fmla="*/ 23913 w 447236"/>
              <a:gd name="connsiteY2019" fmla="*/ 203809 h 448122"/>
              <a:gd name="connsiteX2020" fmla="*/ 24526 w 447236"/>
              <a:gd name="connsiteY2020" fmla="*/ 203503 h 448122"/>
              <a:gd name="connsiteX2021" fmla="*/ 25446 w 447236"/>
              <a:gd name="connsiteY2021" fmla="*/ 203809 h 448122"/>
              <a:gd name="connsiteX2022" fmla="*/ 26367 w 447236"/>
              <a:gd name="connsiteY2022" fmla="*/ 204115 h 448122"/>
              <a:gd name="connsiteX2023" fmla="*/ 26673 w 447236"/>
              <a:gd name="connsiteY2023" fmla="*/ 203809 h 448122"/>
              <a:gd name="connsiteX2024" fmla="*/ 27287 w 447236"/>
              <a:gd name="connsiteY2024" fmla="*/ 203196 h 448122"/>
              <a:gd name="connsiteX2025" fmla="*/ 27287 w 447236"/>
              <a:gd name="connsiteY2025" fmla="*/ 202584 h 448122"/>
              <a:gd name="connsiteX2026" fmla="*/ 26980 w 447236"/>
              <a:gd name="connsiteY2026" fmla="*/ 202584 h 448122"/>
              <a:gd name="connsiteX2027" fmla="*/ 26060 w 447236"/>
              <a:gd name="connsiteY2027" fmla="*/ 201971 h 448122"/>
              <a:gd name="connsiteX2028" fmla="*/ 24526 w 447236"/>
              <a:gd name="connsiteY2028" fmla="*/ 201971 h 448122"/>
              <a:gd name="connsiteX2029" fmla="*/ 23299 w 447236"/>
              <a:gd name="connsiteY2029" fmla="*/ 201971 h 448122"/>
              <a:gd name="connsiteX2030" fmla="*/ 15631 w 447236"/>
              <a:gd name="connsiteY2030" fmla="*/ 201971 h 448122"/>
              <a:gd name="connsiteX2031" fmla="*/ 14404 w 447236"/>
              <a:gd name="connsiteY2031" fmla="*/ 202584 h 448122"/>
              <a:gd name="connsiteX2032" fmla="*/ 13791 w 447236"/>
              <a:gd name="connsiteY2032" fmla="*/ 203503 h 448122"/>
              <a:gd name="connsiteX2033" fmla="*/ 13484 w 447236"/>
              <a:gd name="connsiteY2033" fmla="*/ 204728 h 448122"/>
              <a:gd name="connsiteX2034" fmla="*/ 13484 w 447236"/>
              <a:gd name="connsiteY2034" fmla="*/ 208097 h 448122"/>
              <a:gd name="connsiteX2035" fmla="*/ 13791 w 447236"/>
              <a:gd name="connsiteY2035" fmla="*/ 209322 h 448122"/>
              <a:gd name="connsiteX2036" fmla="*/ 14404 w 447236"/>
              <a:gd name="connsiteY2036" fmla="*/ 210241 h 448122"/>
              <a:gd name="connsiteX2037" fmla="*/ 15631 w 447236"/>
              <a:gd name="connsiteY2037" fmla="*/ 210853 h 448122"/>
              <a:gd name="connsiteX2038" fmla="*/ 16858 w 447236"/>
              <a:gd name="connsiteY2038" fmla="*/ 210853 h 448122"/>
              <a:gd name="connsiteX2039" fmla="*/ 18085 w 447236"/>
              <a:gd name="connsiteY2039" fmla="*/ 210853 h 448122"/>
              <a:gd name="connsiteX2040" fmla="*/ 19005 w 447236"/>
              <a:gd name="connsiteY2040" fmla="*/ 210241 h 448122"/>
              <a:gd name="connsiteX2041" fmla="*/ 19619 w 447236"/>
              <a:gd name="connsiteY2041" fmla="*/ 209322 h 448122"/>
              <a:gd name="connsiteX2042" fmla="*/ 19925 w 447236"/>
              <a:gd name="connsiteY2042" fmla="*/ 208097 h 448122"/>
              <a:gd name="connsiteX2043" fmla="*/ 19925 w 447236"/>
              <a:gd name="connsiteY2043" fmla="*/ 204728 h 448122"/>
              <a:gd name="connsiteX2044" fmla="*/ 19619 w 447236"/>
              <a:gd name="connsiteY2044" fmla="*/ 203503 h 448122"/>
              <a:gd name="connsiteX2045" fmla="*/ 19005 w 447236"/>
              <a:gd name="connsiteY2045" fmla="*/ 202584 h 448122"/>
              <a:gd name="connsiteX2046" fmla="*/ 18085 w 447236"/>
              <a:gd name="connsiteY2046" fmla="*/ 201971 h 448122"/>
              <a:gd name="connsiteX2047" fmla="*/ 16858 w 447236"/>
              <a:gd name="connsiteY2047" fmla="*/ 201971 h 448122"/>
              <a:gd name="connsiteX2048" fmla="*/ 15631 w 447236"/>
              <a:gd name="connsiteY2048" fmla="*/ 201971 h 448122"/>
              <a:gd name="connsiteX2049" fmla="*/ 5509 w 447236"/>
              <a:gd name="connsiteY2049" fmla="*/ 201971 h 448122"/>
              <a:gd name="connsiteX2050" fmla="*/ 5202 w 447236"/>
              <a:gd name="connsiteY2050" fmla="*/ 202277 h 448122"/>
              <a:gd name="connsiteX2051" fmla="*/ 5202 w 447236"/>
              <a:gd name="connsiteY2051" fmla="*/ 210547 h 448122"/>
              <a:gd name="connsiteX2052" fmla="*/ 5509 w 447236"/>
              <a:gd name="connsiteY2052" fmla="*/ 210853 h 448122"/>
              <a:gd name="connsiteX2053" fmla="*/ 7043 w 447236"/>
              <a:gd name="connsiteY2053" fmla="*/ 210853 h 448122"/>
              <a:gd name="connsiteX2054" fmla="*/ 7349 w 447236"/>
              <a:gd name="connsiteY2054" fmla="*/ 210547 h 448122"/>
              <a:gd name="connsiteX2055" fmla="*/ 7349 w 447236"/>
              <a:gd name="connsiteY2055" fmla="*/ 207484 h 448122"/>
              <a:gd name="connsiteX2056" fmla="*/ 7349 w 447236"/>
              <a:gd name="connsiteY2056" fmla="*/ 207178 h 448122"/>
              <a:gd name="connsiteX2057" fmla="*/ 7656 w 447236"/>
              <a:gd name="connsiteY2057" fmla="*/ 207178 h 448122"/>
              <a:gd name="connsiteX2058" fmla="*/ 9497 w 447236"/>
              <a:gd name="connsiteY2058" fmla="*/ 207178 h 448122"/>
              <a:gd name="connsiteX2059" fmla="*/ 9803 w 447236"/>
              <a:gd name="connsiteY2059" fmla="*/ 207178 h 448122"/>
              <a:gd name="connsiteX2060" fmla="*/ 9803 w 447236"/>
              <a:gd name="connsiteY2060" fmla="*/ 207484 h 448122"/>
              <a:gd name="connsiteX2061" fmla="*/ 9803 w 447236"/>
              <a:gd name="connsiteY2061" fmla="*/ 210547 h 448122"/>
              <a:gd name="connsiteX2062" fmla="*/ 10110 w 447236"/>
              <a:gd name="connsiteY2062" fmla="*/ 210853 h 448122"/>
              <a:gd name="connsiteX2063" fmla="*/ 11644 w 447236"/>
              <a:gd name="connsiteY2063" fmla="*/ 210853 h 448122"/>
              <a:gd name="connsiteX2064" fmla="*/ 11950 w 447236"/>
              <a:gd name="connsiteY2064" fmla="*/ 210547 h 448122"/>
              <a:gd name="connsiteX2065" fmla="*/ 11950 w 447236"/>
              <a:gd name="connsiteY2065" fmla="*/ 202277 h 448122"/>
              <a:gd name="connsiteX2066" fmla="*/ 11644 w 447236"/>
              <a:gd name="connsiteY2066" fmla="*/ 201971 h 448122"/>
              <a:gd name="connsiteX2067" fmla="*/ 10110 w 447236"/>
              <a:gd name="connsiteY2067" fmla="*/ 201971 h 448122"/>
              <a:gd name="connsiteX2068" fmla="*/ 9803 w 447236"/>
              <a:gd name="connsiteY2068" fmla="*/ 201971 h 448122"/>
              <a:gd name="connsiteX2069" fmla="*/ 9803 w 447236"/>
              <a:gd name="connsiteY2069" fmla="*/ 202277 h 448122"/>
              <a:gd name="connsiteX2070" fmla="*/ 9803 w 447236"/>
              <a:gd name="connsiteY2070" fmla="*/ 205034 h 448122"/>
              <a:gd name="connsiteX2071" fmla="*/ 9803 w 447236"/>
              <a:gd name="connsiteY2071" fmla="*/ 205340 h 448122"/>
              <a:gd name="connsiteX2072" fmla="*/ 9497 w 447236"/>
              <a:gd name="connsiteY2072" fmla="*/ 205340 h 448122"/>
              <a:gd name="connsiteX2073" fmla="*/ 7656 w 447236"/>
              <a:gd name="connsiteY2073" fmla="*/ 205340 h 448122"/>
              <a:gd name="connsiteX2074" fmla="*/ 7349 w 447236"/>
              <a:gd name="connsiteY2074" fmla="*/ 205340 h 448122"/>
              <a:gd name="connsiteX2075" fmla="*/ 7349 w 447236"/>
              <a:gd name="connsiteY2075" fmla="*/ 205034 h 448122"/>
              <a:gd name="connsiteX2076" fmla="*/ 7349 w 447236"/>
              <a:gd name="connsiteY2076" fmla="*/ 202277 h 448122"/>
              <a:gd name="connsiteX2077" fmla="*/ 7349 w 447236"/>
              <a:gd name="connsiteY2077" fmla="*/ 201971 h 448122"/>
              <a:gd name="connsiteX2078" fmla="*/ 7043 w 447236"/>
              <a:gd name="connsiteY2078" fmla="*/ 201971 h 448122"/>
              <a:gd name="connsiteX2079" fmla="*/ 5509 w 447236"/>
              <a:gd name="connsiteY2079" fmla="*/ 201971 h 448122"/>
              <a:gd name="connsiteX2080" fmla="*/ 421101 w 447236"/>
              <a:gd name="connsiteY2080" fmla="*/ 200777 h 448122"/>
              <a:gd name="connsiteX2081" fmla="*/ 429081 w 447236"/>
              <a:gd name="connsiteY2081" fmla="*/ 206870 h 448122"/>
              <a:gd name="connsiteX2082" fmla="*/ 421101 w 447236"/>
              <a:gd name="connsiteY2082" fmla="*/ 212963 h 448122"/>
              <a:gd name="connsiteX2083" fmla="*/ 414348 w 447236"/>
              <a:gd name="connsiteY2083" fmla="*/ 211135 h 448122"/>
              <a:gd name="connsiteX2084" fmla="*/ 411586 w 447236"/>
              <a:gd name="connsiteY2084" fmla="*/ 206870 h 448122"/>
              <a:gd name="connsiteX2085" fmla="*/ 421101 w 447236"/>
              <a:gd name="connsiteY2085" fmla="*/ 200777 h 448122"/>
              <a:gd name="connsiteX2086" fmla="*/ 418339 w 447236"/>
              <a:gd name="connsiteY2086" fmla="*/ 199559 h 448122"/>
              <a:gd name="connsiteX2087" fmla="*/ 421101 w 447236"/>
              <a:gd name="connsiteY2087" fmla="*/ 199864 h 448122"/>
              <a:gd name="connsiteX2088" fmla="*/ 410665 w 447236"/>
              <a:gd name="connsiteY2088" fmla="*/ 206870 h 448122"/>
              <a:gd name="connsiteX2089" fmla="*/ 413735 w 447236"/>
              <a:gd name="connsiteY2089" fmla="*/ 211744 h 448122"/>
              <a:gd name="connsiteX2090" fmla="*/ 421101 w 447236"/>
              <a:gd name="connsiteY2090" fmla="*/ 213572 h 448122"/>
              <a:gd name="connsiteX2091" fmla="*/ 418339 w 447236"/>
              <a:gd name="connsiteY2091" fmla="*/ 213877 h 448122"/>
              <a:gd name="connsiteX2092" fmla="*/ 408210 w 447236"/>
              <a:gd name="connsiteY2092" fmla="*/ 209307 h 448122"/>
              <a:gd name="connsiteX2093" fmla="*/ 384269 w 447236"/>
              <a:gd name="connsiteY2093" fmla="*/ 209307 h 448122"/>
              <a:gd name="connsiteX2094" fmla="*/ 382734 w 447236"/>
              <a:gd name="connsiteY2094" fmla="*/ 207784 h 448122"/>
              <a:gd name="connsiteX2095" fmla="*/ 382734 w 447236"/>
              <a:gd name="connsiteY2095" fmla="*/ 205652 h 448122"/>
              <a:gd name="connsiteX2096" fmla="*/ 384269 w 447236"/>
              <a:gd name="connsiteY2096" fmla="*/ 204128 h 448122"/>
              <a:gd name="connsiteX2097" fmla="*/ 408210 w 447236"/>
              <a:gd name="connsiteY2097" fmla="*/ 204128 h 448122"/>
              <a:gd name="connsiteX2098" fmla="*/ 418339 w 447236"/>
              <a:gd name="connsiteY2098" fmla="*/ 199559 h 448122"/>
              <a:gd name="connsiteX2099" fmla="*/ 266736 w 447236"/>
              <a:gd name="connsiteY2099" fmla="*/ 198876 h 448122"/>
              <a:gd name="connsiteX2100" fmla="*/ 266430 w 447236"/>
              <a:gd name="connsiteY2100" fmla="*/ 199182 h 448122"/>
              <a:gd name="connsiteX2101" fmla="*/ 266736 w 447236"/>
              <a:gd name="connsiteY2101" fmla="*/ 199489 h 448122"/>
              <a:gd name="connsiteX2102" fmla="*/ 274080 w 447236"/>
              <a:gd name="connsiteY2102" fmla="*/ 199489 h 448122"/>
              <a:gd name="connsiteX2103" fmla="*/ 274386 w 447236"/>
              <a:gd name="connsiteY2103" fmla="*/ 199182 h 448122"/>
              <a:gd name="connsiteX2104" fmla="*/ 274080 w 447236"/>
              <a:gd name="connsiteY2104" fmla="*/ 198876 h 448122"/>
              <a:gd name="connsiteX2105" fmla="*/ 266736 w 447236"/>
              <a:gd name="connsiteY2105" fmla="*/ 198876 h 448122"/>
              <a:gd name="connsiteX2106" fmla="*/ 438409 w 447236"/>
              <a:gd name="connsiteY2106" fmla="*/ 198605 h 448122"/>
              <a:gd name="connsiteX2107" fmla="*/ 438102 w 447236"/>
              <a:gd name="connsiteY2107" fmla="*/ 199218 h 448122"/>
              <a:gd name="connsiteX2108" fmla="*/ 438102 w 447236"/>
              <a:gd name="connsiteY2108" fmla="*/ 210561 h 448122"/>
              <a:gd name="connsiteX2109" fmla="*/ 438409 w 447236"/>
              <a:gd name="connsiteY2109" fmla="*/ 210867 h 448122"/>
              <a:gd name="connsiteX2110" fmla="*/ 439023 w 447236"/>
              <a:gd name="connsiteY2110" fmla="*/ 210561 h 448122"/>
              <a:gd name="connsiteX2111" fmla="*/ 439023 w 447236"/>
              <a:gd name="connsiteY2111" fmla="*/ 199218 h 448122"/>
              <a:gd name="connsiteX2112" fmla="*/ 438409 w 447236"/>
              <a:gd name="connsiteY2112" fmla="*/ 198605 h 448122"/>
              <a:gd name="connsiteX2113" fmla="*/ 439383 w 447236"/>
              <a:gd name="connsiteY2113" fmla="*/ 197431 h 448122"/>
              <a:gd name="connsiteX2114" fmla="*/ 440447 w 447236"/>
              <a:gd name="connsiteY2114" fmla="*/ 198494 h 448122"/>
              <a:gd name="connsiteX2115" fmla="*/ 440181 w 447236"/>
              <a:gd name="connsiteY2115" fmla="*/ 197697 h 448122"/>
              <a:gd name="connsiteX2116" fmla="*/ 435791 w 447236"/>
              <a:gd name="connsiteY2116" fmla="*/ 197320 h 448122"/>
              <a:gd name="connsiteX2117" fmla="*/ 434660 w 447236"/>
              <a:gd name="connsiteY2117" fmla="*/ 197697 h 448122"/>
              <a:gd name="connsiteX2118" fmla="*/ 434196 w 447236"/>
              <a:gd name="connsiteY2118" fmla="*/ 199090 h 448122"/>
              <a:gd name="connsiteX2119" fmla="*/ 266736 w 447236"/>
              <a:gd name="connsiteY2119" fmla="*/ 196425 h 448122"/>
              <a:gd name="connsiteX2120" fmla="*/ 266430 w 447236"/>
              <a:gd name="connsiteY2120" fmla="*/ 196732 h 448122"/>
              <a:gd name="connsiteX2121" fmla="*/ 266736 w 447236"/>
              <a:gd name="connsiteY2121" fmla="*/ 197038 h 448122"/>
              <a:gd name="connsiteX2122" fmla="*/ 274080 w 447236"/>
              <a:gd name="connsiteY2122" fmla="*/ 197038 h 448122"/>
              <a:gd name="connsiteX2123" fmla="*/ 274386 w 447236"/>
              <a:gd name="connsiteY2123" fmla="*/ 196732 h 448122"/>
              <a:gd name="connsiteX2124" fmla="*/ 274080 w 447236"/>
              <a:gd name="connsiteY2124" fmla="*/ 196425 h 448122"/>
              <a:gd name="connsiteX2125" fmla="*/ 266736 w 447236"/>
              <a:gd name="connsiteY2125" fmla="*/ 196425 h 448122"/>
              <a:gd name="connsiteX2126" fmla="*/ 436501 w 447236"/>
              <a:gd name="connsiteY2126" fmla="*/ 196164 h 448122"/>
              <a:gd name="connsiteX2127" fmla="*/ 438341 w 447236"/>
              <a:gd name="connsiteY2127" fmla="*/ 196164 h 448122"/>
              <a:gd name="connsiteX2128" fmla="*/ 440795 w 447236"/>
              <a:gd name="connsiteY2128" fmla="*/ 197084 h 448122"/>
              <a:gd name="connsiteX2129" fmla="*/ 441715 w 447236"/>
              <a:gd name="connsiteY2129" fmla="*/ 199536 h 448122"/>
              <a:gd name="connsiteX2130" fmla="*/ 441715 w 447236"/>
              <a:gd name="connsiteY2130" fmla="*/ 216399 h 448122"/>
              <a:gd name="connsiteX2131" fmla="*/ 442022 w 447236"/>
              <a:gd name="connsiteY2131" fmla="*/ 217625 h 448122"/>
              <a:gd name="connsiteX2132" fmla="*/ 443249 w 447236"/>
              <a:gd name="connsiteY2132" fmla="*/ 218545 h 448122"/>
              <a:gd name="connsiteX2133" fmla="*/ 446316 w 447236"/>
              <a:gd name="connsiteY2133" fmla="*/ 221611 h 448122"/>
              <a:gd name="connsiteX2134" fmla="*/ 447236 w 447236"/>
              <a:gd name="connsiteY2134" fmla="*/ 225596 h 448122"/>
              <a:gd name="connsiteX2135" fmla="*/ 447236 w 447236"/>
              <a:gd name="connsiteY2135" fmla="*/ 309294 h 448122"/>
              <a:gd name="connsiteX2136" fmla="*/ 444476 w 447236"/>
              <a:gd name="connsiteY2136" fmla="*/ 316346 h 448122"/>
              <a:gd name="connsiteX2137" fmla="*/ 437421 w 447236"/>
              <a:gd name="connsiteY2137" fmla="*/ 319412 h 448122"/>
              <a:gd name="connsiteX2138" fmla="*/ 430366 w 447236"/>
              <a:gd name="connsiteY2138" fmla="*/ 316346 h 448122"/>
              <a:gd name="connsiteX2139" fmla="*/ 427605 w 447236"/>
              <a:gd name="connsiteY2139" fmla="*/ 309294 h 448122"/>
              <a:gd name="connsiteX2140" fmla="*/ 427605 w 447236"/>
              <a:gd name="connsiteY2140" fmla="*/ 225596 h 448122"/>
              <a:gd name="connsiteX2141" fmla="*/ 428832 w 447236"/>
              <a:gd name="connsiteY2141" fmla="*/ 221304 h 448122"/>
              <a:gd name="connsiteX2142" fmla="*/ 431900 w 447236"/>
              <a:gd name="connsiteY2142" fmla="*/ 218545 h 448122"/>
              <a:gd name="connsiteX2143" fmla="*/ 432820 w 447236"/>
              <a:gd name="connsiteY2143" fmla="*/ 217625 h 448122"/>
              <a:gd name="connsiteX2144" fmla="*/ 433126 w 447236"/>
              <a:gd name="connsiteY2144" fmla="*/ 216092 h 448122"/>
              <a:gd name="connsiteX2145" fmla="*/ 433126 w 447236"/>
              <a:gd name="connsiteY2145" fmla="*/ 199536 h 448122"/>
              <a:gd name="connsiteX2146" fmla="*/ 434047 w 447236"/>
              <a:gd name="connsiteY2146" fmla="*/ 197084 h 448122"/>
              <a:gd name="connsiteX2147" fmla="*/ 436501 w 447236"/>
              <a:gd name="connsiteY2147" fmla="*/ 196164 h 448122"/>
              <a:gd name="connsiteX2148" fmla="*/ 247684 w 447236"/>
              <a:gd name="connsiteY2148" fmla="*/ 194983 h 448122"/>
              <a:gd name="connsiteX2149" fmla="*/ 255353 w 447236"/>
              <a:gd name="connsiteY2149" fmla="*/ 217621 h 448122"/>
              <a:gd name="connsiteX2150" fmla="*/ 239707 w 447236"/>
              <a:gd name="connsiteY2150" fmla="*/ 217621 h 448122"/>
              <a:gd name="connsiteX2151" fmla="*/ 247684 w 447236"/>
              <a:gd name="connsiteY2151" fmla="*/ 194983 h 448122"/>
              <a:gd name="connsiteX2152" fmla="*/ 266736 w 447236"/>
              <a:gd name="connsiteY2152" fmla="*/ 194281 h 448122"/>
              <a:gd name="connsiteX2153" fmla="*/ 266430 w 447236"/>
              <a:gd name="connsiteY2153" fmla="*/ 194587 h 448122"/>
              <a:gd name="connsiteX2154" fmla="*/ 266736 w 447236"/>
              <a:gd name="connsiteY2154" fmla="*/ 194894 h 448122"/>
              <a:gd name="connsiteX2155" fmla="*/ 274080 w 447236"/>
              <a:gd name="connsiteY2155" fmla="*/ 194894 h 448122"/>
              <a:gd name="connsiteX2156" fmla="*/ 274386 w 447236"/>
              <a:gd name="connsiteY2156" fmla="*/ 194587 h 448122"/>
              <a:gd name="connsiteX2157" fmla="*/ 274080 w 447236"/>
              <a:gd name="connsiteY2157" fmla="*/ 194281 h 448122"/>
              <a:gd name="connsiteX2158" fmla="*/ 266736 w 447236"/>
              <a:gd name="connsiteY2158" fmla="*/ 194281 h 448122"/>
              <a:gd name="connsiteX2159" fmla="*/ 292844 w 447236"/>
              <a:gd name="connsiteY2159" fmla="*/ 193360 h 448122"/>
              <a:gd name="connsiteX2160" fmla="*/ 292844 w 447236"/>
              <a:gd name="connsiteY2160" fmla="*/ 220076 h 448122"/>
              <a:gd name="connsiteX2161" fmla="*/ 293775 w 447236"/>
              <a:gd name="connsiteY2161" fmla="*/ 220076 h 448122"/>
              <a:gd name="connsiteX2162" fmla="*/ 294385 w 447236"/>
              <a:gd name="connsiteY2162" fmla="*/ 220689 h 448122"/>
              <a:gd name="connsiteX2163" fmla="*/ 294385 w 447236"/>
              <a:gd name="connsiteY2163" fmla="*/ 226820 h 448122"/>
              <a:gd name="connsiteX2164" fmla="*/ 294690 w 447236"/>
              <a:gd name="connsiteY2164" fmla="*/ 226820 h 448122"/>
              <a:gd name="connsiteX2165" fmla="*/ 295606 w 447236"/>
              <a:gd name="connsiteY2165" fmla="*/ 227740 h 448122"/>
              <a:gd name="connsiteX2166" fmla="*/ 295606 w 447236"/>
              <a:gd name="connsiteY2166" fmla="*/ 232951 h 448122"/>
              <a:gd name="connsiteX2167" fmla="*/ 297132 w 447236"/>
              <a:gd name="connsiteY2167" fmla="*/ 232951 h 448122"/>
              <a:gd name="connsiteX2168" fmla="*/ 297437 w 447236"/>
              <a:gd name="connsiteY2168" fmla="*/ 232951 h 448122"/>
              <a:gd name="connsiteX2169" fmla="*/ 297743 w 447236"/>
              <a:gd name="connsiteY2169" fmla="*/ 232951 h 448122"/>
              <a:gd name="connsiteX2170" fmla="*/ 298048 w 447236"/>
              <a:gd name="connsiteY2170" fmla="*/ 232951 h 448122"/>
              <a:gd name="connsiteX2171" fmla="*/ 298048 w 447236"/>
              <a:gd name="connsiteY2171" fmla="*/ 233258 h 448122"/>
              <a:gd name="connsiteX2172" fmla="*/ 298353 w 447236"/>
              <a:gd name="connsiteY2172" fmla="*/ 233258 h 448122"/>
              <a:gd name="connsiteX2173" fmla="*/ 298353 w 447236"/>
              <a:gd name="connsiteY2173" fmla="*/ 233565 h 448122"/>
              <a:gd name="connsiteX2174" fmla="*/ 298353 w 447236"/>
              <a:gd name="connsiteY2174" fmla="*/ 234178 h 448122"/>
              <a:gd name="connsiteX2175" fmla="*/ 298353 w 447236"/>
              <a:gd name="connsiteY2175" fmla="*/ 253184 h 448122"/>
              <a:gd name="connsiteX2176" fmla="*/ 298353 w 447236"/>
              <a:gd name="connsiteY2176" fmla="*/ 284147 h 448122"/>
              <a:gd name="connsiteX2177" fmla="*/ 299879 w 447236"/>
              <a:gd name="connsiteY2177" fmla="*/ 284147 h 448122"/>
              <a:gd name="connsiteX2178" fmla="*/ 301405 w 447236"/>
              <a:gd name="connsiteY2178" fmla="*/ 285680 h 448122"/>
              <a:gd name="connsiteX2179" fmla="*/ 301405 w 447236"/>
              <a:gd name="connsiteY2179" fmla="*/ 285987 h 448122"/>
              <a:gd name="connsiteX2180" fmla="*/ 299879 w 447236"/>
              <a:gd name="connsiteY2180" fmla="*/ 287826 h 448122"/>
              <a:gd name="connsiteX2181" fmla="*/ 296827 w 447236"/>
              <a:gd name="connsiteY2181" fmla="*/ 287826 h 448122"/>
              <a:gd name="connsiteX2182" fmla="*/ 296827 w 447236"/>
              <a:gd name="connsiteY2182" fmla="*/ 290022 h 448122"/>
              <a:gd name="connsiteX2183" fmla="*/ 296827 w 447236"/>
              <a:gd name="connsiteY2183" fmla="*/ 307465 h 448122"/>
              <a:gd name="connsiteX2184" fmla="*/ 299574 w 447236"/>
              <a:gd name="connsiteY2184" fmla="*/ 307465 h 448122"/>
              <a:gd name="connsiteX2185" fmla="*/ 301405 w 447236"/>
              <a:gd name="connsiteY2185" fmla="*/ 309306 h 448122"/>
              <a:gd name="connsiteX2186" fmla="*/ 299574 w 447236"/>
              <a:gd name="connsiteY2186" fmla="*/ 311146 h 448122"/>
              <a:gd name="connsiteX2187" fmla="*/ 285229 w 447236"/>
              <a:gd name="connsiteY2187" fmla="*/ 311146 h 448122"/>
              <a:gd name="connsiteX2188" fmla="*/ 283397 w 447236"/>
              <a:gd name="connsiteY2188" fmla="*/ 309306 h 448122"/>
              <a:gd name="connsiteX2189" fmla="*/ 285229 w 447236"/>
              <a:gd name="connsiteY2189" fmla="*/ 307465 h 448122"/>
              <a:gd name="connsiteX2190" fmla="*/ 288281 w 447236"/>
              <a:gd name="connsiteY2190" fmla="*/ 307465 h 448122"/>
              <a:gd name="connsiteX2191" fmla="*/ 288281 w 447236"/>
              <a:gd name="connsiteY2191" fmla="*/ 304973 h 448122"/>
              <a:gd name="connsiteX2192" fmla="*/ 288281 w 447236"/>
              <a:gd name="connsiteY2192" fmla="*/ 287826 h 448122"/>
              <a:gd name="connsiteX2193" fmla="*/ 287060 w 447236"/>
              <a:gd name="connsiteY2193" fmla="*/ 287826 h 448122"/>
              <a:gd name="connsiteX2194" fmla="*/ 285229 w 447236"/>
              <a:gd name="connsiteY2194" fmla="*/ 287826 h 448122"/>
              <a:gd name="connsiteX2195" fmla="*/ 283397 w 447236"/>
              <a:gd name="connsiteY2195" fmla="*/ 285987 h 448122"/>
              <a:gd name="connsiteX2196" fmla="*/ 283397 w 447236"/>
              <a:gd name="connsiteY2196" fmla="*/ 285680 h 448122"/>
              <a:gd name="connsiteX2197" fmla="*/ 285229 w 447236"/>
              <a:gd name="connsiteY2197" fmla="*/ 284147 h 448122"/>
              <a:gd name="connsiteX2198" fmla="*/ 286449 w 447236"/>
              <a:gd name="connsiteY2198" fmla="*/ 284147 h 448122"/>
              <a:gd name="connsiteX2199" fmla="*/ 286449 w 447236"/>
              <a:gd name="connsiteY2199" fmla="*/ 253184 h 448122"/>
              <a:gd name="connsiteX2200" fmla="*/ 286449 w 447236"/>
              <a:gd name="connsiteY2200" fmla="*/ 234178 h 448122"/>
              <a:gd name="connsiteX2201" fmla="*/ 286449 w 447236"/>
              <a:gd name="connsiteY2201" fmla="*/ 233565 h 448122"/>
              <a:gd name="connsiteX2202" fmla="*/ 286755 w 447236"/>
              <a:gd name="connsiteY2202" fmla="*/ 233258 h 448122"/>
              <a:gd name="connsiteX2203" fmla="*/ 287060 w 447236"/>
              <a:gd name="connsiteY2203" fmla="*/ 233258 h 448122"/>
              <a:gd name="connsiteX2204" fmla="*/ 287060 w 447236"/>
              <a:gd name="connsiteY2204" fmla="*/ 232951 h 448122"/>
              <a:gd name="connsiteX2205" fmla="*/ 287670 w 447236"/>
              <a:gd name="connsiteY2205" fmla="*/ 232951 h 448122"/>
              <a:gd name="connsiteX2206" fmla="*/ 289196 w 447236"/>
              <a:gd name="connsiteY2206" fmla="*/ 232951 h 448122"/>
              <a:gd name="connsiteX2207" fmla="*/ 289196 w 447236"/>
              <a:gd name="connsiteY2207" fmla="*/ 227740 h 448122"/>
              <a:gd name="connsiteX2208" fmla="*/ 290112 w 447236"/>
              <a:gd name="connsiteY2208" fmla="*/ 226820 h 448122"/>
              <a:gd name="connsiteX2209" fmla="*/ 290417 w 447236"/>
              <a:gd name="connsiteY2209" fmla="*/ 226820 h 448122"/>
              <a:gd name="connsiteX2210" fmla="*/ 290417 w 447236"/>
              <a:gd name="connsiteY2210" fmla="*/ 220689 h 448122"/>
              <a:gd name="connsiteX2211" fmla="*/ 291333 w 447236"/>
              <a:gd name="connsiteY2211" fmla="*/ 220076 h 448122"/>
              <a:gd name="connsiteX2212" fmla="*/ 291958 w 447236"/>
              <a:gd name="connsiteY2212" fmla="*/ 220076 h 448122"/>
              <a:gd name="connsiteX2213" fmla="*/ 291958 w 447236"/>
              <a:gd name="connsiteY2213" fmla="*/ 194983 h 448122"/>
              <a:gd name="connsiteX2214" fmla="*/ 220318 w 447236"/>
              <a:gd name="connsiteY2214" fmla="*/ 191945 h 448122"/>
              <a:gd name="connsiteX2215" fmla="*/ 231888 w 447236"/>
              <a:gd name="connsiteY2215" fmla="*/ 201314 h 448122"/>
              <a:gd name="connsiteX2216" fmla="*/ 233065 w 447236"/>
              <a:gd name="connsiteY2216" fmla="*/ 210629 h 448122"/>
              <a:gd name="connsiteX2217" fmla="*/ 236064 w 447236"/>
              <a:gd name="connsiteY2217" fmla="*/ 210629 h 448122"/>
              <a:gd name="connsiteX2218" fmla="*/ 237003 w 447236"/>
              <a:gd name="connsiteY2218" fmla="*/ 210629 h 448122"/>
              <a:gd name="connsiteX2219" fmla="*/ 238230 w 447236"/>
              <a:gd name="connsiteY2219" fmla="*/ 211847 h 448122"/>
              <a:gd name="connsiteX2220" fmla="*/ 237003 w 447236"/>
              <a:gd name="connsiteY2220" fmla="*/ 213369 h 448122"/>
              <a:gd name="connsiteX2221" fmla="*/ 236390 w 447236"/>
              <a:gd name="connsiteY2221" fmla="*/ 213369 h 448122"/>
              <a:gd name="connsiteX2222" fmla="*/ 227531 w 447236"/>
              <a:gd name="connsiteY2222" fmla="*/ 221817 h 448122"/>
              <a:gd name="connsiteX2223" fmla="*/ 227046 w 447236"/>
              <a:gd name="connsiteY2223" fmla="*/ 221898 h 448122"/>
              <a:gd name="connsiteX2224" fmla="*/ 223128 w 447236"/>
              <a:gd name="connsiteY2224" fmla="*/ 228060 h 448122"/>
              <a:gd name="connsiteX2225" fmla="*/ 211468 w 447236"/>
              <a:gd name="connsiteY2225" fmla="*/ 234493 h 448122"/>
              <a:gd name="connsiteX2226" fmla="*/ 208712 w 447236"/>
              <a:gd name="connsiteY2226" fmla="*/ 236022 h 448122"/>
              <a:gd name="connsiteX2227" fmla="*/ 208712 w 447236"/>
              <a:gd name="connsiteY2227" fmla="*/ 244141 h 448122"/>
              <a:gd name="connsiteX2228" fmla="*/ 208712 w 447236"/>
              <a:gd name="connsiteY2228" fmla="*/ 253316 h 448122"/>
              <a:gd name="connsiteX2229" fmla="*/ 208712 w 447236"/>
              <a:gd name="connsiteY2229" fmla="*/ 255181 h 448122"/>
              <a:gd name="connsiteX2230" fmla="*/ 213616 w 447236"/>
              <a:gd name="connsiteY2230" fmla="*/ 259918 h 448122"/>
              <a:gd name="connsiteX2231" fmla="*/ 212633 w 447236"/>
              <a:gd name="connsiteY2231" fmla="*/ 261941 h 448122"/>
              <a:gd name="connsiteX2232" fmla="*/ 212995 w 447236"/>
              <a:gd name="connsiteY2232" fmla="*/ 262380 h 448122"/>
              <a:gd name="connsiteX2233" fmla="*/ 221256 w 447236"/>
              <a:gd name="connsiteY2233" fmla="*/ 267888 h 448122"/>
              <a:gd name="connsiteX2234" fmla="*/ 221256 w 447236"/>
              <a:gd name="connsiteY2234" fmla="*/ 268194 h 448122"/>
              <a:gd name="connsiteX2235" fmla="*/ 209597 w 447236"/>
              <a:gd name="connsiteY2235" fmla="*/ 268194 h 448122"/>
              <a:gd name="connsiteX2236" fmla="*/ 208706 w 447236"/>
              <a:gd name="connsiteY2236" fmla="*/ 270027 h 448122"/>
              <a:gd name="connsiteX2237" fmla="*/ 206865 w 447236"/>
              <a:gd name="connsiteY2237" fmla="*/ 271252 h 448122"/>
              <a:gd name="connsiteX2238" fmla="*/ 201955 w 447236"/>
              <a:gd name="connsiteY2238" fmla="*/ 274928 h 448122"/>
              <a:gd name="connsiteX2239" fmla="*/ 201035 w 447236"/>
              <a:gd name="connsiteY2239" fmla="*/ 276460 h 448122"/>
              <a:gd name="connsiteX2240" fmla="*/ 201342 w 447236"/>
              <a:gd name="connsiteY2240" fmla="*/ 274316 h 448122"/>
              <a:gd name="connsiteX2241" fmla="*/ 203183 w 447236"/>
              <a:gd name="connsiteY2241" fmla="*/ 272784 h 448122"/>
              <a:gd name="connsiteX2242" fmla="*/ 205331 w 447236"/>
              <a:gd name="connsiteY2242" fmla="*/ 270946 h 448122"/>
              <a:gd name="connsiteX2243" fmla="*/ 208088 w 447236"/>
              <a:gd name="connsiteY2243" fmla="*/ 268194 h 448122"/>
              <a:gd name="connsiteX2244" fmla="*/ 204452 w 447236"/>
              <a:gd name="connsiteY2244" fmla="*/ 268194 h 448122"/>
              <a:gd name="connsiteX2245" fmla="*/ 192189 w 447236"/>
              <a:gd name="connsiteY2245" fmla="*/ 268194 h 448122"/>
              <a:gd name="connsiteX2246" fmla="*/ 191883 w 447236"/>
              <a:gd name="connsiteY2246" fmla="*/ 267888 h 448122"/>
              <a:gd name="connsiteX2247" fmla="*/ 200756 w 447236"/>
              <a:gd name="connsiteY2247" fmla="*/ 262380 h 448122"/>
              <a:gd name="connsiteX2248" fmla="*/ 205040 w 447236"/>
              <a:gd name="connsiteY2248" fmla="*/ 257179 h 448122"/>
              <a:gd name="connsiteX2249" fmla="*/ 205040 w 447236"/>
              <a:gd name="connsiteY2249" fmla="*/ 254737 h 448122"/>
              <a:gd name="connsiteX2250" fmla="*/ 201342 w 447236"/>
              <a:gd name="connsiteY2250" fmla="*/ 251954 h 448122"/>
              <a:gd name="connsiteX2251" fmla="*/ 197966 w 447236"/>
              <a:gd name="connsiteY2251" fmla="*/ 242151 h 448122"/>
              <a:gd name="connsiteX2252" fmla="*/ 205020 w 447236"/>
              <a:gd name="connsiteY2252" fmla="*/ 234006 h 448122"/>
              <a:gd name="connsiteX2253" fmla="*/ 205020 w 447236"/>
              <a:gd name="connsiteY2253" fmla="*/ 230851 h 448122"/>
              <a:gd name="connsiteX2254" fmla="*/ 205040 w 447236"/>
              <a:gd name="connsiteY2254" fmla="*/ 230851 h 448122"/>
              <a:gd name="connsiteX2255" fmla="*/ 205040 w 447236"/>
              <a:gd name="connsiteY2255" fmla="*/ 226275 h 448122"/>
              <a:gd name="connsiteX2256" fmla="*/ 208712 w 447236"/>
              <a:gd name="connsiteY2256" fmla="*/ 226275 h 448122"/>
              <a:gd name="connsiteX2257" fmla="*/ 208712 w 447236"/>
              <a:gd name="connsiteY2257" fmla="*/ 231824 h 448122"/>
              <a:gd name="connsiteX2258" fmla="*/ 215150 w 447236"/>
              <a:gd name="connsiteY2258" fmla="*/ 228060 h 448122"/>
              <a:gd name="connsiteX2259" fmla="*/ 219446 w 447236"/>
              <a:gd name="connsiteY2259" fmla="*/ 225304 h 448122"/>
              <a:gd name="connsiteX2260" fmla="*/ 221267 w 447236"/>
              <a:gd name="connsiteY2260" fmla="*/ 222859 h 448122"/>
              <a:gd name="connsiteX2261" fmla="*/ 206939 w 447236"/>
              <a:gd name="connsiteY2261" fmla="*/ 225242 h 448122"/>
              <a:gd name="connsiteX2262" fmla="*/ 177181 w 447236"/>
              <a:gd name="connsiteY2262" fmla="*/ 213369 h 448122"/>
              <a:gd name="connsiteX2263" fmla="*/ 176874 w 447236"/>
              <a:gd name="connsiteY2263" fmla="*/ 213369 h 448122"/>
              <a:gd name="connsiteX2264" fmla="*/ 175647 w 447236"/>
              <a:gd name="connsiteY2264" fmla="*/ 211847 h 448122"/>
              <a:gd name="connsiteX2265" fmla="*/ 176874 w 447236"/>
              <a:gd name="connsiteY2265" fmla="*/ 210629 h 448122"/>
              <a:gd name="connsiteX2266" fmla="*/ 211636 w 447236"/>
              <a:gd name="connsiteY2266" fmla="*/ 210629 h 448122"/>
              <a:gd name="connsiteX2267" fmla="*/ 228345 w 447236"/>
              <a:gd name="connsiteY2267" fmla="*/ 210629 h 448122"/>
              <a:gd name="connsiteX2268" fmla="*/ 228345 w 447236"/>
              <a:gd name="connsiteY2268" fmla="*/ 207537 h 448122"/>
              <a:gd name="connsiteX2269" fmla="*/ 215150 w 447236"/>
              <a:gd name="connsiteY2269" fmla="*/ 194977 h 448122"/>
              <a:gd name="connsiteX2270" fmla="*/ 211468 w 447236"/>
              <a:gd name="connsiteY2270" fmla="*/ 195284 h 448122"/>
              <a:gd name="connsiteX2271" fmla="*/ 204103 w 447236"/>
              <a:gd name="connsiteY2271" fmla="*/ 198347 h 448122"/>
              <a:gd name="connsiteX2272" fmla="*/ 193670 w 447236"/>
              <a:gd name="connsiteY2272" fmla="*/ 206618 h 448122"/>
              <a:gd name="connsiteX2273" fmla="*/ 198887 w 447236"/>
              <a:gd name="connsiteY2273" fmla="*/ 194365 h 448122"/>
              <a:gd name="connsiteX2274" fmla="*/ 203796 w 447236"/>
              <a:gd name="connsiteY2274" fmla="*/ 192527 h 448122"/>
              <a:gd name="connsiteX2275" fmla="*/ 220318 w 447236"/>
              <a:gd name="connsiteY2275" fmla="*/ 191945 h 448122"/>
              <a:gd name="connsiteX2276" fmla="*/ 263982 w 447236"/>
              <a:gd name="connsiteY2276" fmla="*/ 191830 h 448122"/>
              <a:gd name="connsiteX2277" fmla="*/ 263676 w 447236"/>
              <a:gd name="connsiteY2277" fmla="*/ 192137 h 448122"/>
              <a:gd name="connsiteX2278" fmla="*/ 263982 w 447236"/>
              <a:gd name="connsiteY2278" fmla="*/ 192443 h 448122"/>
              <a:gd name="connsiteX2279" fmla="*/ 276834 w 447236"/>
              <a:gd name="connsiteY2279" fmla="*/ 192443 h 448122"/>
              <a:gd name="connsiteX2280" fmla="*/ 277140 w 447236"/>
              <a:gd name="connsiteY2280" fmla="*/ 192137 h 448122"/>
              <a:gd name="connsiteX2281" fmla="*/ 276834 w 447236"/>
              <a:gd name="connsiteY2281" fmla="*/ 191830 h 448122"/>
              <a:gd name="connsiteX2282" fmla="*/ 263982 w 447236"/>
              <a:gd name="connsiteY2282" fmla="*/ 191830 h 448122"/>
              <a:gd name="connsiteX2283" fmla="*/ 107509 w 447236"/>
              <a:gd name="connsiteY2283" fmla="*/ 189745 h 448122"/>
              <a:gd name="connsiteX2284" fmla="*/ 106691 w 447236"/>
              <a:gd name="connsiteY2284" fmla="*/ 190811 h 448122"/>
              <a:gd name="connsiteX2285" fmla="*/ 107118 w 447236"/>
              <a:gd name="connsiteY2285" fmla="*/ 190622 h 448122"/>
              <a:gd name="connsiteX2286" fmla="*/ 266736 w 447236"/>
              <a:gd name="connsiteY2286" fmla="*/ 189379 h 448122"/>
              <a:gd name="connsiteX2287" fmla="*/ 266430 w 447236"/>
              <a:gd name="connsiteY2287" fmla="*/ 189686 h 448122"/>
              <a:gd name="connsiteX2288" fmla="*/ 266736 w 447236"/>
              <a:gd name="connsiteY2288" fmla="*/ 189992 h 448122"/>
              <a:gd name="connsiteX2289" fmla="*/ 274080 w 447236"/>
              <a:gd name="connsiteY2289" fmla="*/ 189992 h 448122"/>
              <a:gd name="connsiteX2290" fmla="*/ 274386 w 447236"/>
              <a:gd name="connsiteY2290" fmla="*/ 189686 h 448122"/>
              <a:gd name="connsiteX2291" fmla="*/ 274080 w 447236"/>
              <a:gd name="connsiteY2291" fmla="*/ 189379 h 448122"/>
              <a:gd name="connsiteX2292" fmla="*/ 266736 w 447236"/>
              <a:gd name="connsiteY2292" fmla="*/ 189379 h 448122"/>
              <a:gd name="connsiteX2293" fmla="*/ 77477 w 447236"/>
              <a:gd name="connsiteY2293" fmla="*/ 189257 h 448122"/>
              <a:gd name="connsiteX2294" fmla="*/ 76169 w 447236"/>
              <a:gd name="connsiteY2294" fmla="*/ 190961 h 448122"/>
              <a:gd name="connsiteX2295" fmla="*/ 77020 w 447236"/>
              <a:gd name="connsiteY2295" fmla="*/ 190622 h 448122"/>
              <a:gd name="connsiteX2296" fmla="*/ 92769 w 447236"/>
              <a:gd name="connsiteY2296" fmla="*/ 189067 h 448122"/>
              <a:gd name="connsiteX2297" fmla="*/ 91527 w 447236"/>
              <a:gd name="connsiteY2297" fmla="*/ 190865 h 448122"/>
              <a:gd name="connsiteX2298" fmla="*/ 92075 w 447236"/>
              <a:gd name="connsiteY2298" fmla="*/ 190622 h 448122"/>
              <a:gd name="connsiteX2299" fmla="*/ 123178 w 447236"/>
              <a:gd name="connsiteY2299" fmla="*/ 189063 h 448122"/>
              <a:gd name="connsiteX2300" fmla="*/ 121933 w 447236"/>
              <a:gd name="connsiteY2300" fmla="*/ 190865 h 448122"/>
              <a:gd name="connsiteX2301" fmla="*/ 122482 w 447236"/>
              <a:gd name="connsiteY2301" fmla="*/ 190622 h 448122"/>
              <a:gd name="connsiteX2302" fmla="*/ 115991 w 447236"/>
              <a:gd name="connsiteY2302" fmla="*/ 188699 h 448122"/>
              <a:gd name="connsiteX2303" fmla="*/ 116634 w 447236"/>
              <a:gd name="connsiteY2303" fmla="*/ 190622 h 448122"/>
              <a:gd name="connsiteX2304" fmla="*/ 119094 w 447236"/>
              <a:gd name="connsiteY2304" fmla="*/ 191603 h 448122"/>
              <a:gd name="connsiteX2305" fmla="*/ 85584 w 447236"/>
              <a:gd name="connsiteY2305" fmla="*/ 188697 h 448122"/>
              <a:gd name="connsiteX2306" fmla="*/ 86227 w 447236"/>
              <a:gd name="connsiteY2306" fmla="*/ 190622 h 448122"/>
              <a:gd name="connsiteX2307" fmla="*/ 88689 w 447236"/>
              <a:gd name="connsiteY2307" fmla="*/ 191603 h 448122"/>
              <a:gd name="connsiteX2308" fmla="*/ 70187 w 447236"/>
              <a:gd name="connsiteY2308" fmla="*/ 188414 h 448122"/>
              <a:gd name="connsiteX2309" fmla="*/ 71172 w 447236"/>
              <a:gd name="connsiteY2309" fmla="*/ 190622 h 448122"/>
              <a:gd name="connsiteX2310" fmla="*/ 73354 w 447236"/>
              <a:gd name="connsiteY2310" fmla="*/ 191589 h 448122"/>
              <a:gd name="connsiteX2311" fmla="*/ 100592 w 447236"/>
              <a:gd name="connsiteY2311" fmla="*/ 188412 h 448122"/>
              <a:gd name="connsiteX2312" fmla="*/ 101578 w 447236"/>
              <a:gd name="connsiteY2312" fmla="*/ 190622 h 448122"/>
              <a:gd name="connsiteX2313" fmla="*/ 103762 w 447236"/>
              <a:gd name="connsiteY2313" fmla="*/ 191589 h 448122"/>
              <a:gd name="connsiteX2314" fmla="*/ 301115 w 447236"/>
              <a:gd name="connsiteY2314" fmla="*/ 187013 h 448122"/>
              <a:gd name="connsiteX2315" fmla="*/ 305095 w 447236"/>
              <a:gd name="connsiteY2315" fmla="*/ 187013 h 448122"/>
              <a:gd name="connsiteX2316" fmla="*/ 309075 w 447236"/>
              <a:gd name="connsiteY2316" fmla="*/ 187013 h 448122"/>
              <a:gd name="connsiteX2317" fmla="*/ 309687 w 447236"/>
              <a:gd name="connsiteY2317" fmla="*/ 187320 h 448122"/>
              <a:gd name="connsiteX2318" fmla="*/ 311524 w 447236"/>
              <a:gd name="connsiteY2318" fmla="*/ 194377 h 448122"/>
              <a:gd name="connsiteX2319" fmla="*/ 312749 w 447236"/>
              <a:gd name="connsiteY2319" fmla="*/ 197753 h 448122"/>
              <a:gd name="connsiteX2320" fmla="*/ 308463 w 447236"/>
              <a:gd name="connsiteY2320" fmla="*/ 210334 h 448122"/>
              <a:gd name="connsiteX2321" fmla="*/ 305095 w 447236"/>
              <a:gd name="connsiteY2321" fmla="*/ 210334 h 448122"/>
              <a:gd name="connsiteX2322" fmla="*/ 304789 w 447236"/>
              <a:gd name="connsiteY2322" fmla="*/ 210334 h 448122"/>
              <a:gd name="connsiteX2323" fmla="*/ 301421 w 447236"/>
              <a:gd name="connsiteY2323" fmla="*/ 210334 h 448122"/>
              <a:gd name="connsiteX2324" fmla="*/ 297442 w 447236"/>
              <a:gd name="connsiteY2324" fmla="*/ 197753 h 448122"/>
              <a:gd name="connsiteX2325" fmla="*/ 298360 w 447236"/>
              <a:gd name="connsiteY2325" fmla="*/ 194377 h 448122"/>
              <a:gd name="connsiteX2326" fmla="*/ 300197 w 447236"/>
              <a:gd name="connsiteY2326" fmla="*/ 187320 h 448122"/>
              <a:gd name="connsiteX2327" fmla="*/ 301115 w 447236"/>
              <a:gd name="connsiteY2327" fmla="*/ 187013 h 448122"/>
              <a:gd name="connsiteX2328" fmla="*/ 266736 w 447236"/>
              <a:gd name="connsiteY2328" fmla="*/ 186929 h 448122"/>
              <a:gd name="connsiteX2329" fmla="*/ 266430 w 447236"/>
              <a:gd name="connsiteY2329" fmla="*/ 187235 h 448122"/>
              <a:gd name="connsiteX2330" fmla="*/ 266736 w 447236"/>
              <a:gd name="connsiteY2330" fmla="*/ 187541 h 448122"/>
              <a:gd name="connsiteX2331" fmla="*/ 274080 w 447236"/>
              <a:gd name="connsiteY2331" fmla="*/ 187541 h 448122"/>
              <a:gd name="connsiteX2332" fmla="*/ 274386 w 447236"/>
              <a:gd name="connsiteY2332" fmla="*/ 187235 h 448122"/>
              <a:gd name="connsiteX2333" fmla="*/ 274080 w 447236"/>
              <a:gd name="connsiteY2333" fmla="*/ 186929 h 448122"/>
              <a:gd name="connsiteX2334" fmla="*/ 266736 w 447236"/>
              <a:gd name="connsiteY2334" fmla="*/ 186929 h 448122"/>
              <a:gd name="connsiteX2335" fmla="*/ 266736 w 447236"/>
              <a:gd name="connsiteY2335" fmla="*/ 184784 h 448122"/>
              <a:gd name="connsiteX2336" fmla="*/ 266430 w 447236"/>
              <a:gd name="connsiteY2336" fmla="*/ 185091 h 448122"/>
              <a:gd name="connsiteX2337" fmla="*/ 266736 w 447236"/>
              <a:gd name="connsiteY2337" fmla="*/ 185397 h 448122"/>
              <a:gd name="connsiteX2338" fmla="*/ 274080 w 447236"/>
              <a:gd name="connsiteY2338" fmla="*/ 185397 h 448122"/>
              <a:gd name="connsiteX2339" fmla="*/ 274386 w 447236"/>
              <a:gd name="connsiteY2339" fmla="*/ 185091 h 448122"/>
              <a:gd name="connsiteX2340" fmla="*/ 274080 w 447236"/>
              <a:gd name="connsiteY2340" fmla="*/ 184784 h 448122"/>
              <a:gd name="connsiteX2341" fmla="*/ 266736 w 447236"/>
              <a:gd name="connsiteY2341" fmla="*/ 184784 h 448122"/>
              <a:gd name="connsiteX2342" fmla="*/ 340741 w 447236"/>
              <a:gd name="connsiteY2342" fmla="*/ 184417 h 448122"/>
              <a:gd name="connsiteX2343" fmla="*/ 344062 w 447236"/>
              <a:gd name="connsiteY2343" fmla="*/ 189473 h 448122"/>
              <a:gd name="connsiteX2344" fmla="*/ 341345 w 447236"/>
              <a:gd name="connsiteY2344" fmla="*/ 197133 h 448122"/>
              <a:gd name="connsiteX2345" fmla="*/ 341345 w 447236"/>
              <a:gd name="connsiteY2345" fmla="*/ 232981 h 448122"/>
              <a:gd name="connsiteX2346" fmla="*/ 344062 w 447236"/>
              <a:gd name="connsiteY2346" fmla="*/ 240335 h 448122"/>
              <a:gd name="connsiteX2347" fmla="*/ 337420 w 447236"/>
              <a:gd name="connsiteY2347" fmla="*/ 240335 h 448122"/>
              <a:gd name="connsiteX2348" fmla="*/ 340137 w 447236"/>
              <a:gd name="connsiteY2348" fmla="*/ 232981 h 448122"/>
              <a:gd name="connsiteX2349" fmla="*/ 340137 w 447236"/>
              <a:gd name="connsiteY2349" fmla="*/ 197133 h 448122"/>
              <a:gd name="connsiteX2350" fmla="*/ 337420 w 447236"/>
              <a:gd name="connsiteY2350" fmla="*/ 189473 h 448122"/>
              <a:gd name="connsiteX2351" fmla="*/ 340741 w 447236"/>
              <a:gd name="connsiteY2351" fmla="*/ 184417 h 448122"/>
              <a:gd name="connsiteX2352" fmla="*/ 263982 w 447236"/>
              <a:gd name="connsiteY2352" fmla="*/ 181721 h 448122"/>
              <a:gd name="connsiteX2353" fmla="*/ 263676 w 447236"/>
              <a:gd name="connsiteY2353" fmla="*/ 182027 h 448122"/>
              <a:gd name="connsiteX2354" fmla="*/ 263982 w 447236"/>
              <a:gd name="connsiteY2354" fmla="*/ 182334 h 448122"/>
              <a:gd name="connsiteX2355" fmla="*/ 276834 w 447236"/>
              <a:gd name="connsiteY2355" fmla="*/ 182334 h 448122"/>
              <a:gd name="connsiteX2356" fmla="*/ 277140 w 447236"/>
              <a:gd name="connsiteY2356" fmla="*/ 182027 h 448122"/>
              <a:gd name="connsiteX2357" fmla="*/ 276834 w 447236"/>
              <a:gd name="connsiteY2357" fmla="*/ 181721 h 448122"/>
              <a:gd name="connsiteX2358" fmla="*/ 263982 w 447236"/>
              <a:gd name="connsiteY2358" fmla="*/ 181721 h 448122"/>
              <a:gd name="connsiteX2359" fmla="*/ 136887 w 447236"/>
              <a:gd name="connsiteY2359" fmla="*/ 180801 h 448122"/>
              <a:gd name="connsiteX2360" fmla="*/ 135660 w 447236"/>
              <a:gd name="connsiteY2360" fmla="*/ 183557 h 448122"/>
              <a:gd name="connsiteX2361" fmla="*/ 158353 w 447236"/>
              <a:gd name="connsiteY2361" fmla="*/ 183557 h 448122"/>
              <a:gd name="connsiteX2362" fmla="*/ 157126 w 447236"/>
              <a:gd name="connsiteY2362" fmla="*/ 180801 h 448122"/>
              <a:gd name="connsiteX2363" fmla="*/ 136887 w 447236"/>
              <a:gd name="connsiteY2363" fmla="*/ 180801 h 448122"/>
              <a:gd name="connsiteX2364" fmla="*/ 367752 w 447236"/>
              <a:gd name="connsiteY2364" fmla="*/ 178747 h 448122"/>
              <a:gd name="connsiteX2365" fmla="*/ 368416 w 447236"/>
              <a:gd name="connsiteY2365" fmla="*/ 179358 h 448122"/>
              <a:gd name="connsiteX2366" fmla="*/ 368416 w 447236"/>
              <a:gd name="connsiteY2366" fmla="*/ 217251 h 448122"/>
              <a:gd name="connsiteX2367" fmla="*/ 367752 w 447236"/>
              <a:gd name="connsiteY2367" fmla="*/ 217862 h 448122"/>
              <a:gd name="connsiteX2368" fmla="*/ 367088 w 447236"/>
              <a:gd name="connsiteY2368" fmla="*/ 217251 h 448122"/>
              <a:gd name="connsiteX2369" fmla="*/ 367088 w 447236"/>
              <a:gd name="connsiteY2369" fmla="*/ 179358 h 448122"/>
              <a:gd name="connsiteX2370" fmla="*/ 367752 w 447236"/>
              <a:gd name="connsiteY2370" fmla="*/ 178747 h 448122"/>
              <a:gd name="connsiteX2371" fmla="*/ 405090 w 447236"/>
              <a:gd name="connsiteY2371" fmla="*/ 176936 h 448122"/>
              <a:gd name="connsiteX2372" fmla="*/ 390798 w 447236"/>
              <a:gd name="connsiteY2372" fmla="*/ 180281 h 448122"/>
              <a:gd name="connsiteX2373" fmla="*/ 390798 w 447236"/>
              <a:gd name="connsiteY2373" fmla="*/ 180893 h 448122"/>
              <a:gd name="connsiteX2374" fmla="*/ 397855 w 447236"/>
              <a:gd name="connsiteY2374" fmla="*/ 189157 h 448122"/>
              <a:gd name="connsiteX2375" fmla="*/ 407982 w 447236"/>
              <a:gd name="connsiteY2375" fmla="*/ 191248 h 448122"/>
              <a:gd name="connsiteX2376" fmla="*/ 406739 w 447236"/>
              <a:gd name="connsiteY2376" fmla="*/ 190738 h 448122"/>
              <a:gd name="connsiteX2377" fmla="*/ 403103 w 447236"/>
              <a:gd name="connsiteY2377" fmla="*/ 181773 h 448122"/>
              <a:gd name="connsiteX2378" fmla="*/ 425919 w 447236"/>
              <a:gd name="connsiteY2378" fmla="*/ 176898 h 448122"/>
              <a:gd name="connsiteX2379" fmla="*/ 427900 w 447236"/>
              <a:gd name="connsiteY2379" fmla="*/ 181773 h 448122"/>
              <a:gd name="connsiteX2380" fmla="*/ 424303 w 447236"/>
              <a:gd name="connsiteY2380" fmla="*/ 190738 h 448122"/>
              <a:gd name="connsiteX2381" fmla="*/ 422887 w 447236"/>
              <a:gd name="connsiteY2381" fmla="*/ 191336 h 448122"/>
              <a:gd name="connsiteX2382" fmla="*/ 433445 w 447236"/>
              <a:gd name="connsiteY2382" fmla="*/ 189157 h 448122"/>
              <a:gd name="connsiteX2383" fmla="*/ 440195 w 447236"/>
              <a:gd name="connsiteY2383" fmla="*/ 180893 h 448122"/>
              <a:gd name="connsiteX2384" fmla="*/ 440195 w 447236"/>
              <a:gd name="connsiteY2384" fmla="*/ 180281 h 448122"/>
              <a:gd name="connsiteX2385" fmla="*/ 415654 w 447236"/>
              <a:gd name="connsiteY2385" fmla="*/ 176828 h 448122"/>
              <a:gd name="connsiteX2386" fmla="*/ 420225 w 447236"/>
              <a:gd name="connsiteY2386" fmla="*/ 180845 h 448122"/>
              <a:gd name="connsiteX2387" fmla="*/ 418702 w 447236"/>
              <a:gd name="connsiteY2387" fmla="*/ 180536 h 448122"/>
              <a:gd name="connsiteX2388" fmla="*/ 415959 w 447236"/>
              <a:gd name="connsiteY2388" fmla="*/ 183318 h 448122"/>
              <a:gd name="connsiteX2389" fmla="*/ 418397 w 447236"/>
              <a:gd name="connsiteY2389" fmla="*/ 186099 h 448122"/>
              <a:gd name="connsiteX2390" fmla="*/ 415654 w 447236"/>
              <a:gd name="connsiteY2390" fmla="*/ 186717 h 448122"/>
              <a:gd name="connsiteX2391" fmla="*/ 410778 w 447236"/>
              <a:gd name="connsiteY2391" fmla="*/ 181772 h 448122"/>
              <a:gd name="connsiteX2392" fmla="*/ 415654 w 447236"/>
              <a:gd name="connsiteY2392" fmla="*/ 176828 h 448122"/>
              <a:gd name="connsiteX2393" fmla="*/ 352394 w 447236"/>
              <a:gd name="connsiteY2393" fmla="*/ 176238 h 448122"/>
              <a:gd name="connsiteX2394" fmla="*/ 352998 w 447236"/>
              <a:gd name="connsiteY2394" fmla="*/ 176238 h 448122"/>
              <a:gd name="connsiteX2395" fmla="*/ 356017 w 447236"/>
              <a:gd name="connsiteY2395" fmla="*/ 179308 h 448122"/>
              <a:gd name="connsiteX2396" fmla="*/ 356017 w 447236"/>
              <a:gd name="connsiteY2396" fmla="*/ 214927 h 448122"/>
              <a:gd name="connsiteX2397" fmla="*/ 352998 w 447236"/>
              <a:gd name="connsiteY2397" fmla="*/ 218305 h 448122"/>
              <a:gd name="connsiteX2398" fmla="*/ 352394 w 447236"/>
              <a:gd name="connsiteY2398" fmla="*/ 218305 h 448122"/>
              <a:gd name="connsiteX2399" fmla="*/ 349375 w 447236"/>
              <a:gd name="connsiteY2399" fmla="*/ 214927 h 448122"/>
              <a:gd name="connsiteX2400" fmla="*/ 349375 w 447236"/>
              <a:gd name="connsiteY2400" fmla="*/ 179308 h 448122"/>
              <a:gd name="connsiteX2401" fmla="*/ 352394 w 447236"/>
              <a:gd name="connsiteY2401" fmla="*/ 176238 h 448122"/>
              <a:gd name="connsiteX2402" fmla="*/ 361552 w 447236"/>
              <a:gd name="connsiteY2402" fmla="*/ 174955 h 448122"/>
              <a:gd name="connsiteX2403" fmla="*/ 360632 w 447236"/>
              <a:gd name="connsiteY2403" fmla="*/ 175262 h 448122"/>
              <a:gd name="connsiteX2404" fmla="*/ 360632 w 447236"/>
              <a:gd name="connsiteY2404" fmla="*/ 176183 h 448122"/>
              <a:gd name="connsiteX2405" fmla="*/ 360632 w 447236"/>
              <a:gd name="connsiteY2405" fmla="*/ 176796 h 448122"/>
              <a:gd name="connsiteX2406" fmla="*/ 360632 w 447236"/>
              <a:gd name="connsiteY2406" fmla="*/ 177410 h 448122"/>
              <a:gd name="connsiteX2407" fmla="*/ 361552 w 447236"/>
              <a:gd name="connsiteY2407" fmla="*/ 177717 h 448122"/>
              <a:gd name="connsiteX2408" fmla="*/ 364008 w 447236"/>
              <a:gd name="connsiteY2408" fmla="*/ 177717 h 448122"/>
              <a:gd name="connsiteX2409" fmla="*/ 364622 w 447236"/>
              <a:gd name="connsiteY2409" fmla="*/ 177717 h 448122"/>
              <a:gd name="connsiteX2410" fmla="*/ 364622 w 447236"/>
              <a:gd name="connsiteY2410" fmla="*/ 178331 h 448122"/>
              <a:gd name="connsiteX2411" fmla="*/ 364622 w 447236"/>
              <a:gd name="connsiteY2411" fmla="*/ 217300 h 448122"/>
              <a:gd name="connsiteX2412" fmla="*/ 364622 w 447236"/>
              <a:gd name="connsiteY2412" fmla="*/ 217607 h 448122"/>
              <a:gd name="connsiteX2413" fmla="*/ 364008 w 447236"/>
              <a:gd name="connsiteY2413" fmla="*/ 217914 h 448122"/>
              <a:gd name="connsiteX2414" fmla="*/ 353265 w 447236"/>
              <a:gd name="connsiteY2414" fmla="*/ 225892 h 448122"/>
              <a:gd name="connsiteX2415" fmla="*/ 349275 w 447236"/>
              <a:gd name="connsiteY2415" fmla="*/ 238472 h 448122"/>
              <a:gd name="connsiteX2416" fmla="*/ 350167 w 447236"/>
              <a:gd name="connsiteY2416" fmla="*/ 241773 h 448122"/>
              <a:gd name="connsiteX2417" fmla="*/ 350347 w 447236"/>
              <a:gd name="connsiteY2417" fmla="*/ 241773 h 448122"/>
              <a:gd name="connsiteX2418" fmla="*/ 367916 w 447236"/>
              <a:gd name="connsiteY2418" fmla="*/ 241773 h 448122"/>
              <a:gd name="connsiteX2419" fmla="*/ 392185 w 447236"/>
              <a:gd name="connsiteY2419" fmla="*/ 241773 h 448122"/>
              <a:gd name="connsiteX2420" fmla="*/ 393167 w 447236"/>
              <a:gd name="connsiteY2420" fmla="*/ 238472 h 448122"/>
              <a:gd name="connsiteX2421" fmla="*/ 388869 w 447236"/>
              <a:gd name="connsiteY2421" fmla="*/ 225892 h 448122"/>
              <a:gd name="connsiteX2422" fmla="*/ 378127 w 447236"/>
              <a:gd name="connsiteY2422" fmla="*/ 217914 h 448122"/>
              <a:gd name="connsiteX2423" fmla="*/ 377820 w 447236"/>
              <a:gd name="connsiteY2423" fmla="*/ 217607 h 448122"/>
              <a:gd name="connsiteX2424" fmla="*/ 377820 w 447236"/>
              <a:gd name="connsiteY2424" fmla="*/ 217300 h 448122"/>
              <a:gd name="connsiteX2425" fmla="*/ 377820 w 447236"/>
              <a:gd name="connsiteY2425" fmla="*/ 178331 h 448122"/>
              <a:gd name="connsiteX2426" fmla="*/ 377820 w 447236"/>
              <a:gd name="connsiteY2426" fmla="*/ 177717 h 448122"/>
              <a:gd name="connsiteX2427" fmla="*/ 378434 w 447236"/>
              <a:gd name="connsiteY2427" fmla="*/ 177717 h 448122"/>
              <a:gd name="connsiteX2428" fmla="*/ 380889 w 447236"/>
              <a:gd name="connsiteY2428" fmla="*/ 177717 h 448122"/>
              <a:gd name="connsiteX2429" fmla="*/ 381503 w 447236"/>
              <a:gd name="connsiteY2429" fmla="*/ 177410 h 448122"/>
              <a:gd name="connsiteX2430" fmla="*/ 381810 w 447236"/>
              <a:gd name="connsiteY2430" fmla="*/ 176796 h 448122"/>
              <a:gd name="connsiteX2431" fmla="*/ 381810 w 447236"/>
              <a:gd name="connsiteY2431" fmla="*/ 176183 h 448122"/>
              <a:gd name="connsiteX2432" fmla="*/ 381503 w 447236"/>
              <a:gd name="connsiteY2432" fmla="*/ 175262 h 448122"/>
              <a:gd name="connsiteX2433" fmla="*/ 380889 w 447236"/>
              <a:gd name="connsiteY2433" fmla="*/ 175262 h 448122"/>
              <a:gd name="connsiteX2434" fmla="*/ 361552 w 447236"/>
              <a:gd name="connsiteY2434" fmla="*/ 174955 h 448122"/>
              <a:gd name="connsiteX2435" fmla="*/ 415650 w 447236"/>
              <a:gd name="connsiteY2435" fmla="*/ 174465 h 448122"/>
              <a:gd name="connsiteX2436" fmla="*/ 407144 w 447236"/>
              <a:gd name="connsiteY2436" fmla="*/ 176456 h 448122"/>
              <a:gd name="connsiteX2437" fmla="*/ 404940 w 447236"/>
              <a:gd name="connsiteY2437" fmla="*/ 181773 h 448122"/>
              <a:gd name="connsiteX2438" fmla="*/ 408001 w 447236"/>
              <a:gd name="connsiteY2438" fmla="*/ 189468 h 448122"/>
              <a:gd name="connsiteX2439" fmla="*/ 415655 w 447236"/>
              <a:gd name="connsiteY2439" fmla="*/ 192546 h 448122"/>
              <a:gd name="connsiteX2440" fmla="*/ 423002 w 447236"/>
              <a:gd name="connsiteY2440" fmla="*/ 189468 h 448122"/>
              <a:gd name="connsiteX2441" fmla="*/ 426063 w 447236"/>
              <a:gd name="connsiteY2441" fmla="*/ 181773 h 448122"/>
              <a:gd name="connsiteX2442" fmla="*/ 423839 w 447236"/>
              <a:gd name="connsiteY2442" fmla="*/ 176405 h 448122"/>
              <a:gd name="connsiteX2443" fmla="*/ 361552 w 447236"/>
              <a:gd name="connsiteY2443" fmla="*/ 173728 h 448122"/>
              <a:gd name="connsiteX2444" fmla="*/ 380889 w 447236"/>
              <a:gd name="connsiteY2444" fmla="*/ 173728 h 448122"/>
              <a:gd name="connsiteX2445" fmla="*/ 382424 w 447236"/>
              <a:gd name="connsiteY2445" fmla="*/ 174342 h 448122"/>
              <a:gd name="connsiteX2446" fmla="*/ 383345 w 447236"/>
              <a:gd name="connsiteY2446" fmla="*/ 176183 h 448122"/>
              <a:gd name="connsiteX2447" fmla="*/ 383345 w 447236"/>
              <a:gd name="connsiteY2447" fmla="*/ 176796 h 448122"/>
              <a:gd name="connsiteX2448" fmla="*/ 382424 w 447236"/>
              <a:gd name="connsiteY2448" fmla="*/ 178331 h 448122"/>
              <a:gd name="connsiteX2449" fmla="*/ 380889 w 447236"/>
              <a:gd name="connsiteY2449" fmla="*/ 178944 h 448122"/>
              <a:gd name="connsiteX2450" fmla="*/ 379048 w 447236"/>
              <a:gd name="connsiteY2450" fmla="*/ 178944 h 448122"/>
              <a:gd name="connsiteX2451" fmla="*/ 379048 w 447236"/>
              <a:gd name="connsiteY2451" fmla="*/ 216686 h 448122"/>
              <a:gd name="connsiteX2452" fmla="*/ 390097 w 447236"/>
              <a:gd name="connsiteY2452" fmla="*/ 224971 h 448122"/>
              <a:gd name="connsiteX2453" fmla="*/ 394394 w 447236"/>
              <a:gd name="connsiteY2453" fmla="*/ 238472 h 448122"/>
              <a:gd name="connsiteX2454" fmla="*/ 391018 w 447236"/>
              <a:gd name="connsiteY2454" fmla="*/ 250746 h 448122"/>
              <a:gd name="connsiteX2455" fmla="*/ 381810 w 447236"/>
              <a:gd name="connsiteY2455" fmla="*/ 259031 h 448122"/>
              <a:gd name="connsiteX2456" fmla="*/ 381810 w 447236"/>
              <a:gd name="connsiteY2456" fmla="*/ 259338 h 448122"/>
              <a:gd name="connsiteX2457" fmla="*/ 381503 w 447236"/>
              <a:gd name="connsiteY2457" fmla="*/ 259338 h 448122"/>
              <a:gd name="connsiteX2458" fmla="*/ 360938 w 447236"/>
              <a:gd name="connsiteY2458" fmla="*/ 259338 h 448122"/>
              <a:gd name="connsiteX2459" fmla="*/ 360632 w 447236"/>
              <a:gd name="connsiteY2459" fmla="*/ 259338 h 448122"/>
              <a:gd name="connsiteX2460" fmla="*/ 360632 w 447236"/>
              <a:gd name="connsiteY2460" fmla="*/ 259031 h 448122"/>
              <a:gd name="connsiteX2461" fmla="*/ 351424 w 447236"/>
              <a:gd name="connsiteY2461" fmla="*/ 250746 h 448122"/>
              <a:gd name="connsiteX2462" fmla="*/ 348047 w 447236"/>
              <a:gd name="connsiteY2462" fmla="*/ 238472 h 448122"/>
              <a:gd name="connsiteX2463" fmla="*/ 352344 w 447236"/>
              <a:gd name="connsiteY2463" fmla="*/ 224971 h 448122"/>
              <a:gd name="connsiteX2464" fmla="*/ 363087 w 447236"/>
              <a:gd name="connsiteY2464" fmla="*/ 216686 h 448122"/>
              <a:gd name="connsiteX2465" fmla="*/ 363087 w 447236"/>
              <a:gd name="connsiteY2465" fmla="*/ 178944 h 448122"/>
              <a:gd name="connsiteX2466" fmla="*/ 361552 w 447236"/>
              <a:gd name="connsiteY2466" fmla="*/ 178944 h 448122"/>
              <a:gd name="connsiteX2467" fmla="*/ 359711 w 447236"/>
              <a:gd name="connsiteY2467" fmla="*/ 178331 h 448122"/>
              <a:gd name="connsiteX2468" fmla="*/ 359097 w 447236"/>
              <a:gd name="connsiteY2468" fmla="*/ 176796 h 448122"/>
              <a:gd name="connsiteX2469" fmla="*/ 359097 w 447236"/>
              <a:gd name="connsiteY2469" fmla="*/ 176183 h 448122"/>
              <a:gd name="connsiteX2470" fmla="*/ 359711 w 447236"/>
              <a:gd name="connsiteY2470" fmla="*/ 174342 h 448122"/>
              <a:gd name="connsiteX2471" fmla="*/ 361552 w 447236"/>
              <a:gd name="connsiteY2471" fmla="*/ 173728 h 448122"/>
              <a:gd name="connsiteX2472" fmla="*/ 326338 w 447236"/>
              <a:gd name="connsiteY2472" fmla="*/ 173728 h 448122"/>
              <a:gd name="connsiteX2473" fmla="*/ 339511 w 447236"/>
              <a:gd name="connsiteY2473" fmla="*/ 174649 h 448122"/>
              <a:gd name="connsiteX2474" fmla="*/ 342881 w 447236"/>
              <a:gd name="connsiteY2474" fmla="*/ 178025 h 448122"/>
              <a:gd name="connsiteX2475" fmla="*/ 342881 w 447236"/>
              <a:gd name="connsiteY2475" fmla="*/ 178638 h 448122"/>
              <a:gd name="connsiteX2476" fmla="*/ 339511 w 447236"/>
              <a:gd name="connsiteY2476" fmla="*/ 182014 h 448122"/>
              <a:gd name="connsiteX2477" fmla="*/ 327870 w 447236"/>
              <a:gd name="connsiteY2477" fmla="*/ 182628 h 448122"/>
              <a:gd name="connsiteX2478" fmla="*/ 327870 w 447236"/>
              <a:gd name="connsiteY2478" fmla="*/ 217616 h 448122"/>
              <a:gd name="connsiteX2479" fmla="*/ 328483 w 447236"/>
              <a:gd name="connsiteY2479" fmla="*/ 217616 h 448122"/>
              <a:gd name="connsiteX2480" fmla="*/ 330934 w 447236"/>
              <a:gd name="connsiteY2480" fmla="*/ 220071 h 448122"/>
              <a:gd name="connsiteX2481" fmla="*/ 330934 w 447236"/>
              <a:gd name="connsiteY2481" fmla="*/ 235724 h 448122"/>
              <a:gd name="connsiteX2482" fmla="*/ 332159 w 447236"/>
              <a:gd name="connsiteY2482" fmla="*/ 258742 h 448122"/>
              <a:gd name="connsiteX2483" fmla="*/ 326951 w 447236"/>
              <a:gd name="connsiteY2483" fmla="*/ 262732 h 448122"/>
              <a:gd name="connsiteX2484" fmla="*/ 326645 w 447236"/>
              <a:gd name="connsiteY2484" fmla="*/ 262732 h 448122"/>
              <a:gd name="connsiteX2485" fmla="*/ 321130 w 447236"/>
              <a:gd name="connsiteY2485" fmla="*/ 258742 h 448122"/>
              <a:gd name="connsiteX2486" fmla="*/ 322662 w 447236"/>
              <a:gd name="connsiteY2486" fmla="*/ 235724 h 448122"/>
              <a:gd name="connsiteX2487" fmla="*/ 322662 w 447236"/>
              <a:gd name="connsiteY2487" fmla="*/ 219458 h 448122"/>
              <a:gd name="connsiteX2488" fmla="*/ 324807 w 447236"/>
              <a:gd name="connsiteY2488" fmla="*/ 217616 h 448122"/>
              <a:gd name="connsiteX2489" fmla="*/ 325726 w 447236"/>
              <a:gd name="connsiteY2489" fmla="*/ 217616 h 448122"/>
              <a:gd name="connsiteX2490" fmla="*/ 325726 w 447236"/>
              <a:gd name="connsiteY2490" fmla="*/ 182628 h 448122"/>
              <a:gd name="connsiteX2491" fmla="*/ 313778 w 447236"/>
              <a:gd name="connsiteY2491" fmla="*/ 182014 h 448122"/>
              <a:gd name="connsiteX2492" fmla="*/ 310408 w 447236"/>
              <a:gd name="connsiteY2492" fmla="*/ 178638 h 448122"/>
              <a:gd name="connsiteX2493" fmla="*/ 310408 w 447236"/>
              <a:gd name="connsiteY2493" fmla="*/ 178025 h 448122"/>
              <a:gd name="connsiteX2494" fmla="*/ 313778 w 447236"/>
              <a:gd name="connsiteY2494" fmla="*/ 174649 h 448122"/>
              <a:gd name="connsiteX2495" fmla="*/ 326338 w 447236"/>
              <a:gd name="connsiteY2495" fmla="*/ 173728 h 448122"/>
              <a:gd name="connsiteX2496" fmla="*/ 304504 w 447236"/>
              <a:gd name="connsiteY2496" fmla="*/ 173433 h 448122"/>
              <a:gd name="connsiteX2497" fmla="*/ 305685 w 447236"/>
              <a:gd name="connsiteY2497" fmla="*/ 173433 h 448122"/>
              <a:gd name="connsiteX2498" fmla="*/ 305980 w 447236"/>
              <a:gd name="connsiteY2498" fmla="*/ 179337 h 448122"/>
              <a:gd name="connsiteX2499" fmla="*/ 306335 w 447236"/>
              <a:gd name="connsiteY2499" fmla="*/ 179337 h 448122"/>
              <a:gd name="connsiteX2500" fmla="*/ 308194 w 447236"/>
              <a:gd name="connsiteY2500" fmla="*/ 185684 h 448122"/>
              <a:gd name="connsiteX2501" fmla="*/ 309070 w 447236"/>
              <a:gd name="connsiteY2501" fmla="*/ 185684 h 448122"/>
              <a:gd name="connsiteX2502" fmla="*/ 309375 w 447236"/>
              <a:gd name="connsiteY2502" fmla="*/ 186016 h 448122"/>
              <a:gd name="connsiteX2503" fmla="*/ 309375 w 447236"/>
              <a:gd name="connsiteY2503" fmla="*/ 186348 h 448122"/>
              <a:gd name="connsiteX2504" fmla="*/ 309070 w 447236"/>
              <a:gd name="connsiteY2504" fmla="*/ 187012 h 448122"/>
              <a:gd name="connsiteX2505" fmla="*/ 301130 w 447236"/>
              <a:gd name="connsiteY2505" fmla="*/ 187012 h 448122"/>
              <a:gd name="connsiteX2506" fmla="*/ 300519 w 447236"/>
              <a:gd name="connsiteY2506" fmla="*/ 186348 h 448122"/>
              <a:gd name="connsiteX2507" fmla="*/ 300519 w 447236"/>
              <a:gd name="connsiteY2507" fmla="*/ 186016 h 448122"/>
              <a:gd name="connsiteX2508" fmla="*/ 301130 w 447236"/>
              <a:gd name="connsiteY2508" fmla="*/ 185684 h 448122"/>
              <a:gd name="connsiteX2509" fmla="*/ 301995 w 447236"/>
              <a:gd name="connsiteY2509" fmla="*/ 185684 h 448122"/>
              <a:gd name="connsiteX2510" fmla="*/ 303855 w 447236"/>
              <a:gd name="connsiteY2510" fmla="*/ 179337 h 448122"/>
              <a:gd name="connsiteX2511" fmla="*/ 304209 w 447236"/>
              <a:gd name="connsiteY2511" fmla="*/ 179337 h 448122"/>
              <a:gd name="connsiteX2512" fmla="*/ 19304 w 447236"/>
              <a:gd name="connsiteY2512" fmla="*/ 171088 h 448122"/>
              <a:gd name="connsiteX2513" fmla="*/ 30702 w 447236"/>
              <a:gd name="connsiteY2513" fmla="*/ 175942 h 448122"/>
              <a:gd name="connsiteX2514" fmla="*/ 16840 w 447236"/>
              <a:gd name="connsiteY2514" fmla="*/ 175942 h 448122"/>
              <a:gd name="connsiteX2515" fmla="*/ 16532 w 447236"/>
              <a:gd name="connsiteY2515" fmla="*/ 174425 h 448122"/>
              <a:gd name="connsiteX2516" fmla="*/ 19304 w 447236"/>
              <a:gd name="connsiteY2516" fmla="*/ 171088 h 448122"/>
              <a:gd name="connsiteX2517" fmla="*/ 147006 w 447236"/>
              <a:gd name="connsiteY2517" fmla="*/ 169168 h 448122"/>
              <a:gd name="connsiteX2518" fmla="*/ 140567 w 447236"/>
              <a:gd name="connsiteY2518" fmla="*/ 175597 h 448122"/>
              <a:gd name="connsiteX2519" fmla="*/ 153446 w 447236"/>
              <a:gd name="connsiteY2519" fmla="*/ 175597 h 448122"/>
              <a:gd name="connsiteX2520" fmla="*/ 147006 w 447236"/>
              <a:gd name="connsiteY2520" fmla="*/ 169168 h 448122"/>
              <a:gd name="connsiteX2521" fmla="*/ 198303 w 447236"/>
              <a:gd name="connsiteY2521" fmla="*/ 168273 h 448122"/>
              <a:gd name="connsiteX2522" fmla="*/ 202905 w 447236"/>
              <a:gd name="connsiteY2522" fmla="*/ 170717 h 448122"/>
              <a:gd name="connsiteX2523" fmla="*/ 205973 w 447236"/>
              <a:gd name="connsiteY2523" fmla="*/ 170106 h 448122"/>
              <a:gd name="connsiteX2524" fmla="*/ 209348 w 447236"/>
              <a:gd name="connsiteY2524" fmla="*/ 170717 h 448122"/>
              <a:gd name="connsiteX2525" fmla="*/ 213950 w 447236"/>
              <a:gd name="connsiteY2525" fmla="*/ 168273 h 448122"/>
              <a:gd name="connsiteX2526" fmla="*/ 219578 w 447236"/>
              <a:gd name="connsiteY2526" fmla="*/ 168635 h 448122"/>
              <a:gd name="connsiteX2527" fmla="*/ 213950 w 447236"/>
              <a:gd name="connsiteY2527" fmla="*/ 170412 h 448122"/>
              <a:gd name="connsiteX2528" fmla="*/ 211496 w 447236"/>
              <a:gd name="connsiteY2528" fmla="*/ 175911 h 448122"/>
              <a:gd name="connsiteX2529" fmla="*/ 213644 w 447236"/>
              <a:gd name="connsiteY2529" fmla="*/ 181715 h 448122"/>
              <a:gd name="connsiteX2530" fmla="*/ 228677 w 447236"/>
              <a:gd name="connsiteY2530" fmla="*/ 188131 h 448122"/>
              <a:gd name="connsiteX2531" fmla="*/ 241564 w 447236"/>
              <a:gd name="connsiteY2531" fmla="*/ 179271 h 448122"/>
              <a:gd name="connsiteX2532" fmla="*/ 241870 w 447236"/>
              <a:gd name="connsiteY2532" fmla="*/ 175605 h 448122"/>
              <a:gd name="connsiteX2533" fmla="*/ 240336 w 447236"/>
              <a:gd name="connsiteY2533" fmla="*/ 171328 h 448122"/>
              <a:gd name="connsiteX2534" fmla="*/ 236258 w 447236"/>
              <a:gd name="connsiteY2534" fmla="*/ 169706 h 448122"/>
              <a:gd name="connsiteX2535" fmla="*/ 242484 w 447236"/>
              <a:gd name="connsiteY2535" fmla="*/ 170106 h 448122"/>
              <a:gd name="connsiteX2536" fmla="*/ 247086 w 447236"/>
              <a:gd name="connsiteY2536" fmla="*/ 171328 h 448122"/>
              <a:gd name="connsiteX2537" fmla="*/ 247086 w 447236"/>
              <a:gd name="connsiteY2537" fmla="*/ 175605 h 448122"/>
              <a:gd name="connsiteX2538" fmla="*/ 243711 w 447236"/>
              <a:gd name="connsiteY2538" fmla="*/ 177744 h 448122"/>
              <a:gd name="connsiteX2539" fmla="*/ 242177 w 447236"/>
              <a:gd name="connsiteY2539" fmla="*/ 181104 h 448122"/>
              <a:gd name="connsiteX2540" fmla="*/ 236348 w 447236"/>
              <a:gd name="connsiteY2540" fmla="*/ 187520 h 448122"/>
              <a:gd name="connsiteX2541" fmla="*/ 226837 w 447236"/>
              <a:gd name="connsiteY2541" fmla="*/ 189658 h 448122"/>
              <a:gd name="connsiteX2542" fmla="*/ 214564 w 447236"/>
              <a:gd name="connsiteY2542" fmla="*/ 185381 h 448122"/>
              <a:gd name="connsiteX2543" fmla="*/ 209962 w 447236"/>
              <a:gd name="connsiteY2543" fmla="*/ 175911 h 448122"/>
              <a:gd name="connsiteX2544" fmla="*/ 207814 w 447236"/>
              <a:gd name="connsiteY2544" fmla="*/ 173161 h 448122"/>
              <a:gd name="connsiteX2545" fmla="*/ 205973 w 447236"/>
              <a:gd name="connsiteY2545" fmla="*/ 173161 h 448122"/>
              <a:gd name="connsiteX2546" fmla="*/ 204439 w 447236"/>
              <a:gd name="connsiteY2546" fmla="*/ 173161 h 448122"/>
              <a:gd name="connsiteX2547" fmla="*/ 202292 w 447236"/>
              <a:gd name="connsiteY2547" fmla="*/ 175911 h 448122"/>
              <a:gd name="connsiteX2548" fmla="*/ 197689 w 447236"/>
              <a:gd name="connsiteY2548" fmla="*/ 185381 h 448122"/>
              <a:gd name="connsiteX2549" fmla="*/ 185417 w 447236"/>
              <a:gd name="connsiteY2549" fmla="*/ 189658 h 448122"/>
              <a:gd name="connsiteX2550" fmla="*/ 175906 w 447236"/>
              <a:gd name="connsiteY2550" fmla="*/ 187520 h 448122"/>
              <a:gd name="connsiteX2551" fmla="*/ 170076 w 447236"/>
              <a:gd name="connsiteY2551" fmla="*/ 181104 h 448122"/>
              <a:gd name="connsiteX2552" fmla="*/ 168542 w 447236"/>
              <a:gd name="connsiteY2552" fmla="*/ 177744 h 448122"/>
              <a:gd name="connsiteX2553" fmla="*/ 165167 w 447236"/>
              <a:gd name="connsiteY2553" fmla="*/ 175605 h 448122"/>
              <a:gd name="connsiteX2554" fmla="*/ 165167 w 447236"/>
              <a:gd name="connsiteY2554" fmla="*/ 171328 h 448122"/>
              <a:gd name="connsiteX2555" fmla="*/ 169769 w 447236"/>
              <a:gd name="connsiteY2555" fmla="*/ 170106 h 448122"/>
              <a:gd name="connsiteX2556" fmla="*/ 175996 w 447236"/>
              <a:gd name="connsiteY2556" fmla="*/ 169706 h 448122"/>
              <a:gd name="connsiteX2557" fmla="*/ 171917 w 447236"/>
              <a:gd name="connsiteY2557" fmla="*/ 171328 h 448122"/>
              <a:gd name="connsiteX2558" fmla="*/ 170383 w 447236"/>
              <a:gd name="connsiteY2558" fmla="*/ 175605 h 448122"/>
              <a:gd name="connsiteX2559" fmla="*/ 170690 w 447236"/>
              <a:gd name="connsiteY2559" fmla="*/ 179271 h 448122"/>
              <a:gd name="connsiteX2560" fmla="*/ 183269 w 447236"/>
              <a:gd name="connsiteY2560" fmla="*/ 188131 h 448122"/>
              <a:gd name="connsiteX2561" fmla="*/ 198610 w 447236"/>
              <a:gd name="connsiteY2561" fmla="*/ 181715 h 448122"/>
              <a:gd name="connsiteX2562" fmla="*/ 200758 w 447236"/>
              <a:gd name="connsiteY2562" fmla="*/ 175911 h 448122"/>
              <a:gd name="connsiteX2563" fmla="*/ 198303 w 447236"/>
              <a:gd name="connsiteY2563" fmla="*/ 170412 h 448122"/>
              <a:gd name="connsiteX2564" fmla="*/ 192676 w 447236"/>
              <a:gd name="connsiteY2564" fmla="*/ 168635 h 448122"/>
              <a:gd name="connsiteX2565" fmla="*/ 270408 w 447236"/>
              <a:gd name="connsiteY2565" fmla="*/ 167935 h 448122"/>
              <a:gd name="connsiteX2566" fmla="*/ 269796 w 447236"/>
              <a:gd name="connsiteY2566" fmla="*/ 168242 h 448122"/>
              <a:gd name="connsiteX2567" fmla="*/ 269490 w 447236"/>
              <a:gd name="connsiteY2567" fmla="*/ 169161 h 448122"/>
              <a:gd name="connsiteX2568" fmla="*/ 269796 w 447236"/>
              <a:gd name="connsiteY2568" fmla="*/ 169773 h 448122"/>
              <a:gd name="connsiteX2569" fmla="*/ 270408 w 447236"/>
              <a:gd name="connsiteY2569" fmla="*/ 170080 h 448122"/>
              <a:gd name="connsiteX2570" fmla="*/ 271020 w 447236"/>
              <a:gd name="connsiteY2570" fmla="*/ 169773 h 448122"/>
              <a:gd name="connsiteX2571" fmla="*/ 271326 w 447236"/>
              <a:gd name="connsiteY2571" fmla="*/ 169161 h 448122"/>
              <a:gd name="connsiteX2572" fmla="*/ 271020 w 447236"/>
              <a:gd name="connsiteY2572" fmla="*/ 168242 h 448122"/>
              <a:gd name="connsiteX2573" fmla="*/ 270408 w 447236"/>
              <a:gd name="connsiteY2573" fmla="*/ 167935 h 448122"/>
              <a:gd name="connsiteX2574" fmla="*/ 415650 w 447236"/>
              <a:gd name="connsiteY2574" fmla="*/ 166201 h 448122"/>
              <a:gd name="connsiteX2575" fmla="*/ 434672 w 447236"/>
              <a:gd name="connsiteY2575" fmla="*/ 170486 h 448122"/>
              <a:gd name="connsiteX2576" fmla="*/ 442956 w 447236"/>
              <a:gd name="connsiteY2576" fmla="*/ 180893 h 448122"/>
              <a:gd name="connsiteX2577" fmla="*/ 434672 w 447236"/>
              <a:gd name="connsiteY2577" fmla="*/ 191300 h 448122"/>
              <a:gd name="connsiteX2578" fmla="*/ 415650 w 447236"/>
              <a:gd name="connsiteY2578" fmla="*/ 195279 h 448122"/>
              <a:gd name="connsiteX2579" fmla="*/ 396627 w 447236"/>
              <a:gd name="connsiteY2579" fmla="*/ 191300 h 448122"/>
              <a:gd name="connsiteX2580" fmla="*/ 388343 w 447236"/>
              <a:gd name="connsiteY2580" fmla="*/ 180893 h 448122"/>
              <a:gd name="connsiteX2581" fmla="*/ 396627 w 447236"/>
              <a:gd name="connsiteY2581" fmla="*/ 170486 h 448122"/>
              <a:gd name="connsiteX2582" fmla="*/ 415650 w 447236"/>
              <a:gd name="connsiteY2582" fmla="*/ 166201 h 448122"/>
              <a:gd name="connsiteX2583" fmla="*/ 227374 w 447236"/>
              <a:gd name="connsiteY2583" fmla="*/ 166173 h 448122"/>
              <a:gd name="connsiteX2584" fmla="*/ 236258 w 447236"/>
              <a:gd name="connsiteY2584" fmla="*/ 169706 h 448122"/>
              <a:gd name="connsiteX2585" fmla="*/ 219578 w 447236"/>
              <a:gd name="connsiteY2585" fmla="*/ 168635 h 448122"/>
              <a:gd name="connsiteX2586" fmla="*/ 184880 w 447236"/>
              <a:gd name="connsiteY2586" fmla="*/ 166173 h 448122"/>
              <a:gd name="connsiteX2587" fmla="*/ 192676 w 447236"/>
              <a:gd name="connsiteY2587" fmla="*/ 168635 h 448122"/>
              <a:gd name="connsiteX2588" fmla="*/ 175996 w 447236"/>
              <a:gd name="connsiteY2588" fmla="*/ 169706 h 448122"/>
              <a:gd name="connsiteX2589" fmla="*/ 270408 w 447236"/>
              <a:gd name="connsiteY2589" fmla="*/ 164872 h 448122"/>
              <a:gd name="connsiteX2590" fmla="*/ 273468 w 447236"/>
              <a:gd name="connsiteY2590" fmla="*/ 166097 h 448122"/>
              <a:gd name="connsiteX2591" fmla="*/ 274998 w 447236"/>
              <a:gd name="connsiteY2591" fmla="*/ 168242 h 448122"/>
              <a:gd name="connsiteX2592" fmla="*/ 275916 w 447236"/>
              <a:gd name="connsiteY2592" fmla="*/ 169467 h 448122"/>
              <a:gd name="connsiteX2593" fmla="*/ 277752 w 447236"/>
              <a:gd name="connsiteY2593" fmla="*/ 170080 h 448122"/>
              <a:gd name="connsiteX2594" fmla="*/ 279588 w 447236"/>
              <a:gd name="connsiteY2594" fmla="*/ 170999 h 448122"/>
              <a:gd name="connsiteX2595" fmla="*/ 280506 w 447236"/>
              <a:gd name="connsiteY2595" fmla="*/ 173450 h 448122"/>
              <a:gd name="connsiteX2596" fmla="*/ 282954 w 447236"/>
              <a:gd name="connsiteY2596" fmla="*/ 207454 h 448122"/>
              <a:gd name="connsiteX2597" fmla="*/ 282036 w 447236"/>
              <a:gd name="connsiteY2597" fmla="*/ 209598 h 448122"/>
              <a:gd name="connsiteX2598" fmla="*/ 279894 w 447236"/>
              <a:gd name="connsiteY2598" fmla="*/ 210517 h 448122"/>
              <a:gd name="connsiteX2599" fmla="*/ 279588 w 447236"/>
              <a:gd name="connsiteY2599" fmla="*/ 210517 h 448122"/>
              <a:gd name="connsiteX2600" fmla="*/ 277140 w 447236"/>
              <a:gd name="connsiteY2600" fmla="*/ 210517 h 448122"/>
              <a:gd name="connsiteX2601" fmla="*/ 274692 w 447236"/>
              <a:gd name="connsiteY2601" fmla="*/ 211743 h 448122"/>
              <a:gd name="connsiteX2602" fmla="*/ 273468 w 447236"/>
              <a:gd name="connsiteY2602" fmla="*/ 214193 h 448122"/>
              <a:gd name="connsiteX2603" fmla="*/ 273468 w 447236"/>
              <a:gd name="connsiteY2603" fmla="*/ 217563 h 448122"/>
              <a:gd name="connsiteX2604" fmla="*/ 274998 w 447236"/>
              <a:gd name="connsiteY2604" fmla="*/ 217563 h 448122"/>
              <a:gd name="connsiteX2605" fmla="*/ 275610 w 447236"/>
              <a:gd name="connsiteY2605" fmla="*/ 218788 h 448122"/>
              <a:gd name="connsiteX2606" fmla="*/ 274998 w 447236"/>
              <a:gd name="connsiteY2606" fmla="*/ 220014 h 448122"/>
              <a:gd name="connsiteX2607" fmla="*/ 271938 w 447236"/>
              <a:gd name="connsiteY2607" fmla="*/ 220014 h 448122"/>
              <a:gd name="connsiteX2608" fmla="*/ 271938 w 447236"/>
              <a:gd name="connsiteY2608" fmla="*/ 228285 h 448122"/>
              <a:gd name="connsiteX2609" fmla="*/ 271068 w 447236"/>
              <a:gd name="connsiteY2609" fmla="*/ 229156 h 448122"/>
              <a:gd name="connsiteX2610" fmla="*/ 272241 w 447236"/>
              <a:gd name="connsiteY2610" fmla="*/ 230793 h 448122"/>
              <a:gd name="connsiteX2611" fmla="*/ 276546 w 447236"/>
              <a:gd name="connsiteY2611" fmla="*/ 238148 h 448122"/>
              <a:gd name="connsiteX2612" fmla="*/ 270088 w 447236"/>
              <a:gd name="connsiteY2612" fmla="*/ 268180 h 448122"/>
              <a:gd name="connsiteX2613" fmla="*/ 267936 w 447236"/>
              <a:gd name="connsiteY2613" fmla="*/ 269713 h 448122"/>
              <a:gd name="connsiteX2614" fmla="*/ 267441 w 447236"/>
              <a:gd name="connsiteY2614" fmla="*/ 271193 h 448122"/>
              <a:gd name="connsiteX2615" fmla="*/ 270765 w 447236"/>
              <a:gd name="connsiteY2615" fmla="*/ 274350 h 448122"/>
              <a:gd name="connsiteX2616" fmla="*/ 275992 w 447236"/>
              <a:gd name="connsiteY2616" fmla="*/ 281095 h 448122"/>
              <a:gd name="connsiteX2617" fmla="*/ 280297 w 447236"/>
              <a:gd name="connsiteY2617" fmla="*/ 296119 h 448122"/>
              <a:gd name="connsiteX2618" fmla="*/ 274762 w 447236"/>
              <a:gd name="connsiteY2618" fmla="*/ 309916 h 448122"/>
              <a:gd name="connsiteX2619" fmla="*/ 267997 w 447236"/>
              <a:gd name="connsiteY2619" fmla="*/ 315128 h 448122"/>
              <a:gd name="connsiteX2620" fmla="*/ 259694 w 447236"/>
              <a:gd name="connsiteY2620" fmla="*/ 316661 h 448122"/>
              <a:gd name="connsiteX2621" fmla="*/ 251699 w 447236"/>
              <a:gd name="connsiteY2621" fmla="*/ 314208 h 448122"/>
              <a:gd name="connsiteX2622" fmla="*/ 250469 w 447236"/>
              <a:gd name="connsiteY2622" fmla="*/ 313288 h 448122"/>
              <a:gd name="connsiteX2623" fmla="*/ 250162 w 447236"/>
              <a:gd name="connsiteY2623" fmla="*/ 313288 h 448122"/>
              <a:gd name="connsiteX2624" fmla="*/ 250162 w 447236"/>
              <a:gd name="connsiteY2624" fmla="*/ 312982 h 448122"/>
              <a:gd name="connsiteX2625" fmla="*/ 245549 w 447236"/>
              <a:gd name="connsiteY2625" fmla="*/ 306236 h 448122"/>
              <a:gd name="connsiteX2626" fmla="*/ 245242 w 447236"/>
              <a:gd name="connsiteY2626" fmla="*/ 305623 h 448122"/>
              <a:gd name="connsiteX2627" fmla="*/ 245242 w 447236"/>
              <a:gd name="connsiteY2627" fmla="*/ 305317 h 448122"/>
              <a:gd name="connsiteX2628" fmla="*/ 244066 w 447236"/>
              <a:gd name="connsiteY2628" fmla="*/ 301212 h 448122"/>
              <a:gd name="connsiteX2629" fmla="*/ 232807 w 447236"/>
              <a:gd name="connsiteY2629" fmla="*/ 294959 h 448122"/>
              <a:gd name="connsiteX2630" fmla="*/ 231772 w 447236"/>
              <a:gd name="connsiteY2630" fmla="*/ 282866 h 448122"/>
              <a:gd name="connsiteX2631" fmla="*/ 232078 w 447236"/>
              <a:gd name="connsiteY2631" fmla="*/ 278581 h 448122"/>
              <a:gd name="connsiteX2632" fmla="*/ 233561 w 447236"/>
              <a:gd name="connsiteY2632" fmla="*/ 277101 h 448122"/>
              <a:gd name="connsiteX2633" fmla="*/ 235125 w 447236"/>
              <a:gd name="connsiteY2633" fmla="*/ 264825 h 448122"/>
              <a:gd name="connsiteX2634" fmla="*/ 227714 w 447236"/>
              <a:gd name="connsiteY2634" fmla="*/ 269751 h 448122"/>
              <a:gd name="connsiteX2635" fmla="*/ 223716 w 447236"/>
              <a:gd name="connsiteY2635" fmla="*/ 281095 h 448122"/>
              <a:gd name="connsiteX2636" fmla="*/ 224024 w 447236"/>
              <a:gd name="connsiteY2636" fmla="*/ 287227 h 448122"/>
              <a:gd name="connsiteX2637" fmla="*/ 225869 w 447236"/>
              <a:gd name="connsiteY2637" fmla="*/ 292746 h 448122"/>
              <a:gd name="connsiteX2638" fmla="*/ 235709 w 447236"/>
              <a:gd name="connsiteY2638" fmla="*/ 307156 h 448122"/>
              <a:gd name="connsiteX2639" fmla="*/ 248009 w 447236"/>
              <a:gd name="connsiteY2639" fmla="*/ 326166 h 448122"/>
              <a:gd name="connsiteX2640" fmla="*/ 248009 w 447236"/>
              <a:gd name="connsiteY2640" fmla="*/ 326472 h 448122"/>
              <a:gd name="connsiteX2641" fmla="*/ 249036 w 447236"/>
              <a:gd name="connsiteY2641" fmla="*/ 335944 h 448122"/>
              <a:gd name="connsiteX2642" fmla="*/ 249867 w 447236"/>
              <a:gd name="connsiteY2642" fmla="*/ 335944 h 448122"/>
              <a:gd name="connsiteX2643" fmla="*/ 250474 w 447236"/>
              <a:gd name="connsiteY2643" fmla="*/ 336247 h 448122"/>
              <a:gd name="connsiteX2644" fmla="*/ 250777 w 447236"/>
              <a:gd name="connsiteY2644" fmla="*/ 336854 h 448122"/>
              <a:gd name="connsiteX2645" fmla="*/ 250777 w 447236"/>
              <a:gd name="connsiteY2645" fmla="*/ 340798 h 448122"/>
              <a:gd name="connsiteX2646" fmla="*/ 250474 w 447236"/>
              <a:gd name="connsiteY2646" fmla="*/ 341405 h 448122"/>
              <a:gd name="connsiteX2647" fmla="*/ 249867 w 447236"/>
              <a:gd name="connsiteY2647" fmla="*/ 341405 h 448122"/>
              <a:gd name="connsiteX2648" fmla="*/ 249580 w 447236"/>
              <a:gd name="connsiteY2648" fmla="*/ 341405 h 448122"/>
              <a:gd name="connsiteX2649" fmla="*/ 255989 w 447236"/>
              <a:gd name="connsiteY2649" fmla="*/ 343871 h 448122"/>
              <a:gd name="connsiteX2650" fmla="*/ 259043 w 447236"/>
              <a:gd name="connsiteY2650" fmla="*/ 351817 h 448122"/>
              <a:gd name="connsiteX2651" fmla="*/ 255989 w 447236"/>
              <a:gd name="connsiteY2651" fmla="*/ 359457 h 448122"/>
              <a:gd name="connsiteX2652" fmla="*/ 248047 w 447236"/>
              <a:gd name="connsiteY2652" fmla="*/ 362513 h 448122"/>
              <a:gd name="connsiteX2653" fmla="*/ 240410 w 447236"/>
              <a:gd name="connsiteY2653" fmla="*/ 359457 h 448122"/>
              <a:gd name="connsiteX2654" fmla="*/ 237050 w 447236"/>
              <a:gd name="connsiteY2654" fmla="*/ 351817 h 448122"/>
              <a:gd name="connsiteX2655" fmla="*/ 240410 w 447236"/>
              <a:gd name="connsiteY2655" fmla="*/ 343871 h 448122"/>
              <a:gd name="connsiteX2656" fmla="*/ 246572 w 447236"/>
              <a:gd name="connsiteY2656" fmla="*/ 341405 h 448122"/>
              <a:gd name="connsiteX2657" fmla="*/ 246226 w 447236"/>
              <a:gd name="connsiteY2657" fmla="*/ 341405 h 448122"/>
              <a:gd name="connsiteX2658" fmla="*/ 245620 w 447236"/>
              <a:gd name="connsiteY2658" fmla="*/ 341405 h 448122"/>
              <a:gd name="connsiteX2659" fmla="*/ 245316 w 447236"/>
              <a:gd name="connsiteY2659" fmla="*/ 340798 h 448122"/>
              <a:gd name="connsiteX2660" fmla="*/ 245316 w 447236"/>
              <a:gd name="connsiteY2660" fmla="*/ 336854 h 448122"/>
              <a:gd name="connsiteX2661" fmla="*/ 245620 w 447236"/>
              <a:gd name="connsiteY2661" fmla="*/ 336247 h 448122"/>
              <a:gd name="connsiteX2662" fmla="*/ 246226 w 447236"/>
              <a:gd name="connsiteY2662" fmla="*/ 335944 h 448122"/>
              <a:gd name="connsiteX2663" fmla="*/ 246536 w 447236"/>
              <a:gd name="connsiteY2663" fmla="*/ 335944 h 448122"/>
              <a:gd name="connsiteX2664" fmla="*/ 245549 w 447236"/>
              <a:gd name="connsiteY2664" fmla="*/ 327085 h 448122"/>
              <a:gd name="connsiteX2665" fmla="*/ 233864 w 447236"/>
              <a:gd name="connsiteY2665" fmla="*/ 308689 h 448122"/>
              <a:gd name="connsiteX2666" fmla="*/ 223716 w 447236"/>
              <a:gd name="connsiteY2666" fmla="*/ 293972 h 448122"/>
              <a:gd name="connsiteX2667" fmla="*/ 223409 w 447236"/>
              <a:gd name="connsiteY2667" fmla="*/ 293972 h 448122"/>
              <a:gd name="connsiteX2668" fmla="*/ 221564 w 447236"/>
              <a:gd name="connsiteY2668" fmla="*/ 287840 h 448122"/>
              <a:gd name="connsiteX2669" fmla="*/ 221256 w 447236"/>
              <a:gd name="connsiteY2669" fmla="*/ 281095 h 448122"/>
              <a:gd name="connsiteX2670" fmla="*/ 225561 w 447236"/>
              <a:gd name="connsiteY2670" fmla="*/ 268218 h 448122"/>
              <a:gd name="connsiteX2671" fmla="*/ 235916 w 447236"/>
              <a:gd name="connsiteY2671" fmla="*/ 261426 h 448122"/>
              <a:gd name="connsiteX2672" fmla="*/ 240094 w 447236"/>
              <a:gd name="connsiteY2672" fmla="*/ 244943 h 448122"/>
              <a:gd name="connsiteX2673" fmla="*/ 244441 w 447236"/>
              <a:gd name="connsiteY2673" fmla="*/ 240121 h 448122"/>
              <a:gd name="connsiteX2674" fmla="*/ 241565 w 447236"/>
              <a:gd name="connsiteY2674" fmla="*/ 236664 h 448122"/>
              <a:gd name="connsiteX2675" fmla="*/ 241257 w 447236"/>
              <a:gd name="connsiteY2675" fmla="*/ 236664 h 448122"/>
              <a:gd name="connsiteX2676" fmla="*/ 239100 w 447236"/>
              <a:gd name="connsiteY2676" fmla="*/ 236971 h 448122"/>
              <a:gd name="connsiteX2677" fmla="*/ 236634 w 447236"/>
              <a:gd name="connsiteY2677" fmla="*/ 237891 h 448122"/>
              <a:gd name="connsiteX2678" fmla="*/ 236230 w 447236"/>
              <a:gd name="connsiteY2678" fmla="*/ 237088 h 448122"/>
              <a:gd name="connsiteX2679" fmla="*/ 236607 w 447236"/>
              <a:gd name="connsiteY2679" fmla="*/ 238758 h 448122"/>
              <a:gd name="connsiteX2680" fmla="*/ 233537 w 447236"/>
              <a:gd name="connsiteY2680" fmla="*/ 240873 h 448122"/>
              <a:gd name="connsiteX2681" fmla="*/ 229546 w 447236"/>
              <a:gd name="connsiteY2681" fmla="*/ 239060 h 448122"/>
              <a:gd name="connsiteX2682" fmla="*/ 232309 w 447236"/>
              <a:gd name="connsiteY2682" fmla="*/ 235433 h 448122"/>
              <a:gd name="connsiteX2683" fmla="*/ 235993 w 447236"/>
              <a:gd name="connsiteY2683" fmla="*/ 236038 h 448122"/>
              <a:gd name="connsiteX2684" fmla="*/ 236126 w 447236"/>
              <a:gd name="connsiteY2684" fmla="*/ 236628 h 448122"/>
              <a:gd name="connsiteX2685" fmla="*/ 238791 w 447236"/>
              <a:gd name="connsiteY2685" fmla="*/ 235744 h 448122"/>
              <a:gd name="connsiteX2686" fmla="*/ 240949 w 447236"/>
              <a:gd name="connsiteY2686" fmla="*/ 235438 h 448122"/>
              <a:gd name="connsiteX2687" fmla="*/ 241565 w 447236"/>
              <a:gd name="connsiteY2687" fmla="*/ 235438 h 448122"/>
              <a:gd name="connsiteX2688" fmla="*/ 245127 w 447236"/>
              <a:gd name="connsiteY2688" fmla="*/ 239360 h 448122"/>
              <a:gd name="connsiteX2689" fmla="*/ 248663 w 447236"/>
              <a:gd name="connsiteY2689" fmla="*/ 235438 h 448122"/>
              <a:gd name="connsiteX2690" fmla="*/ 248969 w 447236"/>
              <a:gd name="connsiteY2690" fmla="*/ 235438 h 448122"/>
              <a:gd name="connsiteX2691" fmla="*/ 251418 w 447236"/>
              <a:gd name="connsiteY2691" fmla="*/ 235744 h 448122"/>
              <a:gd name="connsiteX2692" fmla="*/ 253787 w 447236"/>
              <a:gd name="connsiteY2692" fmla="*/ 236535 h 448122"/>
              <a:gd name="connsiteX2693" fmla="*/ 253899 w 447236"/>
              <a:gd name="connsiteY2693" fmla="*/ 236038 h 448122"/>
              <a:gd name="connsiteX2694" fmla="*/ 257885 w 447236"/>
              <a:gd name="connsiteY2694" fmla="*/ 235433 h 448122"/>
              <a:gd name="connsiteX2695" fmla="*/ 260644 w 447236"/>
              <a:gd name="connsiteY2695" fmla="*/ 239060 h 448122"/>
              <a:gd name="connsiteX2696" fmla="*/ 256659 w 447236"/>
              <a:gd name="connsiteY2696" fmla="*/ 240873 h 448122"/>
              <a:gd name="connsiteX2697" fmla="*/ 253286 w 447236"/>
              <a:gd name="connsiteY2697" fmla="*/ 238758 h 448122"/>
              <a:gd name="connsiteX2698" fmla="*/ 253488 w 447236"/>
              <a:gd name="connsiteY2698" fmla="*/ 237863 h 448122"/>
              <a:gd name="connsiteX2699" fmla="*/ 251112 w 447236"/>
              <a:gd name="connsiteY2699" fmla="*/ 236971 h 448122"/>
              <a:gd name="connsiteX2700" fmla="*/ 248969 w 447236"/>
              <a:gd name="connsiteY2700" fmla="*/ 236664 h 448122"/>
              <a:gd name="connsiteX2701" fmla="*/ 248663 w 447236"/>
              <a:gd name="connsiteY2701" fmla="*/ 236664 h 448122"/>
              <a:gd name="connsiteX2702" fmla="*/ 245751 w 447236"/>
              <a:gd name="connsiteY2702" fmla="*/ 240048 h 448122"/>
              <a:gd name="connsiteX2703" fmla="*/ 250196 w 447236"/>
              <a:gd name="connsiteY2703" fmla="*/ 244943 h 448122"/>
              <a:gd name="connsiteX2704" fmla="*/ 254619 w 447236"/>
              <a:gd name="connsiteY2704" fmla="*/ 262269 h 448122"/>
              <a:gd name="connsiteX2705" fmla="*/ 255082 w 447236"/>
              <a:gd name="connsiteY2705" fmla="*/ 262392 h 448122"/>
              <a:gd name="connsiteX2706" fmla="*/ 259694 w 447236"/>
              <a:gd name="connsiteY2706" fmla="*/ 264845 h 448122"/>
              <a:gd name="connsiteX2707" fmla="*/ 264307 w 447236"/>
              <a:gd name="connsiteY2707" fmla="*/ 268218 h 448122"/>
              <a:gd name="connsiteX2708" fmla="*/ 266704 w 447236"/>
              <a:gd name="connsiteY2708" fmla="*/ 270494 h 448122"/>
              <a:gd name="connsiteX2709" fmla="*/ 267321 w 447236"/>
              <a:gd name="connsiteY2709" fmla="*/ 268793 h 448122"/>
              <a:gd name="connsiteX2710" fmla="*/ 269473 w 447236"/>
              <a:gd name="connsiteY2710" fmla="*/ 267261 h 448122"/>
              <a:gd name="connsiteX2711" fmla="*/ 275623 w 447236"/>
              <a:gd name="connsiteY2711" fmla="*/ 238454 h 448122"/>
              <a:gd name="connsiteX2712" fmla="*/ 271318 w 447236"/>
              <a:gd name="connsiteY2712" fmla="*/ 231405 h 448122"/>
              <a:gd name="connsiteX2713" fmla="*/ 269781 w 447236"/>
              <a:gd name="connsiteY2713" fmla="*/ 229260 h 448122"/>
              <a:gd name="connsiteX2714" fmla="*/ 269805 w 447236"/>
              <a:gd name="connsiteY2714" fmla="*/ 229213 h 448122"/>
              <a:gd name="connsiteX2715" fmla="*/ 268878 w 447236"/>
              <a:gd name="connsiteY2715" fmla="*/ 228285 h 448122"/>
              <a:gd name="connsiteX2716" fmla="*/ 268878 w 447236"/>
              <a:gd name="connsiteY2716" fmla="*/ 220014 h 448122"/>
              <a:gd name="connsiteX2717" fmla="*/ 265818 w 447236"/>
              <a:gd name="connsiteY2717" fmla="*/ 220014 h 448122"/>
              <a:gd name="connsiteX2718" fmla="*/ 265206 w 447236"/>
              <a:gd name="connsiteY2718" fmla="*/ 218788 h 448122"/>
              <a:gd name="connsiteX2719" fmla="*/ 265818 w 447236"/>
              <a:gd name="connsiteY2719" fmla="*/ 217563 h 448122"/>
              <a:gd name="connsiteX2720" fmla="*/ 267348 w 447236"/>
              <a:gd name="connsiteY2720" fmla="*/ 217563 h 448122"/>
              <a:gd name="connsiteX2721" fmla="*/ 267348 w 447236"/>
              <a:gd name="connsiteY2721" fmla="*/ 214193 h 448122"/>
              <a:gd name="connsiteX2722" fmla="*/ 266124 w 447236"/>
              <a:gd name="connsiteY2722" fmla="*/ 211743 h 448122"/>
              <a:gd name="connsiteX2723" fmla="*/ 263676 w 447236"/>
              <a:gd name="connsiteY2723" fmla="*/ 210517 h 448122"/>
              <a:gd name="connsiteX2724" fmla="*/ 261228 w 447236"/>
              <a:gd name="connsiteY2724" fmla="*/ 210517 h 448122"/>
              <a:gd name="connsiteX2725" fmla="*/ 260922 w 447236"/>
              <a:gd name="connsiteY2725" fmla="*/ 210517 h 448122"/>
              <a:gd name="connsiteX2726" fmla="*/ 258780 w 447236"/>
              <a:gd name="connsiteY2726" fmla="*/ 209598 h 448122"/>
              <a:gd name="connsiteX2727" fmla="*/ 257862 w 447236"/>
              <a:gd name="connsiteY2727" fmla="*/ 207454 h 448122"/>
              <a:gd name="connsiteX2728" fmla="*/ 260310 w 447236"/>
              <a:gd name="connsiteY2728" fmla="*/ 173450 h 448122"/>
              <a:gd name="connsiteX2729" fmla="*/ 261228 w 447236"/>
              <a:gd name="connsiteY2729" fmla="*/ 171305 h 448122"/>
              <a:gd name="connsiteX2730" fmla="*/ 263064 w 447236"/>
              <a:gd name="connsiteY2730" fmla="*/ 170080 h 448122"/>
              <a:gd name="connsiteX2731" fmla="*/ 264900 w 447236"/>
              <a:gd name="connsiteY2731" fmla="*/ 169467 h 448122"/>
              <a:gd name="connsiteX2732" fmla="*/ 265818 w 447236"/>
              <a:gd name="connsiteY2732" fmla="*/ 168242 h 448122"/>
              <a:gd name="connsiteX2733" fmla="*/ 267348 w 447236"/>
              <a:gd name="connsiteY2733" fmla="*/ 165791 h 448122"/>
              <a:gd name="connsiteX2734" fmla="*/ 270408 w 447236"/>
              <a:gd name="connsiteY2734" fmla="*/ 164872 h 448122"/>
              <a:gd name="connsiteX2735" fmla="*/ 11995 w 447236"/>
              <a:gd name="connsiteY2735" fmla="*/ 163396 h 448122"/>
              <a:gd name="connsiteX2736" fmla="*/ 14130 w 447236"/>
              <a:gd name="connsiteY2736" fmla="*/ 163396 h 448122"/>
              <a:gd name="connsiteX2737" fmla="*/ 15351 w 447236"/>
              <a:gd name="connsiteY2737" fmla="*/ 164619 h 448122"/>
              <a:gd name="connsiteX2738" fmla="*/ 15351 w 447236"/>
              <a:gd name="connsiteY2738" fmla="*/ 177123 h 448122"/>
              <a:gd name="connsiteX2739" fmla="*/ 35270 w 447236"/>
              <a:gd name="connsiteY2739" fmla="*/ 177123 h 448122"/>
              <a:gd name="connsiteX2740" fmla="*/ 48144 w 447236"/>
              <a:gd name="connsiteY2740" fmla="*/ 177123 h 448122"/>
              <a:gd name="connsiteX2741" fmla="*/ 48857 w 447236"/>
              <a:gd name="connsiteY2741" fmla="*/ 177123 h 448122"/>
              <a:gd name="connsiteX2742" fmla="*/ 48857 w 447236"/>
              <a:gd name="connsiteY2742" fmla="*/ 172554 h 448122"/>
              <a:gd name="connsiteX2743" fmla="*/ 48857 w 447236"/>
              <a:gd name="connsiteY2743" fmla="*/ 170368 h 448122"/>
              <a:gd name="connsiteX2744" fmla="*/ 49776 w 447236"/>
              <a:gd name="connsiteY2744" fmla="*/ 169448 h 448122"/>
              <a:gd name="connsiteX2745" fmla="*/ 51616 w 447236"/>
              <a:gd name="connsiteY2745" fmla="*/ 169448 h 448122"/>
              <a:gd name="connsiteX2746" fmla="*/ 52842 w 447236"/>
              <a:gd name="connsiteY2746" fmla="*/ 170368 h 448122"/>
              <a:gd name="connsiteX2747" fmla="*/ 52842 w 447236"/>
              <a:gd name="connsiteY2747" fmla="*/ 187852 h 448122"/>
              <a:gd name="connsiteX2748" fmla="*/ 51616 w 447236"/>
              <a:gd name="connsiteY2748" fmla="*/ 189079 h 448122"/>
              <a:gd name="connsiteX2749" fmla="*/ 49776 w 447236"/>
              <a:gd name="connsiteY2749" fmla="*/ 189079 h 448122"/>
              <a:gd name="connsiteX2750" fmla="*/ 48857 w 447236"/>
              <a:gd name="connsiteY2750" fmla="*/ 187852 h 448122"/>
              <a:gd name="connsiteX2751" fmla="*/ 48857 w 447236"/>
              <a:gd name="connsiteY2751" fmla="*/ 182732 h 448122"/>
              <a:gd name="connsiteX2752" fmla="*/ 29821 w 447236"/>
              <a:gd name="connsiteY2752" fmla="*/ 182732 h 448122"/>
              <a:gd name="connsiteX2753" fmla="*/ 19468 w 447236"/>
              <a:gd name="connsiteY2753" fmla="*/ 182732 h 448122"/>
              <a:gd name="connsiteX2754" fmla="*/ 15351 w 447236"/>
              <a:gd name="connsiteY2754" fmla="*/ 182732 h 448122"/>
              <a:gd name="connsiteX2755" fmla="*/ 15351 w 447236"/>
              <a:gd name="connsiteY2755" fmla="*/ 184951 h 448122"/>
              <a:gd name="connsiteX2756" fmla="*/ 15351 w 447236"/>
              <a:gd name="connsiteY2756" fmla="*/ 187856 h 448122"/>
              <a:gd name="connsiteX2757" fmla="*/ 14130 w 447236"/>
              <a:gd name="connsiteY2757" fmla="*/ 189079 h 448122"/>
              <a:gd name="connsiteX2758" fmla="*/ 11995 w 447236"/>
              <a:gd name="connsiteY2758" fmla="*/ 189079 h 448122"/>
              <a:gd name="connsiteX2759" fmla="*/ 10775 w 447236"/>
              <a:gd name="connsiteY2759" fmla="*/ 187856 h 448122"/>
              <a:gd name="connsiteX2760" fmla="*/ 10775 w 447236"/>
              <a:gd name="connsiteY2760" fmla="*/ 164619 h 448122"/>
              <a:gd name="connsiteX2761" fmla="*/ 11995 w 447236"/>
              <a:gd name="connsiteY2761" fmla="*/ 163396 h 448122"/>
              <a:gd name="connsiteX2762" fmla="*/ 432845 w 447236"/>
              <a:gd name="connsiteY2762" fmla="*/ 157493 h 448122"/>
              <a:gd name="connsiteX2763" fmla="*/ 432855 w 447236"/>
              <a:gd name="connsiteY2763" fmla="*/ 157502 h 448122"/>
              <a:gd name="connsiteX2764" fmla="*/ 432864 w 447236"/>
              <a:gd name="connsiteY2764" fmla="*/ 157493 h 448122"/>
              <a:gd name="connsiteX2765" fmla="*/ 414424 w 447236"/>
              <a:gd name="connsiteY2765" fmla="*/ 157493 h 448122"/>
              <a:gd name="connsiteX2766" fmla="*/ 414434 w 447236"/>
              <a:gd name="connsiteY2766" fmla="*/ 157502 h 448122"/>
              <a:gd name="connsiteX2767" fmla="*/ 414444 w 447236"/>
              <a:gd name="connsiteY2767" fmla="*/ 157493 h 448122"/>
              <a:gd name="connsiteX2768" fmla="*/ 396617 w 447236"/>
              <a:gd name="connsiteY2768" fmla="*/ 157493 h 448122"/>
              <a:gd name="connsiteX2769" fmla="*/ 396627 w 447236"/>
              <a:gd name="connsiteY2769" fmla="*/ 157502 h 448122"/>
              <a:gd name="connsiteX2770" fmla="*/ 396636 w 447236"/>
              <a:gd name="connsiteY2770" fmla="*/ 157493 h 448122"/>
              <a:gd name="connsiteX2771" fmla="*/ 136580 w 447236"/>
              <a:gd name="connsiteY2771" fmla="*/ 153248 h 448122"/>
              <a:gd name="connsiteX2772" fmla="*/ 145780 w 447236"/>
              <a:gd name="connsiteY2772" fmla="*/ 161514 h 448122"/>
              <a:gd name="connsiteX2773" fmla="*/ 147006 w 447236"/>
              <a:gd name="connsiteY2773" fmla="*/ 162738 h 448122"/>
              <a:gd name="connsiteX2774" fmla="*/ 148540 w 447236"/>
              <a:gd name="connsiteY2774" fmla="*/ 161514 h 448122"/>
              <a:gd name="connsiteX2775" fmla="*/ 157739 w 447236"/>
              <a:gd name="connsiteY2775" fmla="*/ 153248 h 448122"/>
              <a:gd name="connsiteX2776" fmla="*/ 136580 w 447236"/>
              <a:gd name="connsiteY2776" fmla="*/ 153248 h 448122"/>
              <a:gd name="connsiteX2777" fmla="*/ 290072 w 447236"/>
              <a:gd name="connsiteY2777" fmla="*/ 152896 h 448122"/>
              <a:gd name="connsiteX2778" fmla="*/ 366482 w 447236"/>
              <a:gd name="connsiteY2778" fmla="*/ 152896 h 448122"/>
              <a:gd name="connsiteX2779" fmla="*/ 366482 w 447236"/>
              <a:gd name="connsiteY2779" fmla="*/ 156572 h 448122"/>
              <a:gd name="connsiteX2780" fmla="*/ 290072 w 447236"/>
              <a:gd name="connsiteY2780" fmla="*/ 156572 h 448122"/>
              <a:gd name="connsiteX2781" fmla="*/ 290072 w 447236"/>
              <a:gd name="connsiteY2781" fmla="*/ 152896 h 448122"/>
              <a:gd name="connsiteX2782" fmla="*/ 415058 w 447236"/>
              <a:gd name="connsiteY2782" fmla="*/ 150738 h 448122"/>
              <a:gd name="connsiteX2783" fmla="*/ 415058 w 447236"/>
              <a:gd name="connsiteY2783" fmla="*/ 156928 h 448122"/>
              <a:gd name="connsiteX2784" fmla="*/ 418425 w 447236"/>
              <a:gd name="connsiteY2784" fmla="*/ 153833 h 448122"/>
              <a:gd name="connsiteX2785" fmla="*/ 414025 w 447236"/>
              <a:gd name="connsiteY2785" fmla="*/ 150571 h 448122"/>
              <a:gd name="connsiteX2786" fmla="*/ 410750 w 447236"/>
              <a:gd name="connsiteY2786" fmla="*/ 153833 h 448122"/>
              <a:gd name="connsiteX2787" fmla="*/ 414025 w 447236"/>
              <a:gd name="connsiteY2787" fmla="*/ 157095 h 448122"/>
              <a:gd name="connsiteX2788" fmla="*/ 432476 w 447236"/>
              <a:gd name="connsiteY2788" fmla="*/ 150541 h 448122"/>
              <a:gd name="connsiteX2789" fmla="*/ 429170 w 447236"/>
              <a:gd name="connsiteY2789" fmla="*/ 153833 h 448122"/>
              <a:gd name="connsiteX2790" fmla="*/ 432476 w 447236"/>
              <a:gd name="connsiteY2790" fmla="*/ 157125 h 448122"/>
              <a:gd name="connsiteX2791" fmla="*/ 396313 w 447236"/>
              <a:gd name="connsiteY2791" fmla="*/ 150477 h 448122"/>
              <a:gd name="connsiteX2792" fmla="*/ 392943 w 447236"/>
              <a:gd name="connsiteY2792" fmla="*/ 153833 h 448122"/>
              <a:gd name="connsiteX2793" fmla="*/ 396313 w 447236"/>
              <a:gd name="connsiteY2793" fmla="*/ 157190 h 448122"/>
              <a:gd name="connsiteX2794" fmla="*/ 396903 w 447236"/>
              <a:gd name="connsiteY2794" fmla="*/ 150440 h 448122"/>
              <a:gd name="connsiteX2795" fmla="*/ 396903 w 447236"/>
              <a:gd name="connsiteY2795" fmla="*/ 157227 h 448122"/>
              <a:gd name="connsiteX2796" fmla="*/ 400311 w 447236"/>
              <a:gd name="connsiteY2796" fmla="*/ 153833 h 448122"/>
              <a:gd name="connsiteX2797" fmla="*/ 433066 w 447236"/>
              <a:gd name="connsiteY2797" fmla="*/ 150375 h 448122"/>
              <a:gd name="connsiteX2798" fmla="*/ 433066 w 447236"/>
              <a:gd name="connsiteY2798" fmla="*/ 157292 h 448122"/>
              <a:gd name="connsiteX2799" fmla="*/ 436539 w 447236"/>
              <a:gd name="connsiteY2799" fmla="*/ 153833 h 448122"/>
              <a:gd name="connsiteX2800" fmla="*/ 432855 w 447236"/>
              <a:gd name="connsiteY2800" fmla="*/ 150164 h 448122"/>
              <a:gd name="connsiteX2801" fmla="*/ 432759 w 447236"/>
              <a:gd name="connsiteY2801" fmla="*/ 150260 h 448122"/>
              <a:gd name="connsiteX2802" fmla="*/ 432951 w 447236"/>
              <a:gd name="connsiteY2802" fmla="*/ 150260 h 448122"/>
              <a:gd name="connsiteX2803" fmla="*/ 414434 w 447236"/>
              <a:gd name="connsiteY2803" fmla="*/ 150164 h 448122"/>
              <a:gd name="connsiteX2804" fmla="*/ 414338 w 447236"/>
              <a:gd name="connsiteY2804" fmla="*/ 150260 h 448122"/>
              <a:gd name="connsiteX2805" fmla="*/ 414538 w 447236"/>
              <a:gd name="connsiteY2805" fmla="*/ 150260 h 448122"/>
              <a:gd name="connsiteX2806" fmla="*/ 396627 w 447236"/>
              <a:gd name="connsiteY2806" fmla="*/ 150164 h 448122"/>
              <a:gd name="connsiteX2807" fmla="*/ 396531 w 447236"/>
              <a:gd name="connsiteY2807" fmla="*/ 150260 h 448122"/>
              <a:gd name="connsiteX2808" fmla="*/ 396723 w 447236"/>
              <a:gd name="connsiteY2808" fmla="*/ 150260 h 448122"/>
              <a:gd name="connsiteX2809" fmla="*/ 290072 w 447236"/>
              <a:gd name="connsiteY2809" fmla="*/ 148608 h 448122"/>
              <a:gd name="connsiteX2810" fmla="*/ 366482 w 447236"/>
              <a:gd name="connsiteY2810" fmla="*/ 148608 h 448122"/>
              <a:gd name="connsiteX2811" fmla="*/ 366482 w 447236"/>
              <a:gd name="connsiteY2811" fmla="*/ 151977 h 448122"/>
              <a:gd name="connsiteX2812" fmla="*/ 290072 w 447236"/>
              <a:gd name="connsiteY2812" fmla="*/ 151977 h 448122"/>
              <a:gd name="connsiteX2813" fmla="*/ 290072 w 447236"/>
              <a:gd name="connsiteY2813" fmla="*/ 148608 h 448122"/>
              <a:gd name="connsiteX2814" fmla="*/ 133207 w 447236"/>
              <a:gd name="connsiteY2814" fmla="*/ 145594 h 448122"/>
              <a:gd name="connsiteX2815" fmla="*/ 133514 w 447236"/>
              <a:gd name="connsiteY2815" fmla="*/ 147737 h 448122"/>
              <a:gd name="connsiteX2816" fmla="*/ 160499 w 447236"/>
              <a:gd name="connsiteY2816" fmla="*/ 147737 h 448122"/>
              <a:gd name="connsiteX2817" fmla="*/ 160806 w 447236"/>
              <a:gd name="connsiteY2817" fmla="*/ 145594 h 448122"/>
              <a:gd name="connsiteX2818" fmla="*/ 133207 w 447236"/>
              <a:gd name="connsiteY2818" fmla="*/ 145594 h 448122"/>
              <a:gd name="connsiteX2819" fmla="*/ 389565 w 447236"/>
              <a:gd name="connsiteY2819" fmla="*/ 145578 h 448122"/>
              <a:gd name="connsiteX2820" fmla="*/ 388644 w 447236"/>
              <a:gd name="connsiteY2820" fmla="*/ 146495 h 448122"/>
              <a:gd name="connsiteX2821" fmla="*/ 389565 w 447236"/>
              <a:gd name="connsiteY2821" fmla="*/ 147413 h 448122"/>
              <a:gd name="connsiteX2822" fmla="*/ 441758 w 447236"/>
              <a:gd name="connsiteY2822" fmla="*/ 147413 h 448122"/>
              <a:gd name="connsiteX2823" fmla="*/ 442372 w 447236"/>
              <a:gd name="connsiteY2823" fmla="*/ 146495 h 448122"/>
              <a:gd name="connsiteX2824" fmla="*/ 441758 w 447236"/>
              <a:gd name="connsiteY2824" fmla="*/ 145578 h 448122"/>
              <a:gd name="connsiteX2825" fmla="*/ 389565 w 447236"/>
              <a:gd name="connsiteY2825" fmla="*/ 145578 h 448122"/>
              <a:gd name="connsiteX2826" fmla="*/ 30427 w 447236"/>
              <a:gd name="connsiteY2826" fmla="*/ 144060 h 448122"/>
              <a:gd name="connsiteX2827" fmla="*/ 33189 w 447236"/>
              <a:gd name="connsiteY2827" fmla="*/ 144060 h 448122"/>
              <a:gd name="connsiteX2828" fmla="*/ 34110 w 447236"/>
              <a:gd name="connsiteY2828" fmla="*/ 145287 h 448122"/>
              <a:gd name="connsiteX2829" fmla="*/ 34110 w 447236"/>
              <a:gd name="connsiteY2829" fmla="*/ 151421 h 448122"/>
              <a:gd name="connsiteX2830" fmla="*/ 40555 w 447236"/>
              <a:gd name="connsiteY2830" fmla="*/ 151421 h 448122"/>
              <a:gd name="connsiteX2831" fmla="*/ 41476 w 447236"/>
              <a:gd name="connsiteY2831" fmla="*/ 152342 h 448122"/>
              <a:gd name="connsiteX2832" fmla="*/ 41476 w 447236"/>
              <a:gd name="connsiteY2832" fmla="*/ 155409 h 448122"/>
              <a:gd name="connsiteX2833" fmla="*/ 40555 w 447236"/>
              <a:gd name="connsiteY2833" fmla="*/ 156329 h 448122"/>
              <a:gd name="connsiteX2834" fmla="*/ 34110 w 447236"/>
              <a:gd name="connsiteY2834" fmla="*/ 156329 h 448122"/>
              <a:gd name="connsiteX2835" fmla="*/ 34110 w 447236"/>
              <a:gd name="connsiteY2835" fmla="*/ 162464 h 448122"/>
              <a:gd name="connsiteX2836" fmla="*/ 33189 w 447236"/>
              <a:gd name="connsiteY2836" fmla="*/ 163691 h 448122"/>
              <a:gd name="connsiteX2837" fmla="*/ 30427 w 447236"/>
              <a:gd name="connsiteY2837" fmla="*/ 163691 h 448122"/>
              <a:gd name="connsiteX2838" fmla="*/ 29199 w 447236"/>
              <a:gd name="connsiteY2838" fmla="*/ 162464 h 448122"/>
              <a:gd name="connsiteX2839" fmla="*/ 29199 w 447236"/>
              <a:gd name="connsiteY2839" fmla="*/ 156329 h 448122"/>
              <a:gd name="connsiteX2840" fmla="*/ 23061 w 447236"/>
              <a:gd name="connsiteY2840" fmla="*/ 156329 h 448122"/>
              <a:gd name="connsiteX2841" fmla="*/ 22140 w 447236"/>
              <a:gd name="connsiteY2841" fmla="*/ 155409 h 448122"/>
              <a:gd name="connsiteX2842" fmla="*/ 22140 w 447236"/>
              <a:gd name="connsiteY2842" fmla="*/ 152342 h 448122"/>
              <a:gd name="connsiteX2843" fmla="*/ 23061 w 447236"/>
              <a:gd name="connsiteY2843" fmla="*/ 151421 h 448122"/>
              <a:gd name="connsiteX2844" fmla="*/ 29199 w 447236"/>
              <a:gd name="connsiteY2844" fmla="*/ 151421 h 448122"/>
              <a:gd name="connsiteX2845" fmla="*/ 29199 w 447236"/>
              <a:gd name="connsiteY2845" fmla="*/ 145287 h 448122"/>
              <a:gd name="connsiteX2846" fmla="*/ 30427 w 447236"/>
              <a:gd name="connsiteY2846" fmla="*/ 144060 h 448122"/>
              <a:gd name="connsiteX2847" fmla="*/ 115711 w 447236"/>
              <a:gd name="connsiteY2847" fmla="*/ 141994 h 448122"/>
              <a:gd name="connsiteX2848" fmla="*/ 115711 w 447236"/>
              <a:gd name="connsiteY2848" fmla="*/ 164445 h 448122"/>
              <a:gd name="connsiteX2849" fmla="*/ 115711 w 447236"/>
              <a:gd name="connsiteY2849" fmla="*/ 180924 h 448122"/>
              <a:gd name="connsiteX2850" fmla="*/ 115711 w 447236"/>
              <a:gd name="connsiteY2850" fmla="*/ 183913 h 448122"/>
              <a:gd name="connsiteX2851" fmla="*/ 115893 w 447236"/>
              <a:gd name="connsiteY2851" fmla="*/ 183913 h 448122"/>
              <a:gd name="connsiteX2852" fmla="*/ 121237 w 447236"/>
              <a:gd name="connsiteY2852" fmla="*/ 183913 h 448122"/>
              <a:gd name="connsiteX2853" fmla="*/ 123713 w 447236"/>
              <a:gd name="connsiteY2853" fmla="*/ 183913 h 448122"/>
              <a:gd name="connsiteX2854" fmla="*/ 123713 w 447236"/>
              <a:gd name="connsiteY2854" fmla="*/ 155772 h 448122"/>
              <a:gd name="connsiteX2855" fmla="*/ 123713 w 447236"/>
              <a:gd name="connsiteY2855" fmla="*/ 142234 h 448122"/>
              <a:gd name="connsiteX2856" fmla="*/ 123713 w 447236"/>
              <a:gd name="connsiteY2856" fmla="*/ 141994 h 448122"/>
              <a:gd name="connsiteX2857" fmla="*/ 117934 w 447236"/>
              <a:gd name="connsiteY2857" fmla="*/ 141994 h 448122"/>
              <a:gd name="connsiteX2858" fmla="*/ 117934 w 447236"/>
              <a:gd name="connsiteY2858" fmla="*/ 161309 h 448122"/>
              <a:gd name="connsiteX2859" fmla="*/ 117934 w 447236"/>
              <a:gd name="connsiteY2859" fmla="*/ 181096 h 448122"/>
              <a:gd name="connsiteX2860" fmla="*/ 117589 w 447236"/>
              <a:gd name="connsiteY2860" fmla="*/ 181403 h 448122"/>
              <a:gd name="connsiteX2861" fmla="*/ 116901 w 447236"/>
              <a:gd name="connsiteY2861" fmla="*/ 181096 h 448122"/>
              <a:gd name="connsiteX2862" fmla="*/ 116901 w 447236"/>
              <a:gd name="connsiteY2862" fmla="*/ 141994 h 448122"/>
              <a:gd name="connsiteX2863" fmla="*/ 100347 w 447236"/>
              <a:gd name="connsiteY2863" fmla="*/ 141994 h 448122"/>
              <a:gd name="connsiteX2864" fmla="*/ 100347 w 447236"/>
              <a:gd name="connsiteY2864" fmla="*/ 164445 h 448122"/>
              <a:gd name="connsiteX2865" fmla="*/ 100347 w 447236"/>
              <a:gd name="connsiteY2865" fmla="*/ 180924 h 448122"/>
              <a:gd name="connsiteX2866" fmla="*/ 100347 w 447236"/>
              <a:gd name="connsiteY2866" fmla="*/ 183913 h 448122"/>
              <a:gd name="connsiteX2867" fmla="*/ 100800 w 447236"/>
              <a:gd name="connsiteY2867" fmla="*/ 183913 h 448122"/>
              <a:gd name="connsiteX2868" fmla="*/ 105877 w 447236"/>
              <a:gd name="connsiteY2868" fmla="*/ 183913 h 448122"/>
              <a:gd name="connsiteX2869" fmla="*/ 108349 w 447236"/>
              <a:gd name="connsiteY2869" fmla="*/ 183913 h 448122"/>
              <a:gd name="connsiteX2870" fmla="*/ 108349 w 447236"/>
              <a:gd name="connsiteY2870" fmla="*/ 155772 h 448122"/>
              <a:gd name="connsiteX2871" fmla="*/ 108349 w 447236"/>
              <a:gd name="connsiteY2871" fmla="*/ 142234 h 448122"/>
              <a:gd name="connsiteX2872" fmla="*/ 108349 w 447236"/>
              <a:gd name="connsiteY2872" fmla="*/ 141994 h 448122"/>
              <a:gd name="connsiteX2873" fmla="*/ 102879 w 447236"/>
              <a:gd name="connsiteY2873" fmla="*/ 141994 h 448122"/>
              <a:gd name="connsiteX2874" fmla="*/ 102879 w 447236"/>
              <a:gd name="connsiteY2874" fmla="*/ 161309 h 448122"/>
              <a:gd name="connsiteX2875" fmla="*/ 102879 w 447236"/>
              <a:gd name="connsiteY2875" fmla="*/ 181096 h 448122"/>
              <a:gd name="connsiteX2876" fmla="*/ 102190 w 447236"/>
              <a:gd name="connsiteY2876" fmla="*/ 181403 h 448122"/>
              <a:gd name="connsiteX2877" fmla="*/ 101846 w 447236"/>
              <a:gd name="connsiteY2877" fmla="*/ 181096 h 448122"/>
              <a:gd name="connsiteX2878" fmla="*/ 101846 w 447236"/>
              <a:gd name="connsiteY2878" fmla="*/ 141994 h 448122"/>
              <a:gd name="connsiteX2879" fmla="*/ 85304 w 447236"/>
              <a:gd name="connsiteY2879" fmla="*/ 141994 h 448122"/>
              <a:gd name="connsiteX2880" fmla="*/ 85304 w 447236"/>
              <a:gd name="connsiteY2880" fmla="*/ 164445 h 448122"/>
              <a:gd name="connsiteX2881" fmla="*/ 85304 w 447236"/>
              <a:gd name="connsiteY2881" fmla="*/ 180924 h 448122"/>
              <a:gd name="connsiteX2882" fmla="*/ 85304 w 447236"/>
              <a:gd name="connsiteY2882" fmla="*/ 183913 h 448122"/>
              <a:gd name="connsiteX2883" fmla="*/ 85487 w 447236"/>
              <a:gd name="connsiteY2883" fmla="*/ 183913 h 448122"/>
              <a:gd name="connsiteX2884" fmla="*/ 90831 w 447236"/>
              <a:gd name="connsiteY2884" fmla="*/ 183913 h 448122"/>
              <a:gd name="connsiteX2885" fmla="*/ 93306 w 447236"/>
              <a:gd name="connsiteY2885" fmla="*/ 183913 h 448122"/>
              <a:gd name="connsiteX2886" fmla="*/ 93306 w 447236"/>
              <a:gd name="connsiteY2886" fmla="*/ 155772 h 448122"/>
              <a:gd name="connsiteX2887" fmla="*/ 93306 w 447236"/>
              <a:gd name="connsiteY2887" fmla="*/ 142234 h 448122"/>
              <a:gd name="connsiteX2888" fmla="*/ 93306 w 447236"/>
              <a:gd name="connsiteY2888" fmla="*/ 141994 h 448122"/>
              <a:gd name="connsiteX2889" fmla="*/ 92190 w 447236"/>
              <a:gd name="connsiteY2889" fmla="*/ 141994 h 448122"/>
              <a:gd name="connsiteX2890" fmla="*/ 87528 w 447236"/>
              <a:gd name="connsiteY2890" fmla="*/ 141994 h 448122"/>
              <a:gd name="connsiteX2891" fmla="*/ 87528 w 447236"/>
              <a:gd name="connsiteY2891" fmla="*/ 161309 h 448122"/>
              <a:gd name="connsiteX2892" fmla="*/ 87528 w 447236"/>
              <a:gd name="connsiteY2892" fmla="*/ 181096 h 448122"/>
              <a:gd name="connsiteX2893" fmla="*/ 87233 w 447236"/>
              <a:gd name="connsiteY2893" fmla="*/ 181403 h 448122"/>
              <a:gd name="connsiteX2894" fmla="*/ 86938 w 447236"/>
              <a:gd name="connsiteY2894" fmla="*/ 181096 h 448122"/>
              <a:gd name="connsiteX2895" fmla="*/ 86938 w 447236"/>
              <a:gd name="connsiteY2895" fmla="*/ 141994 h 448122"/>
              <a:gd name="connsiteX2896" fmla="*/ 69941 w 447236"/>
              <a:gd name="connsiteY2896" fmla="*/ 141994 h 448122"/>
              <a:gd name="connsiteX2897" fmla="*/ 69941 w 447236"/>
              <a:gd name="connsiteY2897" fmla="*/ 164445 h 448122"/>
              <a:gd name="connsiteX2898" fmla="*/ 69941 w 447236"/>
              <a:gd name="connsiteY2898" fmla="*/ 180924 h 448122"/>
              <a:gd name="connsiteX2899" fmla="*/ 69941 w 447236"/>
              <a:gd name="connsiteY2899" fmla="*/ 183913 h 448122"/>
              <a:gd name="connsiteX2900" fmla="*/ 70393 w 447236"/>
              <a:gd name="connsiteY2900" fmla="*/ 183913 h 448122"/>
              <a:gd name="connsiteX2901" fmla="*/ 75470 w 447236"/>
              <a:gd name="connsiteY2901" fmla="*/ 183913 h 448122"/>
              <a:gd name="connsiteX2902" fmla="*/ 77943 w 447236"/>
              <a:gd name="connsiteY2902" fmla="*/ 183913 h 448122"/>
              <a:gd name="connsiteX2903" fmla="*/ 77943 w 447236"/>
              <a:gd name="connsiteY2903" fmla="*/ 155772 h 448122"/>
              <a:gd name="connsiteX2904" fmla="*/ 77943 w 447236"/>
              <a:gd name="connsiteY2904" fmla="*/ 142234 h 448122"/>
              <a:gd name="connsiteX2905" fmla="*/ 77943 w 447236"/>
              <a:gd name="connsiteY2905" fmla="*/ 141994 h 448122"/>
              <a:gd name="connsiteX2906" fmla="*/ 73985 w 447236"/>
              <a:gd name="connsiteY2906" fmla="*/ 141994 h 448122"/>
              <a:gd name="connsiteX2907" fmla="*/ 72473 w 447236"/>
              <a:gd name="connsiteY2907" fmla="*/ 141994 h 448122"/>
              <a:gd name="connsiteX2908" fmla="*/ 72473 w 447236"/>
              <a:gd name="connsiteY2908" fmla="*/ 161309 h 448122"/>
              <a:gd name="connsiteX2909" fmla="*/ 72473 w 447236"/>
              <a:gd name="connsiteY2909" fmla="*/ 181096 h 448122"/>
              <a:gd name="connsiteX2910" fmla="*/ 71882 w 447236"/>
              <a:gd name="connsiteY2910" fmla="*/ 181403 h 448122"/>
              <a:gd name="connsiteX2911" fmla="*/ 71587 w 447236"/>
              <a:gd name="connsiteY2911" fmla="*/ 181096 h 448122"/>
              <a:gd name="connsiteX2912" fmla="*/ 71587 w 447236"/>
              <a:gd name="connsiteY2912" fmla="*/ 141994 h 448122"/>
              <a:gd name="connsiteX2913" fmla="*/ 134127 w 447236"/>
              <a:gd name="connsiteY2913" fmla="*/ 137634 h 448122"/>
              <a:gd name="connsiteX2914" fmla="*/ 133514 w 447236"/>
              <a:gd name="connsiteY2914" fmla="*/ 140083 h 448122"/>
              <a:gd name="connsiteX2915" fmla="*/ 160499 w 447236"/>
              <a:gd name="connsiteY2915" fmla="*/ 140083 h 448122"/>
              <a:gd name="connsiteX2916" fmla="*/ 159886 w 447236"/>
              <a:gd name="connsiteY2916" fmla="*/ 137634 h 448122"/>
              <a:gd name="connsiteX2917" fmla="*/ 134127 w 447236"/>
              <a:gd name="connsiteY2917" fmla="*/ 137634 h 448122"/>
              <a:gd name="connsiteX2918" fmla="*/ 11030 w 447236"/>
              <a:gd name="connsiteY2918" fmla="*/ 136732 h 448122"/>
              <a:gd name="connsiteX2919" fmla="*/ 7043 w 447236"/>
              <a:gd name="connsiteY2919" fmla="*/ 140714 h 448122"/>
              <a:gd name="connsiteX2920" fmla="*/ 7043 w 447236"/>
              <a:gd name="connsiteY2920" fmla="*/ 188188 h 448122"/>
              <a:gd name="connsiteX2921" fmla="*/ 11030 w 447236"/>
              <a:gd name="connsiteY2921" fmla="*/ 192170 h 448122"/>
              <a:gd name="connsiteX2922" fmla="*/ 52438 w 447236"/>
              <a:gd name="connsiteY2922" fmla="*/ 192170 h 448122"/>
              <a:gd name="connsiteX2923" fmla="*/ 56426 w 447236"/>
              <a:gd name="connsiteY2923" fmla="*/ 188188 h 448122"/>
              <a:gd name="connsiteX2924" fmla="*/ 56426 w 447236"/>
              <a:gd name="connsiteY2924" fmla="*/ 140714 h 448122"/>
              <a:gd name="connsiteX2925" fmla="*/ 52438 w 447236"/>
              <a:gd name="connsiteY2925" fmla="*/ 136732 h 448122"/>
              <a:gd name="connsiteX2926" fmla="*/ 11030 w 447236"/>
              <a:gd name="connsiteY2926" fmla="*/ 136732 h 448122"/>
              <a:gd name="connsiteX2927" fmla="*/ 415058 w 447236"/>
              <a:gd name="connsiteY2927" fmla="*/ 135805 h 448122"/>
              <a:gd name="connsiteX2928" fmla="*/ 415058 w 447236"/>
              <a:gd name="connsiteY2928" fmla="*/ 142252 h 448122"/>
              <a:gd name="connsiteX2929" fmla="*/ 418425 w 447236"/>
              <a:gd name="connsiteY2929" fmla="*/ 139157 h 448122"/>
              <a:gd name="connsiteX2930" fmla="*/ 414025 w 447236"/>
              <a:gd name="connsiteY2930" fmla="*/ 135624 h 448122"/>
              <a:gd name="connsiteX2931" fmla="*/ 410750 w 447236"/>
              <a:gd name="connsiteY2931" fmla="*/ 139157 h 448122"/>
              <a:gd name="connsiteX2932" fmla="*/ 414025 w 447236"/>
              <a:gd name="connsiteY2932" fmla="*/ 142420 h 448122"/>
              <a:gd name="connsiteX2933" fmla="*/ 432476 w 447236"/>
              <a:gd name="connsiteY2933" fmla="*/ 135591 h 448122"/>
              <a:gd name="connsiteX2934" fmla="*/ 429170 w 447236"/>
              <a:gd name="connsiteY2934" fmla="*/ 139157 h 448122"/>
              <a:gd name="connsiteX2935" fmla="*/ 432476 w 447236"/>
              <a:gd name="connsiteY2935" fmla="*/ 142449 h 448122"/>
              <a:gd name="connsiteX2936" fmla="*/ 396313 w 447236"/>
              <a:gd name="connsiteY2936" fmla="*/ 135521 h 448122"/>
              <a:gd name="connsiteX2937" fmla="*/ 392943 w 447236"/>
              <a:gd name="connsiteY2937" fmla="*/ 139157 h 448122"/>
              <a:gd name="connsiteX2938" fmla="*/ 396313 w 447236"/>
              <a:gd name="connsiteY2938" fmla="*/ 142514 h 448122"/>
              <a:gd name="connsiteX2939" fmla="*/ 396903 w 447236"/>
              <a:gd name="connsiteY2939" fmla="*/ 135481 h 448122"/>
              <a:gd name="connsiteX2940" fmla="*/ 396903 w 447236"/>
              <a:gd name="connsiteY2940" fmla="*/ 142551 h 448122"/>
              <a:gd name="connsiteX2941" fmla="*/ 400311 w 447236"/>
              <a:gd name="connsiteY2941" fmla="*/ 139157 h 448122"/>
              <a:gd name="connsiteX2942" fmla="*/ 433066 w 447236"/>
              <a:gd name="connsiteY2942" fmla="*/ 135411 h 448122"/>
              <a:gd name="connsiteX2943" fmla="*/ 433066 w 447236"/>
              <a:gd name="connsiteY2943" fmla="*/ 142616 h 448122"/>
              <a:gd name="connsiteX2944" fmla="*/ 436539 w 447236"/>
              <a:gd name="connsiteY2944" fmla="*/ 139157 h 448122"/>
              <a:gd name="connsiteX2945" fmla="*/ 432855 w 447236"/>
              <a:gd name="connsiteY2945" fmla="*/ 135183 h 448122"/>
              <a:gd name="connsiteX2946" fmla="*/ 432835 w 447236"/>
              <a:gd name="connsiteY2946" fmla="*/ 135204 h 448122"/>
              <a:gd name="connsiteX2947" fmla="*/ 432874 w 447236"/>
              <a:gd name="connsiteY2947" fmla="*/ 135204 h 448122"/>
              <a:gd name="connsiteX2948" fmla="*/ 414434 w 447236"/>
              <a:gd name="connsiteY2948" fmla="*/ 135183 h 448122"/>
              <a:gd name="connsiteX2949" fmla="*/ 414414 w 447236"/>
              <a:gd name="connsiteY2949" fmla="*/ 135204 h 448122"/>
              <a:gd name="connsiteX2950" fmla="*/ 414455 w 447236"/>
              <a:gd name="connsiteY2950" fmla="*/ 135204 h 448122"/>
              <a:gd name="connsiteX2951" fmla="*/ 396627 w 447236"/>
              <a:gd name="connsiteY2951" fmla="*/ 135183 h 448122"/>
              <a:gd name="connsiteX2952" fmla="*/ 396607 w 447236"/>
              <a:gd name="connsiteY2952" fmla="*/ 135204 h 448122"/>
              <a:gd name="connsiteX2953" fmla="*/ 396646 w 447236"/>
              <a:gd name="connsiteY2953" fmla="*/ 135204 h 448122"/>
              <a:gd name="connsiteX2954" fmla="*/ 232646 w 447236"/>
              <a:gd name="connsiteY2954" fmla="*/ 133285 h 448122"/>
              <a:gd name="connsiteX2955" fmla="*/ 236017 w 447236"/>
              <a:gd name="connsiteY2955" fmla="*/ 143129 h 448122"/>
              <a:gd name="connsiteX2956" fmla="*/ 192493 w 447236"/>
              <a:gd name="connsiteY2956" fmla="*/ 159125 h 448122"/>
              <a:gd name="connsiteX2957" fmla="*/ 181765 w 447236"/>
              <a:gd name="connsiteY2957" fmla="*/ 163124 h 448122"/>
              <a:gd name="connsiteX2958" fmla="*/ 190654 w 447236"/>
              <a:gd name="connsiteY2958" fmla="*/ 154203 h 448122"/>
              <a:gd name="connsiteX2959" fmla="*/ 176555 w 447236"/>
              <a:gd name="connsiteY2959" fmla="*/ 158817 h 448122"/>
              <a:gd name="connsiteX2960" fmla="*/ 175328 w 447236"/>
              <a:gd name="connsiteY2960" fmla="*/ 159125 h 448122"/>
              <a:gd name="connsiteX2961" fmla="*/ 174409 w 447236"/>
              <a:gd name="connsiteY2961" fmla="*/ 155433 h 448122"/>
              <a:gd name="connsiteX2962" fmla="*/ 176555 w 447236"/>
              <a:gd name="connsiteY2962" fmla="*/ 154203 h 448122"/>
              <a:gd name="connsiteX2963" fmla="*/ 187282 w 447236"/>
              <a:gd name="connsiteY2963" fmla="*/ 149589 h 448122"/>
              <a:gd name="connsiteX2964" fmla="*/ 176555 w 447236"/>
              <a:gd name="connsiteY2964" fmla="*/ 152665 h 448122"/>
              <a:gd name="connsiteX2965" fmla="*/ 171344 w 447236"/>
              <a:gd name="connsiteY2965" fmla="*/ 154203 h 448122"/>
              <a:gd name="connsiteX2966" fmla="*/ 168585 w 447236"/>
              <a:gd name="connsiteY2966" fmla="*/ 151742 h 448122"/>
              <a:gd name="connsiteX2967" fmla="*/ 171957 w 447236"/>
              <a:gd name="connsiteY2967" fmla="*/ 149281 h 448122"/>
              <a:gd name="connsiteX2968" fmla="*/ 176555 w 447236"/>
              <a:gd name="connsiteY2968" fmla="*/ 147435 h 448122"/>
              <a:gd name="connsiteX2969" fmla="*/ 186056 w 447236"/>
              <a:gd name="connsiteY2969" fmla="*/ 143436 h 448122"/>
              <a:gd name="connsiteX2970" fmla="*/ 176555 w 447236"/>
              <a:gd name="connsiteY2970" fmla="*/ 145282 h 448122"/>
              <a:gd name="connsiteX2971" fmla="*/ 169198 w 447236"/>
              <a:gd name="connsiteY2971" fmla="*/ 143744 h 448122"/>
              <a:gd name="connsiteX2972" fmla="*/ 175941 w 447236"/>
              <a:gd name="connsiteY2972" fmla="*/ 139745 h 448122"/>
              <a:gd name="connsiteX2973" fmla="*/ 176555 w 447236"/>
              <a:gd name="connsiteY2973" fmla="*/ 139745 h 448122"/>
              <a:gd name="connsiteX2974" fmla="*/ 181765 w 447236"/>
              <a:gd name="connsiteY2974" fmla="*/ 138822 h 448122"/>
              <a:gd name="connsiteX2975" fmla="*/ 181152 w 447236"/>
              <a:gd name="connsiteY2975" fmla="*/ 140668 h 448122"/>
              <a:gd name="connsiteX2976" fmla="*/ 181152 w 447236"/>
              <a:gd name="connsiteY2976" fmla="*/ 140975 h 448122"/>
              <a:gd name="connsiteX2977" fmla="*/ 181459 w 447236"/>
              <a:gd name="connsiteY2977" fmla="*/ 141591 h 448122"/>
              <a:gd name="connsiteX2978" fmla="*/ 185750 w 447236"/>
              <a:gd name="connsiteY2978" fmla="*/ 143129 h 448122"/>
              <a:gd name="connsiteX2979" fmla="*/ 192799 w 447236"/>
              <a:gd name="connsiteY2979" fmla="*/ 142206 h 448122"/>
              <a:gd name="connsiteX2980" fmla="*/ 205060 w 447236"/>
              <a:gd name="connsiteY2980" fmla="*/ 138207 h 448122"/>
              <a:gd name="connsiteX2981" fmla="*/ 223144 w 447236"/>
              <a:gd name="connsiteY2981" fmla="*/ 142206 h 448122"/>
              <a:gd name="connsiteX2982" fmla="*/ 229581 w 447236"/>
              <a:gd name="connsiteY2982" fmla="*/ 144051 h 448122"/>
              <a:gd name="connsiteX2983" fmla="*/ 230194 w 447236"/>
              <a:gd name="connsiteY2983" fmla="*/ 143744 h 448122"/>
              <a:gd name="connsiteX2984" fmla="*/ 232646 w 447236"/>
              <a:gd name="connsiteY2984" fmla="*/ 133285 h 448122"/>
              <a:gd name="connsiteX2985" fmla="*/ 387416 w 447236"/>
              <a:gd name="connsiteY2985" fmla="*/ 131514 h 448122"/>
              <a:gd name="connsiteX2986" fmla="*/ 443293 w 447236"/>
              <a:gd name="connsiteY2986" fmla="*/ 131514 h 448122"/>
              <a:gd name="connsiteX2987" fmla="*/ 446056 w 447236"/>
              <a:gd name="connsiteY2987" fmla="*/ 134266 h 448122"/>
              <a:gd name="connsiteX2988" fmla="*/ 446056 w 447236"/>
              <a:gd name="connsiteY2988" fmla="*/ 158725 h 448122"/>
              <a:gd name="connsiteX2989" fmla="*/ 443293 w 447236"/>
              <a:gd name="connsiteY2989" fmla="*/ 161477 h 448122"/>
              <a:gd name="connsiteX2990" fmla="*/ 387416 w 447236"/>
              <a:gd name="connsiteY2990" fmla="*/ 161477 h 448122"/>
              <a:gd name="connsiteX2991" fmla="*/ 384653 w 447236"/>
              <a:gd name="connsiteY2991" fmla="*/ 158725 h 448122"/>
              <a:gd name="connsiteX2992" fmla="*/ 384653 w 447236"/>
              <a:gd name="connsiteY2992" fmla="*/ 134266 h 448122"/>
              <a:gd name="connsiteX2993" fmla="*/ 387416 w 447236"/>
              <a:gd name="connsiteY2993" fmla="*/ 131514 h 448122"/>
              <a:gd name="connsiteX2994" fmla="*/ 4589 w 447236"/>
              <a:gd name="connsiteY2994" fmla="*/ 131219 h 448122"/>
              <a:gd name="connsiteX2995" fmla="*/ 58880 w 447236"/>
              <a:gd name="connsiteY2995" fmla="*/ 131219 h 448122"/>
              <a:gd name="connsiteX2996" fmla="*/ 63174 w 447236"/>
              <a:gd name="connsiteY2996" fmla="*/ 135507 h 448122"/>
              <a:gd name="connsiteX2997" fmla="*/ 63174 w 447236"/>
              <a:gd name="connsiteY2997" fmla="*/ 216673 h 448122"/>
              <a:gd name="connsiteX2998" fmla="*/ 58880 w 447236"/>
              <a:gd name="connsiteY2998" fmla="*/ 220961 h 448122"/>
              <a:gd name="connsiteX2999" fmla="*/ 4589 w 447236"/>
              <a:gd name="connsiteY2999" fmla="*/ 220961 h 448122"/>
              <a:gd name="connsiteX3000" fmla="*/ 295 w 447236"/>
              <a:gd name="connsiteY3000" fmla="*/ 216673 h 448122"/>
              <a:gd name="connsiteX3001" fmla="*/ 295 w 447236"/>
              <a:gd name="connsiteY3001" fmla="*/ 135507 h 448122"/>
              <a:gd name="connsiteX3002" fmla="*/ 4589 w 447236"/>
              <a:gd name="connsiteY3002" fmla="*/ 131219 h 448122"/>
              <a:gd name="connsiteX3003" fmla="*/ 374461 w 447236"/>
              <a:gd name="connsiteY3003" fmla="*/ 130843 h 448122"/>
              <a:gd name="connsiteX3004" fmla="*/ 366482 w 447236"/>
              <a:gd name="connsiteY3004" fmla="*/ 136356 h 448122"/>
              <a:gd name="connsiteX3005" fmla="*/ 366482 w 447236"/>
              <a:gd name="connsiteY3005" fmla="*/ 147383 h 448122"/>
              <a:gd name="connsiteX3006" fmla="*/ 290072 w 447236"/>
              <a:gd name="connsiteY3006" fmla="*/ 147383 h 448122"/>
              <a:gd name="connsiteX3007" fmla="*/ 290072 w 447236"/>
              <a:gd name="connsiteY3007" fmla="*/ 136356 h 448122"/>
              <a:gd name="connsiteX3008" fmla="*/ 288230 w 447236"/>
              <a:gd name="connsiteY3008" fmla="*/ 136050 h 448122"/>
              <a:gd name="connsiteX3009" fmla="*/ 286389 w 447236"/>
              <a:gd name="connsiteY3009" fmla="*/ 135743 h 448122"/>
              <a:gd name="connsiteX3010" fmla="*/ 273194 w 447236"/>
              <a:gd name="connsiteY3010" fmla="*/ 138806 h 448122"/>
              <a:gd name="connsiteX3011" fmla="*/ 272887 w 447236"/>
              <a:gd name="connsiteY3011" fmla="*/ 147689 h 448122"/>
              <a:gd name="connsiteX3012" fmla="*/ 273808 w 447236"/>
              <a:gd name="connsiteY3012" fmla="*/ 152590 h 448122"/>
              <a:gd name="connsiteX3013" fmla="*/ 279331 w 447236"/>
              <a:gd name="connsiteY3013" fmla="*/ 160860 h 448122"/>
              <a:gd name="connsiteX3014" fmla="*/ 290072 w 447236"/>
              <a:gd name="connsiteY3014" fmla="*/ 163617 h 448122"/>
              <a:gd name="connsiteX3015" fmla="*/ 290072 w 447236"/>
              <a:gd name="connsiteY3015" fmla="*/ 157491 h 448122"/>
              <a:gd name="connsiteX3016" fmla="*/ 366482 w 447236"/>
              <a:gd name="connsiteY3016" fmla="*/ 157491 h 448122"/>
              <a:gd name="connsiteX3017" fmla="*/ 366482 w 447236"/>
              <a:gd name="connsiteY3017" fmla="*/ 165148 h 448122"/>
              <a:gd name="connsiteX3018" fmla="*/ 367096 w 447236"/>
              <a:gd name="connsiteY3018" fmla="*/ 164536 h 448122"/>
              <a:gd name="connsiteX3019" fmla="*/ 372619 w 447236"/>
              <a:gd name="connsiteY3019" fmla="*/ 153815 h 448122"/>
              <a:gd name="connsiteX3020" fmla="*/ 377529 w 447236"/>
              <a:gd name="connsiteY3020" fmla="*/ 140644 h 448122"/>
              <a:gd name="connsiteX3021" fmla="*/ 380291 w 447236"/>
              <a:gd name="connsiteY3021" fmla="*/ 136969 h 448122"/>
              <a:gd name="connsiteX3022" fmla="*/ 379984 w 447236"/>
              <a:gd name="connsiteY3022" fmla="*/ 132374 h 448122"/>
              <a:gd name="connsiteX3023" fmla="*/ 377836 w 447236"/>
              <a:gd name="connsiteY3023" fmla="*/ 130843 h 448122"/>
              <a:gd name="connsiteX3024" fmla="*/ 374461 w 447236"/>
              <a:gd name="connsiteY3024" fmla="*/ 130843 h 448122"/>
              <a:gd name="connsiteX3025" fmla="*/ 113865 w 447236"/>
              <a:gd name="connsiteY3025" fmla="*/ 130515 h 448122"/>
              <a:gd name="connsiteX3026" fmla="*/ 113557 w 447236"/>
              <a:gd name="connsiteY3026" fmla="*/ 130822 h 448122"/>
              <a:gd name="connsiteX3027" fmla="*/ 113249 w 447236"/>
              <a:gd name="connsiteY3027" fmla="*/ 131435 h 448122"/>
              <a:gd name="connsiteX3028" fmla="*/ 113557 w 447236"/>
              <a:gd name="connsiteY3028" fmla="*/ 131742 h 448122"/>
              <a:gd name="connsiteX3029" fmla="*/ 113865 w 447236"/>
              <a:gd name="connsiteY3029" fmla="*/ 132048 h 448122"/>
              <a:gd name="connsiteX3030" fmla="*/ 115096 w 447236"/>
              <a:gd name="connsiteY3030" fmla="*/ 132048 h 448122"/>
              <a:gd name="connsiteX3031" fmla="*/ 115711 w 447236"/>
              <a:gd name="connsiteY3031" fmla="*/ 132048 h 448122"/>
              <a:gd name="connsiteX3032" fmla="*/ 115711 w 447236"/>
              <a:gd name="connsiteY3032" fmla="*/ 132355 h 448122"/>
              <a:gd name="connsiteX3033" fmla="*/ 115711 w 447236"/>
              <a:gd name="connsiteY3033" fmla="*/ 139780 h 448122"/>
              <a:gd name="connsiteX3034" fmla="*/ 116901 w 447236"/>
              <a:gd name="connsiteY3034" fmla="*/ 139780 h 448122"/>
              <a:gd name="connsiteX3035" fmla="*/ 116901 w 447236"/>
              <a:gd name="connsiteY3035" fmla="*/ 134193 h 448122"/>
              <a:gd name="connsiteX3036" fmla="*/ 117589 w 447236"/>
              <a:gd name="connsiteY3036" fmla="*/ 133580 h 448122"/>
              <a:gd name="connsiteX3037" fmla="*/ 117934 w 447236"/>
              <a:gd name="connsiteY3037" fmla="*/ 134193 h 448122"/>
              <a:gd name="connsiteX3038" fmla="*/ 117934 w 447236"/>
              <a:gd name="connsiteY3038" fmla="*/ 139780 h 448122"/>
              <a:gd name="connsiteX3039" fmla="*/ 119976 w 447236"/>
              <a:gd name="connsiteY3039" fmla="*/ 139780 h 448122"/>
              <a:gd name="connsiteX3040" fmla="*/ 123713 w 447236"/>
              <a:gd name="connsiteY3040" fmla="*/ 139780 h 448122"/>
              <a:gd name="connsiteX3041" fmla="*/ 123713 w 447236"/>
              <a:gd name="connsiteY3041" fmla="*/ 135282 h 448122"/>
              <a:gd name="connsiteX3042" fmla="*/ 123713 w 447236"/>
              <a:gd name="connsiteY3042" fmla="*/ 132355 h 448122"/>
              <a:gd name="connsiteX3043" fmla="*/ 123713 w 447236"/>
              <a:gd name="connsiteY3043" fmla="*/ 132048 h 448122"/>
              <a:gd name="connsiteX3044" fmla="*/ 124021 w 447236"/>
              <a:gd name="connsiteY3044" fmla="*/ 132048 h 448122"/>
              <a:gd name="connsiteX3045" fmla="*/ 125252 w 447236"/>
              <a:gd name="connsiteY3045" fmla="*/ 132048 h 448122"/>
              <a:gd name="connsiteX3046" fmla="*/ 125867 w 447236"/>
              <a:gd name="connsiteY3046" fmla="*/ 131742 h 448122"/>
              <a:gd name="connsiteX3047" fmla="*/ 125867 w 447236"/>
              <a:gd name="connsiteY3047" fmla="*/ 131435 h 448122"/>
              <a:gd name="connsiteX3048" fmla="*/ 125867 w 447236"/>
              <a:gd name="connsiteY3048" fmla="*/ 130822 h 448122"/>
              <a:gd name="connsiteX3049" fmla="*/ 125252 w 447236"/>
              <a:gd name="connsiteY3049" fmla="*/ 130515 h 448122"/>
              <a:gd name="connsiteX3050" fmla="*/ 113865 w 447236"/>
              <a:gd name="connsiteY3050" fmla="*/ 130515 h 448122"/>
              <a:gd name="connsiteX3051" fmla="*/ 98809 w 447236"/>
              <a:gd name="connsiteY3051" fmla="*/ 130515 h 448122"/>
              <a:gd name="connsiteX3052" fmla="*/ 98193 w 447236"/>
              <a:gd name="connsiteY3052" fmla="*/ 130822 h 448122"/>
              <a:gd name="connsiteX3053" fmla="*/ 98193 w 447236"/>
              <a:gd name="connsiteY3053" fmla="*/ 131435 h 448122"/>
              <a:gd name="connsiteX3054" fmla="*/ 98193 w 447236"/>
              <a:gd name="connsiteY3054" fmla="*/ 131742 h 448122"/>
              <a:gd name="connsiteX3055" fmla="*/ 98809 w 447236"/>
              <a:gd name="connsiteY3055" fmla="*/ 132048 h 448122"/>
              <a:gd name="connsiteX3056" fmla="*/ 100040 w 447236"/>
              <a:gd name="connsiteY3056" fmla="*/ 132048 h 448122"/>
              <a:gd name="connsiteX3057" fmla="*/ 100347 w 447236"/>
              <a:gd name="connsiteY3057" fmla="*/ 132048 h 448122"/>
              <a:gd name="connsiteX3058" fmla="*/ 100347 w 447236"/>
              <a:gd name="connsiteY3058" fmla="*/ 132355 h 448122"/>
              <a:gd name="connsiteX3059" fmla="*/ 100347 w 447236"/>
              <a:gd name="connsiteY3059" fmla="*/ 139780 h 448122"/>
              <a:gd name="connsiteX3060" fmla="*/ 101771 w 447236"/>
              <a:gd name="connsiteY3060" fmla="*/ 139780 h 448122"/>
              <a:gd name="connsiteX3061" fmla="*/ 101846 w 447236"/>
              <a:gd name="connsiteY3061" fmla="*/ 139780 h 448122"/>
              <a:gd name="connsiteX3062" fmla="*/ 101846 w 447236"/>
              <a:gd name="connsiteY3062" fmla="*/ 134193 h 448122"/>
              <a:gd name="connsiteX3063" fmla="*/ 102190 w 447236"/>
              <a:gd name="connsiteY3063" fmla="*/ 133580 h 448122"/>
              <a:gd name="connsiteX3064" fmla="*/ 102879 w 447236"/>
              <a:gd name="connsiteY3064" fmla="*/ 134193 h 448122"/>
              <a:gd name="connsiteX3065" fmla="*/ 102879 w 447236"/>
              <a:gd name="connsiteY3065" fmla="*/ 139780 h 448122"/>
              <a:gd name="connsiteX3066" fmla="*/ 108349 w 447236"/>
              <a:gd name="connsiteY3066" fmla="*/ 139780 h 448122"/>
              <a:gd name="connsiteX3067" fmla="*/ 108349 w 447236"/>
              <a:gd name="connsiteY3067" fmla="*/ 135282 h 448122"/>
              <a:gd name="connsiteX3068" fmla="*/ 108349 w 447236"/>
              <a:gd name="connsiteY3068" fmla="*/ 132355 h 448122"/>
              <a:gd name="connsiteX3069" fmla="*/ 108349 w 447236"/>
              <a:gd name="connsiteY3069" fmla="*/ 132048 h 448122"/>
              <a:gd name="connsiteX3070" fmla="*/ 108965 w 447236"/>
              <a:gd name="connsiteY3070" fmla="*/ 132048 h 448122"/>
              <a:gd name="connsiteX3071" fmla="*/ 109888 w 447236"/>
              <a:gd name="connsiteY3071" fmla="*/ 132048 h 448122"/>
              <a:gd name="connsiteX3072" fmla="*/ 110504 w 447236"/>
              <a:gd name="connsiteY3072" fmla="*/ 131742 h 448122"/>
              <a:gd name="connsiteX3073" fmla="*/ 110811 w 447236"/>
              <a:gd name="connsiteY3073" fmla="*/ 131435 h 448122"/>
              <a:gd name="connsiteX3074" fmla="*/ 110504 w 447236"/>
              <a:gd name="connsiteY3074" fmla="*/ 130822 h 448122"/>
              <a:gd name="connsiteX3075" fmla="*/ 109888 w 447236"/>
              <a:gd name="connsiteY3075" fmla="*/ 130515 h 448122"/>
              <a:gd name="connsiteX3076" fmla="*/ 98809 w 447236"/>
              <a:gd name="connsiteY3076" fmla="*/ 130515 h 448122"/>
              <a:gd name="connsiteX3077" fmla="*/ 83458 w 447236"/>
              <a:gd name="connsiteY3077" fmla="*/ 130515 h 448122"/>
              <a:gd name="connsiteX3078" fmla="*/ 83150 w 447236"/>
              <a:gd name="connsiteY3078" fmla="*/ 130822 h 448122"/>
              <a:gd name="connsiteX3079" fmla="*/ 82842 w 447236"/>
              <a:gd name="connsiteY3079" fmla="*/ 131435 h 448122"/>
              <a:gd name="connsiteX3080" fmla="*/ 83150 w 447236"/>
              <a:gd name="connsiteY3080" fmla="*/ 131742 h 448122"/>
              <a:gd name="connsiteX3081" fmla="*/ 83458 w 447236"/>
              <a:gd name="connsiteY3081" fmla="*/ 132048 h 448122"/>
              <a:gd name="connsiteX3082" fmla="*/ 84689 w 447236"/>
              <a:gd name="connsiteY3082" fmla="*/ 132048 h 448122"/>
              <a:gd name="connsiteX3083" fmla="*/ 85304 w 447236"/>
              <a:gd name="connsiteY3083" fmla="*/ 132048 h 448122"/>
              <a:gd name="connsiteX3084" fmla="*/ 85304 w 447236"/>
              <a:gd name="connsiteY3084" fmla="*/ 132355 h 448122"/>
              <a:gd name="connsiteX3085" fmla="*/ 85304 w 447236"/>
              <a:gd name="connsiteY3085" fmla="*/ 139780 h 448122"/>
              <a:gd name="connsiteX3086" fmla="*/ 86938 w 447236"/>
              <a:gd name="connsiteY3086" fmla="*/ 139780 h 448122"/>
              <a:gd name="connsiteX3087" fmla="*/ 86938 w 447236"/>
              <a:gd name="connsiteY3087" fmla="*/ 134193 h 448122"/>
              <a:gd name="connsiteX3088" fmla="*/ 87233 w 447236"/>
              <a:gd name="connsiteY3088" fmla="*/ 133580 h 448122"/>
              <a:gd name="connsiteX3089" fmla="*/ 87528 w 447236"/>
              <a:gd name="connsiteY3089" fmla="*/ 134193 h 448122"/>
              <a:gd name="connsiteX3090" fmla="*/ 87528 w 447236"/>
              <a:gd name="connsiteY3090" fmla="*/ 139780 h 448122"/>
              <a:gd name="connsiteX3091" fmla="*/ 93306 w 447236"/>
              <a:gd name="connsiteY3091" fmla="*/ 139780 h 448122"/>
              <a:gd name="connsiteX3092" fmla="*/ 93306 w 447236"/>
              <a:gd name="connsiteY3092" fmla="*/ 135282 h 448122"/>
              <a:gd name="connsiteX3093" fmla="*/ 93306 w 447236"/>
              <a:gd name="connsiteY3093" fmla="*/ 132355 h 448122"/>
              <a:gd name="connsiteX3094" fmla="*/ 93306 w 447236"/>
              <a:gd name="connsiteY3094" fmla="*/ 132048 h 448122"/>
              <a:gd name="connsiteX3095" fmla="*/ 93614 w 447236"/>
              <a:gd name="connsiteY3095" fmla="*/ 132048 h 448122"/>
              <a:gd name="connsiteX3096" fmla="*/ 94845 w 447236"/>
              <a:gd name="connsiteY3096" fmla="*/ 132048 h 448122"/>
              <a:gd name="connsiteX3097" fmla="*/ 95460 w 447236"/>
              <a:gd name="connsiteY3097" fmla="*/ 131742 h 448122"/>
              <a:gd name="connsiteX3098" fmla="*/ 95460 w 447236"/>
              <a:gd name="connsiteY3098" fmla="*/ 131435 h 448122"/>
              <a:gd name="connsiteX3099" fmla="*/ 95460 w 447236"/>
              <a:gd name="connsiteY3099" fmla="*/ 130822 h 448122"/>
              <a:gd name="connsiteX3100" fmla="*/ 94845 w 447236"/>
              <a:gd name="connsiteY3100" fmla="*/ 130515 h 448122"/>
              <a:gd name="connsiteX3101" fmla="*/ 83458 w 447236"/>
              <a:gd name="connsiteY3101" fmla="*/ 130515 h 448122"/>
              <a:gd name="connsiteX3102" fmla="*/ 68403 w 447236"/>
              <a:gd name="connsiteY3102" fmla="*/ 130515 h 448122"/>
              <a:gd name="connsiteX3103" fmla="*/ 67787 w 447236"/>
              <a:gd name="connsiteY3103" fmla="*/ 130822 h 448122"/>
              <a:gd name="connsiteX3104" fmla="*/ 67787 w 447236"/>
              <a:gd name="connsiteY3104" fmla="*/ 131435 h 448122"/>
              <a:gd name="connsiteX3105" fmla="*/ 67787 w 447236"/>
              <a:gd name="connsiteY3105" fmla="*/ 131742 h 448122"/>
              <a:gd name="connsiteX3106" fmla="*/ 68403 w 447236"/>
              <a:gd name="connsiteY3106" fmla="*/ 132048 h 448122"/>
              <a:gd name="connsiteX3107" fmla="*/ 69634 w 447236"/>
              <a:gd name="connsiteY3107" fmla="*/ 132048 h 448122"/>
              <a:gd name="connsiteX3108" fmla="*/ 69941 w 447236"/>
              <a:gd name="connsiteY3108" fmla="*/ 132048 h 448122"/>
              <a:gd name="connsiteX3109" fmla="*/ 69941 w 447236"/>
              <a:gd name="connsiteY3109" fmla="*/ 132355 h 448122"/>
              <a:gd name="connsiteX3110" fmla="*/ 69941 w 447236"/>
              <a:gd name="connsiteY3110" fmla="*/ 139780 h 448122"/>
              <a:gd name="connsiteX3111" fmla="*/ 71587 w 447236"/>
              <a:gd name="connsiteY3111" fmla="*/ 139780 h 448122"/>
              <a:gd name="connsiteX3112" fmla="*/ 71587 w 447236"/>
              <a:gd name="connsiteY3112" fmla="*/ 134193 h 448122"/>
              <a:gd name="connsiteX3113" fmla="*/ 71882 w 447236"/>
              <a:gd name="connsiteY3113" fmla="*/ 133580 h 448122"/>
              <a:gd name="connsiteX3114" fmla="*/ 72473 w 447236"/>
              <a:gd name="connsiteY3114" fmla="*/ 134193 h 448122"/>
              <a:gd name="connsiteX3115" fmla="*/ 72473 w 447236"/>
              <a:gd name="connsiteY3115" fmla="*/ 139780 h 448122"/>
              <a:gd name="connsiteX3116" fmla="*/ 77943 w 447236"/>
              <a:gd name="connsiteY3116" fmla="*/ 139780 h 448122"/>
              <a:gd name="connsiteX3117" fmla="*/ 77943 w 447236"/>
              <a:gd name="connsiteY3117" fmla="*/ 135282 h 448122"/>
              <a:gd name="connsiteX3118" fmla="*/ 77943 w 447236"/>
              <a:gd name="connsiteY3118" fmla="*/ 132355 h 448122"/>
              <a:gd name="connsiteX3119" fmla="*/ 77943 w 447236"/>
              <a:gd name="connsiteY3119" fmla="*/ 132048 h 448122"/>
              <a:gd name="connsiteX3120" fmla="*/ 78559 w 447236"/>
              <a:gd name="connsiteY3120" fmla="*/ 132048 h 448122"/>
              <a:gd name="connsiteX3121" fmla="*/ 79482 w 447236"/>
              <a:gd name="connsiteY3121" fmla="*/ 132048 h 448122"/>
              <a:gd name="connsiteX3122" fmla="*/ 80098 w 447236"/>
              <a:gd name="connsiteY3122" fmla="*/ 131742 h 448122"/>
              <a:gd name="connsiteX3123" fmla="*/ 80405 w 447236"/>
              <a:gd name="connsiteY3123" fmla="*/ 131435 h 448122"/>
              <a:gd name="connsiteX3124" fmla="*/ 80098 w 447236"/>
              <a:gd name="connsiteY3124" fmla="*/ 130822 h 448122"/>
              <a:gd name="connsiteX3125" fmla="*/ 79482 w 447236"/>
              <a:gd name="connsiteY3125" fmla="*/ 130515 h 448122"/>
              <a:gd name="connsiteX3126" fmla="*/ 68403 w 447236"/>
              <a:gd name="connsiteY3126" fmla="*/ 130515 h 448122"/>
              <a:gd name="connsiteX3127" fmla="*/ 68403 w 447236"/>
              <a:gd name="connsiteY3127" fmla="*/ 129595 h 448122"/>
              <a:gd name="connsiteX3128" fmla="*/ 79482 w 447236"/>
              <a:gd name="connsiteY3128" fmla="*/ 129595 h 448122"/>
              <a:gd name="connsiteX3129" fmla="*/ 80713 w 447236"/>
              <a:gd name="connsiteY3129" fmla="*/ 130208 h 448122"/>
              <a:gd name="connsiteX3130" fmla="*/ 81329 w 447236"/>
              <a:gd name="connsiteY3130" fmla="*/ 131435 h 448122"/>
              <a:gd name="connsiteX3131" fmla="*/ 80713 w 447236"/>
              <a:gd name="connsiteY3131" fmla="*/ 132355 h 448122"/>
              <a:gd name="connsiteX3132" fmla="*/ 79482 w 447236"/>
              <a:gd name="connsiteY3132" fmla="*/ 132968 h 448122"/>
              <a:gd name="connsiteX3133" fmla="*/ 78867 w 447236"/>
              <a:gd name="connsiteY3133" fmla="*/ 132968 h 448122"/>
              <a:gd name="connsiteX3134" fmla="*/ 78867 w 447236"/>
              <a:gd name="connsiteY3134" fmla="*/ 139780 h 448122"/>
              <a:gd name="connsiteX3135" fmla="*/ 84073 w 447236"/>
              <a:gd name="connsiteY3135" fmla="*/ 139780 h 448122"/>
              <a:gd name="connsiteX3136" fmla="*/ 84073 w 447236"/>
              <a:gd name="connsiteY3136" fmla="*/ 133826 h 448122"/>
              <a:gd name="connsiteX3137" fmla="*/ 84073 w 447236"/>
              <a:gd name="connsiteY3137" fmla="*/ 132968 h 448122"/>
              <a:gd name="connsiteX3138" fmla="*/ 83458 w 447236"/>
              <a:gd name="connsiteY3138" fmla="*/ 132968 h 448122"/>
              <a:gd name="connsiteX3139" fmla="*/ 82534 w 447236"/>
              <a:gd name="connsiteY3139" fmla="*/ 132355 h 448122"/>
              <a:gd name="connsiteX3140" fmla="*/ 81919 w 447236"/>
              <a:gd name="connsiteY3140" fmla="*/ 131435 h 448122"/>
              <a:gd name="connsiteX3141" fmla="*/ 82534 w 447236"/>
              <a:gd name="connsiteY3141" fmla="*/ 130208 h 448122"/>
              <a:gd name="connsiteX3142" fmla="*/ 83458 w 447236"/>
              <a:gd name="connsiteY3142" fmla="*/ 129595 h 448122"/>
              <a:gd name="connsiteX3143" fmla="*/ 94845 w 447236"/>
              <a:gd name="connsiteY3143" fmla="*/ 129595 h 448122"/>
              <a:gd name="connsiteX3144" fmla="*/ 96076 w 447236"/>
              <a:gd name="connsiteY3144" fmla="*/ 130208 h 448122"/>
              <a:gd name="connsiteX3145" fmla="*/ 96384 w 447236"/>
              <a:gd name="connsiteY3145" fmla="*/ 131435 h 448122"/>
              <a:gd name="connsiteX3146" fmla="*/ 96076 w 447236"/>
              <a:gd name="connsiteY3146" fmla="*/ 132355 h 448122"/>
              <a:gd name="connsiteX3147" fmla="*/ 94845 w 447236"/>
              <a:gd name="connsiteY3147" fmla="*/ 132968 h 448122"/>
              <a:gd name="connsiteX3148" fmla="*/ 94229 w 447236"/>
              <a:gd name="connsiteY3148" fmla="*/ 132968 h 448122"/>
              <a:gd name="connsiteX3149" fmla="*/ 94229 w 447236"/>
              <a:gd name="connsiteY3149" fmla="*/ 139780 h 448122"/>
              <a:gd name="connsiteX3150" fmla="*/ 99424 w 447236"/>
              <a:gd name="connsiteY3150" fmla="*/ 139780 h 448122"/>
              <a:gd name="connsiteX3151" fmla="*/ 99424 w 447236"/>
              <a:gd name="connsiteY3151" fmla="*/ 133826 h 448122"/>
              <a:gd name="connsiteX3152" fmla="*/ 99424 w 447236"/>
              <a:gd name="connsiteY3152" fmla="*/ 132968 h 448122"/>
              <a:gd name="connsiteX3153" fmla="*/ 98809 w 447236"/>
              <a:gd name="connsiteY3153" fmla="*/ 132968 h 448122"/>
              <a:gd name="connsiteX3154" fmla="*/ 97578 w 447236"/>
              <a:gd name="connsiteY3154" fmla="*/ 132355 h 448122"/>
              <a:gd name="connsiteX3155" fmla="*/ 97270 w 447236"/>
              <a:gd name="connsiteY3155" fmla="*/ 131435 h 448122"/>
              <a:gd name="connsiteX3156" fmla="*/ 97578 w 447236"/>
              <a:gd name="connsiteY3156" fmla="*/ 130208 h 448122"/>
              <a:gd name="connsiteX3157" fmla="*/ 98809 w 447236"/>
              <a:gd name="connsiteY3157" fmla="*/ 129595 h 448122"/>
              <a:gd name="connsiteX3158" fmla="*/ 109888 w 447236"/>
              <a:gd name="connsiteY3158" fmla="*/ 129595 h 448122"/>
              <a:gd name="connsiteX3159" fmla="*/ 111119 w 447236"/>
              <a:gd name="connsiteY3159" fmla="*/ 130208 h 448122"/>
              <a:gd name="connsiteX3160" fmla="*/ 111735 w 447236"/>
              <a:gd name="connsiteY3160" fmla="*/ 131435 h 448122"/>
              <a:gd name="connsiteX3161" fmla="*/ 111119 w 447236"/>
              <a:gd name="connsiteY3161" fmla="*/ 132355 h 448122"/>
              <a:gd name="connsiteX3162" fmla="*/ 109888 w 447236"/>
              <a:gd name="connsiteY3162" fmla="*/ 132968 h 448122"/>
              <a:gd name="connsiteX3163" fmla="*/ 109273 w 447236"/>
              <a:gd name="connsiteY3163" fmla="*/ 132968 h 448122"/>
              <a:gd name="connsiteX3164" fmla="*/ 109273 w 447236"/>
              <a:gd name="connsiteY3164" fmla="*/ 139780 h 448122"/>
              <a:gd name="connsiteX3165" fmla="*/ 114480 w 447236"/>
              <a:gd name="connsiteY3165" fmla="*/ 139780 h 448122"/>
              <a:gd name="connsiteX3166" fmla="*/ 114480 w 447236"/>
              <a:gd name="connsiteY3166" fmla="*/ 133826 h 448122"/>
              <a:gd name="connsiteX3167" fmla="*/ 114480 w 447236"/>
              <a:gd name="connsiteY3167" fmla="*/ 132968 h 448122"/>
              <a:gd name="connsiteX3168" fmla="*/ 113865 w 447236"/>
              <a:gd name="connsiteY3168" fmla="*/ 132968 h 448122"/>
              <a:gd name="connsiteX3169" fmla="*/ 112941 w 447236"/>
              <a:gd name="connsiteY3169" fmla="*/ 132355 h 448122"/>
              <a:gd name="connsiteX3170" fmla="*/ 112326 w 447236"/>
              <a:gd name="connsiteY3170" fmla="*/ 131435 h 448122"/>
              <a:gd name="connsiteX3171" fmla="*/ 112941 w 447236"/>
              <a:gd name="connsiteY3171" fmla="*/ 130208 h 448122"/>
              <a:gd name="connsiteX3172" fmla="*/ 113865 w 447236"/>
              <a:gd name="connsiteY3172" fmla="*/ 129595 h 448122"/>
              <a:gd name="connsiteX3173" fmla="*/ 125252 w 447236"/>
              <a:gd name="connsiteY3173" fmla="*/ 129595 h 448122"/>
              <a:gd name="connsiteX3174" fmla="*/ 126483 w 447236"/>
              <a:gd name="connsiteY3174" fmla="*/ 130208 h 448122"/>
              <a:gd name="connsiteX3175" fmla="*/ 126791 w 447236"/>
              <a:gd name="connsiteY3175" fmla="*/ 131435 h 448122"/>
              <a:gd name="connsiteX3176" fmla="*/ 126483 w 447236"/>
              <a:gd name="connsiteY3176" fmla="*/ 132355 h 448122"/>
              <a:gd name="connsiteX3177" fmla="*/ 125252 w 447236"/>
              <a:gd name="connsiteY3177" fmla="*/ 132968 h 448122"/>
              <a:gd name="connsiteX3178" fmla="*/ 124636 w 447236"/>
              <a:gd name="connsiteY3178" fmla="*/ 132968 h 448122"/>
              <a:gd name="connsiteX3179" fmla="*/ 124636 w 447236"/>
              <a:gd name="connsiteY3179" fmla="*/ 139780 h 448122"/>
              <a:gd name="connsiteX3180" fmla="*/ 126684 w 447236"/>
              <a:gd name="connsiteY3180" fmla="*/ 139780 h 448122"/>
              <a:gd name="connsiteX3181" fmla="*/ 127642 w 447236"/>
              <a:gd name="connsiteY3181" fmla="*/ 139780 h 448122"/>
              <a:gd name="connsiteX3182" fmla="*/ 128562 w 447236"/>
              <a:gd name="connsiteY3182" fmla="*/ 140729 h 448122"/>
              <a:gd name="connsiteX3183" fmla="*/ 127642 w 447236"/>
              <a:gd name="connsiteY3183" fmla="*/ 141994 h 448122"/>
              <a:gd name="connsiteX3184" fmla="*/ 124636 w 447236"/>
              <a:gd name="connsiteY3184" fmla="*/ 141994 h 448122"/>
              <a:gd name="connsiteX3185" fmla="*/ 124636 w 447236"/>
              <a:gd name="connsiteY3185" fmla="*/ 164704 h 448122"/>
              <a:gd name="connsiteX3186" fmla="*/ 124636 w 447236"/>
              <a:gd name="connsiteY3186" fmla="*/ 187862 h 448122"/>
              <a:gd name="connsiteX3187" fmla="*/ 123098 w 447236"/>
              <a:gd name="connsiteY3187" fmla="*/ 191236 h 448122"/>
              <a:gd name="connsiteX3188" fmla="*/ 119712 w 447236"/>
              <a:gd name="connsiteY3188" fmla="*/ 192769 h 448122"/>
              <a:gd name="connsiteX3189" fmla="*/ 116019 w 447236"/>
              <a:gd name="connsiteY3189" fmla="*/ 191236 h 448122"/>
              <a:gd name="connsiteX3190" fmla="*/ 114480 w 447236"/>
              <a:gd name="connsiteY3190" fmla="*/ 187862 h 448122"/>
              <a:gd name="connsiteX3191" fmla="*/ 114480 w 447236"/>
              <a:gd name="connsiteY3191" fmla="*/ 156127 h 448122"/>
              <a:gd name="connsiteX3192" fmla="*/ 114480 w 447236"/>
              <a:gd name="connsiteY3192" fmla="*/ 141994 h 448122"/>
              <a:gd name="connsiteX3193" fmla="*/ 109273 w 447236"/>
              <a:gd name="connsiteY3193" fmla="*/ 141994 h 448122"/>
              <a:gd name="connsiteX3194" fmla="*/ 109273 w 447236"/>
              <a:gd name="connsiteY3194" fmla="*/ 164704 h 448122"/>
              <a:gd name="connsiteX3195" fmla="*/ 109273 w 447236"/>
              <a:gd name="connsiteY3195" fmla="*/ 187862 h 448122"/>
              <a:gd name="connsiteX3196" fmla="*/ 108042 w 447236"/>
              <a:gd name="connsiteY3196" fmla="*/ 191236 h 448122"/>
              <a:gd name="connsiteX3197" fmla="*/ 104348 w 447236"/>
              <a:gd name="connsiteY3197" fmla="*/ 192769 h 448122"/>
              <a:gd name="connsiteX3198" fmla="*/ 100963 w 447236"/>
              <a:gd name="connsiteY3198" fmla="*/ 191236 h 448122"/>
              <a:gd name="connsiteX3199" fmla="*/ 99424 w 447236"/>
              <a:gd name="connsiteY3199" fmla="*/ 187862 h 448122"/>
              <a:gd name="connsiteX3200" fmla="*/ 99424 w 447236"/>
              <a:gd name="connsiteY3200" fmla="*/ 156127 h 448122"/>
              <a:gd name="connsiteX3201" fmla="*/ 99424 w 447236"/>
              <a:gd name="connsiteY3201" fmla="*/ 141994 h 448122"/>
              <a:gd name="connsiteX3202" fmla="*/ 94229 w 447236"/>
              <a:gd name="connsiteY3202" fmla="*/ 141994 h 448122"/>
              <a:gd name="connsiteX3203" fmla="*/ 94229 w 447236"/>
              <a:gd name="connsiteY3203" fmla="*/ 164704 h 448122"/>
              <a:gd name="connsiteX3204" fmla="*/ 94229 w 447236"/>
              <a:gd name="connsiteY3204" fmla="*/ 187862 h 448122"/>
              <a:gd name="connsiteX3205" fmla="*/ 92691 w 447236"/>
              <a:gd name="connsiteY3205" fmla="*/ 191236 h 448122"/>
              <a:gd name="connsiteX3206" fmla="*/ 89305 w 447236"/>
              <a:gd name="connsiteY3206" fmla="*/ 192769 h 448122"/>
              <a:gd name="connsiteX3207" fmla="*/ 85612 w 447236"/>
              <a:gd name="connsiteY3207" fmla="*/ 191236 h 448122"/>
              <a:gd name="connsiteX3208" fmla="*/ 84073 w 447236"/>
              <a:gd name="connsiteY3208" fmla="*/ 187862 h 448122"/>
              <a:gd name="connsiteX3209" fmla="*/ 84073 w 447236"/>
              <a:gd name="connsiteY3209" fmla="*/ 156127 h 448122"/>
              <a:gd name="connsiteX3210" fmla="*/ 84073 w 447236"/>
              <a:gd name="connsiteY3210" fmla="*/ 141994 h 448122"/>
              <a:gd name="connsiteX3211" fmla="*/ 78867 w 447236"/>
              <a:gd name="connsiteY3211" fmla="*/ 141994 h 448122"/>
              <a:gd name="connsiteX3212" fmla="*/ 78867 w 447236"/>
              <a:gd name="connsiteY3212" fmla="*/ 164704 h 448122"/>
              <a:gd name="connsiteX3213" fmla="*/ 78867 w 447236"/>
              <a:gd name="connsiteY3213" fmla="*/ 187862 h 448122"/>
              <a:gd name="connsiteX3214" fmla="*/ 77636 w 447236"/>
              <a:gd name="connsiteY3214" fmla="*/ 191236 h 448122"/>
              <a:gd name="connsiteX3215" fmla="*/ 73942 w 447236"/>
              <a:gd name="connsiteY3215" fmla="*/ 192769 h 448122"/>
              <a:gd name="connsiteX3216" fmla="*/ 70557 w 447236"/>
              <a:gd name="connsiteY3216" fmla="*/ 191236 h 448122"/>
              <a:gd name="connsiteX3217" fmla="*/ 69018 w 447236"/>
              <a:gd name="connsiteY3217" fmla="*/ 187862 h 448122"/>
              <a:gd name="connsiteX3218" fmla="*/ 69018 w 447236"/>
              <a:gd name="connsiteY3218" fmla="*/ 156127 h 448122"/>
              <a:gd name="connsiteX3219" fmla="*/ 69018 w 447236"/>
              <a:gd name="connsiteY3219" fmla="*/ 141994 h 448122"/>
              <a:gd name="connsiteX3220" fmla="*/ 67277 w 447236"/>
              <a:gd name="connsiteY3220" fmla="*/ 141994 h 448122"/>
              <a:gd name="connsiteX3221" fmla="*/ 66319 w 447236"/>
              <a:gd name="connsiteY3221" fmla="*/ 141994 h 448122"/>
              <a:gd name="connsiteX3222" fmla="*/ 65093 w 447236"/>
              <a:gd name="connsiteY3222" fmla="*/ 140729 h 448122"/>
              <a:gd name="connsiteX3223" fmla="*/ 66319 w 447236"/>
              <a:gd name="connsiteY3223" fmla="*/ 139780 h 448122"/>
              <a:gd name="connsiteX3224" fmla="*/ 69018 w 447236"/>
              <a:gd name="connsiteY3224" fmla="*/ 139780 h 448122"/>
              <a:gd name="connsiteX3225" fmla="*/ 69018 w 447236"/>
              <a:gd name="connsiteY3225" fmla="*/ 133826 h 448122"/>
              <a:gd name="connsiteX3226" fmla="*/ 69018 w 447236"/>
              <a:gd name="connsiteY3226" fmla="*/ 132968 h 448122"/>
              <a:gd name="connsiteX3227" fmla="*/ 68403 w 447236"/>
              <a:gd name="connsiteY3227" fmla="*/ 132968 h 448122"/>
              <a:gd name="connsiteX3228" fmla="*/ 67172 w 447236"/>
              <a:gd name="connsiteY3228" fmla="*/ 132355 h 448122"/>
              <a:gd name="connsiteX3229" fmla="*/ 66864 w 447236"/>
              <a:gd name="connsiteY3229" fmla="*/ 131435 h 448122"/>
              <a:gd name="connsiteX3230" fmla="*/ 67172 w 447236"/>
              <a:gd name="connsiteY3230" fmla="*/ 130208 h 448122"/>
              <a:gd name="connsiteX3231" fmla="*/ 68403 w 447236"/>
              <a:gd name="connsiteY3231" fmla="*/ 129595 h 448122"/>
              <a:gd name="connsiteX3232" fmla="*/ 374154 w 447236"/>
              <a:gd name="connsiteY3232" fmla="*/ 129311 h 448122"/>
              <a:gd name="connsiteX3233" fmla="*/ 378143 w 447236"/>
              <a:gd name="connsiteY3233" fmla="*/ 129311 h 448122"/>
              <a:gd name="connsiteX3234" fmla="*/ 381212 w 447236"/>
              <a:gd name="connsiteY3234" fmla="*/ 131455 h 448122"/>
              <a:gd name="connsiteX3235" fmla="*/ 381826 w 447236"/>
              <a:gd name="connsiteY3235" fmla="*/ 137581 h 448122"/>
              <a:gd name="connsiteX3236" fmla="*/ 378757 w 447236"/>
              <a:gd name="connsiteY3236" fmla="*/ 141870 h 448122"/>
              <a:gd name="connsiteX3237" fmla="*/ 374154 w 447236"/>
              <a:gd name="connsiteY3237" fmla="*/ 153815 h 448122"/>
              <a:gd name="connsiteX3238" fmla="*/ 368323 w 447236"/>
              <a:gd name="connsiteY3238" fmla="*/ 165455 h 448122"/>
              <a:gd name="connsiteX3239" fmla="*/ 366482 w 447236"/>
              <a:gd name="connsiteY3239" fmla="*/ 167292 h 448122"/>
              <a:gd name="connsiteX3240" fmla="*/ 366482 w 447236"/>
              <a:gd name="connsiteY3240" fmla="*/ 169743 h 448122"/>
              <a:gd name="connsiteX3241" fmla="*/ 290072 w 447236"/>
              <a:gd name="connsiteY3241" fmla="*/ 169743 h 448122"/>
              <a:gd name="connsiteX3242" fmla="*/ 290072 w 447236"/>
              <a:gd name="connsiteY3242" fmla="*/ 165148 h 448122"/>
              <a:gd name="connsiteX3243" fmla="*/ 278411 w 447236"/>
              <a:gd name="connsiteY3243" fmla="*/ 162392 h 448122"/>
              <a:gd name="connsiteX3244" fmla="*/ 272273 w 447236"/>
              <a:gd name="connsiteY3244" fmla="*/ 152896 h 448122"/>
              <a:gd name="connsiteX3245" fmla="*/ 271353 w 447236"/>
              <a:gd name="connsiteY3245" fmla="*/ 147996 h 448122"/>
              <a:gd name="connsiteX3246" fmla="*/ 271659 w 447236"/>
              <a:gd name="connsiteY3246" fmla="*/ 138194 h 448122"/>
              <a:gd name="connsiteX3247" fmla="*/ 286696 w 447236"/>
              <a:gd name="connsiteY3247" fmla="*/ 134212 h 448122"/>
              <a:gd name="connsiteX3248" fmla="*/ 288537 w 447236"/>
              <a:gd name="connsiteY3248" fmla="*/ 134518 h 448122"/>
              <a:gd name="connsiteX3249" fmla="*/ 290072 w 447236"/>
              <a:gd name="connsiteY3249" fmla="*/ 134825 h 448122"/>
              <a:gd name="connsiteX3250" fmla="*/ 290072 w 447236"/>
              <a:gd name="connsiteY3250" fmla="*/ 131149 h 448122"/>
              <a:gd name="connsiteX3251" fmla="*/ 366482 w 447236"/>
              <a:gd name="connsiteY3251" fmla="*/ 131149 h 448122"/>
              <a:gd name="connsiteX3252" fmla="*/ 366482 w 447236"/>
              <a:gd name="connsiteY3252" fmla="*/ 133906 h 448122"/>
              <a:gd name="connsiteX3253" fmla="*/ 374154 w 447236"/>
              <a:gd name="connsiteY3253" fmla="*/ 129311 h 448122"/>
              <a:gd name="connsiteX3254" fmla="*/ 254747 w 447236"/>
              <a:gd name="connsiteY3254" fmla="*/ 126563 h 448122"/>
              <a:gd name="connsiteX3255" fmla="*/ 250464 w 447236"/>
              <a:gd name="connsiteY3255" fmla="*/ 128402 h 448122"/>
              <a:gd name="connsiteX3256" fmla="*/ 248628 w 447236"/>
              <a:gd name="connsiteY3256" fmla="*/ 132692 h 448122"/>
              <a:gd name="connsiteX3257" fmla="*/ 248628 w 447236"/>
              <a:gd name="connsiteY3257" fmla="*/ 146177 h 448122"/>
              <a:gd name="connsiteX3258" fmla="*/ 262090 w 447236"/>
              <a:gd name="connsiteY3258" fmla="*/ 146177 h 448122"/>
              <a:gd name="connsiteX3259" fmla="*/ 262090 w 447236"/>
              <a:gd name="connsiteY3259" fmla="*/ 132692 h 448122"/>
              <a:gd name="connsiteX3260" fmla="*/ 259948 w 447236"/>
              <a:gd name="connsiteY3260" fmla="*/ 128402 h 448122"/>
              <a:gd name="connsiteX3261" fmla="*/ 255665 w 447236"/>
              <a:gd name="connsiteY3261" fmla="*/ 126563 h 448122"/>
              <a:gd name="connsiteX3262" fmla="*/ 254747 w 447236"/>
              <a:gd name="connsiteY3262" fmla="*/ 126563 h 448122"/>
              <a:gd name="connsiteX3263" fmla="*/ 254747 w 447236"/>
              <a:gd name="connsiteY3263" fmla="*/ 124724 h 448122"/>
              <a:gd name="connsiteX3264" fmla="*/ 255665 w 447236"/>
              <a:gd name="connsiteY3264" fmla="*/ 124724 h 448122"/>
              <a:gd name="connsiteX3265" fmla="*/ 261172 w 447236"/>
              <a:gd name="connsiteY3265" fmla="*/ 127176 h 448122"/>
              <a:gd name="connsiteX3266" fmla="*/ 263619 w 447236"/>
              <a:gd name="connsiteY3266" fmla="*/ 132692 h 448122"/>
              <a:gd name="connsiteX3267" fmla="*/ 263619 w 447236"/>
              <a:gd name="connsiteY3267" fmla="*/ 146177 h 448122"/>
              <a:gd name="connsiteX3268" fmla="*/ 263619 w 447236"/>
              <a:gd name="connsiteY3268" fmla="*/ 146790 h 448122"/>
              <a:gd name="connsiteX3269" fmla="*/ 263619 w 447236"/>
              <a:gd name="connsiteY3269" fmla="*/ 147710 h 448122"/>
              <a:gd name="connsiteX3270" fmla="*/ 263619 w 447236"/>
              <a:gd name="connsiteY3270" fmla="*/ 160888 h 448122"/>
              <a:gd name="connsiteX3271" fmla="*/ 261172 w 447236"/>
              <a:gd name="connsiteY3271" fmla="*/ 166712 h 448122"/>
              <a:gd name="connsiteX3272" fmla="*/ 255665 w 447236"/>
              <a:gd name="connsiteY3272" fmla="*/ 168857 h 448122"/>
              <a:gd name="connsiteX3273" fmla="*/ 254747 w 447236"/>
              <a:gd name="connsiteY3273" fmla="*/ 168857 h 448122"/>
              <a:gd name="connsiteX3274" fmla="*/ 249240 w 447236"/>
              <a:gd name="connsiteY3274" fmla="*/ 166712 h 448122"/>
              <a:gd name="connsiteX3275" fmla="*/ 246792 w 447236"/>
              <a:gd name="connsiteY3275" fmla="*/ 160888 h 448122"/>
              <a:gd name="connsiteX3276" fmla="*/ 246792 w 447236"/>
              <a:gd name="connsiteY3276" fmla="*/ 146790 h 448122"/>
              <a:gd name="connsiteX3277" fmla="*/ 246792 w 447236"/>
              <a:gd name="connsiteY3277" fmla="*/ 146177 h 448122"/>
              <a:gd name="connsiteX3278" fmla="*/ 246792 w 447236"/>
              <a:gd name="connsiteY3278" fmla="*/ 132692 h 448122"/>
              <a:gd name="connsiteX3279" fmla="*/ 249240 w 447236"/>
              <a:gd name="connsiteY3279" fmla="*/ 127176 h 448122"/>
              <a:gd name="connsiteX3280" fmla="*/ 254747 w 447236"/>
              <a:gd name="connsiteY3280" fmla="*/ 124724 h 448122"/>
              <a:gd name="connsiteX3281" fmla="*/ 147006 w 447236"/>
              <a:gd name="connsiteY3281" fmla="*/ 120795 h 448122"/>
              <a:gd name="connsiteX3282" fmla="*/ 145167 w 447236"/>
              <a:gd name="connsiteY3282" fmla="*/ 122632 h 448122"/>
              <a:gd name="connsiteX3283" fmla="*/ 136887 w 447236"/>
              <a:gd name="connsiteY3283" fmla="*/ 132123 h 448122"/>
              <a:gd name="connsiteX3284" fmla="*/ 157126 w 447236"/>
              <a:gd name="connsiteY3284" fmla="*/ 132123 h 448122"/>
              <a:gd name="connsiteX3285" fmla="*/ 148846 w 447236"/>
              <a:gd name="connsiteY3285" fmla="*/ 122632 h 448122"/>
              <a:gd name="connsiteX3286" fmla="*/ 147006 w 447236"/>
              <a:gd name="connsiteY3286" fmla="*/ 120795 h 448122"/>
              <a:gd name="connsiteX3287" fmla="*/ 298653 w 447236"/>
              <a:gd name="connsiteY3287" fmla="*/ 118937 h 448122"/>
              <a:gd name="connsiteX3288" fmla="*/ 298345 w 447236"/>
              <a:gd name="connsiteY3288" fmla="*/ 119549 h 448122"/>
              <a:gd name="connsiteX3289" fmla="*/ 298653 w 447236"/>
              <a:gd name="connsiteY3289" fmla="*/ 119855 h 448122"/>
              <a:gd name="connsiteX3290" fmla="*/ 307888 w 447236"/>
              <a:gd name="connsiteY3290" fmla="*/ 119855 h 448122"/>
              <a:gd name="connsiteX3291" fmla="*/ 308196 w 447236"/>
              <a:gd name="connsiteY3291" fmla="*/ 119549 h 448122"/>
              <a:gd name="connsiteX3292" fmla="*/ 307888 w 447236"/>
              <a:gd name="connsiteY3292" fmla="*/ 118937 h 448122"/>
              <a:gd name="connsiteX3293" fmla="*/ 298653 w 447236"/>
              <a:gd name="connsiteY3293" fmla="*/ 118937 h 448122"/>
              <a:gd name="connsiteX3294" fmla="*/ 295267 w 447236"/>
              <a:gd name="connsiteY3294" fmla="*/ 116182 h 448122"/>
              <a:gd name="connsiteX3295" fmla="*/ 294959 w 447236"/>
              <a:gd name="connsiteY3295" fmla="*/ 116488 h 448122"/>
              <a:gd name="connsiteX3296" fmla="*/ 295267 w 447236"/>
              <a:gd name="connsiteY3296" fmla="*/ 117100 h 448122"/>
              <a:gd name="connsiteX3297" fmla="*/ 311274 w 447236"/>
              <a:gd name="connsiteY3297" fmla="*/ 117100 h 448122"/>
              <a:gd name="connsiteX3298" fmla="*/ 311582 w 447236"/>
              <a:gd name="connsiteY3298" fmla="*/ 116488 h 448122"/>
              <a:gd name="connsiteX3299" fmla="*/ 311274 w 447236"/>
              <a:gd name="connsiteY3299" fmla="*/ 116182 h 448122"/>
              <a:gd name="connsiteX3300" fmla="*/ 295267 w 447236"/>
              <a:gd name="connsiteY3300" fmla="*/ 116182 h 448122"/>
              <a:gd name="connsiteX3301" fmla="*/ 298653 w 447236"/>
              <a:gd name="connsiteY3301" fmla="*/ 113427 h 448122"/>
              <a:gd name="connsiteX3302" fmla="*/ 298345 w 447236"/>
              <a:gd name="connsiteY3302" fmla="*/ 113733 h 448122"/>
              <a:gd name="connsiteX3303" fmla="*/ 298653 w 447236"/>
              <a:gd name="connsiteY3303" fmla="*/ 114039 h 448122"/>
              <a:gd name="connsiteX3304" fmla="*/ 307888 w 447236"/>
              <a:gd name="connsiteY3304" fmla="*/ 114039 h 448122"/>
              <a:gd name="connsiteX3305" fmla="*/ 308196 w 447236"/>
              <a:gd name="connsiteY3305" fmla="*/ 113733 h 448122"/>
              <a:gd name="connsiteX3306" fmla="*/ 307888 w 447236"/>
              <a:gd name="connsiteY3306" fmla="*/ 113427 h 448122"/>
              <a:gd name="connsiteX3307" fmla="*/ 298653 w 447236"/>
              <a:gd name="connsiteY3307" fmla="*/ 113427 h 448122"/>
              <a:gd name="connsiteX3308" fmla="*/ 298653 w 447236"/>
              <a:gd name="connsiteY3308" fmla="*/ 110672 h 448122"/>
              <a:gd name="connsiteX3309" fmla="*/ 298345 w 447236"/>
              <a:gd name="connsiteY3309" fmla="*/ 110978 h 448122"/>
              <a:gd name="connsiteX3310" fmla="*/ 298653 w 447236"/>
              <a:gd name="connsiteY3310" fmla="*/ 111285 h 448122"/>
              <a:gd name="connsiteX3311" fmla="*/ 307888 w 447236"/>
              <a:gd name="connsiteY3311" fmla="*/ 111285 h 448122"/>
              <a:gd name="connsiteX3312" fmla="*/ 308196 w 447236"/>
              <a:gd name="connsiteY3312" fmla="*/ 110978 h 448122"/>
              <a:gd name="connsiteX3313" fmla="*/ 307888 w 447236"/>
              <a:gd name="connsiteY3313" fmla="*/ 110672 h 448122"/>
              <a:gd name="connsiteX3314" fmla="*/ 298653 w 447236"/>
              <a:gd name="connsiteY3314" fmla="*/ 110672 h 448122"/>
              <a:gd name="connsiteX3315" fmla="*/ 298653 w 447236"/>
              <a:gd name="connsiteY3315" fmla="*/ 107612 h 448122"/>
              <a:gd name="connsiteX3316" fmla="*/ 298345 w 447236"/>
              <a:gd name="connsiteY3316" fmla="*/ 107918 h 448122"/>
              <a:gd name="connsiteX3317" fmla="*/ 298653 w 447236"/>
              <a:gd name="connsiteY3317" fmla="*/ 108224 h 448122"/>
              <a:gd name="connsiteX3318" fmla="*/ 307888 w 447236"/>
              <a:gd name="connsiteY3318" fmla="*/ 108224 h 448122"/>
              <a:gd name="connsiteX3319" fmla="*/ 308196 w 447236"/>
              <a:gd name="connsiteY3319" fmla="*/ 107918 h 448122"/>
              <a:gd name="connsiteX3320" fmla="*/ 307888 w 447236"/>
              <a:gd name="connsiteY3320" fmla="*/ 107612 h 448122"/>
              <a:gd name="connsiteX3321" fmla="*/ 298653 w 447236"/>
              <a:gd name="connsiteY3321" fmla="*/ 107612 h 448122"/>
              <a:gd name="connsiteX3322" fmla="*/ 141793 w 447236"/>
              <a:gd name="connsiteY3322" fmla="*/ 107324 h 448122"/>
              <a:gd name="connsiteX3323" fmla="*/ 147006 w 447236"/>
              <a:gd name="connsiteY3323" fmla="*/ 113754 h 448122"/>
              <a:gd name="connsiteX3324" fmla="*/ 152219 w 447236"/>
              <a:gd name="connsiteY3324" fmla="*/ 107324 h 448122"/>
              <a:gd name="connsiteX3325" fmla="*/ 141793 w 447236"/>
              <a:gd name="connsiteY3325" fmla="*/ 107324 h 448122"/>
              <a:gd name="connsiteX3326" fmla="*/ 178060 w 447236"/>
              <a:gd name="connsiteY3326" fmla="*/ 106382 h 448122"/>
              <a:gd name="connsiteX3327" fmla="*/ 189417 w 447236"/>
              <a:gd name="connsiteY3327" fmla="*/ 109747 h 448122"/>
              <a:gd name="connsiteX3328" fmla="*/ 234540 w 447236"/>
              <a:gd name="connsiteY3328" fmla="*/ 122904 h 448122"/>
              <a:gd name="connsiteX3329" fmla="*/ 229322 w 447236"/>
              <a:gd name="connsiteY3329" fmla="*/ 143405 h 448122"/>
              <a:gd name="connsiteX3330" fmla="*/ 205072 w 447236"/>
              <a:gd name="connsiteY3330" fmla="*/ 137591 h 448122"/>
              <a:gd name="connsiteX3331" fmla="*/ 182050 w 447236"/>
              <a:gd name="connsiteY3331" fmla="*/ 140651 h 448122"/>
              <a:gd name="connsiteX3332" fmla="*/ 193101 w 447236"/>
              <a:gd name="connsiteY3332" fmla="*/ 134838 h 448122"/>
              <a:gd name="connsiteX3333" fmla="*/ 176525 w 447236"/>
              <a:gd name="connsiteY3333" fmla="*/ 130554 h 448122"/>
              <a:gd name="connsiteX3334" fmla="*/ 174069 w 447236"/>
              <a:gd name="connsiteY3334" fmla="*/ 130554 h 448122"/>
              <a:gd name="connsiteX3335" fmla="*/ 166702 w 447236"/>
              <a:gd name="connsiteY3335" fmla="*/ 126882 h 448122"/>
              <a:gd name="connsiteX3336" fmla="*/ 176525 w 447236"/>
              <a:gd name="connsiteY3336" fmla="*/ 125046 h 448122"/>
              <a:gd name="connsiteX3337" fmla="*/ 183892 w 447236"/>
              <a:gd name="connsiteY3337" fmla="*/ 125964 h 448122"/>
              <a:gd name="connsiteX3338" fmla="*/ 176525 w 447236"/>
              <a:gd name="connsiteY3338" fmla="*/ 123210 h 448122"/>
              <a:gd name="connsiteX3339" fmla="*/ 169158 w 447236"/>
              <a:gd name="connsiteY3339" fmla="*/ 121069 h 448122"/>
              <a:gd name="connsiteX3340" fmla="*/ 165781 w 447236"/>
              <a:gd name="connsiteY3340" fmla="*/ 118927 h 448122"/>
              <a:gd name="connsiteX3341" fmla="*/ 168237 w 447236"/>
              <a:gd name="connsiteY3341" fmla="*/ 116173 h 448122"/>
              <a:gd name="connsiteX3342" fmla="*/ 176525 w 447236"/>
              <a:gd name="connsiteY3342" fmla="*/ 118009 h 448122"/>
              <a:gd name="connsiteX3343" fmla="*/ 184813 w 447236"/>
              <a:gd name="connsiteY3343" fmla="*/ 119539 h 448122"/>
              <a:gd name="connsiteX3344" fmla="*/ 176525 w 447236"/>
              <a:gd name="connsiteY3344" fmla="*/ 116785 h 448122"/>
              <a:gd name="connsiteX3345" fmla="*/ 171306 w 447236"/>
              <a:gd name="connsiteY3345" fmla="*/ 114949 h 448122"/>
              <a:gd name="connsiteX3346" fmla="*/ 171920 w 447236"/>
              <a:gd name="connsiteY3346" fmla="*/ 110971 h 448122"/>
              <a:gd name="connsiteX3347" fmla="*/ 176525 w 447236"/>
              <a:gd name="connsiteY3347" fmla="*/ 111583 h 448122"/>
              <a:gd name="connsiteX3348" fmla="*/ 187882 w 447236"/>
              <a:gd name="connsiteY3348" fmla="*/ 114949 h 448122"/>
              <a:gd name="connsiteX3349" fmla="*/ 178060 w 447236"/>
              <a:gd name="connsiteY3349" fmla="*/ 106382 h 448122"/>
              <a:gd name="connsiteX3350" fmla="*/ 295267 w 447236"/>
              <a:gd name="connsiteY3350" fmla="*/ 104551 h 448122"/>
              <a:gd name="connsiteX3351" fmla="*/ 294959 w 447236"/>
              <a:gd name="connsiteY3351" fmla="*/ 104857 h 448122"/>
              <a:gd name="connsiteX3352" fmla="*/ 295267 w 447236"/>
              <a:gd name="connsiteY3352" fmla="*/ 105163 h 448122"/>
              <a:gd name="connsiteX3353" fmla="*/ 311274 w 447236"/>
              <a:gd name="connsiteY3353" fmla="*/ 105163 h 448122"/>
              <a:gd name="connsiteX3354" fmla="*/ 311582 w 447236"/>
              <a:gd name="connsiteY3354" fmla="*/ 104857 h 448122"/>
              <a:gd name="connsiteX3355" fmla="*/ 311274 w 447236"/>
              <a:gd name="connsiteY3355" fmla="*/ 104551 h 448122"/>
              <a:gd name="connsiteX3356" fmla="*/ 295267 w 447236"/>
              <a:gd name="connsiteY3356" fmla="*/ 104551 h 448122"/>
              <a:gd name="connsiteX3357" fmla="*/ 298653 w 447236"/>
              <a:gd name="connsiteY3357" fmla="*/ 101490 h 448122"/>
              <a:gd name="connsiteX3358" fmla="*/ 298345 w 447236"/>
              <a:gd name="connsiteY3358" fmla="*/ 101796 h 448122"/>
              <a:gd name="connsiteX3359" fmla="*/ 298653 w 447236"/>
              <a:gd name="connsiteY3359" fmla="*/ 102102 h 448122"/>
              <a:gd name="connsiteX3360" fmla="*/ 307888 w 447236"/>
              <a:gd name="connsiteY3360" fmla="*/ 102102 h 448122"/>
              <a:gd name="connsiteX3361" fmla="*/ 308196 w 447236"/>
              <a:gd name="connsiteY3361" fmla="*/ 101796 h 448122"/>
              <a:gd name="connsiteX3362" fmla="*/ 307888 w 447236"/>
              <a:gd name="connsiteY3362" fmla="*/ 101490 h 448122"/>
              <a:gd name="connsiteX3363" fmla="*/ 298653 w 447236"/>
              <a:gd name="connsiteY3363" fmla="*/ 101490 h 448122"/>
              <a:gd name="connsiteX3364" fmla="*/ 137807 w 447236"/>
              <a:gd name="connsiteY3364" fmla="*/ 99364 h 448122"/>
              <a:gd name="connsiteX3365" fmla="*/ 138727 w 447236"/>
              <a:gd name="connsiteY3365" fmla="*/ 101814 h 448122"/>
              <a:gd name="connsiteX3366" fmla="*/ 155286 w 447236"/>
              <a:gd name="connsiteY3366" fmla="*/ 101814 h 448122"/>
              <a:gd name="connsiteX3367" fmla="*/ 156206 w 447236"/>
              <a:gd name="connsiteY3367" fmla="*/ 99364 h 448122"/>
              <a:gd name="connsiteX3368" fmla="*/ 137807 w 447236"/>
              <a:gd name="connsiteY3368" fmla="*/ 99364 h 448122"/>
              <a:gd name="connsiteX3369" fmla="*/ 298653 w 447236"/>
              <a:gd name="connsiteY3369" fmla="*/ 98735 h 448122"/>
              <a:gd name="connsiteX3370" fmla="*/ 298345 w 447236"/>
              <a:gd name="connsiteY3370" fmla="*/ 99041 h 448122"/>
              <a:gd name="connsiteX3371" fmla="*/ 298653 w 447236"/>
              <a:gd name="connsiteY3371" fmla="*/ 99347 h 448122"/>
              <a:gd name="connsiteX3372" fmla="*/ 307888 w 447236"/>
              <a:gd name="connsiteY3372" fmla="*/ 99347 h 448122"/>
              <a:gd name="connsiteX3373" fmla="*/ 308196 w 447236"/>
              <a:gd name="connsiteY3373" fmla="*/ 99041 h 448122"/>
              <a:gd name="connsiteX3374" fmla="*/ 307888 w 447236"/>
              <a:gd name="connsiteY3374" fmla="*/ 98735 h 448122"/>
              <a:gd name="connsiteX3375" fmla="*/ 298653 w 447236"/>
              <a:gd name="connsiteY3375" fmla="*/ 98735 h 448122"/>
              <a:gd name="connsiteX3376" fmla="*/ 298653 w 447236"/>
              <a:gd name="connsiteY3376" fmla="*/ 95675 h 448122"/>
              <a:gd name="connsiteX3377" fmla="*/ 298345 w 447236"/>
              <a:gd name="connsiteY3377" fmla="*/ 95981 h 448122"/>
              <a:gd name="connsiteX3378" fmla="*/ 298653 w 447236"/>
              <a:gd name="connsiteY3378" fmla="*/ 96287 h 448122"/>
              <a:gd name="connsiteX3379" fmla="*/ 307888 w 447236"/>
              <a:gd name="connsiteY3379" fmla="*/ 96287 h 448122"/>
              <a:gd name="connsiteX3380" fmla="*/ 308196 w 447236"/>
              <a:gd name="connsiteY3380" fmla="*/ 95981 h 448122"/>
              <a:gd name="connsiteX3381" fmla="*/ 307888 w 447236"/>
              <a:gd name="connsiteY3381" fmla="*/ 95675 h 448122"/>
              <a:gd name="connsiteX3382" fmla="*/ 298653 w 447236"/>
              <a:gd name="connsiteY3382" fmla="*/ 95675 h 448122"/>
              <a:gd name="connsiteX3383" fmla="*/ 295267 w 447236"/>
              <a:gd name="connsiteY3383" fmla="*/ 92614 h 448122"/>
              <a:gd name="connsiteX3384" fmla="*/ 294959 w 447236"/>
              <a:gd name="connsiteY3384" fmla="*/ 92920 h 448122"/>
              <a:gd name="connsiteX3385" fmla="*/ 295267 w 447236"/>
              <a:gd name="connsiteY3385" fmla="*/ 93226 h 448122"/>
              <a:gd name="connsiteX3386" fmla="*/ 311274 w 447236"/>
              <a:gd name="connsiteY3386" fmla="*/ 93226 h 448122"/>
              <a:gd name="connsiteX3387" fmla="*/ 311582 w 447236"/>
              <a:gd name="connsiteY3387" fmla="*/ 92920 h 448122"/>
              <a:gd name="connsiteX3388" fmla="*/ 311274 w 447236"/>
              <a:gd name="connsiteY3388" fmla="*/ 92614 h 448122"/>
              <a:gd name="connsiteX3389" fmla="*/ 295267 w 447236"/>
              <a:gd name="connsiteY3389" fmla="*/ 92614 h 448122"/>
              <a:gd name="connsiteX3390" fmla="*/ 298653 w 447236"/>
              <a:gd name="connsiteY3390" fmla="*/ 89553 h 448122"/>
              <a:gd name="connsiteX3391" fmla="*/ 298345 w 447236"/>
              <a:gd name="connsiteY3391" fmla="*/ 89859 h 448122"/>
              <a:gd name="connsiteX3392" fmla="*/ 298653 w 447236"/>
              <a:gd name="connsiteY3392" fmla="*/ 90165 h 448122"/>
              <a:gd name="connsiteX3393" fmla="*/ 307888 w 447236"/>
              <a:gd name="connsiteY3393" fmla="*/ 90165 h 448122"/>
              <a:gd name="connsiteX3394" fmla="*/ 308196 w 447236"/>
              <a:gd name="connsiteY3394" fmla="*/ 89859 h 448122"/>
              <a:gd name="connsiteX3395" fmla="*/ 307888 w 447236"/>
              <a:gd name="connsiteY3395" fmla="*/ 89553 h 448122"/>
              <a:gd name="connsiteX3396" fmla="*/ 298653 w 447236"/>
              <a:gd name="connsiteY3396" fmla="*/ 89553 h 448122"/>
              <a:gd name="connsiteX3397" fmla="*/ 298653 w 447236"/>
              <a:gd name="connsiteY3397" fmla="*/ 86798 h 448122"/>
              <a:gd name="connsiteX3398" fmla="*/ 298345 w 447236"/>
              <a:gd name="connsiteY3398" fmla="*/ 87104 h 448122"/>
              <a:gd name="connsiteX3399" fmla="*/ 298653 w 447236"/>
              <a:gd name="connsiteY3399" fmla="*/ 87410 h 448122"/>
              <a:gd name="connsiteX3400" fmla="*/ 307888 w 447236"/>
              <a:gd name="connsiteY3400" fmla="*/ 87410 h 448122"/>
              <a:gd name="connsiteX3401" fmla="*/ 308196 w 447236"/>
              <a:gd name="connsiteY3401" fmla="*/ 87104 h 448122"/>
              <a:gd name="connsiteX3402" fmla="*/ 307888 w 447236"/>
              <a:gd name="connsiteY3402" fmla="*/ 86798 h 448122"/>
              <a:gd name="connsiteX3403" fmla="*/ 298653 w 447236"/>
              <a:gd name="connsiteY3403" fmla="*/ 86798 h 448122"/>
              <a:gd name="connsiteX3404" fmla="*/ 132594 w 447236"/>
              <a:gd name="connsiteY3404" fmla="*/ 86200 h 448122"/>
              <a:gd name="connsiteX3405" fmla="*/ 135354 w 447236"/>
              <a:gd name="connsiteY3405" fmla="*/ 88649 h 448122"/>
              <a:gd name="connsiteX3406" fmla="*/ 136274 w 447236"/>
              <a:gd name="connsiteY3406" fmla="*/ 94160 h 448122"/>
              <a:gd name="connsiteX3407" fmla="*/ 158046 w 447236"/>
              <a:gd name="connsiteY3407" fmla="*/ 94160 h 448122"/>
              <a:gd name="connsiteX3408" fmla="*/ 158659 w 447236"/>
              <a:gd name="connsiteY3408" fmla="*/ 88649 h 448122"/>
              <a:gd name="connsiteX3409" fmla="*/ 161419 w 447236"/>
              <a:gd name="connsiteY3409" fmla="*/ 86200 h 448122"/>
              <a:gd name="connsiteX3410" fmla="*/ 163872 w 447236"/>
              <a:gd name="connsiteY3410" fmla="*/ 88955 h 448122"/>
              <a:gd name="connsiteX3411" fmla="*/ 150380 w 447236"/>
              <a:gd name="connsiteY3411" fmla="*/ 117428 h 448122"/>
              <a:gd name="connsiteX3412" fmla="*/ 152219 w 447236"/>
              <a:gd name="connsiteY3412" fmla="*/ 119264 h 448122"/>
              <a:gd name="connsiteX3413" fmla="*/ 165712 w 447236"/>
              <a:gd name="connsiteY3413" fmla="*/ 145900 h 448122"/>
              <a:gd name="connsiteX3414" fmla="*/ 151606 w 447236"/>
              <a:gd name="connsiteY3414" fmla="*/ 165494 h 448122"/>
              <a:gd name="connsiteX3415" fmla="*/ 150993 w 447236"/>
              <a:gd name="connsiteY3415" fmla="*/ 165800 h 448122"/>
              <a:gd name="connsiteX3416" fmla="*/ 166019 w 447236"/>
              <a:gd name="connsiteY3416" fmla="*/ 194884 h 448122"/>
              <a:gd name="connsiteX3417" fmla="*/ 163566 w 447236"/>
              <a:gd name="connsiteY3417" fmla="*/ 197640 h 448122"/>
              <a:gd name="connsiteX3418" fmla="*/ 161112 w 447236"/>
              <a:gd name="connsiteY3418" fmla="*/ 195191 h 448122"/>
              <a:gd name="connsiteX3419" fmla="*/ 160192 w 447236"/>
              <a:gd name="connsiteY3419" fmla="*/ 188761 h 448122"/>
              <a:gd name="connsiteX3420" fmla="*/ 133820 w 447236"/>
              <a:gd name="connsiteY3420" fmla="*/ 188761 h 448122"/>
              <a:gd name="connsiteX3421" fmla="*/ 133207 w 447236"/>
              <a:gd name="connsiteY3421" fmla="*/ 195191 h 448122"/>
              <a:gd name="connsiteX3422" fmla="*/ 130447 w 447236"/>
              <a:gd name="connsiteY3422" fmla="*/ 197640 h 448122"/>
              <a:gd name="connsiteX3423" fmla="*/ 127994 w 447236"/>
              <a:gd name="connsiteY3423" fmla="*/ 194884 h 448122"/>
              <a:gd name="connsiteX3424" fmla="*/ 143020 w 447236"/>
              <a:gd name="connsiteY3424" fmla="*/ 165800 h 448122"/>
              <a:gd name="connsiteX3425" fmla="*/ 142713 w 447236"/>
              <a:gd name="connsiteY3425" fmla="*/ 165494 h 448122"/>
              <a:gd name="connsiteX3426" fmla="*/ 128301 w 447236"/>
              <a:gd name="connsiteY3426" fmla="*/ 145900 h 448122"/>
              <a:gd name="connsiteX3427" fmla="*/ 141793 w 447236"/>
              <a:gd name="connsiteY3427" fmla="*/ 119264 h 448122"/>
              <a:gd name="connsiteX3428" fmla="*/ 143633 w 447236"/>
              <a:gd name="connsiteY3428" fmla="*/ 117428 h 448122"/>
              <a:gd name="connsiteX3429" fmla="*/ 130447 w 447236"/>
              <a:gd name="connsiteY3429" fmla="*/ 88955 h 448122"/>
              <a:gd name="connsiteX3430" fmla="*/ 132594 w 447236"/>
              <a:gd name="connsiteY3430" fmla="*/ 86200 h 448122"/>
              <a:gd name="connsiteX3431" fmla="*/ 298653 w 447236"/>
              <a:gd name="connsiteY3431" fmla="*/ 83737 h 448122"/>
              <a:gd name="connsiteX3432" fmla="*/ 298345 w 447236"/>
              <a:gd name="connsiteY3432" fmla="*/ 84044 h 448122"/>
              <a:gd name="connsiteX3433" fmla="*/ 298653 w 447236"/>
              <a:gd name="connsiteY3433" fmla="*/ 84656 h 448122"/>
              <a:gd name="connsiteX3434" fmla="*/ 307888 w 447236"/>
              <a:gd name="connsiteY3434" fmla="*/ 84656 h 448122"/>
              <a:gd name="connsiteX3435" fmla="*/ 308196 w 447236"/>
              <a:gd name="connsiteY3435" fmla="*/ 84044 h 448122"/>
              <a:gd name="connsiteX3436" fmla="*/ 307888 w 447236"/>
              <a:gd name="connsiteY3436" fmla="*/ 83737 h 448122"/>
              <a:gd name="connsiteX3437" fmla="*/ 298653 w 447236"/>
              <a:gd name="connsiteY3437" fmla="*/ 83737 h 448122"/>
              <a:gd name="connsiteX3438" fmla="*/ 295267 w 447236"/>
              <a:gd name="connsiteY3438" fmla="*/ 80064 h 448122"/>
              <a:gd name="connsiteX3439" fmla="*/ 294959 w 447236"/>
              <a:gd name="connsiteY3439" fmla="*/ 80371 h 448122"/>
              <a:gd name="connsiteX3440" fmla="*/ 295267 w 447236"/>
              <a:gd name="connsiteY3440" fmla="*/ 80677 h 448122"/>
              <a:gd name="connsiteX3441" fmla="*/ 311274 w 447236"/>
              <a:gd name="connsiteY3441" fmla="*/ 80677 h 448122"/>
              <a:gd name="connsiteX3442" fmla="*/ 311582 w 447236"/>
              <a:gd name="connsiteY3442" fmla="*/ 80371 h 448122"/>
              <a:gd name="connsiteX3443" fmla="*/ 311274 w 447236"/>
              <a:gd name="connsiteY3443" fmla="*/ 80064 h 448122"/>
              <a:gd name="connsiteX3444" fmla="*/ 295267 w 447236"/>
              <a:gd name="connsiteY3444" fmla="*/ 80064 h 448122"/>
              <a:gd name="connsiteX3445" fmla="*/ 287264 w 447236"/>
              <a:gd name="connsiteY3445" fmla="*/ 69964 h 448122"/>
              <a:gd name="connsiteX3446" fmla="*/ 318969 w 447236"/>
              <a:gd name="connsiteY3446" fmla="*/ 69964 h 448122"/>
              <a:gd name="connsiteX3447" fmla="*/ 316199 w 447236"/>
              <a:gd name="connsiteY3447" fmla="*/ 125364 h 448122"/>
              <a:gd name="connsiteX3448" fmla="*/ 313428 w 447236"/>
              <a:gd name="connsiteY3448" fmla="*/ 128119 h 448122"/>
              <a:gd name="connsiteX3449" fmla="*/ 295267 w 447236"/>
              <a:gd name="connsiteY3449" fmla="*/ 128119 h 448122"/>
              <a:gd name="connsiteX3450" fmla="*/ 292497 w 447236"/>
              <a:gd name="connsiteY3450" fmla="*/ 125364 h 448122"/>
              <a:gd name="connsiteX3451" fmla="*/ 287264 w 447236"/>
              <a:gd name="connsiteY3451" fmla="*/ 77616 h 448122"/>
              <a:gd name="connsiteX3452" fmla="*/ 286648 w 447236"/>
              <a:gd name="connsiteY3452" fmla="*/ 76085 h 448122"/>
              <a:gd name="connsiteX3453" fmla="*/ 282954 w 447236"/>
              <a:gd name="connsiteY3453" fmla="*/ 72106 h 448122"/>
              <a:gd name="connsiteX3454" fmla="*/ 286032 w 447236"/>
              <a:gd name="connsiteY3454" fmla="*/ 70270 h 448122"/>
              <a:gd name="connsiteX3455" fmla="*/ 287264 w 447236"/>
              <a:gd name="connsiteY3455" fmla="*/ 69964 h 448122"/>
              <a:gd name="connsiteX3456" fmla="*/ 255380 w 447236"/>
              <a:gd name="connsiteY3456" fmla="*/ 65240 h 448122"/>
              <a:gd name="connsiteX3457" fmla="*/ 257966 w 447236"/>
              <a:gd name="connsiteY3457" fmla="*/ 78161 h 448122"/>
              <a:gd name="connsiteX3458" fmla="*/ 267989 w 447236"/>
              <a:gd name="connsiteY3458" fmla="*/ 76321 h 448122"/>
              <a:gd name="connsiteX3459" fmla="*/ 277826 w 447236"/>
              <a:gd name="connsiteY3459" fmla="*/ 85511 h 448122"/>
              <a:gd name="connsiteX3460" fmla="*/ 278749 w 447236"/>
              <a:gd name="connsiteY3460" fmla="*/ 100521 h 448122"/>
              <a:gd name="connsiteX3461" fmla="*/ 273215 w 447236"/>
              <a:gd name="connsiteY3461" fmla="*/ 111549 h 448122"/>
              <a:gd name="connsiteX3462" fmla="*/ 265529 w 447236"/>
              <a:gd name="connsiteY3462" fmla="*/ 118901 h 448122"/>
              <a:gd name="connsiteX3463" fmla="*/ 256614 w 447236"/>
              <a:gd name="connsiteY3463" fmla="*/ 117676 h 448122"/>
              <a:gd name="connsiteX3464" fmla="*/ 249851 w 447236"/>
              <a:gd name="connsiteY3464" fmla="*/ 119514 h 448122"/>
              <a:gd name="connsiteX3465" fmla="*/ 247084 w 447236"/>
              <a:gd name="connsiteY3465" fmla="*/ 118901 h 448122"/>
              <a:gd name="connsiteX3466" fmla="*/ 239398 w 447236"/>
              <a:gd name="connsiteY3466" fmla="*/ 111549 h 448122"/>
              <a:gd name="connsiteX3467" fmla="*/ 234172 w 447236"/>
              <a:gd name="connsiteY3467" fmla="*/ 100521 h 448122"/>
              <a:gd name="connsiteX3468" fmla="*/ 234787 w 447236"/>
              <a:gd name="connsiteY3468" fmla="*/ 85511 h 448122"/>
              <a:gd name="connsiteX3469" fmla="*/ 244932 w 447236"/>
              <a:gd name="connsiteY3469" fmla="*/ 76321 h 448122"/>
              <a:gd name="connsiteX3470" fmla="*/ 255401 w 447236"/>
              <a:gd name="connsiteY3470" fmla="*/ 78295 h 448122"/>
              <a:gd name="connsiteX3471" fmla="*/ 251367 w 447236"/>
              <a:gd name="connsiteY3471" fmla="*/ 66782 h 448122"/>
              <a:gd name="connsiteX3472" fmla="*/ 255380 w 447236"/>
              <a:gd name="connsiteY3472" fmla="*/ 65240 h 448122"/>
              <a:gd name="connsiteX3473" fmla="*/ 214319 w 447236"/>
              <a:gd name="connsiteY3473" fmla="*/ 61698 h 448122"/>
              <a:gd name="connsiteX3474" fmla="*/ 216090 w 447236"/>
              <a:gd name="connsiteY3474" fmla="*/ 61698 h 448122"/>
              <a:gd name="connsiteX3475" fmla="*/ 216385 w 447236"/>
              <a:gd name="connsiteY3475" fmla="*/ 69669 h 448122"/>
              <a:gd name="connsiteX3476" fmla="*/ 216737 w 447236"/>
              <a:gd name="connsiteY3476" fmla="*/ 69669 h 448122"/>
              <a:gd name="connsiteX3477" fmla="*/ 219402 w 447236"/>
              <a:gd name="connsiteY3477" fmla="*/ 79115 h 448122"/>
              <a:gd name="connsiteX3478" fmla="*/ 220644 w 447236"/>
              <a:gd name="connsiteY3478" fmla="*/ 79115 h 448122"/>
              <a:gd name="connsiteX3479" fmla="*/ 221256 w 447236"/>
              <a:gd name="connsiteY3479" fmla="*/ 79705 h 448122"/>
              <a:gd name="connsiteX3480" fmla="*/ 221256 w 447236"/>
              <a:gd name="connsiteY3480" fmla="*/ 80296 h 448122"/>
              <a:gd name="connsiteX3481" fmla="*/ 220644 w 447236"/>
              <a:gd name="connsiteY3481" fmla="*/ 80886 h 448122"/>
              <a:gd name="connsiteX3482" fmla="*/ 220735 w 447236"/>
              <a:gd name="connsiteY3482" fmla="*/ 80886 h 448122"/>
              <a:gd name="connsiteX3483" fmla="*/ 221961 w 447236"/>
              <a:gd name="connsiteY3483" fmla="*/ 81501 h 448122"/>
              <a:gd name="connsiteX3484" fmla="*/ 224414 w 447236"/>
              <a:gd name="connsiteY3484" fmla="*/ 91645 h 448122"/>
              <a:gd name="connsiteX3485" fmla="*/ 225947 w 447236"/>
              <a:gd name="connsiteY3485" fmla="*/ 96563 h 448122"/>
              <a:gd name="connsiteX3486" fmla="*/ 220122 w 447236"/>
              <a:gd name="connsiteY3486" fmla="*/ 114392 h 448122"/>
              <a:gd name="connsiteX3487" fmla="*/ 215523 w 447236"/>
              <a:gd name="connsiteY3487" fmla="*/ 114392 h 448122"/>
              <a:gd name="connsiteX3488" fmla="*/ 215217 w 447236"/>
              <a:gd name="connsiteY3488" fmla="*/ 114392 h 448122"/>
              <a:gd name="connsiteX3489" fmla="*/ 214910 w 447236"/>
              <a:gd name="connsiteY3489" fmla="*/ 114392 h 448122"/>
              <a:gd name="connsiteX3490" fmla="*/ 214604 w 447236"/>
              <a:gd name="connsiteY3490" fmla="*/ 114392 h 448122"/>
              <a:gd name="connsiteX3491" fmla="*/ 209699 w 447236"/>
              <a:gd name="connsiteY3491" fmla="*/ 114392 h 448122"/>
              <a:gd name="connsiteX3492" fmla="*/ 204181 w 447236"/>
              <a:gd name="connsiteY3492" fmla="*/ 96563 h 448122"/>
              <a:gd name="connsiteX3493" fmla="*/ 205713 w 447236"/>
              <a:gd name="connsiteY3493" fmla="*/ 91645 h 448122"/>
              <a:gd name="connsiteX3494" fmla="*/ 208166 w 447236"/>
              <a:gd name="connsiteY3494" fmla="*/ 81501 h 448122"/>
              <a:gd name="connsiteX3495" fmla="*/ 209392 w 447236"/>
              <a:gd name="connsiteY3495" fmla="*/ 80886 h 448122"/>
              <a:gd name="connsiteX3496" fmla="*/ 209016 w 447236"/>
              <a:gd name="connsiteY3496" fmla="*/ 80886 h 448122"/>
              <a:gd name="connsiteX3497" fmla="*/ 208710 w 447236"/>
              <a:gd name="connsiteY3497" fmla="*/ 80296 h 448122"/>
              <a:gd name="connsiteX3498" fmla="*/ 208710 w 447236"/>
              <a:gd name="connsiteY3498" fmla="*/ 79705 h 448122"/>
              <a:gd name="connsiteX3499" fmla="*/ 209016 w 447236"/>
              <a:gd name="connsiteY3499" fmla="*/ 79115 h 448122"/>
              <a:gd name="connsiteX3500" fmla="*/ 210713 w 447236"/>
              <a:gd name="connsiteY3500" fmla="*/ 79115 h 448122"/>
              <a:gd name="connsiteX3501" fmla="*/ 213378 w 447236"/>
              <a:gd name="connsiteY3501" fmla="*/ 69669 h 448122"/>
              <a:gd name="connsiteX3502" fmla="*/ 213581 w 447236"/>
              <a:gd name="connsiteY3502" fmla="*/ 69669 h 448122"/>
              <a:gd name="connsiteX3503" fmla="*/ 274767 w 447236"/>
              <a:gd name="connsiteY3503" fmla="*/ 42296 h 448122"/>
              <a:gd name="connsiteX3504" fmla="*/ 281214 w 447236"/>
              <a:gd name="connsiteY3504" fmla="*/ 42296 h 448122"/>
              <a:gd name="connsiteX3505" fmla="*/ 281214 w 447236"/>
              <a:gd name="connsiteY3505" fmla="*/ 48733 h 448122"/>
              <a:gd name="connsiteX3506" fmla="*/ 280293 w 447236"/>
              <a:gd name="connsiteY3506" fmla="*/ 50878 h 448122"/>
              <a:gd name="connsiteX3507" fmla="*/ 278144 w 447236"/>
              <a:gd name="connsiteY3507" fmla="*/ 51798 h 448122"/>
              <a:gd name="connsiteX3508" fmla="*/ 277837 w 447236"/>
              <a:gd name="connsiteY3508" fmla="*/ 51798 h 448122"/>
              <a:gd name="connsiteX3509" fmla="*/ 275688 w 447236"/>
              <a:gd name="connsiteY3509" fmla="*/ 50878 h 448122"/>
              <a:gd name="connsiteX3510" fmla="*/ 274767 w 447236"/>
              <a:gd name="connsiteY3510" fmla="*/ 48733 h 448122"/>
              <a:gd name="connsiteX3511" fmla="*/ 274767 w 447236"/>
              <a:gd name="connsiteY3511" fmla="*/ 42296 h 448122"/>
              <a:gd name="connsiteX3512" fmla="*/ 261259 w 447236"/>
              <a:gd name="connsiteY3512" fmla="*/ 42296 h 448122"/>
              <a:gd name="connsiteX3513" fmla="*/ 268013 w 447236"/>
              <a:gd name="connsiteY3513" fmla="*/ 42296 h 448122"/>
              <a:gd name="connsiteX3514" fmla="*/ 268013 w 447236"/>
              <a:gd name="connsiteY3514" fmla="*/ 48733 h 448122"/>
              <a:gd name="connsiteX3515" fmla="*/ 267092 w 447236"/>
              <a:gd name="connsiteY3515" fmla="*/ 50878 h 448122"/>
              <a:gd name="connsiteX3516" fmla="*/ 264943 w 447236"/>
              <a:gd name="connsiteY3516" fmla="*/ 51798 h 448122"/>
              <a:gd name="connsiteX3517" fmla="*/ 264636 w 447236"/>
              <a:gd name="connsiteY3517" fmla="*/ 51798 h 448122"/>
              <a:gd name="connsiteX3518" fmla="*/ 262180 w 447236"/>
              <a:gd name="connsiteY3518" fmla="*/ 50878 h 448122"/>
              <a:gd name="connsiteX3519" fmla="*/ 261259 w 447236"/>
              <a:gd name="connsiteY3519" fmla="*/ 48733 h 448122"/>
              <a:gd name="connsiteX3520" fmla="*/ 261259 w 447236"/>
              <a:gd name="connsiteY3520" fmla="*/ 42296 h 448122"/>
              <a:gd name="connsiteX3521" fmla="*/ 248058 w 447236"/>
              <a:gd name="connsiteY3521" fmla="*/ 42296 h 448122"/>
              <a:gd name="connsiteX3522" fmla="*/ 254505 w 447236"/>
              <a:gd name="connsiteY3522" fmla="*/ 42296 h 448122"/>
              <a:gd name="connsiteX3523" fmla="*/ 254505 w 447236"/>
              <a:gd name="connsiteY3523" fmla="*/ 48733 h 448122"/>
              <a:gd name="connsiteX3524" fmla="*/ 253584 w 447236"/>
              <a:gd name="connsiteY3524" fmla="*/ 50878 h 448122"/>
              <a:gd name="connsiteX3525" fmla="*/ 251435 w 447236"/>
              <a:gd name="connsiteY3525" fmla="*/ 51798 h 448122"/>
              <a:gd name="connsiteX3526" fmla="*/ 251128 w 447236"/>
              <a:gd name="connsiteY3526" fmla="*/ 51798 h 448122"/>
              <a:gd name="connsiteX3527" fmla="*/ 248979 w 447236"/>
              <a:gd name="connsiteY3527" fmla="*/ 50878 h 448122"/>
              <a:gd name="connsiteX3528" fmla="*/ 248058 w 447236"/>
              <a:gd name="connsiteY3528" fmla="*/ 48733 h 448122"/>
              <a:gd name="connsiteX3529" fmla="*/ 248058 w 447236"/>
              <a:gd name="connsiteY3529" fmla="*/ 42296 h 448122"/>
              <a:gd name="connsiteX3530" fmla="*/ 234858 w 447236"/>
              <a:gd name="connsiteY3530" fmla="*/ 42296 h 448122"/>
              <a:gd name="connsiteX3531" fmla="*/ 241305 w 447236"/>
              <a:gd name="connsiteY3531" fmla="*/ 42296 h 448122"/>
              <a:gd name="connsiteX3532" fmla="*/ 241305 w 447236"/>
              <a:gd name="connsiteY3532" fmla="*/ 48733 h 448122"/>
              <a:gd name="connsiteX3533" fmla="*/ 240384 w 447236"/>
              <a:gd name="connsiteY3533" fmla="*/ 50878 h 448122"/>
              <a:gd name="connsiteX3534" fmla="*/ 238235 w 447236"/>
              <a:gd name="connsiteY3534" fmla="*/ 51798 h 448122"/>
              <a:gd name="connsiteX3535" fmla="*/ 237928 w 447236"/>
              <a:gd name="connsiteY3535" fmla="*/ 51798 h 448122"/>
              <a:gd name="connsiteX3536" fmla="*/ 235779 w 447236"/>
              <a:gd name="connsiteY3536" fmla="*/ 50878 h 448122"/>
              <a:gd name="connsiteX3537" fmla="*/ 234858 w 447236"/>
              <a:gd name="connsiteY3537" fmla="*/ 48733 h 448122"/>
              <a:gd name="connsiteX3538" fmla="*/ 234858 w 447236"/>
              <a:gd name="connsiteY3538" fmla="*/ 42296 h 448122"/>
              <a:gd name="connsiteX3539" fmla="*/ 221350 w 447236"/>
              <a:gd name="connsiteY3539" fmla="*/ 42296 h 448122"/>
              <a:gd name="connsiteX3540" fmla="*/ 228104 w 447236"/>
              <a:gd name="connsiteY3540" fmla="*/ 42296 h 448122"/>
              <a:gd name="connsiteX3541" fmla="*/ 228104 w 447236"/>
              <a:gd name="connsiteY3541" fmla="*/ 48733 h 448122"/>
              <a:gd name="connsiteX3542" fmla="*/ 227183 w 447236"/>
              <a:gd name="connsiteY3542" fmla="*/ 50878 h 448122"/>
              <a:gd name="connsiteX3543" fmla="*/ 225034 w 447236"/>
              <a:gd name="connsiteY3543" fmla="*/ 51798 h 448122"/>
              <a:gd name="connsiteX3544" fmla="*/ 224420 w 447236"/>
              <a:gd name="connsiteY3544" fmla="*/ 51798 h 448122"/>
              <a:gd name="connsiteX3545" fmla="*/ 222271 w 447236"/>
              <a:gd name="connsiteY3545" fmla="*/ 50878 h 448122"/>
              <a:gd name="connsiteX3546" fmla="*/ 221350 w 447236"/>
              <a:gd name="connsiteY3546" fmla="*/ 48733 h 448122"/>
              <a:gd name="connsiteX3547" fmla="*/ 221350 w 447236"/>
              <a:gd name="connsiteY3547" fmla="*/ 42296 h 448122"/>
              <a:gd name="connsiteX3548" fmla="*/ 166641 w 447236"/>
              <a:gd name="connsiteY3548" fmla="*/ 37491 h 448122"/>
              <a:gd name="connsiteX3549" fmla="*/ 170335 w 447236"/>
              <a:gd name="connsiteY3549" fmla="*/ 37491 h 448122"/>
              <a:gd name="connsiteX3550" fmla="*/ 171566 w 447236"/>
              <a:gd name="connsiteY3550" fmla="*/ 38715 h 448122"/>
              <a:gd name="connsiteX3551" fmla="*/ 171566 w 447236"/>
              <a:gd name="connsiteY3551" fmla="*/ 46671 h 448122"/>
              <a:gd name="connsiteX3552" fmla="*/ 179877 w 447236"/>
              <a:gd name="connsiteY3552" fmla="*/ 46671 h 448122"/>
              <a:gd name="connsiteX3553" fmla="*/ 181108 w 447236"/>
              <a:gd name="connsiteY3553" fmla="*/ 48201 h 448122"/>
              <a:gd name="connsiteX3554" fmla="*/ 181108 w 447236"/>
              <a:gd name="connsiteY3554" fmla="*/ 51873 h 448122"/>
              <a:gd name="connsiteX3555" fmla="*/ 179877 w 447236"/>
              <a:gd name="connsiteY3555" fmla="*/ 53097 h 448122"/>
              <a:gd name="connsiteX3556" fmla="*/ 171566 w 447236"/>
              <a:gd name="connsiteY3556" fmla="*/ 53097 h 448122"/>
              <a:gd name="connsiteX3557" fmla="*/ 171566 w 447236"/>
              <a:gd name="connsiteY3557" fmla="*/ 61359 h 448122"/>
              <a:gd name="connsiteX3558" fmla="*/ 170335 w 447236"/>
              <a:gd name="connsiteY3558" fmla="*/ 62583 h 448122"/>
              <a:gd name="connsiteX3559" fmla="*/ 166641 w 447236"/>
              <a:gd name="connsiteY3559" fmla="*/ 62583 h 448122"/>
              <a:gd name="connsiteX3560" fmla="*/ 165102 w 447236"/>
              <a:gd name="connsiteY3560" fmla="*/ 61359 h 448122"/>
              <a:gd name="connsiteX3561" fmla="*/ 165102 w 447236"/>
              <a:gd name="connsiteY3561" fmla="*/ 53097 h 448122"/>
              <a:gd name="connsiteX3562" fmla="*/ 157099 w 447236"/>
              <a:gd name="connsiteY3562" fmla="*/ 53097 h 448122"/>
              <a:gd name="connsiteX3563" fmla="*/ 155868 w 447236"/>
              <a:gd name="connsiteY3563" fmla="*/ 51873 h 448122"/>
              <a:gd name="connsiteX3564" fmla="*/ 155868 w 447236"/>
              <a:gd name="connsiteY3564" fmla="*/ 48201 h 448122"/>
              <a:gd name="connsiteX3565" fmla="*/ 157099 w 447236"/>
              <a:gd name="connsiteY3565" fmla="*/ 46671 h 448122"/>
              <a:gd name="connsiteX3566" fmla="*/ 165102 w 447236"/>
              <a:gd name="connsiteY3566" fmla="*/ 46671 h 448122"/>
              <a:gd name="connsiteX3567" fmla="*/ 165102 w 447236"/>
              <a:gd name="connsiteY3567" fmla="*/ 38715 h 448122"/>
              <a:gd name="connsiteX3568" fmla="*/ 166641 w 447236"/>
              <a:gd name="connsiteY3568" fmla="*/ 37491 h 448122"/>
              <a:gd name="connsiteX3569" fmla="*/ 168563 w 447236"/>
              <a:gd name="connsiteY3569" fmla="*/ 32257 h 448122"/>
              <a:gd name="connsiteX3570" fmla="*/ 150771 w 447236"/>
              <a:gd name="connsiteY3570" fmla="*/ 50010 h 448122"/>
              <a:gd name="connsiteX3571" fmla="*/ 168563 w 447236"/>
              <a:gd name="connsiteY3571" fmla="*/ 68069 h 448122"/>
              <a:gd name="connsiteX3572" fmla="*/ 186354 w 447236"/>
              <a:gd name="connsiteY3572" fmla="*/ 50010 h 448122"/>
              <a:gd name="connsiteX3573" fmla="*/ 168563 w 447236"/>
              <a:gd name="connsiteY3573" fmla="*/ 32257 h 448122"/>
              <a:gd name="connsiteX3574" fmla="*/ 277837 w 447236"/>
              <a:gd name="connsiteY3574" fmla="*/ 30956 h 448122"/>
              <a:gd name="connsiteX3575" fmla="*/ 275074 w 447236"/>
              <a:gd name="connsiteY3575" fmla="*/ 32182 h 448122"/>
              <a:gd name="connsiteX3576" fmla="*/ 273846 w 447236"/>
              <a:gd name="connsiteY3576" fmla="*/ 34941 h 448122"/>
              <a:gd name="connsiteX3577" fmla="*/ 273846 w 447236"/>
              <a:gd name="connsiteY3577" fmla="*/ 41377 h 448122"/>
              <a:gd name="connsiteX3578" fmla="*/ 273846 w 447236"/>
              <a:gd name="connsiteY3578" fmla="*/ 41990 h 448122"/>
              <a:gd name="connsiteX3579" fmla="*/ 273846 w 447236"/>
              <a:gd name="connsiteY3579" fmla="*/ 42296 h 448122"/>
              <a:gd name="connsiteX3580" fmla="*/ 273846 w 447236"/>
              <a:gd name="connsiteY3580" fmla="*/ 48733 h 448122"/>
              <a:gd name="connsiteX3581" fmla="*/ 275074 w 447236"/>
              <a:gd name="connsiteY3581" fmla="*/ 51491 h 448122"/>
              <a:gd name="connsiteX3582" fmla="*/ 277837 w 447236"/>
              <a:gd name="connsiteY3582" fmla="*/ 52717 h 448122"/>
              <a:gd name="connsiteX3583" fmla="*/ 278144 w 447236"/>
              <a:gd name="connsiteY3583" fmla="*/ 52717 h 448122"/>
              <a:gd name="connsiteX3584" fmla="*/ 280907 w 447236"/>
              <a:gd name="connsiteY3584" fmla="*/ 51491 h 448122"/>
              <a:gd name="connsiteX3585" fmla="*/ 282134 w 447236"/>
              <a:gd name="connsiteY3585" fmla="*/ 48733 h 448122"/>
              <a:gd name="connsiteX3586" fmla="*/ 282134 w 447236"/>
              <a:gd name="connsiteY3586" fmla="*/ 42296 h 448122"/>
              <a:gd name="connsiteX3587" fmla="*/ 282134 w 447236"/>
              <a:gd name="connsiteY3587" fmla="*/ 41990 h 448122"/>
              <a:gd name="connsiteX3588" fmla="*/ 282134 w 447236"/>
              <a:gd name="connsiteY3588" fmla="*/ 41377 h 448122"/>
              <a:gd name="connsiteX3589" fmla="*/ 282134 w 447236"/>
              <a:gd name="connsiteY3589" fmla="*/ 34941 h 448122"/>
              <a:gd name="connsiteX3590" fmla="*/ 280907 w 447236"/>
              <a:gd name="connsiteY3590" fmla="*/ 32182 h 448122"/>
              <a:gd name="connsiteX3591" fmla="*/ 278144 w 447236"/>
              <a:gd name="connsiteY3591" fmla="*/ 30956 h 448122"/>
              <a:gd name="connsiteX3592" fmla="*/ 277837 w 447236"/>
              <a:gd name="connsiteY3592" fmla="*/ 30956 h 448122"/>
              <a:gd name="connsiteX3593" fmla="*/ 264636 w 447236"/>
              <a:gd name="connsiteY3593" fmla="*/ 30956 h 448122"/>
              <a:gd name="connsiteX3594" fmla="*/ 261566 w 447236"/>
              <a:gd name="connsiteY3594" fmla="*/ 32182 h 448122"/>
              <a:gd name="connsiteX3595" fmla="*/ 260645 w 447236"/>
              <a:gd name="connsiteY3595" fmla="*/ 34941 h 448122"/>
              <a:gd name="connsiteX3596" fmla="*/ 260645 w 447236"/>
              <a:gd name="connsiteY3596" fmla="*/ 41377 h 448122"/>
              <a:gd name="connsiteX3597" fmla="*/ 260645 w 447236"/>
              <a:gd name="connsiteY3597" fmla="*/ 41990 h 448122"/>
              <a:gd name="connsiteX3598" fmla="*/ 260645 w 447236"/>
              <a:gd name="connsiteY3598" fmla="*/ 42296 h 448122"/>
              <a:gd name="connsiteX3599" fmla="*/ 260645 w 447236"/>
              <a:gd name="connsiteY3599" fmla="*/ 48733 h 448122"/>
              <a:gd name="connsiteX3600" fmla="*/ 261566 w 447236"/>
              <a:gd name="connsiteY3600" fmla="*/ 51491 h 448122"/>
              <a:gd name="connsiteX3601" fmla="*/ 264636 w 447236"/>
              <a:gd name="connsiteY3601" fmla="*/ 52717 h 448122"/>
              <a:gd name="connsiteX3602" fmla="*/ 264943 w 447236"/>
              <a:gd name="connsiteY3602" fmla="*/ 52717 h 448122"/>
              <a:gd name="connsiteX3603" fmla="*/ 267706 w 447236"/>
              <a:gd name="connsiteY3603" fmla="*/ 51491 h 448122"/>
              <a:gd name="connsiteX3604" fmla="*/ 268934 w 447236"/>
              <a:gd name="connsiteY3604" fmla="*/ 48733 h 448122"/>
              <a:gd name="connsiteX3605" fmla="*/ 268934 w 447236"/>
              <a:gd name="connsiteY3605" fmla="*/ 42296 h 448122"/>
              <a:gd name="connsiteX3606" fmla="*/ 268934 w 447236"/>
              <a:gd name="connsiteY3606" fmla="*/ 41990 h 448122"/>
              <a:gd name="connsiteX3607" fmla="*/ 268934 w 447236"/>
              <a:gd name="connsiteY3607" fmla="*/ 41377 h 448122"/>
              <a:gd name="connsiteX3608" fmla="*/ 268934 w 447236"/>
              <a:gd name="connsiteY3608" fmla="*/ 34941 h 448122"/>
              <a:gd name="connsiteX3609" fmla="*/ 267706 w 447236"/>
              <a:gd name="connsiteY3609" fmla="*/ 32182 h 448122"/>
              <a:gd name="connsiteX3610" fmla="*/ 264943 w 447236"/>
              <a:gd name="connsiteY3610" fmla="*/ 30956 h 448122"/>
              <a:gd name="connsiteX3611" fmla="*/ 264636 w 447236"/>
              <a:gd name="connsiteY3611" fmla="*/ 30956 h 448122"/>
              <a:gd name="connsiteX3612" fmla="*/ 251128 w 447236"/>
              <a:gd name="connsiteY3612" fmla="*/ 30956 h 448122"/>
              <a:gd name="connsiteX3613" fmla="*/ 248365 w 447236"/>
              <a:gd name="connsiteY3613" fmla="*/ 32182 h 448122"/>
              <a:gd name="connsiteX3614" fmla="*/ 247137 w 447236"/>
              <a:gd name="connsiteY3614" fmla="*/ 34941 h 448122"/>
              <a:gd name="connsiteX3615" fmla="*/ 247137 w 447236"/>
              <a:gd name="connsiteY3615" fmla="*/ 41377 h 448122"/>
              <a:gd name="connsiteX3616" fmla="*/ 247137 w 447236"/>
              <a:gd name="connsiteY3616" fmla="*/ 41990 h 448122"/>
              <a:gd name="connsiteX3617" fmla="*/ 247137 w 447236"/>
              <a:gd name="connsiteY3617" fmla="*/ 42296 h 448122"/>
              <a:gd name="connsiteX3618" fmla="*/ 247137 w 447236"/>
              <a:gd name="connsiteY3618" fmla="*/ 48733 h 448122"/>
              <a:gd name="connsiteX3619" fmla="*/ 248365 w 447236"/>
              <a:gd name="connsiteY3619" fmla="*/ 51491 h 448122"/>
              <a:gd name="connsiteX3620" fmla="*/ 251128 w 447236"/>
              <a:gd name="connsiteY3620" fmla="*/ 52717 h 448122"/>
              <a:gd name="connsiteX3621" fmla="*/ 251435 w 447236"/>
              <a:gd name="connsiteY3621" fmla="*/ 52717 h 448122"/>
              <a:gd name="connsiteX3622" fmla="*/ 254198 w 447236"/>
              <a:gd name="connsiteY3622" fmla="*/ 51491 h 448122"/>
              <a:gd name="connsiteX3623" fmla="*/ 255426 w 447236"/>
              <a:gd name="connsiteY3623" fmla="*/ 48733 h 448122"/>
              <a:gd name="connsiteX3624" fmla="*/ 255426 w 447236"/>
              <a:gd name="connsiteY3624" fmla="*/ 42296 h 448122"/>
              <a:gd name="connsiteX3625" fmla="*/ 255426 w 447236"/>
              <a:gd name="connsiteY3625" fmla="*/ 41990 h 448122"/>
              <a:gd name="connsiteX3626" fmla="*/ 255426 w 447236"/>
              <a:gd name="connsiteY3626" fmla="*/ 41377 h 448122"/>
              <a:gd name="connsiteX3627" fmla="*/ 255426 w 447236"/>
              <a:gd name="connsiteY3627" fmla="*/ 34941 h 448122"/>
              <a:gd name="connsiteX3628" fmla="*/ 254198 w 447236"/>
              <a:gd name="connsiteY3628" fmla="*/ 32182 h 448122"/>
              <a:gd name="connsiteX3629" fmla="*/ 251435 w 447236"/>
              <a:gd name="connsiteY3629" fmla="*/ 30956 h 448122"/>
              <a:gd name="connsiteX3630" fmla="*/ 251128 w 447236"/>
              <a:gd name="connsiteY3630" fmla="*/ 30956 h 448122"/>
              <a:gd name="connsiteX3631" fmla="*/ 237928 w 447236"/>
              <a:gd name="connsiteY3631" fmla="*/ 30956 h 448122"/>
              <a:gd name="connsiteX3632" fmla="*/ 235165 w 447236"/>
              <a:gd name="connsiteY3632" fmla="*/ 32182 h 448122"/>
              <a:gd name="connsiteX3633" fmla="*/ 233937 w 447236"/>
              <a:gd name="connsiteY3633" fmla="*/ 34941 h 448122"/>
              <a:gd name="connsiteX3634" fmla="*/ 233937 w 447236"/>
              <a:gd name="connsiteY3634" fmla="*/ 41377 h 448122"/>
              <a:gd name="connsiteX3635" fmla="*/ 233937 w 447236"/>
              <a:gd name="connsiteY3635" fmla="*/ 41990 h 448122"/>
              <a:gd name="connsiteX3636" fmla="*/ 233937 w 447236"/>
              <a:gd name="connsiteY3636" fmla="*/ 42296 h 448122"/>
              <a:gd name="connsiteX3637" fmla="*/ 233937 w 447236"/>
              <a:gd name="connsiteY3637" fmla="*/ 48733 h 448122"/>
              <a:gd name="connsiteX3638" fmla="*/ 235165 w 447236"/>
              <a:gd name="connsiteY3638" fmla="*/ 51491 h 448122"/>
              <a:gd name="connsiteX3639" fmla="*/ 237928 w 447236"/>
              <a:gd name="connsiteY3639" fmla="*/ 52717 h 448122"/>
              <a:gd name="connsiteX3640" fmla="*/ 238235 w 447236"/>
              <a:gd name="connsiteY3640" fmla="*/ 52717 h 448122"/>
              <a:gd name="connsiteX3641" fmla="*/ 240998 w 447236"/>
              <a:gd name="connsiteY3641" fmla="*/ 51491 h 448122"/>
              <a:gd name="connsiteX3642" fmla="*/ 242225 w 447236"/>
              <a:gd name="connsiteY3642" fmla="*/ 48733 h 448122"/>
              <a:gd name="connsiteX3643" fmla="*/ 242225 w 447236"/>
              <a:gd name="connsiteY3643" fmla="*/ 42296 h 448122"/>
              <a:gd name="connsiteX3644" fmla="*/ 242225 w 447236"/>
              <a:gd name="connsiteY3644" fmla="*/ 41990 h 448122"/>
              <a:gd name="connsiteX3645" fmla="*/ 242225 w 447236"/>
              <a:gd name="connsiteY3645" fmla="*/ 41377 h 448122"/>
              <a:gd name="connsiteX3646" fmla="*/ 242225 w 447236"/>
              <a:gd name="connsiteY3646" fmla="*/ 34941 h 448122"/>
              <a:gd name="connsiteX3647" fmla="*/ 240998 w 447236"/>
              <a:gd name="connsiteY3647" fmla="*/ 32182 h 448122"/>
              <a:gd name="connsiteX3648" fmla="*/ 238235 w 447236"/>
              <a:gd name="connsiteY3648" fmla="*/ 30956 h 448122"/>
              <a:gd name="connsiteX3649" fmla="*/ 237928 w 447236"/>
              <a:gd name="connsiteY3649" fmla="*/ 30956 h 448122"/>
              <a:gd name="connsiteX3650" fmla="*/ 224420 w 447236"/>
              <a:gd name="connsiteY3650" fmla="*/ 30956 h 448122"/>
              <a:gd name="connsiteX3651" fmla="*/ 221657 w 447236"/>
              <a:gd name="connsiteY3651" fmla="*/ 32182 h 448122"/>
              <a:gd name="connsiteX3652" fmla="*/ 220736 w 447236"/>
              <a:gd name="connsiteY3652" fmla="*/ 34941 h 448122"/>
              <a:gd name="connsiteX3653" fmla="*/ 220736 w 447236"/>
              <a:gd name="connsiteY3653" fmla="*/ 41377 h 448122"/>
              <a:gd name="connsiteX3654" fmla="*/ 220736 w 447236"/>
              <a:gd name="connsiteY3654" fmla="*/ 41990 h 448122"/>
              <a:gd name="connsiteX3655" fmla="*/ 220736 w 447236"/>
              <a:gd name="connsiteY3655" fmla="*/ 42296 h 448122"/>
              <a:gd name="connsiteX3656" fmla="*/ 220736 w 447236"/>
              <a:gd name="connsiteY3656" fmla="*/ 48733 h 448122"/>
              <a:gd name="connsiteX3657" fmla="*/ 221657 w 447236"/>
              <a:gd name="connsiteY3657" fmla="*/ 51491 h 448122"/>
              <a:gd name="connsiteX3658" fmla="*/ 224420 w 447236"/>
              <a:gd name="connsiteY3658" fmla="*/ 52717 h 448122"/>
              <a:gd name="connsiteX3659" fmla="*/ 225034 w 447236"/>
              <a:gd name="connsiteY3659" fmla="*/ 52717 h 448122"/>
              <a:gd name="connsiteX3660" fmla="*/ 227797 w 447236"/>
              <a:gd name="connsiteY3660" fmla="*/ 51491 h 448122"/>
              <a:gd name="connsiteX3661" fmla="*/ 228718 w 447236"/>
              <a:gd name="connsiteY3661" fmla="*/ 48733 h 448122"/>
              <a:gd name="connsiteX3662" fmla="*/ 228718 w 447236"/>
              <a:gd name="connsiteY3662" fmla="*/ 42296 h 448122"/>
              <a:gd name="connsiteX3663" fmla="*/ 228718 w 447236"/>
              <a:gd name="connsiteY3663" fmla="*/ 41990 h 448122"/>
              <a:gd name="connsiteX3664" fmla="*/ 228718 w 447236"/>
              <a:gd name="connsiteY3664" fmla="*/ 41377 h 448122"/>
              <a:gd name="connsiteX3665" fmla="*/ 228718 w 447236"/>
              <a:gd name="connsiteY3665" fmla="*/ 34941 h 448122"/>
              <a:gd name="connsiteX3666" fmla="*/ 227797 w 447236"/>
              <a:gd name="connsiteY3666" fmla="*/ 32182 h 448122"/>
              <a:gd name="connsiteX3667" fmla="*/ 225034 w 447236"/>
              <a:gd name="connsiteY3667" fmla="*/ 30956 h 448122"/>
              <a:gd name="connsiteX3668" fmla="*/ 224420 w 447236"/>
              <a:gd name="connsiteY3668" fmla="*/ 30956 h 448122"/>
              <a:gd name="connsiteX3669" fmla="*/ 220429 w 447236"/>
              <a:gd name="connsiteY3669" fmla="*/ 27278 h 448122"/>
              <a:gd name="connsiteX3670" fmla="*/ 219508 w 447236"/>
              <a:gd name="connsiteY3670" fmla="*/ 28198 h 448122"/>
              <a:gd name="connsiteX3671" fmla="*/ 220429 w 447236"/>
              <a:gd name="connsiteY3671" fmla="*/ 28811 h 448122"/>
              <a:gd name="connsiteX3672" fmla="*/ 282748 w 447236"/>
              <a:gd name="connsiteY3672" fmla="*/ 28811 h 448122"/>
              <a:gd name="connsiteX3673" fmla="*/ 283669 w 447236"/>
              <a:gd name="connsiteY3673" fmla="*/ 28198 h 448122"/>
              <a:gd name="connsiteX3674" fmla="*/ 282748 w 447236"/>
              <a:gd name="connsiteY3674" fmla="*/ 27278 h 448122"/>
              <a:gd name="connsiteX3675" fmla="*/ 220429 w 447236"/>
              <a:gd name="connsiteY3675" fmla="*/ 27278 h 448122"/>
              <a:gd name="connsiteX3676" fmla="*/ 148931 w 447236"/>
              <a:gd name="connsiteY3676" fmla="*/ 22462 h 448122"/>
              <a:gd name="connsiteX3677" fmla="*/ 188501 w 447236"/>
              <a:gd name="connsiteY3677" fmla="*/ 22462 h 448122"/>
              <a:gd name="connsiteX3678" fmla="*/ 201997 w 447236"/>
              <a:gd name="connsiteY3678" fmla="*/ 38379 h 448122"/>
              <a:gd name="connsiteX3679" fmla="*/ 201997 w 447236"/>
              <a:gd name="connsiteY3679" fmla="*/ 63172 h 448122"/>
              <a:gd name="connsiteX3680" fmla="*/ 188194 w 447236"/>
              <a:gd name="connsiteY3680" fmla="*/ 79088 h 448122"/>
              <a:gd name="connsiteX3681" fmla="*/ 148624 w 447236"/>
              <a:gd name="connsiteY3681" fmla="*/ 79088 h 448122"/>
              <a:gd name="connsiteX3682" fmla="*/ 135128 w 447236"/>
              <a:gd name="connsiteY3682" fmla="*/ 62866 h 448122"/>
              <a:gd name="connsiteX3683" fmla="*/ 135128 w 447236"/>
              <a:gd name="connsiteY3683" fmla="*/ 38073 h 448122"/>
              <a:gd name="connsiteX3684" fmla="*/ 148931 w 447236"/>
              <a:gd name="connsiteY3684" fmla="*/ 22462 h 448122"/>
              <a:gd name="connsiteX3685" fmla="*/ 148318 w 447236"/>
              <a:gd name="connsiteY3685" fmla="*/ 20932 h 448122"/>
              <a:gd name="connsiteX3686" fmla="*/ 133594 w 447236"/>
              <a:gd name="connsiteY3686" fmla="*/ 37767 h 448122"/>
              <a:gd name="connsiteX3687" fmla="*/ 133594 w 447236"/>
              <a:gd name="connsiteY3687" fmla="*/ 63478 h 448122"/>
              <a:gd name="connsiteX3688" fmla="*/ 148011 w 447236"/>
              <a:gd name="connsiteY3688" fmla="*/ 80313 h 448122"/>
              <a:gd name="connsiteX3689" fmla="*/ 188807 w 447236"/>
              <a:gd name="connsiteY3689" fmla="*/ 80313 h 448122"/>
              <a:gd name="connsiteX3690" fmla="*/ 203531 w 447236"/>
              <a:gd name="connsiteY3690" fmla="*/ 63478 h 448122"/>
              <a:gd name="connsiteX3691" fmla="*/ 203531 w 447236"/>
              <a:gd name="connsiteY3691" fmla="*/ 37767 h 448122"/>
              <a:gd name="connsiteX3692" fmla="*/ 189114 w 447236"/>
              <a:gd name="connsiteY3692" fmla="*/ 20932 h 448122"/>
              <a:gd name="connsiteX3693" fmla="*/ 188807 w 447236"/>
              <a:gd name="connsiteY3693" fmla="*/ 20932 h 448122"/>
              <a:gd name="connsiteX3694" fmla="*/ 148318 w 447236"/>
              <a:gd name="connsiteY3694" fmla="*/ 20932 h 448122"/>
              <a:gd name="connsiteX3695" fmla="*/ 274767 w 447236"/>
              <a:gd name="connsiteY3695" fmla="*/ 14712 h 448122"/>
              <a:gd name="connsiteX3696" fmla="*/ 281214 w 447236"/>
              <a:gd name="connsiteY3696" fmla="*/ 14712 h 448122"/>
              <a:gd name="connsiteX3697" fmla="*/ 281214 w 447236"/>
              <a:gd name="connsiteY3697" fmla="*/ 21148 h 448122"/>
              <a:gd name="connsiteX3698" fmla="*/ 280293 w 447236"/>
              <a:gd name="connsiteY3698" fmla="*/ 23294 h 448122"/>
              <a:gd name="connsiteX3699" fmla="*/ 278144 w 447236"/>
              <a:gd name="connsiteY3699" fmla="*/ 24213 h 448122"/>
              <a:gd name="connsiteX3700" fmla="*/ 277837 w 447236"/>
              <a:gd name="connsiteY3700" fmla="*/ 24213 h 448122"/>
              <a:gd name="connsiteX3701" fmla="*/ 275688 w 447236"/>
              <a:gd name="connsiteY3701" fmla="*/ 23294 h 448122"/>
              <a:gd name="connsiteX3702" fmla="*/ 274767 w 447236"/>
              <a:gd name="connsiteY3702" fmla="*/ 21148 h 448122"/>
              <a:gd name="connsiteX3703" fmla="*/ 274767 w 447236"/>
              <a:gd name="connsiteY3703" fmla="*/ 14712 h 448122"/>
              <a:gd name="connsiteX3704" fmla="*/ 261259 w 447236"/>
              <a:gd name="connsiteY3704" fmla="*/ 14712 h 448122"/>
              <a:gd name="connsiteX3705" fmla="*/ 268013 w 447236"/>
              <a:gd name="connsiteY3705" fmla="*/ 14712 h 448122"/>
              <a:gd name="connsiteX3706" fmla="*/ 268013 w 447236"/>
              <a:gd name="connsiteY3706" fmla="*/ 21148 h 448122"/>
              <a:gd name="connsiteX3707" fmla="*/ 267092 w 447236"/>
              <a:gd name="connsiteY3707" fmla="*/ 23294 h 448122"/>
              <a:gd name="connsiteX3708" fmla="*/ 264943 w 447236"/>
              <a:gd name="connsiteY3708" fmla="*/ 24213 h 448122"/>
              <a:gd name="connsiteX3709" fmla="*/ 264636 w 447236"/>
              <a:gd name="connsiteY3709" fmla="*/ 24213 h 448122"/>
              <a:gd name="connsiteX3710" fmla="*/ 262180 w 447236"/>
              <a:gd name="connsiteY3710" fmla="*/ 23294 h 448122"/>
              <a:gd name="connsiteX3711" fmla="*/ 261259 w 447236"/>
              <a:gd name="connsiteY3711" fmla="*/ 21148 h 448122"/>
              <a:gd name="connsiteX3712" fmla="*/ 261259 w 447236"/>
              <a:gd name="connsiteY3712" fmla="*/ 14712 h 448122"/>
              <a:gd name="connsiteX3713" fmla="*/ 248058 w 447236"/>
              <a:gd name="connsiteY3713" fmla="*/ 14712 h 448122"/>
              <a:gd name="connsiteX3714" fmla="*/ 254505 w 447236"/>
              <a:gd name="connsiteY3714" fmla="*/ 14712 h 448122"/>
              <a:gd name="connsiteX3715" fmla="*/ 254505 w 447236"/>
              <a:gd name="connsiteY3715" fmla="*/ 21148 h 448122"/>
              <a:gd name="connsiteX3716" fmla="*/ 253584 w 447236"/>
              <a:gd name="connsiteY3716" fmla="*/ 23294 h 448122"/>
              <a:gd name="connsiteX3717" fmla="*/ 251435 w 447236"/>
              <a:gd name="connsiteY3717" fmla="*/ 24213 h 448122"/>
              <a:gd name="connsiteX3718" fmla="*/ 251128 w 447236"/>
              <a:gd name="connsiteY3718" fmla="*/ 24213 h 448122"/>
              <a:gd name="connsiteX3719" fmla="*/ 248979 w 447236"/>
              <a:gd name="connsiteY3719" fmla="*/ 23294 h 448122"/>
              <a:gd name="connsiteX3720" fmla="*/ 248058 w 447236"/>
              <a:gd name="connsiteY3720" fmla="*/ 21148 h 448122"/>
              <a:gd name="connsiteX3721" fmla="*/ 248058 w 447236"/>
              <a:gd name="connsiteY3721" fmla="*/ 14712 h 448122"/>
              <a:gd name="connsiteX3722" fmla="*/ 234858 w 447236"/>
              <a:gd name="connsiteY3722" fmla="*/ 14712 h 448122"/>
              <a:gd name="connsiteX3723" fmla="*/ 241305 w 447236"/>
              <a:gd name="connsiteY3723" fmla="*/ 14712 h 448122"/>
              <a:gd name="connsiteX3724" fmla="*/ 241305 w 447236"/>
              <a:gd name="connsiteY3724" fmla="*/ 21148 h 448122"/>
              <a:gd name="connsiteX3725" fmla="*/ 240384 w 447236"/>
              <a:gd name="connsiteY3725" fmla="*/ 23294 h 448122"/>
              <a:gd name="connsiteX3726" fmla="*/ 238235 w 447236"/>
              <a:gd name="connsiteY3726" fmla="*/ 24213 h 448122"/>
              <a:gd name="connsiteX3727" fmla="*/ 237928 w 447236"/>
              <a:gd name="connsiteY3727" fmla="*/ 24213 h 448122"/>
              <a:gd name="connsiteX3728" fmla="*/ 235779 w 447236"/>
              <a:gd name="connsiteY3728" fmla="*/ 23294 h 448122"/>
              <a:gd name="connsiteX3729" fmla="*/ 234858 w 447236"/>
              <a:gd name="connsiteY3729" fmla="*/ 21148 h 448122"/>
              <a:gd name="connsiteX3730" fmla="*/ 234858 w 447236"/>
              <a:gd name="connsiteY3730" fmla="*/ 14712 h 448122"/>
              <a:gd name="connsiteX3731" fmla="*/ 221350 w 447236"/>
              <a:gd name="connsiteY3731" fmla="*/ 14712 h 448122"/>
              <a:gd name="connsiteX3732" fmla="*/ 228104 w 447236"/>
              <a:gd name="connsiteY3732" fmla="*/ 14712 h 448122"/>
              <a:gd name="connsiteX3733" fmla="*/ 228104 w 447236"/>
              <a:gd name="connsiteY3733" fmla="*/ 21148 h 448122"/>
              <a:gd name="connsiteX3734" fmla="*/ 227183 w 447236"/>
              <a:gd name="connsiteY3734" fmla="*/ 23294 h 448122"/>
              <a:gd name="connsiteX3735" fmla="*/ 225034 w 447236"/>
              <a:gd name="connsiteY3735" fmla="*/ 24213 h 448122"/>
              <a:gd name="connsiteX3736" fmla="*/ 224420 w 447236"/>
              <a:gd name="connsiteY3736" fmla="*/ 24213 h 448122"/>
              <a:gd name="connsiteX3737" fmla="*/ 222271 w 447236"/>
              <a:gd name="connsiteY3737" fmla="*/ 23294 h 448122"/>
              <a:gd name="connsiteX3738" fmla="*/ 221350 w 447236"/>
              <a:gd name="connsiteY3738" fmla="*/ 21148 h 448122"/>
              <a:gd name="connsiteX3739" fmla="*/ 221350 w 447236"/>
              <a:gd name="connsiteY3739" fmla="*/ 14712 h 448122"/>
              <a:gd name="connsiteX3740" fmla="*/ 159590 w 447236"/>
              <a:gd name="connsiteY3740" fmla="*/ 5899 h 448122"/>
              <a:gd name="connsiteX3741" fmla="*/ 156521 w 447236"/>
              <a:gd name="connsiteY3741" fmla="*/ 7121 h 448122"/>
              <a:gd name="connsiteX3742" fmla="*/ 155294 w 447236"/>
              <a:gd name="connsiteY3742" fmla="*/ 10785 h 448122"/>
              <a:gd name="connsiteX3743" fmla="*/ 155294 w 447236"/>
              <a:gd name="connsiteY3743" fmla="*/ 17565 h 448122"/>
              <a:gd name="connsiteX3744" fmla="*/ 163671 w 447236"/>
              <a:gd name="connsiteY3744" fmla="*/ 17565 h 448122"/>
              <a:gd name="connsiteX3745" fmla="*/ 163249 w 447236"/>
              <a:gd name="connsiteY3745" fmla="*/ 16925 h 448122"/>
              <a:gd name="connsiteX3746" fmla="*/ 163249 w 447236"/>
              <a:gd name="connsiteY3746" fmla="*/ 15991 h 448122"/>
              <a:gd name="connsiteX3747" fmla="*/ 163865 w 447236"/>
              <a:gd name="connsiteY3747" fmla="*/ 15056 h 448122"/>
              <a:gd name="connsiteX3748" fmla="*/ 172805 w 447236"/>
              <a:gd name="connsiteY3748" fmla="*/ 15056 h 448122"/>
              <a:gd name="connsiteX3749" fmla="*/ 173729 w 447236"/>
              <a:gd name="connsiteY3749" fmla="*/ 15991 h 448122"/>
              <a:gd name="connsiteX3750" fmla="*/ 173729 w 447236"/>
              <a:gd name="connsiteY3750" fmla="*/ 16925 h 448122"/>
              <a:gd name="connsiteX3751" fmla="*/ 173097 w 447236"/>
              <a:gd name="connsiteY3751" fmla="*/ 17565 h 448122"/>
              <a:gd name="connsiteX3752" fmla="*/ 181684 w 447236"/>
              <a:gd name="connsiteY3752" fmla="*/ 17565 h 448122"/>
              <a:gd name="connsiteX3753" fmla="*/ 181684 w 447236"/>
              <a:gd name="connsiteY3753" fmla="*/ 12389 h 448122"/>
              <a:gd name="connsiteX3754" fmla="*/ 181684 w 447236"/>
              <a:gd name="connsiteY3754" fmla="*/ 11396 h 448122"/>
              <a:gd name="connsiteX3755" fmla="*/ 180150 w 447236"/>
              <a:gd name="connsiteY3755" fmla="*/ 7426 h 448122"/>
              <a:gd name="connsiteX3756" fmla="*/ 176774 w 447236"/>
              <a:gd name="connsiteY3756" fmla="*/ 5899 h 448122"/>
              <a:gd name="connsiteX3757" fmla="*/ 159590 w 447236"/>
              <a:gd name="connsiteY3757" fmla="*/ 5899 h 448122"/>
              <a:gd name="connsiteX3758" fmla="*/ 277837 w 447236"/>
              <a:gd name="connsiteY3758" fmla="*/ 3371 h 448122"/>
              <a:gd name="connsiteX3759" fmla="*/ 275074 w 447236"/>
              <a:gd name="connsiteY3759" fmla="*/ 4597 h 448122"/>
              <a:gd name="connsiteX3760" fmla="*/ 273846 w 447236"/>
              <a:gd name="connsiteY3760" fmla="*/ 7356 h 448122"/>
              <a:gd name="connsiteX3761" fmla="*/ 273846 w 447236"/>
              <a:gd name="connsiteY3761" fmla="*/ 13792 h 448122"/>
              <a:gd name="connsiteX3762" fmla="*/ 273846 w 447236"/>
              <a:gd name="connsiteY3762" fmla="*/ 14405 h 448122"/>
              <a:gd name="connsiteX3763" fmla="*/ 273846 w 447236"/>
              <a:gd name="connsiteY3763" fmla="*/ 14712 h 448122"/>
              <a:gd name="connsiteX3764" fmla="*/ 273846 w 447236"/>
              <a:gd name="connsiteY3764" fmla="*/ 21148 h 448122"/>
              <a:gd name="connsiteX3765" fmla="*/ 275074 w 447236"/>
              <a:gd name="connsiteY3765" fmla="*/ 23907 h 448122"/>
              <a:gd name="connsiteX3766" fmla="*/ 277837 w 447236"/>
              <a:gd name="connsiteY3766" fmla="*/ 25133 h 448122"/>
              <a:gd name="connsiteX3767" fmla="*/ 278144 w 447236"/>
              <a:gd name="connsiteY3767" fmla="*/ 25133 h 448122"/>
              <a:gd name="connsiteX3768" fmla="*/ 280907 w 447236"/>
              <a:gd name="connsiteY3768" fmla="*/ 23907 h 448122"/>
              <a:gd name="connsiteX3769" fmla="*/ 282134 w 447236"/>
              <a:gd name="connsiteY3769" fmla="*/ 21148 h 448122"/>
              <a:gd name="connsiteX3770" fmla="*/ 282134 w 447236"/>
              <a:gd name="connsiteY3770" fmla="*/ 14712 h 448122"/>
              <a:gd name="connsiteX3771" fmla="*/ 282134 w 447236"/>
              <a:gd name="connsiteY3771" fmla="*/ 14405 h 448122"/>
              <a:gd name="connsiteX3772" fmla="*/ 282134 w 447236"/>
              <a:gd name="connsiteY3772" fmla="*/ 13792 h 448122"/>
              <a:gd name="connsiteX3773" fmla="*/ 282134 w 447236"/>
              <a:gd name="connsiteY3773" fmla="*/ 7356 h 448122"/>
              <a:gd name="connsiteX3774" fmla="*/ 280907 w 447236"/>
              <a:gd name="connsiteY3774" fmla="*/ 4597 h 448122"/>
              <a:gd name="connsiteX3775" fmla="*/ 278144 w 447236"/>
              <a:gd name="connsiteY3775" fmla="*/ 3371 h 448122"/>
              <a:gd name="connsiteX3776" fmla="*/ 277837 w 447236"/>
              <a:gd name="connsiteY3776" fmla="*/ 3371 h 448122"/>
              <a:gd name="connsiteX3777" fmla="*/ 264636 w 447236"/>
              <a:gd name="connsiteY3777" fmla="*/ 3371 h 448122"/>
              <a:gd name="connsiteX3778" fmla="*/ 261566 w 447236"/>
              <a:gd name="connsiteY3778" fmla="*/ 4597 h 448122"/>
              <a:gd name="connsiteX3779" fmla="*/ 260645 w 447236"/>
              <a:gd name="connsiteY3779" fmla="*/ 7356 h 448122"/>
              <a:gd name="connsiteX3780" fmla="*/ 260645 w 447236"/>
              <a:gd name="connsiteY3780" fmla="*/ 13792 h 448122"/>
              <a:gd name="connsiteX3781" fmla="*/ 260645 w 447236"/>
              <a:gd name="connsiteY3781" fmla="*/ 14405 h 448122"/>
              <a:gd name="connsiteX3782" fmla="*/ 260645 w 447236"/>
              <a:gd name="connsiteY3782" fmla="*/ 14712 h 448122"/>
              <a:gd name="connsiteX3783" fmla="*/ 260645 w 447236"/>
              <a:gd name="connsiteY3783" fmla="*/ 21148 h 448122"/>
              <a:gd name="connsiteX3784" fmla="*/ 261566 w 447236"/>
              <a:gd name="connsiteY3784" fmla="*/ 23907 h 448122"/>
              <a:gd name="connsiteX3785" fmla="*/ 264636 w 447236"/>
              <a:gd name="connsiteY3785" fmla="*/ 25133 h 448122"/>
              <a:gd name="connsiteX3786" fmla="*/ 264943 w 447236"/>
              <a:gd name="connsiteY3786" fmla="*/ 25133 h 448122"/>
              <a:gd name="connsiteX3787" fmla="*/ 267706 w 447236"/>
              <a:gd name="connsiteY3787" fmla="*/ 23907 h 448122"/>
              <a:gd name="connsiteX3788" fmla="*/ 268934 w 447236"/>
              <a:gd name="connsiteY3788" fmla="*/ 21148 h 448122"/>
              <a:gd name="connsiteX3789" fmla="*/ 268934 w 447236"/>
              <a:gd name="connsiteY3789" fmla="*/ 14712 h 448122"/>
              <a:gd name="connsiteX3790" fmla="*/ 268934 w 447236"/>
              <a:gd name="connsiteY3790" fmla="*/ 14405 h 448122"/>
              <a:gd name="connsiteX3791" fmla="*/ 268934 w 447236"/>
              <a:gd name="connsiteY3791" fmla="*/ 13792 h 448122"/>
              <a:gd name="connsiteX3792" fmla="*/ 268934 w 447236"/>
              <a:gd name="connsiteY3792" fmla="*/ 7356 h 448122"/>
              <a:gd name="connsiteX3793" fmla="*/ 267706 w 447236"/>
              <a:gd name="connsiteY3793" fmla="*/ 4597 h 448122"/>
              <a:gd name="connsiteX3794" fmla="*/ 264943 w 447236"/>
              <a:gd name="connsiteY3794" fmla="*/ 3371 h 448122"/>
              <a:gd name="connsiteX3795" fmla="*/ 264636 w 447236"/>
              <a:gd name="connsiteY3795" fmla="*/ 3371 h 448122"/>
              <a:gd name="connsiteX3796" fmla="*/ 251128 w 447236"/>
              <a:gd name="connsiteY3796" fmla="*/ 3371 h 448122"/>
              <a:gd name="connsiteX3797" fmla="*/ 248365 w 447236"/>
              <a:gd name="connsiteY3797" fmla="*/ 4597 h 448122"/>
              <a:gd name="connsiteX3798" fmla="*/ 247137 w 447236"/>
              <a:gd name="connsiteY3798" fmla="*/ 7356 h 448122"/>
              <a:gd name="connsiteX3799" fmla="*/ 247137 w 447236"/>
              <a:gd name="connsiteY3799" fmla="*/ 13792 h 448122"/>
              <a:gd name="connsiteX3800" fmla="*/ 247137 w 447236"/>
              <a:gd name="connsiteY3800" fmla="*/ 14405 h 448122"/>
              <a:gd name="connsiteX3801" fmla="*/ 247137 w 447236"/>
              <a:gd name="connsiteY3801" fmla="*/ 14712 h 448122"/>
              <a:gd name="connsiteX3802" fmla="*/ 247137 w 447236"/>
              <a:gd name="connsiteY3802" fmla="*/ 21148 h 448122"/>
              <a:gd name="connsiteX3803" fmla="*/ 248365 w 447236"/>
              <a:gd name="connsiteY3803" fmla="*/ 23907 h 448122"/>
              <a:gd name="connsiteX3804" fmla="*/ 251128 w 447236"/>
              <a:gd name="connsiteY3804" fmla="*/ 25133 h 448122"/>
              <a:gd name="connsiteX3805" fmla="*/ 251435 w 447236"/>
              <a:gd name="connsiteY3805" fmla="*/ 25133 h 448122"/>
              <a:gd name="connsiteX3806" fmla="*/ 254198 w 447236"/>
              <a:gd name="connsiteY3806" fmla="*/ 23907 h 448122"/>
              <a:gd name="connsiteX3807" fmla="*/ 255426 w 447236"/>
              <a:gd name="connsiteY3807" fmla="*/ 21148 h 448122"/>
              <a:gd name="connsiteX3808" fmla="*/ 255426 w 447236"/>
              <a:gd name="connsiteY3808" fmla="*/ 14712 h 448122"/>
              <a:gd name="connsiteX3809" fmla="*/ 255426 w 447236"/>
              <a:gd name="connsiteY3809" fmla="*/ 14405 h 448122"/>
              <a:gd name="connsiteX3810" fmla="*/ 255426 w 447236"/>
              <a:gd name="connsiteY3810" fmla="*/ 13792 h 448122"/>
              <a:gd name="connsiteX3811" fmla="*/ 255426 w 447236"/>
              <a:gd name="connsiteY3811" fmla="*/ 7356 h 448122"/>
              <a:gd name="connsiteX3812" fmla="*/ 254198 w 447236"/>
              <a:gd name="connsiteY3812" fmla="*/ 4597 h 448122"/>
              <a:gd name="connsiteX3813" fmla="*/ 251435 w 447236"/>
              <a:gd name="connsiteY3813" fmla="*/ 3371 h 448122"/>
              <a:gd name="connsiteX3814" fmla="*/ 251128 w 447236"/>
              <a:gd name="connsiteY3814" fmla="*/ 3371 h 448122"/>
              <a:gd name="connsiteX3815" fmla="*/ 237928 w 447236"/>
              <a:gd name="connsiteY3815" fmla="*/ 3371 h 448122"/>
              <a:gd name="connsiteX3816" fmla="*/ 235165 w 447236"/>
              <a:gd name="connsiteY3816" fmla="*/ 4597 h 448122"/>
              <a:gd name="connsiteX3817" fmla="*/ 233937 w 447236"/>
              <a:gd name="connsiteY3817" fmla="*/ 7356 h 448122"/>
              <a:gd name="connsiteX3818" fmla="*/ 233937 w 447236"/>
              <a:gd name="connsiteY3818" fmla="*/ 13792 h 448122"/>
              <a:gd name="connsiteX3819" fmla="*/ 233937 w 447236"/>
              <a:gd name="connsiteY3819" fmla="*/ 14405 h 448122"/>
              <a:gd name="connsiteX3820" fmla="*/ 233937 w 447236"/>
              <a:gd name="connsiteY3820" fmla="*/ 14712 h 448122"/>
              <a:gd name="connsiteX3821" fmla="*/ 233937 w 447236"/>
              <a:gd name="connsiteY3821" fmla="*/ 21148 h 448122"/>
              <a:gd name="connsiteX3822" fmla="*/ 235165 w 447236"/>
              <a:gd name="connsiteY3822" fmla="*/ 23907 h 448122"/>
              <a:gd name="connsiteX3823" fmla="*/ 237928 w 447236"/>
              <a:gd name="connsiteY3823" fmla="*/ 25133 h 448122"/>
              <a:gd name="connsiteX3824" fmla="*/ 238235 w 447236"/>
              <a:gd name="connsiteY3824" fmla="*/ 25133 h 448122"/>
              <a:gd name="connsiteX3825" fmla="*/ 240998 w 447236"/>
              <a:gd name="connsiteY3825" fmla="*/ 23907 h 448122"/>
              <a:gd name="connsiteX3826" fmla="*/ 242225 w 447236"/>
              <a:gd name="connsiteY3826" fmla="*/ 21148 h 448122"/>
              <a:gd name="connsiteX3827" fmla="*/ 242225 w 447236"/>
              <a:gd name="connsiteY3827" fmla="*/ 14712 h 448122"/>
              <a:gd name="connsiteX3828" fmla="*/ 242225 w 447236"/>
              <a:gd name="connsiteY3828" fmla="*/ 14405 h 448122"/>
              <a:gd name="connsiteX3829" fmla="*/ 242225 w 447236"/>
              <a:gd name="connsiteY3829" fmla="*/ 13792 h 448122"/>
              <a:gd name="connsiteX3830" fmla="*/ 242225 w 447236"/>
              <a:gd name="connsiteY3830" fmla="*/ 7356 h 448122"/>
              <a:gd name="connsiteX3831" fmla="*/ 240998 w 447236"/>
              <a:gd name="connsiteY3831" fmla="*/ 4597 h 448122"/>
              <a:gd name="connsiteX3832" fmla="*/ 238235 w 447236"/>
              <a:gd name="connsiteY3832" fmla="*/ 3371 h 448122"/>
              <a:gd name="connsiteX3833" fmla="*/ 237928 w 447236"/>
              <a:gd name="connsiteY3833" fmla="*/ 3371 h 448122"/>
              <a:gd name="connsiteX3834" fmla="*/ 224420 w 447236"/>
              <a:gd name="connsiteY3834" fmla="*/ 3371 h 448122"/>
              <a:gd name="connsiteX3835" fmla="*/ 221657 w 447236"/>
              <a:gd name="connsiteY3835" fmla="*/ 4597 h 448122"/>
              <a:gd name="connsiteX3836" fmla="*/ 220736 w 447236"/>
              <a:gd name="connsiteY3836" fmla="*/ 7356 h 448122"/>
              <a:gd name="connsiteX3837" fmla="*/ 220736 w 447236"/>
              <a:gd name="connsiteY3837" fmla="*/ 13792 h 448122"/>
              <a:gd name="connsiteX3838" fmla="*/ 220736 w 447236"/>
              <a:gd name="connsiteY3838" fmla="*/ 14405 h 448122"/>
              <a:gd name="connsiteX3839" fmla="*/ 220736 w 447236"/>
              <a:gd name="connsiteY3839" fmla="*/ 14712 h 448122"/>
              <a:gd name="connsiteX3840" fmla="*/ 220736 w 447236"/>
              <a:gd name="connsiteY3840" fmla="*/ 21148 h 448122"/>
              <a:gd name="connsiteX3841" fmla="*/ 221657 w 447236"/>
              <a:gd name="connsiteY3841" fmla="*/ 23907 h 448122"/>
              <a:gd name="connsiteX3842" fmla="*/ 224420 w 447236"/>
              <a:gd name="connsiteY3842" fmla="*/ 25133 h 448122"/>
              <a:gd name="connsiteX3843" fmla="*/ 225034 w 447236"/>
              <a:gd name="connsiteY3843" fmla="*/ 25133 h 448122"/>
              <a:gd name="connsiteX3844" fmla="*/ 227797 w 447236"/>
              <a:gd name="connsiteY3844" fmla="*/ 23907 h 448122"/>
              <a:gd name="connsiteX3845" fmla="*/ 228718 w 447236"/>
              <a:gd name="connsiteY3845" fmla="*/ 21148 h 448122"/>
              <a:gd name="connsiteX3846" fmla="*/ 228718 w 447236"/>
              <a:gd name="connsiteY3846" fmla="*/ 14712 h 448122"/>
              <a:gd name="connsiteX3847" fmla="*/ 228718 w 447236"/>
              <a:gd name="connsiteY3847" fmla="*/ 14405 h 448122"/>
              <a:gd name="connsiteX3848" fmla="*/ 228718 w 447236"/>
              <a:gd name="connsiteY3848" fmla="*/ 13792 h 448122"/>
              <a:gd name="connsiteX3849" fmla="*/ 228718 w 447236"/>
              <a:gd name="connsiteY3849" fmla="*/ 7356 h 448122"/>
              <a:gd name="connsiteX3850" fmla="*/ 227797 w 447236"/>
              <a:gd name="connsiteY3850" fmla="*/ 4597 h 448122"/>
              <a:gd name="connsiteX3851" fmla="*/ 225034 w 447236"/>
              <a:gd name="connsiteY3851" fmla="*/ 3371 h 448122"/>
              <a:gd name="connsiteX3852" fmla="*/ 224420 w 447236"/>
              <a:gd name="connsiteY3852" fmla="*/ 3371 h 448122"/>
              <a:gd name="connsiteX3853" fmla="*/ 294376 w 447236"/>
              <a:gd name="connsiteY3853" fmla="*/ 1624 h 448122"/>
              <a:gd name="connsiteX3854" fmla="*/ 315815 w 447236"/>
              <a:gd name="connsiteY3854" fmla="*/ 1624 h 448122"/>
              <a:gd name="connsiteX3855" fmla="*/ 317346 w 447236"/>
              <a:gd name="connsiteY3855" fmla="*/ 3154 h 448122"/>
              <a:gd name="connsiteX3856" fmla="*/ 317346 w 447236"/>
              <a:gd name="connsiteY3856" fmla="*/ 4071 h 448122"/>
              <a:gd name="connsiteX3857" fmla="*/ 315815 w 447236"/>
              <a:gd name="connsiteY3857" fmla="*/ 5601 h 448122"/>
              <a:gd name="connsiteX3858" fmla="*/ 312446 w 447236"/>
              <a:gd name="connsiteY3858" fmla="*/ 5601 h 448122"/>
              <a:gd name="connsiteX3859" fmla="*/ 312446 w 447236"/>
              <a:gd name="connsiteY3859" fmla="*/ 18451 h 448122"/>
              <a:gd name="connsiteX3860" fmla="*/ 310998 w 447236"/>
              <a:gd name="connsiteY3860" fmla="*/ 18451 h 448122"/>
              <a:gd name="connsiteX3861" fmla="*/ 310998 w 447236"/>
              <a:gd name="connsiteY3861" fmla="*/ 24925 h 448122"/>
              <a:gd name="connsiteX3862" fmla="*/ 310998 w 447236"/>
              <a:gd name="connsiteY3862" fmla="*/ 26040 h 448122"/>
              <a:gd name="connsiteX3863" fmla="*/ 309770 w 447236"/>
              <a:gd name="connsiteY3863" fmla="*/ 28807 h 448122"/>
              <a:gd name="connsiteX3864" fmla="*/ 307005 w 447236"/>
              <a:gd name="connsiteY3864" fmla="*/ 31882 h 448122"/>
              <a:gd name="connsiteX3865" fmla="*/ 306084 w 447236"/>
              <a:gd name="connsiteY3865" fmla="*/ 33727 h 448122"/>
              <a:gd name="connsiteX3866" fmla="*/ 307005 w 447236"/>
              <a:gd name="connsiteY3866" fmla="*/ 35572 h 448122"/>
              <a:gd name="connsiteX3867" fmla="*/ 309770 w 447236"/>
              <a:gd name="connsiteY3867" fmla="*/ 38648 h 448122"/>
              <a:gd name="connsiteX3868" fmla="*/ 310998 w 447236"/>
              <a:gd name="connsiteY3868" fmla="*/ 41415 h 448122"/>
              <a:gd name="connsiteX3869" fmla="*/ 310998 w 447236"/>
              <a:gd name="connsiteY3869" fmla="*/ 48709 h 448122"/>
              <a:gd name="connsiteX3870" fmla="*/ 312446 w 447236"/>
              <a:gd name="connsiteY3870" fmla="*/ 48709 h 448122"/>
              <a:gd name="connsiteX3871" fmla="*/ 312446 w 447236"/>
              <a:gd name="connsiteY3871" fmla="*/ 61362 h 448122"/>
              <a:gd name="connsiteX3872" fmla="*/ 315815 w 447236"/>
              <a:gd name="connsiteY3872" fmla="*/ 61362 h 448122"/>
              <a:gd name="connsiteX3873" fmla="*/ 317346 w 447236"/>
              <a:gd name="connsiteY3873" fmla="*/ 62905 h 448122"/>
              <a:gd name="connsiteX3874" fmla="*/ 317346 w 447236"/>
              <a:gd name="connsiteY3874" fmla="*/ 63831 h 448122"/>
              <a:gd name="connsiteX3875" fmla="*/ 315815 w 447236"/>
              <a:gd name="connsiteY3875" fmla="*/ 65683 h 448122"/>
              <a:gd name="connsiteX3876" fmla="*/ 294376 w 447236"/>
              <a:gd name="connsiteY3876" fmla="*/ 65683 h 448122"/>
              <a:gd name="connsiteX3877" fmla="*/ 292844 w 447236"/>
              <a:gd name="connsiteY3877" fmla="*/ 63831 h 448122"/>
              <a:gd name="connsiteX3878" fmla="*/ 292844 w 447236"/>
              <a:gd name="connsiteY3878" fmla="*/ 62905 h 448122"/>
              <a:gd name="connsiteX3879" fmla="*/ 294376 w 447236"/>
              <a:gd name="connsiteY3879" fmla="*/ 61362 h 448122"/>
              <a:gd name="connsiteX3880" fmla="*/ 297745 w 447236"/>
              <a:gd name="connsiteY3880" fmla="*/ 61362 h 448122"/>
              <a:gd name="connsiteX3881" fmla="*/ 297745 w 447236"/>
              <a:gd name="connsiteY3881" fmla="*/ 48709 h 448122"/>
              <a:gd name="connsiteX3882" fmla="*/ 299633 w 447236"/>
              <a:gd name="connsiteY3882" fmla="*/ 48709 h 448122"/>
              <a:gd name="connsiteX3883" fmla="*/ 299633 w 447236"/>
              <a:gd name="connsiteY3883" fmla="*/ 42530 h 448122"/>
              <a:gd name="connsiteX3884" fmla="*/ 299633 w 447236"/>
              <a:gd name="connsiteY3884" fmla="*/ 41415 h 448122"/>
              <a:gd name="connsiteX3885" fmla="*/ 300555 w 447236"/>
              <a:gd name="connsiteY3885" fmla="*/ 38648 h 448122"/>
              <a:gd name="connsiteX3886" fmla="*/ 303319 w 447236"/>
              <a:gd name="connsiteY3886" fmla="*/ 35572 h 448122"/>
              <a:gd name="connsiteX3887" fmla="*/ 304241 w 447236"/>
              <a:gd name="connsiteY3887" fmla="*/ 33727 h 448122"/>
              <a:gd name="connsiteX3888" fmla="*/ 303319 w 447236"/>
              <a:gd name="connsiteY3888" fmla="*/ 31882 h 448122"/>
              <a:gd name="connsiteX3889" fmla="*/ 300555 w 447236"/>
              <a:gd name="connsiteY3889" fmla="*/ 28807 h 448122"/>
              <a:gd name="connsiteX3890" fmla="*/ 299633 w 447236"/>
              <a:gd name="connsiteY3890" fmla="*/ 26040 h 448122"/>
              <a:gd name="connsiteX3891" fmla="*/ 299633 w 447236"/>
              <a:gd name="connsiteY3891" fmla="*/ 18451 h 448122"/>
              <a:gd name="connsiteX3892" fmla="*/ 299582 w 447236"/>
              <a:gd name="connsiteY3892" fmla="*/ 18451 h 448122"/>
              <a:gd name="connsiteX3893" fmla="*/ 297745 w 447236"/>
              <a:gd name="connsiteY3893" fmla="*/ 18451 h 448122"/>
              <a:gd name="connsiteX3894" fmla="*/ 297745 w 447236"/>
              <a:gd name="connsiteY3894" fmla="*/ 5601 h 448122"/>
              <a:gd name="connsiteX3895" fmla="*/ 294376 w 447236"/>
              <a:gd name="connsiteY3895" fmla="*/ 5601 h 448122"/>
              <a:gd name="connsiteX3896" fmla="*/ 292844 w 447236"/>
              <a:gd name="connsiteY3896" fmla="*/ 4071 h 448122"/>
              <a:gd name="connsiteX3897" fmla="*/ 292844 w 447236"/>
              <a:gd name="connsiteY3897" fmla="*/ 3154 h 448122"/>
              <a:gd name="connsiteX3898" fmla="*/ 294376 w 447236"/>
              <a:gd name="connsiteY3898" fmla="*/ 1624 h 448122"/>
              <a:gd name="connsiteX3899" fmla="*/ 159590 w 447236"/>
              <a:gd name="connsiteY3899" fmla="*/ 1624 h 448122"/>
              <a:gd name="connsiteX3900" fmla="*/ 176774 w 447236"/>
              <a:gd name="connsiteY3900" fmla="*/ 1624 h 448122"/>
              <a:gd name="connsiteX3901" fmla="*/ 183525 w 447236"/>
              <a:gd name="connsiteY3901" fmla="*/ 4372 h 448122"/>
              <a:gd name="connsiteX3902" fmla="*/ 185980 w 447236"/>
              <a:gd name="connsiteY3902" fmla="*/ 11396 h 448122"/>
              <a:gd name="connsiteX3903" fmla="*/ 185980 w 447236"/>
              <a:gd name="connsiteY3903" fmla="*/ 17565 h 448122"/>
              <a:gd name="connsiteX3904" fmla="*/ 190849 w 447236"/>
              <a:gd name="connsiteY3904" fmla="*/ 17565 h 448122"/>
              <a:gd name="connsiteX3905" fmla="*/ 191568 w 447236"/>
              <a:gd name="connsiteY3905" fmla="*/ 17565 h 448122"/>
              <a:gd name="connsiteX3906" fmla="*/ 207825 w 447236"/>
              <a:gd name="connsiteY3906" fmla="*/ 36236 h 448122"/>
              <a:gd name="connsiteX3907" fmla="*/ 207825 w 447236"/>
              <a:gd name="connsiteY3907" fmla="*/ 65315 h 448122"/>
              <a:gd name="connsiteX3908" fmla="*/ 191568 w 447236"/>
              <a:gd name="connsiteY3908" fmla="*/ 83986 h 448122"/>
              <a:gd name="connsiteX3909" fmla="*/ 188860 w 447236"/>
              <a:gd name="connsiteY3909" fmla="*/ 83986 h 448122"/>
              <a:gd name="connsiteX3910" fmla="*/ 189079 w 447236"/>
              <a:gd name="connsiteY3910" fmla="*/ 84318 h 448122"/>
              <a:gd name="connsiteX3911" fmla="*/ 189079 w 447236"/>
              <a:gd name="connsiteY3911" fmla="*/ 86163 h 448122"/>
              <a:gd name="connsiteX3912" fmla="*/ 188470 w 447236"/>
              <a:gd name="connsiteY3912" fmla="*/ 87086 h 448122"/>
              <a:gd name="connsiteX3913" fmla="*/ 185122 w 447236"/>
              <a:gd name="connsiteY3913" fmla="*/ 87086 h 448122"/>
              <a:gd name="connsiteX3914" fmla="*/ 184208 w 447236"/>
              <a:gd name="connsiteY3914" fmla="*/ 86163 h 448122"/>
              <a:gd name="connsiteX3915" fmla="*/ 184208 w 447236"/>
              <a:gd name="connsiteY3915" fmla="*/ 84318 h 448122"/>
              <a:gd name="connsiteX3916" fmla="*/ 184538 w 447236"/>
              <a:gd name="connsiteY3916" fmla="*/ 83986 h 448122"/>
              <a:gd name="connsiteX3917" fmla="*/ 164968 w 447236"/>
              <a:gd name="connsiteY3917" fmla="*/ 83986 h 448122"/>
              <a:gd name="connsiteX3918" fmla="*/ 152579 w 447236"/>
              <a:gd name="connsiteY3918" fmla="*/ 83986 h 448122"/>
              <a:gd name="connsiteX3919" fmla="*/ 152917 w 447236"/>
              <a:gd name="connsiteY3919" fmla="*/ 84318 h 448122"/>
              <a:gd name="connsiteX3920" fmla="*/ 152917 w 447236"/>
              <a:gd name="connsiteY3920" fmla="*/ 86163 h 448122"/>
              <a:gd name="connsiteX3921" fmla="*/ 151979 w 447236"/>
              <a:gd name="connsiteY3921" fmla="*/ 87086 h 448122"/>
              <a:gd name="connsiteX3922" fmla="*/ 148541 w 447236"/>
              <a:gd name="connsiteY3922" fmla="*/ 87086 h 448122"/>
              <a:gd name="connsiteX3923" fmla="*/ 147603 w 447236"/>
              <a:gd name="connsiteY3923" fmla="*/ 86163 h 448122"/>
              <a:gd name="connsiteX3924" fmla="*/ 147603 w 447236"/>
              <a:gd name="connsiteY3924" fmla="*/ 84318 h 448122"/>
              <a:gd name="connsiteX3925" fmla="*/ 147941 w 447236"/>
              <a:gd name="connsiteY3925" fmla="*/ 83986 h 448122"/>
              <a:gd name="connsiteX3926" fmla="*/ 146276 w 447236"/>
              <a:gd name="connsiteY3926" fmla="*/ 83986 h 448122"/>
              <a:gd name="connsiteX3927" fmla="*/ 145557 w 447236"/>
              <a:gd name="connsiteY3927" fmla="*/ 83986 h 448122"/>
              <a:gd name="connsiteX3928" fmla="*/ 129300 w 447236"/>
              <a:gd name="connsiteY3928" fmla="*/ 65008 h 448122"/>
              <a:gd name="connsiteX3929" fmla="*/ 129300 w 447236"/>
              <a:gd name="connsiteY3929" fmla="*/ 35930 h 448122"/>
              <a:gd name="connsiteX3930" fmla="*/ 145557 w 447236"/>
              <a:gd name="connsiteY3930" fmla="*/ 17565 h 448122"/>
              <a:gd name="connsiteX3931" fmla="*/ 150998 w 447236"/>
              <a:gd name="connsiteY3931" fmla="*/ 17565 h 448122"/>
              <a:gd name="connsiteX3932" fmla="*/ 150998 w 447236"/>
              <a:gd name="connsiteY3932" fmla="*/ 11854 h 448122"/>
              <a:gd name="connsiteX3933" fmla="*/ 150998 w 447236"/>
              <a:gd name="connsiteY3933" fmla="*/ 10785 h 448122"/>
              <a:gd name="connsiteX3934" fmla="*/ 153453 w 447236"/>
              <a:gd name="connsiteY3934" fmla="*/ 4372 h 448122"/>
              <a:gd name="connsiteX3935" fmla="*/ 159590 w 447236"/>
              <a:gd name="connsiteY3935" fmla="*/ 1624 h 448122"/>
              <a:gd name="connsiteX3936" fmla="*/ 216438 w 447236"/>
              <a:gd name="connsiteY3936" fmla="*/ 0 h 448122"/>
              <a:gd name="connsiteX3937" fmla="*/ 286739 w 447236"/>
              <a:gd name="connsiteY3937" fmla="*/ 0 h 448122"/>
              <a:gd name="connsiteX3938" fmla="*/ 291958 w 447236"/>
              <a:gd name="connsiteY3938" fmla="*/ 4904 h 448122"/>
              <a:gd name="connsiteX3939" fmla="*/ 291958 w 447236"/>
              <a:gd name="connsiteY3939" fmla="*/ 51185 h 448122"/>
              <a:gd name="connsiteX3940" fmla="*/ 286739 w 447236"/>
              <a:gd name="connsiteY3940" fmla="*/ 56089 h 448122"/>
              <a:gd name="connsiteX3941" fmla="*/ 216438 w 447236"/>
              <a:gd name="connsiteY3941" fmla="*/ 56089 h 448122"/>
              <a:gd name="connsiteX3942" fmla="*/ 211219 w 447236"/>
              <a:gd name="connsiteY3942" fmla="*/ 51185 h 448122"/>
              <a:gd name="connsiteX3943" fmla="*/ 211219 w 447236"/>
              <a:gd name="connsiteY3943" fmla="*/ 4904 h 448122"/>
              <a:gd name="connsiteX3944" fmla="*/ 216438 w 447236"/>
              <a:gd name="connsiteY3944" fmla="*/ 0 h 448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</a:cxnLst>
            <a:rect l="l" t="t" r="r" b="b"/>
            <a:pathLst>
              <a:path w="447236" h="448122">
                <a:moveTo>
                  <a:pt x="155052" y="428506"/>
                </a:moveTo>
                <a:cubicBezTo>
                  <a:pt x="154439" y="428506"/>
                  <a:pt x="153825" y="429119"/>
                  <a:pt x="153825" y="430038"/>
                </a:cubicBezTo>
                <a:cubicBezTo>
                  <a:pt x="153825" y="433716"/>
                  <a:pt x="153825" y="433716"/>
                  <a:pt x="153825" y="433716"/>
                </a:cubicBezTo>
                <a:cubicBezTo>
                  <a:pt x="153825" y="434329"/>
                  <a:pt x="154439" y="434942"/>
                  <a:pt x="155052" y="434942"/>
                </a:cubicBezTo>
                <a:cubicBezTo>
                  <a:pt x="161189" y="434942"/>
                  <a:pt x="161189" y="434942"/>
                  <a:pt x="161189" y="434942"/>
                </a:cubicBezTo>
                <a:cubicBezTo>
                  <a:pt x="161803" y="434942"/>
                  <a:pt x="162417" y="434329"/>
                  <a:pt x="162417" y="433716"/>
                </a:cubicBezTo>
                <a:cubicBezTo>
                  <a:pt x="162417" y="430038"/>
                  <a:pt x="162417" y="430038"/>
                  <a:pt x="162417" y="430038"/>
                </a:cubicBezTo>
                <a:cubicBezTo>
                  <a:pt x="162417" y="429119"/>
                  <a:pt x="161803" y="428506"/>
                  <a:pt x="161189" y="428506"/>
                </a:cubicBezTo>
                <a:cubicBezTo>
                  <a:pt x="155052" y="428506"/>
                  <a:pt x="155052" y="428506"/>
                  <a:pt x="155052" y="428506"/>
                </a:cubicBezTo>
                <a:close/>
                <a:moveTo>
                  <a:pt x="144312" y="428506"/>
                </a:moveTo>
                <a:cubicBezTo>
                  <a:pt x="143698" y="428506"/>
                  <a:pt x="143085" y="429119"/>
                  <a:pt x="143085" y="430038"/>
                </a:cubicBezTo>
                <a:cubicBezTo>
                  <a:pt x="143085" y="433716"/>
                  <a:pt x="143085" y="433716"/>
                  <a:pt x="143085" y="433716"/>
                </a:cubicBezTo>
                <a:cubicBezTo>
                  <a:pt x="143085" y="434329"/>
                  <a:pt x="143698" y="434942"/>
                  <a:pt x="144312" y="434942"/>
                </a:cubicBezTo>
                <a:cubicBezTo>
                  <a:pt x="150449" y="434942"/>
                  <a:pt x="150449" y="434942"/>
                  <a:pt x="150449" y="434942"/>
                </a:cubicBezTo>
                <a:cubicBezTo>
                  <a:pt x="151063" y="434942"/>
                  <a:pt x="151677" y="434329"/>
                  <a:pt x="151677" y="433716"/>
                </a:cubicBezTo>
                <a:cubicBezTo>
                  <a:pt x="151677" y="430038"/>
                  <a:pt x="151677" y="430038"/>
                  <a:pt x="151677" y="430038"/>
                </a:cubicBezTo>
                <a:cubicBezTo>
                  <a:pt x="151677" y="429119"/>
                  <a:pt x="151063" y="428506"/>
                  <a:pt x="150449" y="428506"/>
                </a:cubicBezTo>
                <a:cubicBezTo>
                  <a:pt x="144312" y="428506"/>
                  <a:pt x="144312" y="428506"/>
                  <a:pt x="144312" y="428506"/>
                </a:cubicBezTo>
                <a:close/>
                <a:moveTo>
                  <a:pt x="133572" y="428506"/>
                </a:moveTo>
                <a:cubicBezTo>
                  <a:pt x="132958" y="428506"/>
                  <a:pt x="132345" y="429119"/>
                  <a:pt x="132345" y="430038"/>
                </a:cubicBezTo>
                <a:cubicBezTo>
                  <a:pt x="132345" y="433716"/>
                  <a:pt x="132345" y="433716"/>
                  <a:pt x="132345" y="433716"/>
                </a:cubicBezTo>
                <a:cubicBezTo>
                  <a:pt x="132345" y="434329"/>
                  <a:pt x="132958" y="434942"/>
                  <a:pt x="133572" y="434942"/>
                </a:cubicBezTo>
                <a:cubicBezTo>
                  <a:pt x="139709" y="434942"/>
                  <a:pt x="139709" y="434942"/>
                  <a:pt x="139709" y="434942"/>
                </a:cubicBezTo>
                <a:cubicBezTo>
                  <a:pt x="140323" y="434942"/>
                  <a:pt x="140937" y="434329"/>
                  <a:pt x="140937" y="433716"/>
                </a:cubicBezTo>
                <a:cubicBezTo>
                  <a:pt x="140937" y="430038"/>
                  <a:pt x="140937" y="430038"/>
                  <a:pt x="140937" y="430038"/>
                </a:cubicBezTo>
                <a:cubicBezTo>
                  <a:pt x="140937" y="429119"/>
                  <a:pt x="140323" y="428506"/>
                  <a:pt x="139709" y="428506"/>
                </a:cubicBezTo>
                <a:cubicBezTo>
                  <a:pt x="133572" y="428506"/>
                  <a:pt x="133572" y="428506"/>
                  <a:pt x="133572" y="428506"/>
                </a:cubicBezTo>
                <a:close/>
                <a:moveTo>
                  <a:pt x="213492" y="421388"/>
                </a:moveTo>
                <a:lnTo>
                  <a:pt x="213946" y="422000"/>
                </a:lnTo>
                <a:cubicBezTo>
                  <a:pt x="214253" y="422000"/>
                  <a:pt x="214253" y="422000"/>
                  <a:pt x="214253" y="422307"/>
                </a:cubicBezTo>
                <a:cubicBezTo>
                  <a:pt x="213946" y="422919"/>
                  <a:pt x="213639" y="423225"/>
                  <a:pt x="213024" y="423838"/>
                </a:cubicBezTo>
                <a:lnTo>
                  <a:pt x="212533" y="423674"/>
                </a:lnTo>
                <a:close/>
                <a:moveTo>
                  <a:pt x="234451" y="420576"/>
                </a:moveTo>
                <a:lnTo>
                  <a:pt x="234389" y="425298"/>
                </a:lnTo>
                <a:lnTo>
                  <a:pt x="234499" y="425160"/>
                </a:lnTo>
                <a:cubicBezTo>
                  <a:pt x="235113" y="423628"/>
                  <a:pt x="235420" y="422403"/>
                  <a:pt x="235113" y="421484"/>
                </a:cubicBezTo>
                <a:cubicBezTo>
                  <a:pt x="235113" y="421177"/>
                  <a:pt x="235113" y="420871"/>
                  <a:pt x="234806" y="420871"/>
                </a:cubicBezTo>
                <a:close/>
                <a:moveTo>
                  <a:pt x="232056" y="420445"/>
                </a:moveTo>
                <a:lnTo>
                  <a:pt x="231459" y="420871"/>
                </a:lnTo>
                <a:cubicBezTo>
                  <a:pt x="231459" y="420871"/>
                  <a:pt x="231152" y="421177"/>
                  <a:pt x="231152" y="421484"/>
                </a:cubicBezTo>
                <a:cubicBezTo>
                  <a:pt x="231152" y="422403"/>
                  <a:pt x="231152" y="423628"/>
                  <a:pt x="232073" y="425160"/>
                </a:cubicBezTo>
                <a:lnTo>
                  <a:pt x="232141" y="425248"/>
                </a:lnTo>
                <a:close/>
                <a:moveTo>
                  <a:pt x="170985" y="417599"/>
                </a:moveTo>
                <a:lnTo>
                  <a:pt x="171995" y="420044"/>
                </a:lnTo>
                <a:lnTo>
                  <a:pt x="171262" y="420775"/>
                </a:lnTo>
                <a:cubicBezTo>
                  <a:pt x="171262" y="420775"/>
                  <a:pt x="170954" y="421082"/>
                  <a:pt x="170954" y="421082"/>
                </a:cubicBezTo>
                <a:cubicBezTo>
                  <a:pt x="170647" y="420163"/>
                  <a:pt x="170033" y="419550"/>
                  <a:pt x="169726" y="418938"/>
                </a:cubicBezTo>
                <a:close/>
                <a:moveTo>
                  <a:pt x="155052" y="416859"/>
                </a:moveTo>
                <a:cubicBezTo>
                  <a:pt x="154439" y="416859"/>
                  <a:pt x="153825" y="417472"/>
                  <a:pt x="153825" y="418085"/>
                </a:cubicBezTo>
                <a:cubicBezTo>
                  <a:pt x="153825" y="422069"/>
                  <a:pt x="153825" y="422069"/>
                  <a:pt x="153825" y="422069"/>
                </a:cubicBezTo>
                <a:cubicBezTo>
                  <a:pt x="153825" y="422682"/>
                  <a:pt x="154439" y="423295"/>
                  <a:pt x="155052" y="423295"/>
                </a:cubicBezTo>
                <a:cubicBezTo>
                  <a:pt x="161189" y="423295"/>
                  <a:pt x="161189" y="423295"/>
                  <a:pt x="161189" y="423295"/>
                </a:cubicBezTo>
                <a:cubicBezTo>
                  <a:pt x="161803" y="423295"/>
                  <a:pt x="162417" y="422682"/>
                  <a:pt x="162417" y="422069"/>
                </a:cubicBezTo>
                <a:cubicBezTo>
                  <a:pt x="162417" y="418085"/>
                  <a:pt x="162417" y="418085"/>
                  <a:pt x="162417" y="418085"/>
                </a:cubicBezTo>
                <a:cubicBezTo>
                  <a:pt x="162417" y="417472"/>
                  <a:pt x="161803" y="416859"/>
                  <a:pt x="161189" y="416859"/>
                </a:cubicBezTo>
                <a:cubicBezTo>
                  <a:pt x="155052" y="416859"/>
                  <a:pt x="155052" y="416859"/>
                  <a:pt x="155052" y="416859"/>
                </a:cubicBezTo>
                <a:close/>
                <a:moveTo>
                  <a:pt x="144312" y="416859"/>
                </a:moveTo>
                <a:cubicBezTo>
                  <a:pt x="143698" y="416859"/>
                  <a:pt x="143085" y="417472"/>
                  <a:pt x="143085" y="418085"/>
                </a:cubicBezTo>
                <a:cubicBezTo>
                  <a:pt x="143085" y="422069"/>
                  <a:pt x="143085" y="422069"/>
                  <a:pt x="143085" y="422069"/>
                </a:cubicBezTo>
                <a:cubicBezTo>
                  <a:pt x="143085" y="422682"/>
                  <a:pt x="143698" y="423295"/>
                  <a:pt x="144312" y="423295"/>
                </a:cubicBezTo>
                <a:cubicBezTo>
                  <a:pt x="150449" y="423295"/>
                  <a:pt x="150449" y="423295"/>
                  <a:pt x="150449" y="423295"/>
                </a:cubicBezTo>
                <a:cubicBezTo>
                  <a:pt x="151063" y="423295"/>
                  <a:pt x="151677" y="422682"/>
                  <a:pt x="151677" y="422069"/>
                </a:cubicBezTo>
                <a:cubicBezTo>
                  <a:pt x="151677" y="418085"/>
                  <a:pt x="151677" y="418085"/>
                  <a:pt x="151677" y="418085"/>
                </a:cubicBezTo>
                <a:cubicBezTo>
                  <a:pt x="151677" y="417472"/>
                  <a:pt x="151063" y="416859"/>
                  <a:pt x="150449" y="416859"/>
                </a:cubicBezTo>
                <a:cubicBezTo>
                  <a:pt x="144312" y="416859"/>
                  <a:pt x="144312" y="416859"/>
                  <a:pt x="144312" y="416859"/>
                </a:cubicBezTo>
                <a:close/>
                <a:moveTo>
                  <a:pt x="133572" y="416859"/>
                </a:moveTo>
                <a:cubicBezTo>
                  <a:pt x="132958" y="416859"/>
                  <a:pt x="132345" y="417472"/>
                  <a:pt x="132345" y="418085"/>
                </a:cubicBezTo>
                <a:cubicBezTo>
                  <a:pt x="132345" y="422069"/>
                  <a:pt x="132345" y="422069"/>
                  <a:pt x="132345" y="422069"/>
                </a:cubicBezTo>
                <a:cubicBezTo>
                  <a:pt x="132345" y="422682"/>
                  <a:pt x="132958" y="423295"/>
                  <a:pt x="133572" y="423295"/>
                </a:cubicBezTo>
                <a:cubicBezTo>
                  <a:pt x="139709" y="423295"/>
                  <a:pt x="139709" y="423295"/>
                  <a:pt x="139709" y="423295"/>
                </a:cubicBezTo>
                <a:cubicBezTo>
                  <a:pt x="140323" y="423295"/>
                  <a:pt x="140937" y="422682"/>
                  <a:pt x="140937" y="422069"/>
                </a:cubicBezTo>
                <a:cubicBezTo>
                  <a:pt x="140937" y="418085"/>
                  <a:pt x="140937" y="418085"/>
                  <a:pt x="140937" y="418085"/>
                </a:cubicBezTo>
                <a:cubicBezTo>
                  <a:pt x="140937" y="417472"/>
                  <a:pt x="140323" y="416859"/>
                  <a:pt x="139709" y="416859"/>
                </a:cubicBezTo>
                <a:cubicBezTo>
                  <a:pt x="133572" y="416859"/>
                  <a:pt x="133572" y="416859"/>
                  <a:pt x="133572" y="416859"/>
                </a:cubicBezTo>
                <a:close/>
                <a:moveTo>
                  <a:pt x="287340" y="416486"/>
                </a:moveTo>
                <a:cubicBezTo>
                  <a:pt x="285192" y="416486"/>
                  <a:pt x="283658" y="418325"/>
                  <a:pt x="283658" y="420164"/>
                </a:cubicBezTo>
                <a:cubicBezTo>
                  <a:pt x="283658" y="422309"/>
                  <a:pt x="285192" y="423842"/>
                  <a:pt x="287340" y="423842"/>
                </a:cubicBezTo>
                <a:cubicBezTo>
                  <a:pt x="289488" y="423842"/>
                  <a:pt x="291023" y="422309"/>
                  <a:pt x="291023" y="420164"/>
                </a:cubicBezTo>
                <a:cubicBezTo>
                  <a:pt x="291023" y="418325"/>
                  <a:pt x="289488" y="416486"/>
                  <a:pt x="287340" y="416486"/>
                </a:cubicBezTo>
                <a:close/>
                <a:moveTo>
                  <a:pt x="231869" y="409869"/>
                </a:moveTo>
                <a:lnTo>
                  <a:pt x="229587" y="411067"/>
                </a:lnTo>
                <a:cubicBezTo>
                  <a:pt x="228973" y="411680"/>
                  <a:pt x="229280" y="412599"/>
                  <a:pt x="229587" y="413212"/>
                </a:cubicBezTo>
                <a:lnTo>
                  <a:pt x="231962" y="415108"/>
                </a:lnTo>
                <a:close/>
                <a:moveTo>
                  <a:pt x="234594" y="409812"/>
                </a:moveTo>
                <a:lnTo>
                  <a:pt x="234524" y="415123"/>
                </a:lnTo>
                <a:lnTo>
                  <a:pt x="236678" y="413212"/>
                </a:lnTo>
                <a:cubicBezTo>
                  <a:pt x="237292" y="412599"/>
                  <a:pt x="237292" y="411680"/>
                  <a:pt x="236985" y="411067"/>
                </a:cubicBezTo>
                <a:close/>
                <a:moveTo>
                  <a:pt x="155052" y="405211"/>
                </a:moveTo>
                <a:cubicBezTo>
                  <a:pt x="154439" y="405211"/>
                  <a:pt x="153825" y="405824"/>
                  <a:pt x="153825" y="406437"/>
                </a:cubicBezTo>
                <a:cubicBezTo>
                  <a:pt x="153825" y="410116"/>
                  <a:pt x="153825" y="410116"/>
                  <a:pt x="153825" y="410116"/>
                </a:cubicBezTo>
                <a:cubicBezTo>
                  <a:pt x="153825" y="411035"/>
                  <a:pt x="154439" y="411648"/>
                  <a:pt x="155052" y="411648"/>
                </a:cubicBezTo>
                <a:cubicBezTo>
                  <a:pt x="161189" y="411648"/>
                  <a:pt x="161189" y="411648"/>
                  <a:pt x="161189" y="411648"/>
                </a:cubicBezTo>
                <a:cubicBezTo>
                  <a:pt x="161803" y="411648"/>
                  <a:pt x="162417" y="411035"/>
                  <a:pt x="162417" y="410116"/>
                </a:cubicBezTo>
                <a:cubicBezTo>
                  <a:pt x="162417" y="406437"/>
                  <a:pt x="162417" y="406437"/>
                  <a:pt x="162417" y="406437"/>
                </a:cubicBezTo>
                <a:cubicBezTo>
                  <a:pt x="162417" y="405824"/>
                  <a:pt x="161803" y="405211"/>
                  <a:pt x="161189" y="405211"/>
                </a:cubicBezTo>
                <a:cubicBezTo>
                  <a:pt x="155052" y="405211"/>
                  <a:pt x="155052" y="405211"/>
                  <a:pt x="155052" y="405211"/>
                </a:cubicBezTo>
                <a:close/>
                <a:moveTo>
                  <a:pt x="144312" y="405211"/>
                </a:moveTo>
                <a:cubicBezTo>
                  <a:pt x="143698" y="405211"/>
                  <a:pt x="143085" y="405824"/>
                  <a:pt x="143085" y="406437"/>
                </a:cubicBezTo>
                <a:cubicBezTo>
                  <a:pt x="143085" y="410116"/>
                  <a:pt x="143085" y="410116"/>
                  <a:pt x="143085" y="410116"/>
                </a:cubicBezTo>
                <a:cubicBezTo>
                  <a:pt x="143085" y="411035"/>
                  <a:pt x="143698" y="411648"/>
                  <a:pt x="144312" y="411648"/>
                </a:cubicBezTo>
                <a:cubicBezTo>
                  <a:pt x="150449" y="411648"/>
                  <a:pt x="150449" y="411648"/>
                  <a:pt x="150449" y="411648"/>
                </a:cubicBezTo>
                <a:cubicBezTo>
                  <a:pt x="151063" y="411648"/>
                  <a:pt x="151677" y="411035"/>
                  <a:pt x="151677" y="410116"/>
                </a:cubicBezTo>
                <a:cubicBezTo>
                  <a:pt x="151677" y="406437"/>
                  <a:pt x="151677" y="406437"/>
                  <a:pt x="151677" y="406437"/>
                </a:cubicBezTo>
                <a:cubicBezTo>
                  <a:pt x="151677" y="405824"/>
                  <a:pt x="151063" y="405211"/>
                  <a:pt x="150449" y="405211"/>
                </a:cubicBezTo>
                <a:cubicBezTo>
                  <a:pt x="144312" y="405211"/>
                  <a:pt x="144312" y="405211"/>
                  <a:pt x="144312" y="405211"/>
                </a:cubicBezTo>
                <a:close/>
                <a:moveTo>
                  <a:pt x="133572" y="405211"/>
                </a:moveTo>
                <a:cubicBezTo>
                  <a:pt x="132958" y="405211"/>
                  <a:pt x="132345" y="405824"/>
                  <a:pt x="132345" y="406437"/>
                </a:cubicBezTo>
                <a:cubicBezTo>
                  <a:pt x="132345" y="410116"/>
                  <a:pt x="132345" y="410116"/>
                  <a:pt x="132345" y="410116"/>
                </a:cubicBezTo>
                <a:cubicBezTo>
                  <a:pt x="132345" y="411035"/>
                  <a:pt x="132958" y="411648"/>
                  <a:pt x="133572" y="411648"/>
                </a:cubicBezTo>
                <a:cubicBezTo>
                  <a:pt x="139709" y="411648"/>
                  <a:pt x="139709" y="411648"/>
                  <a:pt x="139709" y="411648"/>
                </a:cubicBezTo>
                <a:cubicBezTo>
                  <a:pt x="140323" y="411648"/>
                  <a:pt x="140937" y="411035"/>
                  <a:pt x="140937" y="410116"/>
                </a:cubicBezTo>
                <a:cubicBezTo>
                  <a:pt x="140937" y="406437"/>
                  <a:pt x="140937" y="406437"/>
                  <a:pt x="140937" y="406437"/>
                </a:cubicBezTo>
                <a:cubicBezTo>
                  <a:pt x="140937" y="405824"/>
                  <a:pt x="140323" y="405211"/>
                  <a:pt x="139709" y="405211"/>
                </a:cubicBezTo>
                <a:cubicBezTo>
                  <a:pt x="133572" y="405211"/>
                  <a:pt x="133572" y="405211"/>
                  <a:pt x="133572" y="405211"/>
                </a:cubicBezTo>
                <a:close/>
                <a:moveTo>
                  <a:pt x="186886" y="398533"/>
                </a:moveTo>
                <a:lnTo>
                  <a:pt x="186935" y="398568"/>
                </a:lnTo>
                <a:lnTo>
                  <a:pt x="189341" y="428431"/>
                </a:lnTo>
                <a:cubicBezTo>
                  <a:pt x="189686" y="432719"/>
                  <a:pt x="189686" y="432719"/>
                  <a:pt x="189686" y="432719"/>
                </a:cubicBezTo>
                <a:cubicBezTo>
                  <a:pt x="189686" y="433331"/>
                  <a:pt x="190301" y="433943"/>
                  <a:pt x="191222" y="433943"/>
                </a:cubicBezTo>
                <a:cubicBezTo>
                  <a:pt x="191529" y="433943"/>
                  <a:pt x="192143" y="433331"/>
                  <a:pt x="192143" y="433025"/>
                </a:cubicBezTo>
                <a:cubicBezTo>
                  <a:pt x="197670" y="418019"/>
                  <a:pt x="197670" y="418019"/>
                  <a:pt x="197670" y="418019"/>
                </a:cubicBezTo>
                <a:cubicBezTo>
                  <a:pt x="200741" y="425981"/>
                  <a:pt x="200741" y="425981"/>
                  <a:pt x="200741" y="425981"/>
                </a:cubicBezTo>
                <a:cubicBezTo>
                  <a:pt x="201048" y="426594"/>
                  <a:pt x="201663" y="426900"/>
                  <a:pt x="202584" y="426900"/>
                </a:cubicBezTo>
                <a:cubicBezTo>
                  <a:pt x="202584" y="426594"/>
                  <a:pt x="202891" y="426594"/>
                  <a:pt x="203198" y="426288"/>
                </a:cubicBezTo>
                <a:cubicBezTo>
                  <a:pt x="208111" y="418019"/>
                  <a:pt x="208111" y="418019"/>
                  <a:pt x="208111" y="418019"/>
                </a:cubicBezTo>
                <a:cubicBezTo>
                  <a:pt x="212103" y="423531"/>
                  <a:pt x="212103" y="423531"/>
                  <a:pt x="212103" y="423531"/>
                </a:cubicBezTo>
                <a:lnTo>
                  <a:pt x="212533" y="423674"/>
                </a:lnTo>
                <a:lnTo>
                  <a:pt x="211374" y="426441"/>
                </a:lnTo>
                <a:cubicBezTo>
                  <a:pt x="206346" y="433101"/>
                  <a:pt x="199667" y="439762"/>
                  <a:pt x="193064" y="446499"/>
                </a:cubicBezTo>
                <a:cubicBezTo>
                  <a:pt x="186309" y="439762"/>
                  <a:pt x="179630" y="433101"/>
                  <a:pt x="174639" y="426441"/>
                </a:cubicBezTo>
                <a:lnTo>
                  <a:pt x="171995" y="420044"/>
                </a:lnTo>
                <a:lnTo>
                  <a:pt x="174639" y="417407"/>
                </a:lnTo>
                <a:cubicBezTo>
                  <a:pt x="176482" y="423225"/>
                  <a:pt x="176482" y="423225"/>
                  <a:pt x="176482" y="423225"/>
                </a:cubicBezTo>
                <a:cubicBezTo>
                  <a:pt x="176482" y="423838"/>
                  <a:pt x="177403" y="424144"/>
                  <a:pt x="178017" y="423838"/>
                </a:cubicBezTo>
                <a:cubicBezTo>
                  <a:pt x="178324" y="423838"/>
                  <a:pt x="178631" y="423531"/>
                  <a:pt x="178939" y="423225"/>
                </a:cubicBezTo>
                <a:cubicBezTo>
                  <a:pt x="182931" y="410823"/>
                  <a:pt x="184927" y="404621"/>
                  <a:pt x="185925" y="401521"/>
                </a:cubicBezTo>
                <a:close/>
                <a:moveTo>
                  <a:pt x="231662" y="398173"/>
                </a:moveTo>
                <a:lnTo>
                  <a:pt x="231459" y="398200"/>
                </a:lnTo>
                <a:cubicBezTo>
                  <a:pt x="228696" y="398813"/>
                  <a:pt x="227928" y="399809"/>
                  <a:pt x="228273" y="400881"/>
                </a:cubicBezTo>
                <a:lnTo>
                  <a:pt x="231766" y="404021"/>
                </a:lnTo>
                <a:close/>
                <a:moveTo>
                  <a:pt x="234748" y="398152"/>
                </a:moveTo>
                <a:lnTo>
                  <a:pt x="234670" y="404089"/>
                </a:lnTo>
                <a:lnTo>
                  <a:pt x="234806" y="404021"/>
                </a:lnTo>
                <a:cubicBezTo>
                  <a:pt x="237876" y="402183"/>
                  <a:pt x="240332" y="399426"/>
                  <a:pt x="235113" y="398200"/>
                </a:cubicBezTo>
                <a:close/>
                <a:moveTo>
                  <a:pt x="185694" y="394439"/>
                </a:moveTo>
                <a:cubicBezTo>
                  <a:pt x="186923" y="395052"/>
                  <a:pt x="188151" y="395970"/>
                  <a:pt x="189379" y="397195"/>
                </a:cubicBezTo>
                <a:lnTo>
                  <a:pt x="189659" y="400544"/>
                </a:lnTo>
                <a:lnTo>
                  <a:pt x="186935" y="398568"/>
                </a:lnTo>
                <a:lnTo>
                  <a:pt x="186923" y="398420"/>
                </a:lnTo>
                <a:lnTo>
                  <a:pt x="186886" y="398533"/>
                </a:lnTo>
                <a:lnTo>
                  <a:pt x="184834" y="397045"/>
                </a:lnTo>
                <a:close/>
                <a:moveTo>
                  <a:pt x="155052" y="393564"/>
                </a:moveTo>
                <a:cubicBezTo>
                  <a:pt x="154439" y="393564"/>
                  <a:pt x="153825" y="394177"/>
                  <a:pt x="153825" y="394790"/>
                </a:cubicBezTo>
                <a:cubicBezTo>
                  <a:pt x="153825" y="398468"/>
                  <a:pt x="153825" y="398468"/>
                  <a:pt x="153825" y="398468"/>
                </a:cubicBezTo>
                <a:cubicBezTo>
                  <a:pt x="153825" y="399081"/>
                  <a:pt x="154439" y="399694"/>
                  <a:pt x="155052" y="399694"/>
                </a:cubicBezTo>
                <a:cubicBezTo>
                  <a:pt x="161189" y="399694"/>
                  <a:pt x="161189" y="399694"/>
                  <a:pt x="161189" y="399694"/>
                </a:cubicBezTo>
                <a:cubicBezTo>
                  <a:pt x="161803" y="399694"/>
                  <a:pt x="162417" y="399081"/>
                  <a:pt x="162417" y="398468"/>
                </a:cubicBezTo>
                <a:cubicBezTo>
                  <a:pt x="162417" y="394790"/>
                  <a:pt x="162417" y="394790"/>
                  <a:pt x="162417" y="394790"/>
                </a:cubicBezTo>
                <a:cubicBezTo>
                  <a:pt x="162417" y="394177"/>
                  <a:pt x="161803" y="393564"/>
                  <a:pt x="161189" y="393564"/>
                </a:cubicBezTo>
                <a:cubicBezTo>
                  <a:pt x="155052" y="393564"/>
                  <a:pt x="155052" y="393564"/>
                  <a:pt x="155052" y="393564"/>
                </a:cubicBezTo>
                <a:close/>
                <a:moveTo>
                  <a:pt x="144312" y="393564"/>
                </a:moveTo>
                <a:cubicBezTo>
                  <a:pt x="143698" y="393564"/>
                  <a:pt x="143085" y="394177"/>
                  <a:pt x="143085" y="394790"/>
                </a:cubicBezTo>
                <a:cubicBezTo>
                  <a:pt x="143085" y="398468"/>
                  <a:pt x="143085" y="398468"/>
                  <a:pt x="143085" y="398468"/>
                </a:cubicBezTo>
                <a:cubicBezTo>
                  <a:pt x="143085" y="399081"/>
                  <a:pt x="143698" y="399694"/>
                  <a:pt x="144312" y="399694"/>
                </a:cubicBezTo>
                <a:cubicBezTo>
                  <a:pt x="150449" y="399694"/>
                  <a:pt x="150449" y="399694"/>
                  <a:pt x="150449" y="399694"/>
                </a:cubicBezTo>
                <a:cubicBezTo>
                  <a:pt x="151063" y="399694"/>
                  <a:pt x="151677" y="399081"/>
                  <a:pt x="151677" y="398468"/>
                </a:cubicBezTo>
                <a:cubicBezTo>
                  <a:pt x="151677" y="394790"/>
                  <a:pt x="151677" y="394790"/>
                  <a:pt x="151677" y="394790"/>
                </a:cubicBezTo>
                <a:cubicBezTo>
                  <a:pt x="151677" y="394177"/>
                  <a:pt x="151063" y="393564"/>
                  <a:pt x="150449" y="393564"/>
                </a:cubicBezTo>
                <a:cubicBezTo>
                  <a:pt x="144312" y="393564"/>
                  <a:pt x="144312" y="393564"/>
                  <a:pt x="144312" y="393564"/>
                </a:cubicBezTo>
                <a:close/>
                <a:moveTo>
                  <a:pt x="133572" y="393564"/>
                </a:moveTo>
                <a:cubicBezTo>
                  <a:pt x="132958" y="393564"/>
                  <a:pt x="132345" y="394177"/>
                  <a:pt x="132345" y="394790"/>
                </a:cubicBezTo>
                <a:cubicBezTo>
                  <a:pt x="132345" y="398468"/>
                  <a:pt x="132345" y="398468"/>
                  <a:pt x="132345" y="398468"/>
                </a:cubicBezTo>
                <a:cubicBezTo>
                  <a:pt x="132345" y="399081"/>
                  <a:pt x="132958" y="399694"/>
                  <a:pt x="133572" y="399694"/>
                </a:cubicBezTo>
                <a:cubicBezTo>
                  <a:pt x="139709" y="399694"/>
                  <a:pt x="139709" y="399694"/>
                  <a:pt x="139709" y="399694"/>
                </a:cubicBezTo>
                <a:cubicBezTo>
                  <a:pt x="140323" y="399694"/>
                  <a:pt x="140937" y="399081"/>
                  <a:pt x="140937" y="398468"/>
                </a:cubicBezTo>
                <a:cubicBezTo>
                  <a:pt x="140937" y="394790"/>
                  <a:pt x="140937" y="394790"/>
                  <a:pt x="140937" y="394790"/>
                </a:cubicBezTo>
                <a:cubicBezTo>
                  <a:pt x="140937" y="394177"/>
                  <a:pt x="140323" y="393564"/>
                  <a:pt x="139709" y="393564"/>
                </a:cubicBezTo>
                <a:close/>
                <a:moveTo>
                  <a:pt x="206269" y="393214"/>
                </a:moveTo>
                <a:cubicBezTo>
                  <a:pt x="213639" y="393214"/>
                  <a:pt x="219780" y="399033"/>
                  <a:pt x="219780" y="406382"/>
                </a:cubicBezTo>
                <a:lnTo>
                  <a:pt x="213492" y="421388"/>
                </a:lnTo>
                <a:lnTo>
                  <a:pt x="209378" y="415837"/>
                </a:lnTo>
                <a:cubicBezTo>
                  <a:pt x="208725" y="414957"/>
                  <a:pt x="208725" y="414957"/>
                  <a:pt x="208725" y="414957"/>
                </a:cubicBezTo>
                <a:cubicBezTo>
                  <a:pt x="208725" y="414957"/>
                  <a:pt x="208725" y="414957"/>
                  <a:pt x="208418" y="414651"/>
                </a:cubicBezTo>
                <a:cubicBezTo>
                  <a:pt x="207804" y="414344"/>
                  <a:pt x="207190" y="414651"/>
                  <a:pt x="206883" y="415263"/>
                </a:cubicBezTo>
                <a:cubicBezTo>
                  <a:pt x="202277" y="422919"/>
                  <a:pt x="202277" y="422919"/>
                  <a:pt x="202277" y="422919"/>
                </a:cubicBezTo>
                <a:cubicBezTo>
                  <a:pt x="198592" y="413732"/>
                  <a:pt x="198592" y="413732"/>
                  <a:pt x="198592" y="413732"/>
                </a:cubicBezTo>
                <a:cubicBezTo>
                  <a:pt x="198592" y="413426"/>
                  <a:pt x="198285" y="413119"/>
                  <a:pt x="197978" y="413119"/>
                </a:cubicBezTo>
                <a:cubicBezTo>
                  <a:pt x="197363" y="412813"/>
                  <a:pt x="196442" y="413119"/>
                  <a:pt x="196442" y="414038"/>
                </a:cubicBezTo>
                <a:cubicBezTo>
                  <a:pt x="191836" y="426594"/>
                  <a:pt x="191836" y="426594"/>
                  <a:pt x="191836" y="426594"/>
                </a:cubicBezTo>
                <a:cubicBezTo>
                  <a:pt x="190608" y="411894"/>
                  <a:pt x="189993" y="404545"/>
                  <a:pt x="189686" y="400870"/>
                </a:cubicBezTo>
                <a:lnTo>
                  <a:pt x="189659" y="400544"/>
                </a:lnTo>
                <a:lnTo>
                  <a:pt x="193064" y="403014"/>
                </a:lnTo>
                <a:cubicBezTo>
                  <a:pt x="196442" y="396276"/>
                  <a:pt x="199513" y="393214"/>
                  <a:pt x="206269" y="393214"/>
                </a:cubicBezTo>
                <a:close/>
                <a:moveTo>
                  <a:pt x="179553" y="393214"/>
                </a:moveTo>
                <a:lnTo>
                  <a:pt x="184834" y="397045"/>
                </a:lnTo>
                <a:lnTo>
                  <a:pt x="178708" y="415608"/>
                </a:lnTo>
                <a:cubicBezTo>
                  <a:pt x="177710" y="418632"/>
                  <a:pt x="177710" y="418632"/>
                  <a:pt x="177710" y="418632"/>
                </a:cubicBezTo>
                <a:cubicBezTo>
                  <a:pt x="176175" y="414651"/>
                  <a:pt x="176175" y="414651"/>
                  <a:pt x="176175" y="414651"/>
                </a:cubicBezTo>
                <a:cubicBezTo>
                  <a:pt x="176175" y="414344"/>
                  <a:pt x="176175" y="414038"/>
                  <a:pt x="175868" y="414038"/>
                </a:cubicBezTo>
                <a:cubicBezTo>
                  <a:pt x="175561" y="413426"/>
                  <a:pt x="174639" y="413426"/>
                  <a:pt x="174332" y="414038"/>
                </a:cubicBezTo>
                <a:lnTo>
                  <a:pt x="170985" y="417599"/>
                </a:lnTo>
                <a:lnTo>
                  <a:pt x="166348" y="406382"/>
                </a:lnTo>
                <a:cubicBezTo>
                  <a:pt x="166348" y="399033"/>
                  <a:pt x="172183" y="393214"/>
                  <a:pt x="179553" y="393214"/>
                </a:cubicBezTo>
                <a:close/>
                <a:moveTo>
                  <a:pt x="237599" y="389009"/>
                </a:moveTo>
                <a:lnTo>
                  <a:pt x="238765" y="389009"/>
                </a:lnTo>
                <a:lnTo>
                  <a:pt x="238520" y="389315"/>
                </a:lnTo>
                <a:cubicBezTo>
                  <a:pt x="238213" y="389315"/>
                  <a:pt x="237906" y="389315"/>
                  <a:pt x="237599" y="389009"/>
                </a:cubicBezTo>
                <a:close/>
                <a:moveTo>
                  <a:pt x="228700" y="388854"/>
                </a:moveTo>
                <a:lnTo>
                  <a:pt x="228973" y="389009"/>
                </a:lnTo>
                <a:cubicBezTo>
                  <a:pt x="228666" y="389315"/>
                  <a:pt x="228359" y="389315"/>
                  <a:pt x="228052" y="389315"/>
                </a:cubicBezTo>
                <a:lnTo>
                  <a:pt x="227806" y="389009"/>
                </a:lnTo>
                <a:lnTo>
                  <a:pt x="228666" y="389009"/>
                </a:lnTo>
                <a:close/>
                <a:moveTo>
                  <a:pt x="240669" y="385333"/>
                </a:moveTo>
                <a:cubicBezTo>
                  <a:pt x="240362" y="385333"/>
                  <a:pt x="240055" y="385333"/>
                  <a:pt x="239441" y="385639"/>
                </a:cubicBezTo>
                <a:cubicBezTo>
                  <a:pt x="238827" y="385639"/>
                  <a:pt x="238827" y="386252"/>
                  <a:pt x="238827" y="386252"/>
                </a:cubicBezTo>
                <a:cubicBezTo>
                  <a:pt x="239134" y="386558"/>
                  <a:pt x="239441" y="386558"/>
                  <a:pt x="240055" y="386252"/>
                </a:cubicBezTo>
                <a:cubicBezTo>
                  <a:pt x="240362" y="385945"/>
                  <a:pt x="240669" y="385639"/>
                  <a:pt x="240669" y="385333"/>
                </a:cubicBezTo>
                <a:close/>
                <a:moveTo>
                  <a:pt x="225903" y="385333"/>
                </a:moveTo>
                <a:cubicBezTo>
                  <a:pt x="225596" y="385639"/>
                  <a:pt x="225903" y="385945"/>
                  <a:pt x="226517" y="386252"/>
                </a:cubicBezTo>
                <a:cubicBezTo>
                  <a:pt x="226824" y="386558"/>
                  <a:pt x="227438" y="386558"/>
                  <a:pt x="227438" y="386252"/>
                </a:cubicBezTo>
                <a:cubicBezTo>
                  <a:pt x="227745" y="386252"/>
                  <a:pt x="227438" y="385639"/>
                  <a:pt x="226824" y="385639"/>
                </a:cubicBezTo>
                <a:cubicBezTo>
                  <a:pt x="226517" y="385333"/>
                  <a:pt x="225903" y="385333"/>
                  <a:pt x="225903" y="385333"/>
                </a:cubicBezTo>
                <a:close/>
                <a:moveTo>
                  <a:pt x="242746" y="365317"/>
                </a:moveTo>
                <a:cubicBezTo>
                  <a:pt x="243666" y="365317"/>
                  <a:pt x="244280" y="365623"/>
                  <a:pt x="244894" y="365623"/>
                </a:cubicBezTo>
                <a:cubicBezTo>
                  <a:pt x="246429" y="366235"/>
                  <a:pt x="247656" y="366847"/>
                  <a:pt x="249191" y="367153"/>
                </a:cubicBezTo>
                <a:cubicBezTo>
                  <a:pt x="251646" y="368070"/>
                  <a:pt x="255022" y="368376"/>
                  <a:pt x="257478" y="368376"/>
                </a:cubicBezTo>
                <a:cubicBezTo>
                  <a:pt x="263309" y="368376"/>
                  <a:pt x="269448" y="368376"/>
                  <a:pt x="275279" y="368376"/>
                </a:cubicBezTo>
                <a:cubicBezTo>
                  <a:pt x="273438" y="372048"/>
                  <a:pt x="268220" y="373577"/>
                  <a:pt x="264230" y="372660"/>
                </a:cubicBezTo>
                <a:cubicBezTo>
                  <a:pt x="264537" y="373883"/>
                  <a:pt x="263923" y="374801"/>
                  <a:pt x="263002" y="375413"/>
                </a:cubicBezTo>
                <a:cubicBezTo>
                  <a:pt x="261775" y="376331"/>
                  <a:pt x="259933" y="376331"/>
                  <a:pt x="258399" y="375719"/>
                </a:cubicBezTo>
                <a:cubicBezTo>
                  <a:pt x="258092" y="377555"/>
                  <a:pt x="257171" y="378778"/>
                  <a:pt x="255022" y="379390"/>
                </a:cubicBezTo>
                <a:cubicBezTo>
                  <a:pt x="254716" y="379390"/>
                  <a:pt x="254409" y="379390"/>
                  <a:pt x="253795" y="379390"/>
                </a:cubicBezTo>
                <a:cubicBezTo>
                  <a:pt x="253181" y="379390"/>
                  <a:pt x="252567" y="379390"/>
                  <a:pt x="251953" y="379084"/>
                </a:cubicBezTo>
                <a:cubicBezTo>
                  <a:pt x="251033" y="379084"/>
                  <a:pt x="250726" y="378778"/>
                  <a:pt x="249805" y="378167"/>
                </a:cubicBezTo>
                <a:cubicBezTo>
                  <a:pt x="249498" y="379084"/>
                  <a:pt x="249191" y="380308"/>
                  <a:pt x="248270" y="380920"/>
                </a:cubicBezTo>
                <a:cubicBezTo>
                  <a:pt x="247043" y="381532"/>
                  <a:pt x="245508" y="381226"/>
                  <a:pt x="244587" y="380614"/>
                </a:cubicBezTo>
                <a:cubicBezTo>
                  <a:pt x="243973" y="381226"/>
                  <a:pt x="243973" y="381226"/>
                  <a:pt x="243666" y="381532"/>
                </a:cubicBezTo>
                <a:cubicBezTo>
                  <a:pt x="242132" y="382144"/>
                  <a:pt x="239676" y="381226"/>
                  <a:pt x="238142" y="380920"/>
                </a:cubicBezTo>
                <a:cubicBezTo>
                  <a:pt x="237528" y="380614"/>
                  <a:pt x="237221" y="380614"/>
                  <a:pt x="236607" y="380614"/>
                </a:cubicBezTo>
                <a:cubicBezTo>
                  <a:pt x="236607" y="376943"/>
                  <a:pt x="236607" y="373271"/>
                  <a:pt x="236607" y="369600"/>
                </a:cubicBezTo>
                <a:cubicBezTo>
                  <a:pt x="238449" y="369600"/>
                  <a:pt x="238756" y="369600"/>
                  <a:pt x="239676" y="368376"/>
                </a:cubicBezTo>
                <a:cubicBezTo>
                  <a:pt x="240290" y="367458"/>
                  <a:pt x="239983" y="366541"/>
                  <a:pt x="240904" y="365929"/>
                </a:cubicBezTo>
                <a:cubicBezTo>
                  <a:pt x="241518" y="365623"/>
                  <a:pt x="242132" y="365317"/>
                  <a:pt x="242746" y="365317"/>
                </a:cubicBezTo>
                <a:close/>
                <a:moveTo>
                  <a:pt x="223839" y="365317"/>
                </a:moveTo>
                <a:cubicBezTo>
                  <a:pt x="224146" y="365317"/>
                  <a:pt x="224760" y="365623"/>
                  <a:pt x="225373" y="365929"/>
                </a:cubicBezTo>
                <a:cubicBezTo>
                  <a:pt x="226601" y="366541"/>
                  <a:pt x="226294" y="367458"/>
                  <a:pt x="226908" y="368376"/>
                </a:cubicBezTo>
                <a:cubicBezTo>
                  <a:pt x="227829" y="369600"/>
                  <a:pt x="228136" y="369600"/>
                  <a:pt x="229670" y="369600"/>
                </a:cubicBezTo>
                <a:cubicBezTo>
                  <a:pt x="229670" y="373271"/>
                  <a:pt x="229670" y="376943"/>
                  <a:pt x="229670" y="380614"/>
                </a:cubicBezTo>
                <a:cubicBezTo>
                  <a:pt x="229363" y="380614"/>
                  <a:pt x="228749" y="380614"/>
                  <a:pt x="228136" y="380920"/>
                </a:cubicBezTo>
                <a:cubicBezTo>
                  <a:pt x="226601" y="381226"/>
                  <a:pt x="224453" y="382144"/>
                  <a:pt x="222918" y="381532"/>
                </a:cubicBezTo>
                <a:cubicBezTo>
                  <a:pt x="222304" y="381226"/>
                  <a:pt x="222304" y="381226"/>
                  <a:pt x="221997" y="380614"/>
                </a:cubicBezTo>
                <a:cubicBezTo>
                  <a:pt x="220770" y="381226"/>
                  <a:pt x="219542" y="381532"/>
                  <a:pt x="218314" y="380920"/>
                </a:cubicBezTo>
                <a:cubicBezTo>
                  <a:pt x="217087" y="380308"/>
                  <a:pt x="216780" y="379084"/>
                  <a:pt x="216473" y="378167"/>
                </a:cubicBezTo>
                <a:cubicBezTo>
                  <a:pt x="215859" y="378778"/>
                  <a:pt x="215245" y="379084"/>
                  <a:pt x="214631" y="379084"/>
                </a:cubicBezTo>
                <a:cubicBezTo>
                  <a:pt x="213710" y="379390"/>
                  <a:pt x="213403" y="379390"/>
                  <a:pt x="212790" y="379390"/>
                </a:cubicBezTo>
                <a:cubicBezTo>
                  <a:pt x="212176" y="379390"/>
                  <a:pt x="211562" y="379390"/>
                  <a:pt x="211255" y="379390"/>
                </a:cubicBezTo>
                <a:cubicBezTo>
                  <a:pt x="209413" y="378778"/>
                  <a:pt x="208493" y="377555"/>
                  <a:pt x="208186" y="375719"/>
                </a:cubicBezTo>
                <a:cubicBezTo>
                  <a:pt x="206651" y="376331"/>
                  <a:pt x="204810" y="376331"/>
                  <a:pt x="203275" y="375413"/>
                </a:cubicBezTo>
                <a:cubicBezTo>
                  <a:pt x="202661" y="374801"/>
                  <a:pt x="202047" y="373883"/>
                  <a:pt x="202047" y="372660"/>
                </a:cubicBezTo>
                <a:cubicBezTo>
                  <a:pt x="198057" y="373577"/>
                  <a:pt x="193147" y="372048"/>
                  <a:pt x="190998" y="368376"/>
                </a:cubicBezTo>
                <a:cubicBezTo>
                  <a:pt x="197137" y="368376"/>
                  <a:pt x="202968" y="368376"/>
                  <a:pt x="208800" y="368376"/>
                </a:cubicBezTo>
                <a:cubicBezTo>
                  <a:pt x="211562" y="368376"/>
                  <a:pt x="214631" y="368070"/>
                  <a:pt x="217087" y="367153"/>
                </a:cubicBezTo>
                <a:cubicBezTo>
                  <a:pt x="218621" y="366847"/>
                  <a:pt x="219849" y="366235"/>
                  <a:pt x="221383" y="365623"/>
                </a:cubicBezTo>
                <a:cubicBezTo>
                  <a:pt x="222304" y="365623"/>
                  <a:pt x="222918" y="365317"/>
                  <a:pt x="223839" y="365317"/>
                </a:cubicBezTo>
                <a:close/>
                <a:moveTo>
                  <a:pt x="147381" y="360155"/>
                </a:moveTo>
                <a:cubicBezTo>
                  <a:pt x="150449" y="360155"/>
                  <a:pt x="153211" y="361381"/>
                  <a:pt x="155052" y="363220"/>
                </a:cubicBezTo>
                <a:cubicBezTo>
                  <a:pt x="157200" y="365366"/>
                  <a:pt x="158428" y="368124"/>
                  <a:pt x="158428" y="371189"/>
                </a:cubicBezTo>
                <a:cubicBezTo>
                  <a:pt x="158428" y="374254"/>
                  <a:pt x="157200" y="376706"/>
                  <a:pt x="155052" y="378852"/>
                </a:cubicBezTo>
                <a:cubicBezTo>
                  <a:pt x="153211" y="380691"/>
                  <a:pt x="150449" y="381917"/>
                  <a:pt x="147381" y="381917"/>
                </a:cubicBezTo>
                <a:cubicBezTo>
                  <a:pt x="144312" y="381917"/>
                  <a:pt x="141550" y="380691"/>
                  <a:pt x="139709" y="378852"/>
                </a:cubicBezTo>
                <a:cubicBezTo>
                  <a:pt x="137561" y="376706"/>
                  <a:pt x="136334" y="374254"/>
                  <a:pt x="136334" y="371189"/>
                </a:cubicBezTo>
                <a:cubicBezTo>
                  <a:pt x="136334" y="368124"/>
                  <a:pt x="137561" y="365366"/>
                  <a:pt x="139709" y="363220"/>
                </a:cubicBezTo>
                <a:cubicBezTo>
                  <a:pt x="141550" y="361381"/>
                  <a:pt x="144312" y="360155"/>
                  <a:pt x="147381" y="360155"/>
                </a:cubicBezTo>
                <a:close/>
                <a:moveTo>
                  <a:pt x="233293" y="358970"/>
                </a:moveTo>
                <a:cubicBezTo>
                  <a:pt x="235769" y="358970"/>
                  <a:pt x="237935" y="360806"/>
                  <a:pt x="237935" y="363561"/>
                </a:cubicBezTo>
                <a:cubicBezTo>
                  <a:pt x="237935" y="365397"/>
                  <a:pt x="237007" y="367233"/>
                  <a:pt x="235150" y="367845"/>
                </a:cubicBezTo>
                <a:lnTo>
                  <a:pt x="234823" y="392548"/>
                </a:lnTo>
                <a:lnTo>
                  <a:pt x="244967" y="390235"/>
                </a:lnTo>
                <a:cubicBezTo>
                  <a:pt x="245581" y="389622"/>
                  <a:pt x="246195" y="388703"/>
                  <a:pt x="245581" y="387784"/>
                </a:cubicBezTo>
                <a:cubicBezTo>
                  <a:pt x="245274" y="387477"/>
                  <a:pt x="244967" y="387171"/>
                  <a:pt x="244353" y="387171"/>
                </a:cubicBezTo>
                <a:cubicBezTo>
                  <a:pt x="244046" y="387477"/>
                  <a:pt x="242511" y="388703"/>
                  <a:pt x="241590" y="389009"/>
                </a:cubicBezTo>
                <a:lnTo>
                  <a:pt x="238765" y="389009"/>
                </a:lnTo>
                <a:lnTo>
                  <a:pt x="239748" y="387784"/>
                </a:lnTo>
                <a:cubicBezTo>
                  <a:pt x="239134" y="388396"/>
                  <a:pt x="238213" y="388703"/>
                  <a:pt x="237599" y="389009"/>
                </a:cubicBezTo>
                <a:cubicBezTo>
                  <a:pt x="236678" y="388703"/>
                  <a:pt x="236678" y="387171"/>
                  <a:pt x="237292" y="386252"/>
                </a:cubicBezTo>
                <a:cubicBezTo>
                  <a:pt x="237599" y="385333"/>
                  <a:pt x="238520" y="384414"/>
                  <a:pt x="239134" y="383801"/>
                </a:cubicBezTo>
                <a:cubicBezTo>
                  <a:pt x="239748" y="383495"/>
                  <a:pt x="240362" y="383495"/>
                  <a:pt x="240976" y="383188"/>
                </a:cubicBezTo>
                <a:cubicBezTo>
                  <a:pt x="243125" y="382882"/>
                  <a:pt x="246502" y="383495"/>
                  <a:pt x="248037" y="384414"/>
                </a:cubicBezTo>
                <a:cubicBezTo>
                  <a:pt x="249572" y="385639"/>
                  <a:pt x="250186" y="387171"/>
                  <a:pt x="249879" y="388703"/>
                </a:cubicBezTo>
                <a:cubicBezTo>
                  <a:pt x="249879" y="390235"/>
                  <a:pt x="249265" y="391460"/>
                  <a:pt x="248344" y="392379"/>
                </a:cubicBezTo>
                <a:lnTo>
                  <a:pt x="241319" y="396399"/>
                </a:lnTo>
                <a:lnTo>
                  <a:pt x="242481" y="404327"/>
                </a:lnTo>
                <a:lnTo>
                  <a:pt x="237578" y="406880"/>
                </a:lnTo>
                <a:lnTo>
                  <a:pt x="240055" y="408004"/>
                </a:lnTo>
                <a:cubicBezTo>
                  <a:pt x="242818" y="409842"/>
                  <a:pt x="242818" y="412599"/>
                  <a:pt x="241590" y="415356"/>
                </a:cubicBezTo>
                <a:cubicBezTo>
                  <a:pt x="240669" y="416888"/>
                  <a:pt x="239748" y="417501"/>
                  <a:pt x="237906" y="418114"/>
                </a:cubicBezTo>
                <a:lnTo>
                  <a:pt x="235841" y="418702"/>
                </a:lnTo>
                <a:lnTo>
                  <a:pt x="239718" y="422403"/>
                </a:lnTo>
                <a:lnTo>
                  <a:pt x="235034" y="429001"/>
                </a:lnTo>
                <a:lnTo>
                  <a:pt x="236678" y="431134"/>
                </a:lnTo>
                <a:cubicBezTo>
                  <a:pt x="238520" y="433202"/>
                  <a:pt x="240208" y="434964"/>
                  <a:pt x="240362" y="435270"/>
                </a:cubicBezTo>
                <a:cubicBezTo>
                  <a:pt x="239441" y="435576"/>
                  <a:pt x="238213" y="434657"/>
                  <a:pt x="237906" y="434657"/>
                </a:cubicBezTo>
                <a:lnTo>
                  <a:pt x="234303" y="431781"/>
                </a:lnTo>
                <a:lnTo>
                  <a:pt x="234236" y="436834"/>
                </a:lnTo>
                <a:cubicBezTo>
                  <a:pt x="234221" y="437929"/>
                  <a:pt x="234221" y="437929"/>
                  <a:pt x="234221" y="437929"/>
                </a:cubicBezTo>
                <a:cubicBezTo>
                  <a:pt x="234221" y="445274"/>
                  <a:pt x="232365" y="446498"/>
                  <a:pt x="232365" y="437929"/>
                </a:cubicBezTo>
                <a:lnTo>
                  <a:pt x="232252" y="431549"/>
                </a:lnTo>
                <a:lnTo>
                  <a:pt x="228359" y="434657"/>
                </a:lnTo>
                <a:cubicBezTo>
                  <a:pt x="228359" y="434657"/>
                  <a:pt x="227131" y="435576"/>
                  <a:pt x="225903" y="435270"/>
                </a:cubicBezTo>
                <a:cubicBezTo>
                  <a:pt x="226056" y="434964"/>
                  <a:pt x="227822" y="433202"/>
                  <a:pt x="229740" y="431134"/>
                </a:cubicBezTo>
                <a:lnTo>
                  <a:pt x="231343" y="429122"/>
                </a:lnTo>
                <a:lnTo>
                  <a:pt x="226853" y="422403"/>
                </a:lnTo>
                <a:lnTo>
                  <a:pt x="230695" y="418735"/>
                </a:lnTo>
                <a:lnTo>
                  <a:pt x="228359" y="418114"/>
                </a:lnTo>
                <a:cubicBezTo>
                  <a:pt x="226824" y="417501"/>
                  <a:pt x="225596" y="416888"/>
                  <a:pt x="224982" y="415356"/>
                </a:cubicBezTo>
                <a:cubicBezTo>
                  <a:pt x="223446" y="412599"/>
                  <a:pt x="223753" y="409842"/>
                  <a:pt x="226517" y="408004"/>
                </a:cubicBezTo>
                <a:lnTo>
                  <a:pt x="228945" y="406902"/>
                </a:lnTo>
                <a:lnTo>
                  <a:pt x="223783" y="404327"/>
                </a:lnTo>
                <a:lnTo>
                  <a:pt x="225066" y="396349"/>
                </a:lnTo>
                <a:lnTo>
                  <a:pt x="218227" y="392379"/>
                </a:lnTo>
                <a:cubicBezTo>
                  <a:pt x="216999" y="391460"/>
                  <a:pt x="216385" y="390235"/>
                  <a:pt x="216385" y="388703"/>
                </a:cubicBezTo>
                <a:cubicBezTo>
                  <a:pt x="216385" y="387171"/>
                  <a:pt x="216692" y="385639"/>
                  <a:pt x="218227" y="384414"/>
                </a:cubicBezTo>
                <a:cubicBezTo>
                  <a:pt x="220069" y="383495"/>
                  <a:pt x="223446" y="382882"/>
                  <a:pt x="225289" y="383188"/>
                </a:cubicBezTo>
                <a:cubicBezTo>
                  <a:pt x="225903" y="383495"/>
                  <a:pt x="226517" y="383495"/>
                  <a:pt x="227131" y="383801"/>
                </a:cubicBezTo>
                <a:cubicBezTo>
                  <a:pt x="228052" y="384414"/>
                  <a:pt x="228666" y="385333"/>
                  <a:pt x="229280" y="386252"/>
                </a:cubicBezTo>
                <a:lnTo>
                  <a:pt x="228700" y="388854"/>
                </a:lnTo>
                <a:lnTo>
                  <a:pt x="226824" y="387784"/>
                </a:lnTo>
                <a:lnTo>
                  <a:pt x="227806" y="389009"/>
                </a:lnTo>
                <a:lnTo>
                  <a:pt x="224675" y="389009"/>
                </a:lnTo>
                <a:cubicBezTo>
                  <a:pt x="223753" y="388703"/>
                  <a:pt x="222525" y="387477"/>
                  <a:pt x="221911" y="387171"/>
                </a:cubicBezTo>
                <a:cubicBezTo>
                  <a:pt x="221604" y="387171"/>
                  <a:pt x="220990" y="387477"/>
                  <a:pt x="220683" y="387784"/>
                </a:cubicBezTo>
                <a:cubicBezTo>
                  <a:pt x="220069" y="388703"/>
                  <a:pt x="220683" y="389622"/>
                  <a:pt x="221604" y="390235"/>
                </a:cubicBezTo>
                <a:lnTo>
                  <a:pt x="231564" y="392573"/>
                </a:lnTo>
                <a:lnTo>
                  <a:pt x="231281" y="376606"/>
                </a:lnTo>
                <a:cubicBezTo>
                  <a:pt x="231127" y="367845"/>
                  <a:pt x="231127" y="367845"/>
                  <a:pt x="231127" y="367845"/>
                </a:cubicBezTo>
                <a:cubicBezTo>
                  <a:pt x="229579" y="367233"/>
                  <a:pt x="228341" y="365397"/>
                  <a:pt x="228341" y="363561"/>
                </a:cubicBezTo>
                <a:cubicBezTo>
                  <a:pt x="228341" y="360806"/>
                  <a:pt x="230508" y="358970"/>
                  <a:pt x="233293" y="358970"/>
                </a:cubicBezTo>
                <a:close/>
                <a:moveTo>
                  <a:pt x="147381" y="358929"/>
                </a:moveTo>
                <a:cubicBezTo>
                  <a:pt x="144005" y="358929"/>
                  <a:pt x="140937" y="360155"/>
                  <a:pt x="138789" y="362301"/>
                </a:cubicBezTo>
                <a:cubicBezTo>
                  <a:pt x="136334" y="364753"/>
                  <a:pt x="135106" y="367818"/>
                  <a:pt x="135106" y="371189"/>
                </a:cubicBezTo>
                <a:cubicBezTo>
                  <a:pt x="135106" y="374561"/>
                  <a:pt x="136334" y="377626"/>
                  <a:pt x="138789" y="379771"/>
                </a:cubicBezTo>
                <a:cubicBezTo>
                  <a:pt x="140937" y="381917"/>
                  <a:pt x="144005" y="383449"/>
                  <a:pt x="147381" y="383449"/>
                </a:cubicBezTo>
                <a:cubicBezTo>
                  <a:pt x="150756" y="383449"/>
                  <a:pt x="153825" y="381917"/>
                  <a:pt x="155973" y="379771"/>
                </a:cubicBezTo>
                <a:cubicBezTo>
                  <a:pt x="158428" y="377626"/>
                  <a:pt x="159655" y="374561"/>
                  <a:pt x="159655" y="371189"/>
                </a:cubicBezTo>
                <a:cubicBezTo>
                  <a:pt x="159655" y="367818"/>
                  <a:pt x="158428" y="364753"/>
                  <a:pt x="155973" y="362301"/>
                </a:cubicBezTo>
                <a:cubicBezTo>
                  <a:pt x="153825" y="360155"/>
                  <a:pt x="150756" y="358929"/>
                  <a:pt x="147381" y="358929"/>
                </a:cubicBezTo>
                <a:close/>
                <a:moveTo>
                  <a:pt x="292250" y="353965"/>
                </a:moveTo>
                <a:cubicBezTo>
                  <a:pt x="287954" y="353965"/>
                  <a:pt x="284271" y="357336"/>
                  <a:pt x="284271" y="361933"/>
                </a:cubicBezTo>
                <a:cubicBezTo>
                  <a:pt x="284271" y="366224"/>
                  <a:pt x="287954" y="369595"/>
                  <a:pt x="292250" y="369595"/>
                </a:cubicBezTo>
                <a:cubicBezTo>
                  <a:pt x="296547" y="369595"/>
                  <a:pt x="299922" y="366224"/>
                  <a:pt x="299922" y="361933"/>
                </a:cubicBezTo>
                <a:cubicBezTo>
                  <a:pt x="299922" y="357336"/>
                  <a:pt x="296547" y="353965"/>
                  <a:pt x="292250" y="353965"/>
                </a:cubicBezTo>
                <a:close/>
                <a:moveTo>
                  <a:pt x="248047" y="347918"/>
                </a:moveTo>
                <a:cubicBezTo>
                  <a:pt x="247740" y="347918"/>
                  <a:pt x="247434" y="347918"/>
                  <a:pt x="247128" y="348224"/>
                </a:cubicBezTo>
                <a:cubicBezTo>
                  <a:pt x="246822" y="348531"/>
                  <a:pt x="246515" y="349143"/>
                  <a:pt x="246515" y="349449"/>
                </a:cubicBezTo>
                <a:cubicBezTo>
                  <a:pt x="246515" y="349756"/>
                  <a:pt x="246822" y="350368"/>
                  <a:pt x="247128" y="350674"/>
                </a:cubicBezTo>
                <a:cubicBezTo>
                  <a:pt x="247434" y="350674"/>
                  <a:pt x="247740" y="350981"/>
                  <a:pt x="248047" y="350981"/>
                </a:cubicBezTo>
                <a:cubicBezTo>
                  <a:pt x="248659" y="350981"/>
                  <a:pt x="248966" y="350674"/>
                  <a:pt x="249272" y="350674"/>
                </a:cubicBezTo>
                <a:cubicBezTo>
                  <a:pt x="249578" y="350368"/>
                  <a:pt x="249578" y="349756"/>
                  <a:pt x="249578" y="349449"/>
                </a:cubicBezTo>
                <a:cubicBezTo>
                  <a:pt x="249578" y="349143"/>
                  <a:pt x="249578" y="348531"/>
                  <a:pt x="249272" y="348224"/>
                </a:cubicBezTo>
                <a:cubicBezTo>
                  <a:pt x="248966" y="347918"/>
                  <a:pt x="248659" y="347918"/>
                  <a:pt x="248047" y="347918"/>
                </a:cubicBezTo>
                <a:close/>
                <a:moveTo>
                  <a:pt x="248047" y="343324"/>
                </a:moveTo>
                <a:cubicBezTo>
                  <a:pt x="251416" y="343324"/>
                  <a:pt x="254172" y="346080"/>
                  <a:pt x="254172" y="349449"/>
                </a:cubicBezTo>
                <a:cubicBezTo>
                  <a:pt x="254172" y="352818"/>
                  <a:pt x="251416" y="355575"/>
                  <a:pt x="248047" y="355575"/>
                </a:cubicBezTo>
                <a:cubicBezTo>
                  <a:pt x="244678" y="355575"/>
                  <a:pt x="241921" y="352818"/>
                  <a:pt x="241921" y="349449"/>
                </a:cubicBezTo>
                <a:cubicBezTo>
                  <a:pt x="241921" y="346080"/>
                  <a:pt x="244678" y="343324"/>
                  <a:pt x="248047" y="343324"/>
                </a:cubicBezTo>
                <a:close/>
                <a:moveTo>
                  <a:pt x="248047" y="342037"/>
                </a:moveTo>
                <a:cubicBezTo>
                  <a:pt x="245603" y="342037"/>
                  <a:pt x="243159" y="343260"/>
                  <a:pt x="241327" y="344788"/>
                </a:cubicBezTo>
                <a:cubicBezTo>
                  <a:pt x="239494" y="346621"/>
                  <a:pt x="238578" y="349066"/>
                  <a:pt x="238578" y="351817"/>
                </a:cubicBezTo>
                <a:cubicBezTo>
                  <a:pt x="238578" y="354262"/>
                  <a:pt x="239494" y="356706"/>
                  <a:pt x="241327" y="358540"/>
                </a:cubicBezTo>
                <a:cubicBezTo>
                  <a:pt x="243159" y="360068"/>
                  <a:pt x="245603" y="361290"/>
                  <a:pt x="248047" y="361290"/>
                </a:cubicBezTo>
                <a:cubicBezTo>
                  <a:pt x="250796" y="361290"/>
                  <a:pt x="253240" y="360068"/>
                  <a:pt x="255072" y="358540"/>
                </a:cubicBezTo>
                <a:cubicBezTo>
                  <a:pt x="256600" y="356706"/>
                  <a:pt x="257821" y="354262"/>
                  <a:pt x="257821" y="351817"/>
                </a:cubicBezTo>
                <a:cubicBezTo>
                  <a:pt x="257821" y="349066"/>
                  <a:pt x="256600" y="346621"/>
                  <a:pt x="255072" y="344788"/>
                </a:cubicBezTo>
                <a:cubicBezTo>
                  <a:pt x="253240" y="343260"/>
                  <a:pt x="250796" y="342037"/>
                  <a:pt x="248047" y="342037"/>
                </a:cubicBezTo>
                <a:close/>
                <a:moveTo>
                  <a:pt x="201047" y="341678"/>
                </a:moveTo>
                <a:cubicBezTo>
                  <a:pt x="200125" y="342597"/>
                  <a:pt x="200125" y="343823"/>
                  <a:pt x="201047" y="344743"/>
                </a:cubicBezTo>
                <a:cubicBezTo>
                  <a:pt x="201970" y="345356"/>
                  <a:pt x="203200" y="345356"/>
                  <a:pt x="203815" y="344743"/>
                </a:cubicBezTo>
                <a:cubicBezTo>
                  <a:pt x="204737" y="343823"/>
                  <a:pt x="204737" y="342597"/>
                  <a:pt x="203815" y="341678"/>
                </a:cubicBezTo>
                <a:cubicBezTo>
                  <a:pt x="203200" y="341064"/>
                  <a:pt x="201970" y="341064"/>
                  <a:pt x="201047" y="341678"/>
                </a:cubicBezTo>
                <a:close/>
                <a:moveTo>
                  <a:pt x="213417" y="338850"/>
                </a:moveTo>
                <a:lnTo>
                  <a:pt x="205895" y="346348"/>
                </a:lnTo>
                <a:lnTo>
                  <a:pt x="203073" y="349162"/>
                </a:lnTo>
                <a:lnTo>
                  <a:pt x="208922" y="355034"/>
                </a:lnTo>
                <a:cubicBezTo>
                  <a:pt x="212729" y="358855"/>
                  <a:pt x="212729" y="358855"/>
                  <a:pt x="212729" y="358855"/>
                </a:cubicBezTo>
                <a:cubicBezTo>
                  <a:pt x="214267" y="360078"/>
                  <a:pt x="216112" y="360995"/>
                  <a:pt x="217958" y="360995"/>
                </a:cubicBezTo>
                <a:cubicBezTo>
                  <a:pt x="219803" y="360995"/>
                  <a:pt x="221649" y="360078"/>
                  <a:pt x="223187" y="358855"/>
                </a:cubicBezTo>
                <a:cubicBezTo>
                  <a:pt x="224417" y="357327"/>
                  <a:pt x="225032" y="355493"/>
                  <a:pt x="225032" y="353659"/>
                </a:cubicBezTo>
                <a:cubicBezTo>
                  <a:pt x="225032" y="351825"/>
                  <a:pt x="224417" y="349991"/>
                  <a:pt x="223187" y="348462"/>
                </a:cubicBezTo>
                <a:close/>
                <a:moveTo>
                  <a:pt x="196435" y="337079"/>
                </a:moveTo>
                <a:cubicBezTo>
                  <a:pt x="195512" y="337999"/>
                  <a:pt x="195512" y="339225"/>
                  <a:pt x="196435" y="340145"/>
                </a:cubicBezTo>
                <a:cubicBezTo>
                  <a:pt x="197050" y="340758"/>
                  <a:pt x="198587" y="340758"/>
                  <a:pt x="199202" y="340145"/>
                </a:cubicBezTo>
                <a:cubicBezTo>
                  <a:pt x="200125" y="339225"/>
                  <a:pt x="200125" y="337999"/>
                  <a:pt x="199202" y="337079"/>
                </a:cubicBezTo>
                <a:cubicBezTo>
                  <a:pt x="198587" y="336466"/>
                  <a:pt x="197050" y="336466"/>
                  <a:pt x="196435" y="337079"/>
                </a:cubicBezTo>
                <a:close/>
                <a:moveTo>
                  <a:pt x="205967" y="336773"/>
                </a:moveTo>
                <a:cubicBezTo>
                  <a:pt x="205352" y="337386"/>
                  <a:pt x="205352" y="338918"/>
                  <a:pt x="205967" y="339532"/>
                </a:cubicBezTo>
                <a:cubicBezTo>
                  <a:pt x="206890" y="340451"/>
                  <a:pt x="208120" y="340451"/>
                  <a:pt x="209042" y="339532"/>
                </a:cubicBezTo>
                <a:cubicBezTo>
                  <a:pt x="209657" y="338918"/>
                  <a:pt x="209657" y="337386"/>
                  <a:pt x="209042" y="336773"/>
                </a:cubicBezTo>
                <a:cubicBezTo>
                  <a:pt x="208120" y="335853"/>
                  <a:pt x="206890" y="335853"/>
                  <a:pt x="205967" y="336773"/>
                </a:cubicBezTo>
                <a:close/>
                <a:moveTo>
                  <a:pt x="201355" y="332174"/>
                </a:moveTo>
                <a:cubicBezTo>
                  <a:pt x="200740" y="332787"/>
                  <a:pt x="200740" y="334014"/>
                  <a:pt x="201355" y="334933"/>
                </a:cubicBezTo>
                <a:cubicBezTo>
                  <a:pt x="202277" y="335853"/>
                  <a:pt x="203507" y="335853"/>
                  <a:pt x="204430" y="334933"/>
                </a:cubicBezTo>
                <a:cubicBezTo>
                  <a:pt x="205045" y="334014"/>
                  <a:pt x="205045" y="332787"/>
                  <a:pt x="204430" y="332174"/>
                </a:cubicBezTo>
                <a:cubicBezTo>
                  <a:pt x="203507" y="331255"/>
                  <a:pt x="202277" y="331255"/>
                  <a:pt x="201355" y="332174"/>
                </a:cubicBezTo>
                <a:close/>
                <a:moveTo>
                  <a:pt x="153802" y="323988"/>
                </a:moveTo>
                <a:cubicBezTo>
                  <a:pt x="150721" y="325213"/>
                  <a:pt x="148257" y="328583"/>
                  <a:pt x="148257" y="332259"/>
                </a:cubicBezTo>
                <a:cubicBezTo>
                  <a:pt x="148257" y="335935"/>
                  <a:pt x="150721" y="338999"/>
                  <a:pt x="153802" y="340224"/>
                </a:cubicBezTo>
                <a:cubicBezTo>
                  <a:pt x="149797" y="339611"/>
                  <a:pt x="146717" y="336241"/>
                  <a:pt x="146717" y="332259"/>
                </a:cubicBezTo>
                <a:cubicBezTo>
                  <a:pt x="146717" y="327970"/>
                  <a:pt x="149797" y="324601"/>
                  <a:pt x="153802" y="323988"/>
                </a:cubicBezTo>
                <a:close/>
                <a:moveTo>
                  <a:pt x="262733" y="321184"/>
                </a:moveTo>
                <a:cubicBezTo>
                  <a:pt x="266122" y="321184"/>
                  <a:pt x="267970" y="323022"/>
                  <a:pt x="269818" y="326393"/>
                </a:cubicBezTo>
                <a:cubicBezTo>
                  <a:pt x="271667" y="323022"/>
                  <a:pt x="273515" y="321184"/>
                  <a:pt x="276903" y="321184"/>
                </a:cubicBezTo>
                <a:cubicBezTo>
                  <a:pt x="280908" y="321184"/>
                  <a:pt x="283988" y="324248"/>
                  <a:pt x="283988" y="328232"/>
                </a:cubicBezTo>
                <a:cubicBezTo>
                  <a:pt x="283988" y="335280"/>
                  <a:pt x="276903" y="342328"/>
                  <a:pt x="269818" y="349376"/>
                </a:cubicBezTo>
                <a:cubicBezTo>
                  <a:pt x="262733" y="342328"/>
                  <a:pt x="255648" y="335280"/>
                  <a:pt x="255648" y="328232"/>
                </a:cubicBezTo>
                <a:cubicBezTo>
                  <a:pt x="255648" y="324248"/>
                  <a:pt x="258729" y="321184"/>
                  <a:pt x="262733" y="321184"/>
                </a:cubicBezTo>
                <a:close/>
                <a:moveTo>
                  <a:pt x="147603" y="320888"/>
                </a:moveTo>
                <a:cubicBezTo>
                  <a:pt x="143336" y="322731"/>
                  <a:pt x="140289" y="327031"/>
                  <a:pt x="140289" y="332253"/>
                </a:cubicBezTo>
                <a:cubicBezTo>
                  <a:pt x="140289" y="337168"/>
                  <a:pt x="143336" y="341469"/>
                  <a:pt x="147603" y="343619"/>
                </a:cubicBezTo>
                <a:cubicBezTo>
                  <a:pt x="142117" y="342697"/>
                  <a:pt x="138156" y="337783"/>
                  <a:pt x="138156" y="332253"/>
                </a:cubicBezTo>
                <a:cubicBezTo>
                  <a:pt x="138156" y="326417"/>
                  <a:pt x="142117" y="321809"/>
                  <a:pt x="147603" y="320888"/>
                </a:cubicBezTo>
                <a:close/>
                <a:moveTo>
                  <a:pt x="157200" y="320003"/>
                </a:moveTo>
                <a:cubicBezTo>
                  <a:pt x="160883" y="320003"/>
                  <a:pt x="160883" y="320003"/>
                  <a:pt x="160883" y="320003"/>
                </a:cubicBezTo>
                <a:cubicBezTo>
                  <a:pt x="161803" y="320003"/>
                  <a:pt x="162110" y="320616"/>
                  <a:pt x="162110" y="321229"/>
                </a:cubicBezTo>
                <a:cubicBezTo>
                  <a:pt x="162110" y="351573"/>
                  <a:pt x="162110" y="351573"/>
                  <a:pt x="162110" y="351573"/>
                </a:cubicBezTo>
                <a:cubicBezTo>
                  <a:pt x="163644" y="352799"/>
                  <a:pt x="164872" y="354638"/>
                  <a:pt x="164872" y="356477"/>
                </a:cubicBezTo>
                <a:cubicBezTo>
                  <a:pt x="164872" y="444751"/>
                  <a:pt x="164872" y="444751"/>
                  <a:pt x="164872" y="444751"/>
                </a:cubicBezTo>
                <a:cubicBezTo>
                  <a:pt x="164872" y="446590"/>
                  <a:pt x="163337" y="448122"/>
                  <a:pt x="161496" y="448122"/>
                </a:cubicBezTo>
                <a:cubicBezTo>
                  <a:pt x="133265" y="448122"/>
                  <a:pt x="133265" y="448122"/>
                  <a:pt x="133265" y="448122"/>
                </a:cubicBezTo>
                <a:cubicBezTo>
                  <a:pt x="131424" y="448122"/>
                  <a:pt x="129890" y="446590"/>
                  <a:pt x="129890" y="444751"/>
                </a:cubicBezTo>
                <a:cubicBezTo>
                  <a:pt x="129890" y="357396"/>
                  <a:pt x="129890" y="357396"/>
                  <a:pt x="129890" y="357396"/>
                </a:cubicBezTo>
                <a:cubicBezTo>
                  <a:pt x="129890" y="353412"/>
                  <a:pt x="133265" y="350347"/>
                  <a:pt x="136948" y="350347"/>
                </a:cubicBezTo>
                <a:cubicBezTo>
                  <a:pt x="155973" y="350347"/>
                  <a:pt x="155973" y="350347"/>
                  <a:pt x="155973" y="350347"/>
                </a:cubicBezTo>
                <a:cubicBezTo>
                  <a:pt x="155973" y="321229"/>
                  <a:pt x="155973" y="321229"/>
                  <a:pt x="155973" y="321229"/>
                </a:cubicBezTo>
                <a:cubicBezTo>
                  <a:pt x="155973" y="320616"/>
                  <a:pt x="156587" y="320003"/>
                  <a:pt x="157200" y="320003"/>
                </a:cubicBezTo>
                <a:close/>
                <a:moveTo>
                  <a:pt x="295319" y="317800"/>
                </a:moveTo>
                <a:cubicBezTo>
                  <a:pt x="304219" y="320559"/>
                  <a:pt x="304219" y="320559"/>
                  <a:pt x="304219" y="320559"/>
                </a:cubicBezTo>
                <a:cubicBezTo>
                  <a:pt x="304526" y="320559"/>
                  <a:pt x="304833" y="321172"/>
                  <a:pt x="304833" y="321785"/>
                </a:cubicBezTo>
                <a:cubicBezTo>
                  <a:pt x="303912" y="323930"/>
                  <a:pt x="303912" y="323930"/>
                  <a:pt x="303912" y="323930"/>
                </a:cubicBezTo>
                <a:cubicBezTo>
                  <a:pt x="303912" y="324543"/>
                  <a:pt x="303298" y="324849"/>
                  <a:pt x="302991" y="324543"/>
                </a:cubicBezTo>
                <a:cubicBezTo>
                  <a:pt x="302378" y="324543"/>
                  <a:pt x="302378" y="324543"/>
                  <a:pt x="302378" y="324543"/>
                </a:cubicBezTo>
                <a:cubicBezTo>
                  <a:pt x="298081" y="338028"/>
                  <a:pt x="298081" y="338028"/>
                  <a:pt x="298081" y="338028"/>
                </a:cubicBezTo>
                <a:cubicBezTo>
                  <a:pt x="299002" y="338334"/>
                  <a:pt x="299002" y="338334"/>
                  <a:pt x="299002" y="338334"/>
                </a:cubicBezTo>
                <a:cubicBezTo>
                  <a:pt x="300536" y="338641"/>
                  <a:pt x="301150" y="340173"/>
                  <a:pt x="300843" y="341706"/>
                </a:cubicBezTo>
                <a:cubicBezTo>
                  <a:pt x="299002" y="347835"/>
                  <a:pt x="299002" y="347835"/>
                  <a:pt x="299002" y="347835"/>
                </a:cubicBezTo>
                <a:cubicBezTo>
                  <a:pt x="300536" y="348142"/>
                  <a:pt x="302071" y="349368"/>
                  <a:pt x="303605" y="350593"/>
                </a:cubicBezTo>
                <a:cubicBezTo>
                  <a:pt x="327235" y="370514"/>
                  <a:pt x="321711" y="409131"/>
                  <a:pt x="299002" y="425374"/>
                </a:cubicBezTo>
                <a:cubicBezTo>
                  <a:pt x="307901" y="440392"/>
                  <a:pt x="307901" y="440392"/>
                  <a:pt x="307901" y="440392"/>
                </a:cubicBezTo>
                <a:cubicBezTo>
                  <a:pt x="312505" y="440392"/>
                  <a:pt x="312505" y="440392"/>
                  <a:pt x="312505" y="440392"/>
                </a:cubicBezTo>
                <a:cubicBezTo>
                  <a:pt x="313425" y="440392"/>
                  <a:pt x="314039" y="441004"/>
                  <a:pt x="314039" y="441924"/>
                </a:cubicBezTo>
                <a:cubicBezTo>
                  <a:pt x="314039" y="444376"/>
                  <a:pt x="314039" y="444376"/>
                  <a:pt x="314039" y="444376"/>
                </a:cubicBezTo>
                <a:cubicBezTo>
                  <a:pt x="314039" y="445295"/>
                  <a:pt x="313425" y="445908"/>
                  <a:pt x="312505" y="445908"/>
                </a:cubicBezTo>
                <a:cubicBezTo>
                  <a:pt x="243456" y="445908"/>
                  <a:pt x="243456" y="445908"/>
                  <a:pt x="243456" y="445908"/>
                </a:cubicBezTo>
                <a:cubicBezTo>
                  <a:pt x="242535" y="445908"/>
                  <a:pt x="241921" y="445295"/>
                  <a:pt x="241921" y="444376"/>
                </a:cubicBezTo>
                <a:cubicBezTo>
                  <a:pt x="241921" y="441924"/>
                  <a:pt x="241921" y="441924"/>
                  <a:pt x="241921" y="441924"/>
                </a:cubicBezTo>
                <a:cubicBezTo>
                  <a:pt x="241921" y="441004"/>
                  <a:pt x="242535" y="440392"/>
                  <a:pt x="243456" y="440392"/>
                </a:cubicBezTo>
                <a:cubicBezTo>
                  <a:pt x="280896" y="440392"/>
                  <a:pt x="280896" y="440392"/>
                  <a:pt x="280896" y="440392"/>
                </a:cubicBezTo>
                <a:cubicBezTo>
                  <a:pt x="280896" y="432730"/>
                  <a:pt x="280896" y="432730"/>
                  <a:pt x="280896" y="432730"/>
                </a:cubicBezTo>
                <a:cubicBezTo>
                  <a:pt x="276292" y="433649"/>
                  <a:pt x="271075" y="433956"/>
                  <a:pt x="273224" y="429052"/>
                </a:cubicBezTo>
                <a:cubicBezTo>
                  <a:pt x="273530" y="428132"/>
                  <a:pt x="273530" y="428132"/>
                  <a:pt x="273530" y="428132"/>
                </a:cubicBezTo>
                <a:cubicBezTo>
                  <a:pt x="270155" y="427213"/>
                  <a:pt x="270155" y="427213"/>
                  <a:pt x="270155" y="427213"/>
                </a:cubicBezTo>
                <a:cubicBezTo>
                  <a:pt x="268620" y="427826"/>
                  <a:pt x="265858" y="428132"/>
                  <a:pt x="262789" y="427519"/>
                </a:cubicBezTo>
                <a:cubicBezTo>
                  <a:pt x="257572" y="426600"/>
                  <a:pt x="253276" y="423842"/>
                  <a:pt x="253276" y="421083"/>
                </a:cubicBezTo>
                <a:cubicBezTo>
                  <a:pt x="253276" y="418325"/>
                  <a:pt x="257572" y="417099"/>
                  <a:pt x="262789" y="418019"/>
                </a:cubicBezTo>
                <a:cubicBezTo>
                  <a:pt x="268006" y="419245"/>
                  <a:pt x="271996" y="422003"/>
                  <a:pt x="271996" y="424761"/>
                </a:cubicBezTo>
                <a:cubicBezTo>
                  <a:pt x="271996" y="425068"/>
                  <a:pt x="271996" y="425374"/>
                  <a:pt x="271996" y="425681"/>
                </a:cubicBezTo>
                <a:cubicBezTo>
                  <a:pt x="274451" y="426294"/>
                  <a:pt x="274451" y="426294"/>
                  <a:pt x="274451" y="426294"/>
                </a:cubicBezTo>
                <a:cubicBezTo>
                  <a:pt x="277213" y="420164"/>
                  <a:pt x="279668" y="414341"/>
                  <a:pt x="282430" y="408211"/>
                </a:cubicBezTo>
                <a:cubicBezTo>
                  <a:pt x="251742" y="400243"/>
                  <a:pt x="251742" y="400243"/>
                  <a:pt x="251742" y="400243"/>
                </a:cubicBezTo>
                <a:cubicBezTo>
                  <a:pt x="251128" y="399937"/>
                  <a:pt x="250821" y="399324"/>
                  <a:pt x="250821" y="398711"/>
                </a:cubicBezTo>
                <a:cubicBezTo>
                  <a:pt x="251742" y="395952"/>
                  <a:pt x="251742" y="395952"/>
                  <a:pt x="251742" y="395952"/>
                </a:cubicBezTo>
                <a:cubicBezTo>
                  <a:pt x="251742" y="395339"/>
                  <a:pt x="252355" y="395033"/>
                  <a:pt x="252969" y="395033"/>
                </a:cubicBezTo>
                <a:cubicBezTo>
                  <a:pt x="291330" y="405147"/>
                  <a:pt x="291330" y="405147"/>
                  <a:pt x="291330" y="405147"/>
                </a:cubicBezTo>
                <a:cubicBezTo>
                  <a:pt x="291943" y="405453"/>
                  <a:pt x="292250" y="406066"/>
                  <a:pt x="292250" y="406679"/>
                </a:cubicBezTo>
                <a:cubicBezTo>
                  <a:pt x="291637" y="408518"/>
                  <a:pt x="291637" y="408518"/>
                  <a:pt x="291637" y="408518"/>
                </a:cubicBezTo>
                <a:cubicBezTo>
                  <a:pt x="292864" y="408518"/>
                  <a:pt x="293785" y="408518"/>
                  <a:pt x="294705" y="408518"/>
                </a:cubicBezTo>
                <a:cubicBezTo>
                  <a:pt x="305446" y="408518"/>
                  <a:pt x="309436" y="395646"/>
                  <a:pt x="307901" y="388290"/>
                </a:cubicBezTo>
                <a:cubicBezTo>
                  <a:pt x="306060" y="377870"/>
                  <a:pt x="293785" y="381548"/>
                  <a:pt x="288568" y="380015"/>
                </a:cubicBezTo>
                <a:cubicBezTo>
                  <a:pt x="285806" y="389210"/>
                  <a:pt x="285806" y="389210"/>
                  <a:pt x="285806" y="389210"/>
                </a:cubicBezTo>
                <a:cubicBezTo>
                  <a:pt x="285499" y="390435"/>
                  <a:pt x="283964" y="391355"/>
                  <a:pt x="282430" y="391048"/>
                </a:cubicBezTo>
                <a:cubicBezTo>
                  <a:pt x="281816" y="390742"/>
                  <a:pt x="281816" y="390742"/>
                  <a:pt x="281816" y="390742"/>
                </a:cubicBezTo>
                <a:cubicBezTo>
                  <a:pt x="280589" y="394726"/>
                  <a:pt x="280589" y="394726"/>
                  <a:pt x="280589" y="394726"/>
                </a:cubicBezTo>
                <a:cubicBezTo>
                  <a:pt x="280282" y="395339"/>
                  <a:pt x="279361" y="395952"/>
                  <a:pt x="278747" y="395646"/>
                </a:cubicBezTo>
                <a:cubicBezTo>
                  <a:pt x="273224" y="393807"/>
                  <a:pt x="273224" y="393807"/>
                  <a:pt x="273224" y="393807"/>
                </a:cubicBezTo>
                <a:cubicBezTo>
                  <a:pt x="272610" y="393807"/>
                  <a:pt x="271996" y="392887"/>
                  <a:pt x="272303" y="391968"/>
                </a:cubicBezTo>
                <a:cubicBezTo>
                  <a:pt x="273530" y="387984"/>
                  <a:pt x="273530" y="387984"/>
                  <a:pt x="273530" y="387984"/>
                </a:cubicBezTo>
                <a:cubicBezTo>
                  <a:pt x="272917" y="387984"/>
                  <a:pt x="272917" y="387984"/>
                  <a:pt x="272917" y="387984"/>
                </a:cubicBezTo>
                <a:cubicBezTo>
                  <a:pt x="271382" y="387371"/>
                  <a:pt x="270768" y="385838"/>
                  <a:pt x="271075" y="384612"/>
                </a:cubicBezTo>
                <a:cubicBezTo>
                  <a:pt x="286113" y="337108"/>
                  <a:pt x="286113" y="337108"/>
                  <a:pt x="286113" y="337108"/>
                </a:cubicBezTo>
                <a:cubicBezTo>
                  <a:pt x="286726" y="335576"/>
                  <a:pt x="287954" y="334963"/>
                  <a:pt x="289488" y="335270"/>
                </a:cubicBezTo>
                <a:cubicBezTo>
                  <a:pt x="290102" y="335576"/>
                  <a:pt x="290102" y="335576"/>
                  <a:pt x="290102" y="335576"/>
                </a:cubicBezTo>
                <a:cubicBezTo>
                  <a:pt x="294399" y="321785"/>
                  <a:pt x="294399" y="321785"/>
                  <a:pt x="294399" y="321785"/>
                </a:cubicBezTo>
                <a:cubicBezTo>
                  <a:pt x="293785" y="321785"/>
                  <a:pt x="293785" y="321785"/>
                  <a:pt x="293785" y="321785"/>
                </a:cubicBezTo>
                <a:cubicBezTo>
                  <a:pt x="293478" y="321478"/>
                  <a:pt x="293171" y="321172"/>
                  <a:pt x="293171" y="320559"/>
                </a:cubicBezTo>
                <a:cubicBezTo>
                  <a:pt x="294092" y="318413"/>
                  <a:pt x="294092" y="318413"/>
                  <a:pt x="294092" y="318413"/>
                </a:cubicBezTo>
                <a:cubicBezTo>
                  <a:pt x="294092" y="317800"/>
                  <a:pt x="294705" y="317494"/>
                  <a:pt x="295319" y="317800"/>
                </a:cubicBezTo>
                <a:close/>
                <a:moveTo>
                  <a:pt x="187507" y="316060"/>
                </a:moveTo>
                <a:cubicBezTo>
                  <a:pt x="185661" y="316060"/>
                  <a:pt x="183508" y="316671"/>
                  <a:pt x="182278" y="318199"/>
                </a:cubicBezTo>
                <a:cubicBezTo>
                  <a:pt x="180740" y="319728"/>
                  <a:pt x="180125" y="321562"/>
                  <a:pt x="180125" y="323396"/>
                </a:cubicBezTo>
                <a:cubicBezTo>
                  <a:pt x="180125" y="325230"/>
                  <a:pt x="180740" y="327064"/>
                  <a:pt x="182278" y="328287"/>
                </a:cubicBezTo>
                <a:lnTo>
                  <a:pt x="191887" y="337934"/>
                </a:lnTo>
                <a:lnTo>
                  <a:pt x="199452" y="330392"/>
                </a:lnTo>
                <a:lnTo>
                  <a:pt x="202119" y="327734"/>
                </a:lnTo>
                <a:lnTo>
                  <a:pt x="196273" y="321982"/>
                </a:lnTo>
                <a:cubicBezTo>
                  <a:pt x="192428" y="318199"/>
                  <a:pt x="192428" y="318199"/>
                  <a:pt x="192428" y="318199"/>
                </a:cubicBezTo>
                <a:cubicBezTo>
                  <a:pt x="191198" y="316671"/>
                  <a:pt x="189352" y="316060"/>
                  <a:pt x="187507" y="316060"/>
                </a:cubicBezTo>
                <a:close/>
                <a:moveTo>
                  <a:pt x="143027" y="315427"/>
                </a:moveTo>
                <a:cubicBezTo>
                  <a:pt x="136621" y="318181"/>
                  <a:pt x="132045" y="324608"/>
                  <a:pt x="132045" y="332259"/>
                </a:cubicBezTo>
                <a:cubicBezTo>
                  <a:pt x="132045" y="339604"/>
                  <a:pt x="136621" y="346031"/>
                  <a:pt x="143027" y="348785"/>
                </a:cubicBezTo>
                <a:cubicBezTo>
                  <a:pt x="135096" y="347255"/>
                  <a:pt x="129300" y="340522"/>
                  <a:pt x="129300" y="332259"/>
                </a:cubicBezTo>
                <a:cubicBezTo>
                  <a:pt x="129300" y="323690"/>
                  <a:pt x="135096" y="316957"/>
                  <a:pt x="143027" y="315427"/>
                </a:cubicBezTo>
                <a:close/>
                <a:moveTo>
                  <a:pt x="187507" y="314837"/>
                </a:moveTo>
                <a:cubicBezTo>
                  <a:pt x="189660" y="314837"/>
                  <a:pt x="191813" y="315448"/>
                  <a:pt x="193351" y="317282"/>
                </a:cubicBezTo>
                <a:lnTo>
                  <a:pt x="203040" y="326815"/>
                </a:lnTo>
                <a:lnTo>
                  <a:pt x="208581" y="321291"/>
                </a:lnTo>
                <a:cubicBezTo>
                  <a:pt x="212425" y="317459"/>
                  <a:pt x="212425" y="317459"/>
                  <a:pt x="212425" y="317459"/>
                </a:cubicBezTo>
                <a:cubicBezTo>
                  <a:pt x="215500" y="314394"/>
                  <a:pt x="220420" y="314394"/>
                  <a:pt x="223495" y="317459"/>
                </a:cubicBezTo>
                <a:cubicBezTo>
                  <a:pt x="226570" y="320525"/>
                  <a:pt x="226570" y="325737"/>
                  <a:pt x="223495" y="328802"/>
                </a:cubicBezTo>
                <a:lnTo>
                  <a:pt x="214338" y="337931"/>
                </a:lnTo>
                <a:lnTo>
                  <a:pt x="220265" y="343762"/>
                </a:lnTo>
                <a:cubicBezTo>
                  <a:pt x="224110" y="347545"/>
                  <a:pt x="224110" y="347545"/>
                  <a:pt x="224110" y="347545"/>
                </a:cubicBezTo>
                <a:cubicBezTo>
                  <a:pt x="225647" y="349379"/>
                  <a:pt x="226570" y="351519"/>
                  <a:pt x="226570" y="353659"/>
                </a:cubicBezTo>
                <a:cubicBezTo>
                  <a:pt x="226570" y="355799"/>
                  <a:pt x="225647" y="357938"/>
                  <a:pt x="224110" y="359772"/>
                </a:cubicBezTo>
                <a:cubicBezTo>
                  <a:pt x="222264" y="361301"/>
                  <a:pt x="220111" y="362218"/>
                  <a:pt x="217958" y="362218"/>
                </a:cubicBezTo>
                <a:cubicBezTo>
                  <a:pt x="215805" y="362218"/>
                  <a:pt x="213652" y="361301"/>
                  <a:pt x="211806" y="359772"/>
                </a:cubicBezTo>
                <a:lnTo>
                  <a:pt x="202151" y="350080"/>
                </a:lnTo>
                <a:lnTo>
                  <a:pt x="196858" y="355358"/>
                </a:lnTo>
                <a:cubicBezTo>
                  <a:pt x="193052" y="359151"/>
                  <a:pt x="193052" y="359151"/>
                  <a:pt x="193052" y="359151"/>
                </a:cubicBezTo>
                <a:cubicBezTo>
                  <a:pt x="189977" y="362217"/>
                  <a:pt x="184749" y="362217"/>
                  <a:pt x="181674" y="359151"/>
                </a:cubicBezTo>
                <a:cubicBezTo>
                  <a:pt x="178599" y="356086"/>
                  <a:pt x="178599" y="351181"/>
                  <a:pt x="181674" y="348115"/>
                </a:cubicBezTo>
                <a:lnTo>
                  <a:pt x="190966" y="338852"/>
                </a:lnTo>
                <a:lnTo>
                  <a:pt x="185161" y="333025"/>
                </a:lnTo>
                <a:cubicBezTo>
                  <a:pt x="181355" y="329204"/>
                  <a:pt x="181355" y="329204"/>
                  <a:pt x="181355" y="329204"/>
                </a:cubicBezTo>
                <a:cubicBezTo>
                  <a:pt x="179509" y="327676"/>
                  <a:pt x="178894" y="325536"/>
                  <a:pt x="178894" y="323396"/>
                </a:cubicBezTo>
                <a:cubicBezTo>
                  <a:pt x="178894" y="320951"/>
                  <a:pt x="179509" y="318811"/>
                  <a:pt x="181355" y="317282"/>
                </a:cubicBezTo>
                <a:cubicBezTo>
                  <a:pt x="182893" y="315448"/>
                  <a:pt x="185046" y="314837"/>
                  <a:pt x="187507" y="314837"/>
                </a:cubicBezTo>
                <a:close/>
                <a:moveTo>
                  <a:pt x="199820" y="314087"/>
                </a:moveTo>
                <a:lnTo>
                  <a:pt x="199821" y="314088"/>
                </a:lnTo>
                <a:cubicBezTo>
                  <a:pt x="200129" y="314088"/>
                  <a:pt x="200437" y="314088"/>
                  <a:pt x="200745" y="314088"/>
                </a:cubicBezTo>
                <a:cubicBezTo>
                  <a:pt x="201052" y="314088"/>
                  <a:pt x="201360" y="314088"/>
                  <a:pt x="201668" y="314088"/>
                </a:cubicBezTo>
                <a:lnTo>
                  <a:pt x="201668" y="314087"/>
                </a:lnTo>
                <a:close/>
                <a:moveTo>
                  <a:pt x="200992" y="313129"/>
                </a:moveTo>
                <a:lnTo>
                  <a:pt x="201020" y="313168"/>
                </a:lnTo>
                <a:lnTo>
                  <a:pt x="201030" y="313154"/>
                </a:lnTo>
                <a:close/>
                <a:moveTo>
                  <a:pt x="174725" y="312657"/>
                </a:moveTo>
                <a:lnTo>
                  <a:pt x="170648" y="314394"/>
                </a:lnTo>
                <a:lnTo>
                  <a:pt x="167607" y="313487"/>
                </a:lnTo>
                <a:lnTo>
                  <a:pt x="167664" y="313611"/>
                </a:lnTo>
                <a:cubicBezTo>
                  <a:pt x="168584" y="314224"/>
                  <a:pt x="169503" y="314530"/>
                  <a:pt x="170422" y="314530"/>
                </a:cubicBezTo>
                <a:cubicBezTo>
                  <a:pt x="170422" y="314530"/>
                  <a:pt x="170422" y="314530"/>
                  <a:pt x="170728" y="314530"/>
                </a:cubicBezTo>
                <a:cubicBezTo>
                  <a:pt x="172567" y="314224"/>
                  <a:pt x="173486" y="313917"/>
                  <a:pt x="174712" y="312691"/>
                </a:cubicBezTo>
                <a:close/>
                <a:moveTo>
                  <a:pt x="429011" y="310428"/>
                </a:moveTo>
                <a:lnTo>
                  <a:pt x="431286" y="315733"/>
                </a:lnTo>
                <a:lnTo>
                  <a:pt x="436819" y="318222"/>
                </a:lnTo>
                <a:close/>
                <a:moveTo>
                  <a:pt x="445918" y="310340"/>
                </a:moveTo>
                <a:lnTo>
                  <a:pt x="437999" y="318244"/>
                </a:lnTo>
                <a:lnTo>
                  <a:pt x="443862" y="315733"/>
                </a:lnTo>
                <a:close/>
                <a:moveTo>
                  <a:pt x="196064" y="304479"/>
                </a:moveTo>
                <a:lnTo>
                  <a:pt x="195491" y="305201"/>
                </a:lnTo>
                <a:lnTo>
                  <a:pt x="195511" y="305230"/>
                </a:lnTo>
                <a:lnTo>
                  <a:pt x="195511" y="305203"/>
                </a:lnTo>
                <a:close/>
                <a:moveTo>
                  <a:pt x="130397" y="303117"/>
                </a:moveTo>
                <a:cubicBezTo>
                  <a:pt x="127941" y="303117"/>
                  <a:pt x="125792" y="304957"/>
                  <a:pt x="125792" y="307409"/>
                </a:cubicBezTo>
                <a:cubicBezTo>
                  <a:pt x="125792" y="309862"/>
                  <a:pt x="127941" y="312009"/>
                  <a:pt x="130397" y="312009"/>
                </a:cubicBezTo>
                <a:cubicBezTo>
                  <a:pt x="132852" y="312009"/>
                  <a:pt x="135001" y="309862"/>
                  <a:pt x="135001" y="307409"/>
                </a:cubicBezTo>
                <a:cubicBezTo>
                  <a:pt x="135001" y="304957"/>
                  <a:pt x="132852" y="303117"/>
                  <a:pt x="130397" y="303117"/>
                </a:cubicBezTo>
                <a:close/>
                <a:moveTo>
                  <a:pt x="63789" y="303117"/>
                </a:moveTo>
                <a:cubicBezTo>
                  <a:pt x="61334" y="303117"/>
                  <a:pt x="59185" y="304957"/>
                  <a:pt x="59185" y="307409"/>
                </a:cubicBezTo>
                <a:cubicBezTo>
                  <a:pt x="59185" y="309862"/>
                  <a:pt x="61334" y="312009"/>
                  <a:pt x="63789" y="312009"/>
                </a:cubicBezTo>
                <a:cubicBezTo>
                  <a:pt x="66245" y="312009"/>
                  <a:pt x="68086" y="309862"/>
                  <a:pt x="68086" y="307409"/>
                </a:cubicBezTo>
                <a:cubicBezTo>
                  <a:pt x="68086" y="304957"/>
                  <a:pt x="66245" y="303117"/>
                  <a:pt x="63789" y="303117"/>
                </a:cubicBezTo>
                <a:close/>
                <a:moveTo>
                  <a:pt x="178187" y="302387"/>
                </a:moveTo>
                <a:lnTo>
                  <a:pt x="178036" y="302459"/>
                </a:lnTo>
                <a:cubicBezTo>
                  <a:pt x="178036" y="303071"/>
                  <a:pt x="178036" y="303377"/>
                  <a:pt x="178036" y="303989"/>
                </a:cubicBezTo>
                <a:lnTo>
                  <a:pt x="177034" y="306777"/>
                </a:lnTo>
                <a:lnTo>
                  <a:pt x="178082" y="304109"/>
                </a:lnTo>
                <a:cubicBezTo>
                  <a:pt x="178082" y="303496"/>
                  <a:pt x="178082" y="303189"/>
                  <a:pt x="178082" y="302576"/>
                </a:cubicBezTo>
                <a:close/>
                <a:moveTo>
                  <a:pt x="171035" y="298898"/>
                </a:moveTo>
                <a:lnTo>
                  <a:pt x="170360" y="299262"/>
                </a:lnTo>
                <a:lnTo>
                  <a:pt x="165383" y="305771"/>
                </a:lnTo>
                <a:lnTo>
                  <a:pt x="165212" y="306254"/>
                </a:lnTo>
                <a:lnTo>
                  <a:pt x="165326" y="305845"/>
                </a:lnTo>
                <a:lnTo>
                  <a:pt x="165107" y="306131"/>
                </a:lnTo>
                <a:lnTo>
                  <a:pt x="165216" y="306268"/>
                </a:lnTo>
                <a:lnTo>
                  <a:pt x="165212" y="306254"/>
                </a:lnTo>
                <a:lnTo>
                  <a:pt x="165219" y="306271"/>
                </a:lnTo>
                <a:lnTo>
                  <a:pt x="170658" y="313102"/>
                </a:lnTo>
                <a:lnTo>
                  <a:pt x="171035" y="313304"/>
                </a:lnTo>
                <a:lnTo>
                  <a:pt x="171126" y="313251"/>
                </a:lnTo>
                <a:lnTo>
                  <a:pt x="176497" y="306131"/>
                </a:lnTo>
                <a:lnTo>
                  <a:pt x="171422" y="299124"/>
                </a:lnTo>
                <a:close/>
                <a:moveTo>
                  <a:pt x="170956" y="298481"/>
                </a:moveTo>
                <a:lnTo>
                  <a:pt x="171021" y="298571"/>
                </a:lnTo>
                <a:lnTo>
                  <a:pt x="170865" y="298600"/>
                </a:lnTo>
                <a:close/>
                <a:moveTo>
                  <a:pt x="170728" y="298285"/>
                </a:moveTo>
                <a:lnTo>
                  <a:pt x="167848" y="299171"/>
                </a:lnTo>
                <a:lnTo>
                  <a:pt x="170865" y="298600"/>
                </a:lnTo>
                <a:lnTo>
                  <a:pt x="170771" y="298723"/>
                </a:lnTo>
                <a:lnTo>
                  <a:pt x="171035" y="298591"/>
                </a:lnTo>
                <a:lnTo>
                  <a:pt x="171037" y="298593"/>
                </a:lnTo>
                <a:lnTo>
                  <a:pt x="171021" y="298571"/>
                </a:lnTo>
                <a:lnTo>
                  <a:pt x="172530" y="298285"/>
                </a:lnTo>
                <a:close/>
                <a:moveTo>
                  <a:pt x="201344" y="297872"/>
                </a:moveTo>
                <a:lnTo>
                  <a:pt x="195819" y="305203"/>
                </a:lnTo>
                <a:cubicBezTo>
                  <a:pt x="195819" y="305509"/>
                  <a:pt x="195819" y="305509"/>
                  <a:pt x="195819" y="305509"/>
                </a:cubicBezTo>
                <a:lnTo>
                  <a:pt x="195903" y="305796"/>
                </a:lnTo>
                <a:lnTo>
                  <a:pt x="200260" y="312074"/>
                </a:lnTo>
                <a:lnTo>
                  <a:pt x="201036" y="313145"/>
                </a:lnTo>
                <a:lnTo>
                  <a:pt x="206549" y="305201"/>
                </a:lnTo>
                <a:close/>
                <a:moveTo>
                  <a:pt x="187199" y="297544"/>
                </a:moveTo>
                <a:lnTo>
                  <a:pt x="186903" y="297838"/>
                </a:lnTo>
                <a:lnTo>
                  <a:pt x="187345" y="297544"/>
                </a:lnTo>
                <a:close/>
                <a:moveTo>
                  <a:pt x="201360" y="296625"/>
                </a:moveTo>
                <a:lnTo>
                  <a:pt x="196797" y="297693"/>
                </a:lnTo>
                <a:lnTo>
                  <a:pt x="201617" y="296625"/>
                </a:lnTo>
                <a:close/>
                <a:moveTo>
                  <a:pt x="180534" y="294020"/>
                </a:moveTo>
                <a:lnTo>
                  <a:pt x="180498" y="294197"/>
                </a:lnTo>
                <a:cubicBezTo>
                  <a:pt x="180498" y="294503"/>
                  <a:pt x="180498" y="295115"/>
                  <a:pt x="180190" y="295727"/>
                </a:cubicBezTo>
                <a:lnTo>
                  <a:pt x="180236" y="295788"/>
                </a:lnTo>
                <a:lnTo>
                  <a:pt x="180534" y="294300"/>
                </a:lnTo>
                <a:close/>
                <a:moveTo>
                  <a:pt x="104306" y="292692"/>
                </a:moveTo>
                <a:cubicBezTo>
                  <a:pt x="104306" y="292692"/>
                  <a:pt x="104306" y="292692"/>
                  <a:pt x="104613" y="292692"/>
                </a:cubicBezTo>
                <a:cubicBezTo>
                  <a:pt x="104613" y="292692"/>
                  <a:pt x="104613" y="292692"/>
                  <a:pt x="105227" y="292692"/>
                </a:cubicBezTo>
                <a:cubicBezTo>
                  <a:pt x="105227" y="292692"/>
                  <a:pt x="105534" y="292692"/>
                  <a:pt x="105534" y="292692"/>
                </a:cubicBezTo>
                <a:cubicBezTo>
                  <a:pt x="105534" y="292692"/>
                  <a:pt x="105534" y="292999"/>
                  <a:pt x="105534" y="292999"/>
                </a:cubicBezTo>
                <a:cubicBezTo>
                  <a:pt x="105534" y="292999"/>
                  <a:pt x="105534" y="293305"/>
                  <a:pt x="105534" y="293305"/>
                </a:cubicBezTo>
                <a:cubicBezTo>
                  <a:pt x="105534" y="293612"/>
                  <a:pt x="105227" y="293612"/>
                  <a:pt x="105227" y="293612"/>
                </a:cubicBezTo>
                <a:cubicBezTo>
                  <a:pt x="105227" y="293612"/>
                  <a:pt x="105227" y="293612"/>
                  <a:pt x="104920" y="293612"/>
                </a:cubicBezTo>
                <a:cubicBezTo>
                  <a:pt x="104920" y="293612"/>
                  <a:pt x="104920" y="293612"/>
                  <a:pt x="104306" y="293612"/>
                </a:cubicBezTo>
                <a:cubicBezTo>
                  <a:pt x="104306" y="293612"/>
                  <a:pt x="104306" y="293612"/>
                  <a:pt x="104306" y="293305"/>
                </a:cubicBezTo>
                <a:cubicBezTo>
                  <a:pt x="104306" y="293305"/>
                  <a:pt x="104306" y="293305"/>
                  <a:pt x="104306" y="292999"/>
                </a:cubicBezTo>
                <a:cubicBezTo>
                  <a:pt x="104306" y="292999"/>
                  <a:pt x="104306" y="292999"/>
                  <a:pt x="104306" y="292692"/>
                </a:cubicBezTo>
                <a:close/>
                <a:moveTo>
                  <a:pt x="117812" y="291159"/>
                </a:moveTo>
                <a:cubicBezTo>
                  <a:pt x="117812" y="291159"/>
                  <a:pt x="117812" y="291159"/>
                  <a:pt x="117812" y="291772"/>
                </a:cubicBezTo>
                <a:cubicBezTo>
                  <a:pt x="117812" y="291772"/>
                  <a:pt x="117812" y="291772"/>
                  <a:pt x="117812" y="292692"/>
                </a:cubicBezTo>
                <a:cubicBezTo>
                  <a:pt x="117812" y="292692"/>
                  <a:pt x="117812" y="292692"/>
                  <a:pt x="117198" y="292692"/>
                </a:cubicBezTo>
                <a:cubicBezTo>
                  <a:pt x="117198" y="292692"/>
                  <a:pt x="117198" y="292692"/>
                  <a:pt x="117505" y="291772"/>
                </a:cubicBezTo>
                <a:cubicBezTo>
                  <a:pt x="117505" y="291772"/>
                  <a:pt x="117505" y="291772"/>
                  <a:pt x="117812" y="291159"/>
                </a:cubicBezTo>
                <a:close/>
                <a:moveTo>
                  <a:pt x="95098" y="291159"/>
                </a:moveTo>
                <a:cubicBezTo>
                  <a:pt x="95098" y="291159"/>
                  <a:pt x="95098" y="291159"/>
                  <a:pt x="95405" y="291159"/>
                </a:cubicBezTo>
                <a:cubicBezTo>
                  <a:pt x="95405" y="291159"/>
                  <a:pt x="95405" y="291159"/>
                  <a:pt x="95405" y="291772"/>
                </a:cubicBezTo>
                <a:cubicBezTo>
                  <a:pt x="95405" y="291772"/>
                  <a:pt x="95405" y="291772"/>
                  <a:pt x="95405" y="292692"/>
                </a:cubicBezTo>
                <a:cubicBezTo>
                  <a:pt x="95405" y="292692"/>
                  <a:pt x="95405" y="292692"/>
                  <a:pt x="95098" y="292692"/>
                </a:cubicBezTo>
                <a:cubicBezTo>
                  <a:pt x="95098" y="292692"/>
                  <a:pt x="95098" y="292692"/>
                  <a:pt x="94791" y="292692"/>
                </a:cubicBezTo>
                <a:cubicBezTo>
                  <a:pt x="94791" y="292692"/>
                  <a:pt x="94791" y="292692"/>
                  <a:pt x="94484" y="292692"/>
                </a:cubicBezTo>
                <a:cubicBezTo>
                  <a:pt x="94484" y="292692"/>
                  <a:pt x="94484" y="292692"/>
                  <a:pt x="94791" y="291772"/>
                </a:cubicBezTo>
                <a:cubicBezTo>
                  <a:pt x="94791" y="291772"/>
                  <a:pt x="94791" y="291772"/>
                  <a:pt x="95098" y="291159"/>
                </a:cubicBezTo>
                <a:close/>
                <a:moveTo>
                  <a:pt x="104613" y="290546"/>
                </a:moveTo>
                <a:cubicBezTo>
                  <a:pt x="104613" y="290546"/>
                  <a:pt x="104613" y="290546"/>
                  <a:pt x="104920" y="290546"/>
                </a:cubicBezTo>
                <a:cubicBezTo>
                  <a:pt x="104920" y="290546"/>
                  <a:pt x="104920" y="290546"/>
                  <a:pt x="105534" y="290546"/>
                </a:cubicBezTo>
                <a:cubicBezTo>
                  <a:pt x="105534" y="290546"/>
                  <a:pt x="105841" y="290546"/>
                  <a:pt x="105841" y="290852"/>
                </a:cubicBezTo>
                <a:cubicBezTo>
                  <a:pt x="105841" y="291159"/>
                  <a:pt x="105841" y="291466"/>
                  <a:pt x="105841" y="291466"/>
                </a:cubicBezTo>
                <a:cubicBezTo>
                  <a:pt x="105534" y="291466"/>
                  <a:pt x="105534" y="291466"/>
                  <a:pt x="105227" y="291466"/>
                </a:cubicBezTo>
                <a:cubicBezTo>
                  <a:pt x="105227" y="291466"/>
                  <a:pt x="105227" y="291466"/>
                  <a:pt x="104613" y="291466"/>
                </a:cubicBezTo>
                <a:cubicBezTo>
                  <a:pt x="104613" y="291159"/>
                  <a:pt x="104613" y="291159"/>
                  <a:pt x="104613" y="291159"/>
                </a:cubicBezTo>
                <a:cubicBezTo>
                  <a:pt x="104613" y="290852"/>
                  <a:pt x="104613" y="290852"/>
                  <a:pt x="104613" y="290852"/>
                </a:cubicBezTo>
                <a:cubicBezTo>
                  <a:pt x="104613" y="290852"/>
                  <a:pt x="104613" y="290852"/>
                  <a:pt x="104613" y="290546"/>
                </a:cubicBezTo>
                <a:close/>
                <a:moveTo>
                  <a:pt x="129476" y="289626"/>
                </a:moveTo>
                <a:cubicBezTo>
                  <a:pt x="129476" y="289932"/>
                  <a:pt x="129476" y="289932"/>
                  <a:pt x="129476" y="289932"/>
                </a:cubicBezTo>
                <a:cubicBezTo>
                  <a:pt x="128555" y="294532"/>
                  <a:pt x="128555" y="294532"/>
                  <a:pt x="128555" y="294532"/>
                </a:cubicBezTo>
                <a:cubicBezTo>
                  <a:pt x="128555" y="294532"/>
                  <a:pt x="128555" y="294532"/>
                  <a:pt x="128862" y="294532"/>
                </a:cubicBezTo>
                <a:cubicBezTo>
                  <a:pt x="131624" y="294532"/>
                  <a:pt x="131624" y="294532"/>
                  <a:pt x="131624" y="294532"/>
                </a:cubicBezTo>
                <a:cubicBezTo>
                  <a:pt x="131931" y="294532"/>
                  <a:pt x="131931" y="294532"/>
                  <a:pt x="131931" y="294532"/>
                </a:cubicBezTo>
                <a:cubicBezTo>
                  <a:pt x="131931" y="293918"/>
                  <a:pt x="131931" y="293918"/>
                  <a:pt x="131931" y="293918"/>
                </a:cubicBezTo>
                <a:cubicBezTo>
                  <a:pt x="131931" y="293612"/>
                  <a:pt x="131931" y="293612"/>
                  <a:pt x="131931" y="293612"/>
                </a:cubicBezTo>
                <a:cubicBezTo>
                  <a:pt x="130090" y="293612"/>
                  <a:pt x="130090" y="293612"/>
                  <a:pt x="130090" y="293612"/>
                </a:cubicBezTo>
                <a:cubicBezTo>
                  <a:pt x="130090" y="293612"/>
                  <a:pt x="130090" y="293612"/>
                  <a:pt x="129783" y="293612"/>
                </a:cubicBezTo>
                <a:cubicBezTo>
                  <a:pt x="129783" y="293305"/>
                  <a:pt x="129783" y="293305"/>
                  <a:pt x="129783" y="293305"/>
                </a:cubicBezTo>
                <a:cubicBezTo>
                  <a:pt x="130090" y="292692"/>
                  <a:pt x="130090" y="292692"/>
                  <a:pt x="130090" y="292692"/>
                </a:cubicBezTo>
                <a:cubicBezTo>
                  <a:pt x="131624" y="292692"/>
                  <a:pt x="131624" y="292692"/>
                  <a:pt x="131624" y="292692"/>
                </a:cubicBezTo>
                <a:cubicBezTo>
                  <a:pt x="131624" y="292692"/>
                  <a:pt x="131624" y="292385"/>
                  <a:pt x="131931" y="292385"/>
                </a:cubicBezTo>
                <a:cubicBezTo>
                  <a:pt x="131931" y="291772"/>
                  <a:pt x="131931" y="291772"/>
                  <a:pt x="131931" y="291772"/>
                </a:cubicBezTo>
                <a:cubicBezTo>
                  <a:pt x="131931" y="291772"/>
                  <a:pt x="131931" y="291466"/>
                  <a:pt x="131624" y="291466"/>
                </a:cubicBezTo>
                <a:cubicBezTo>
                  <a:pt x="130397" y="291466"/>
                  <a:pt x="130397" y="291466"/>
                  <a:pt x="130397" y="291466"/>
                </a:cubicBezTo>
                <a:cubicBezTo>
                  <a:pt x="130397" y="291159"/>
                  <a:pt x="130397" y="291159"/>
                  <a:pt x="130397" y="291159"/>
                </a:cubicBezTo>
                <a:cubicBezTo>
                  <a:pt x="130397" y="290852"/>
                  <a:pt x="130397" y="290852"/>
                  <a:pt x="130397" y="290852"/>
                </a:cubicBezTo>
                <a:cubicBezTo>
                  <a:pt x="130397" y="290546"/>
                  <a:pt x="130397" y="290546"/>
                  <a:pt x="130397" y="290546"/>
                </a:cubicBezTo>
                <a:cubicBezTo>
                  <a:pt x="130397" y="290546"/>
                  <a:pt x="130397" y="290546"/>
                  <a:pt x="130703" y="290546"/>
                </a:cubicBezTo>
                <a:cubicBezTo>
                  <a:pt x="132238" y="290546"/>
                  <a:pt x="132238" y="290546"/>
                  <a:pt x="132238" y="290546"/>
                </a:cubicBezTo>
                <a:cubicBezTo>
                  <a:pt x="132238" y="290546"/>
                  <a:pt x="132238" y="290546"/>
                  <a:pt x="132545" y="290546"/>
                </a:cubicBezTo>
                <a:cubicBezTo>
                  <a:pt x="132545" y="289932"/>
                  <a:pt x="132545" y="289932"/>
                  <a:pt x="132545" y="289932"/>
                </a:cubicBezTo>
                <a:cubicBezTo>
                  <a:pt x="132545" y="289626"/>
                  <a:pt x="132545" y="289626"/>
                  <a:pt x="132238" y="289626"/>
                </a:cubicBezTo>
                <a:cubicBezTo>
                  <a:pt x="129783" y="289626"/>
                  <a:pt x="129783" y="289626"/>
                  <a:pt x="129783" y="289626"/>
                </a:cubicBezTo>
                <a:cubicBezTo>
                  <a:pt x="129476" y="289626"/>
                  <a:pt x="129476" y="289626"/>
                  <a:pt x="129476" y="289626"/>
                </a:cubicBezTo>
                <a:close/>
                <a:moveTo>
                  <a:pt x="126099" y="289626"/>
                </a:moveTo>
                <a:cubicBezTo>
                  <a:pt x="125792" y="289626"/>
                  <a:pt x="125792" y="289932"/>
                  <a:pt x="125485" y="289932"/>
                </a:cubicBezTo>
                <a:cubicBezTo>
                  <a:pt x="125485" y="290239"/>
                  <a:pt x="125485" y="290239"/>
                  <a:pt x="125178" y="290546"/>
                </a:cubicBezTo>
                <a:cubicBezTo>
                  <a:pt x="125178" y="290852"/>
                  <a:pt x="125178" y="290852"/>
                  <a:pt x="125178" y="291159"/>
                </a:cubicBezTo>
                <a:cubicBezTo>
                  <a:pt x="124565" y="292999"/>
                  <a:pt x="124565" y="292999"/>
                  <a:pt x="124565" y="292999"/>
                </a:cubicBezTo>
                <a:cubicBezTo>
                  <a:pt x="124565" y="293305"/>
                  <a:pt x="124565" y="293612"/>
                  <a:pt x="124565" y="293612"/>
                </a:cubicBezTo>
                <a:cubicBezTo>
                  <a:pt x="124872" y="293918"/>
                  <a:pt x="124872" y="293918"/>
                  <a:pt x="124872" y="294225"/>
                </a:cubicBezTo>
                <a:cubicBezTo>
                  <a:pt x="125178" y="294225"/>
                  <a:pt x="125178" y="294532"/>
                  <a:pt x="125485" y="294532"/>
                </a:cubicBezTo>
                <a:cubicBezTo>
                  <a:pt x="125792" y="294532"/>
                  <a:pt x="125792" y="294532"/>
                  <a:pt x="126099" y="294532"/>
                </a:cubicBezTo>
                <a:cubicBezTo>
                  <a:pt x="126406" y="294532"/>
                  <a:pt x="126713" y="294532"/>
                  <a:pt x="127020" y="294532"/>
                </a:cubicBezTo>
                <a:cubicBezTo>
                  <a:pt x="127327" y="294532"/>
                  <a:pt x="127634" y="294225"/>
                  <a:pt x="127941" y="294225"/>
                </a:cubicBezTo>
                <a:cubicBezTo>
                  <a:pt x="127941" y="293918"/>
                  <a:pt x="127941" y="293918"/>
                  <a:pt x="127941" y="293918"/>
                </a:cubicBezTo>
                <a:cubicBezTo>
                  <a:pt x="127327" y="293305"/>
                  <a:pt x="127327" y="293305"/>
                  <a:pt x="127327" y="293305"/>
                </a:cubicBezTo>
                <a:cubicBezTo>
                  <a:pt x="127327" y="293305"/>
                  <a:pt x="127020" y="293305"/>
                  <a:pt x="127020" y="293305"/>
                </a:cubicBezTo>
                <a:cubicBezTo>
                  <a:pt x="127020" y="293305"/>
                  <a:pt x="126713" y="293612"/>
                  <a:pt x="126713" y="293612"/>
                </a:cubicBezTo>
                <a:cubicBezTo>
                  <a:pt x="126713" y="293612"/>
                  <a:pt x="126406" y="293612"/>
                  <a:pt x="126406" y="293612"/>
                </a:cubicBezTo>
                <a:cubicBezTo>
                  <a:pt x="126099" y="293612"/>
                  <a:pt x="126099" y="293612"/>
                  <a:pt x="126099" y="293612"/>
                </a:cubicBezTo>
                <a:cubicBezTo>
                  <a:pt x="125792" y="293305"/>
                  <a:pt x="125792" y="293305"/>
                  <a:pt x="125792" y="293305"/>
                </a:cubicBezTo>
                <a:cubicBezTo>
                  <a:pt x="125792" y="292999"/>
                  <a:pt x="125792" y="292999"/>
                  <a:pt x="125792" y="292999"/>
                </a:cubicBezTo>
                <a:cubicBezTo>
                  <a:pt x="126099" y="291159"/>
                  <a:pt x="126099" y="291159"/>
                  <a:pt x="126099" y="291159"/>
                </a:cubicBezTo>
                <a:cubicBezTo>
                  <a:pt x="126406" y="290852"/>
                  <a:pt x="126406" y="290852"/>
                  <a:pt x="126406" y="290852"/>
                </a:cubicBezTo>
                <a:cubicBezTo>
                  <a:pt x="126406" y="290546"/>
                  <a:pt x="126406" y="290546"/>
                  <a:pt x="126406" y="290546"/>
                </a:cubicBezTo>
                <a:cubicBezTo>
                  <a:pt x="126713" y="290546"/>
                  <a:pt x="126713" y="290546"/>
                  <a:pt x="126713" y="290546"/>
                </a:cubicBezTo>
                <a:cubicBezTo>
                  <a:pt x="127020" y="290546"/>
                  <a:pt x="127020" y="290546"/>
                  <a:pt x="127020" y="290546"/>
                </a:cubicBezTo>
                <a:cubicBezTo>
                  <a:pt x="127327" y="290546"/>
                  <a:pt x="127327" y="290852"/>
                  <a:pt x="127634" y="290852"/>
                </a:cubicBezTo>
                <a:cubicBezTo>
                  <a:pt x="127941" y="290852"/>
                  <a:pt x="127941" y="290852"/>
                  <a:pt x="127941" y="290852"/>
                </a:cubicBezTo>
                <a:cubicBezTo>
                  <a:pt x="128248" y="290546"/>
                  <a:pt x="128248" y="290546"/>
                  <a:pt x="128248" y="290546"/>
                </a:cubicBezTo>
                <a:cubicBezTo>
                  <a:pt x="128248" y="290239"/>
                  <a:pt x="128248" y="290239"/>
                  <a:pt x="128248" y="290239"/>
                </a:cubicBezTo>
                <a:cubicBezTo>
                  <a:pt x="128248" y="289932"/>
                  <a:pt x="127941" y="289626"/>
                  <a:pt x="127634" y="289626"/>
                </a:cubicBezTo>
                <a:cubicBezTo>
                  <a:pt x="127327" y="289626"/>
                  <a:pt x="127020" y="289626"/>
                  <a:pt x="127020" y="289626"/>
                </a:cubicBezTo>
                <a:cubicBezTo>
                  <a:pt x="126713" y="289626"/>
                  <a:pt x="126406" y="289626"/>
                  <a:pt x="126099" y="289626"/>
                </a:cubicBezTo>
                <a:close/>
                <a:moveTo>
                  <a:pt x="120881" y="289626"/>
                </a:moveTo>
                <a:cubicBezTo>
                  <a:pt x="120881" y="289626"/>
                  <a:pt x="120574" y="289626"/>
                  <a:pt x="120574" y="289932"/>
                </a:cubicBezTo>
                <a:cubicBezTo>
                  <a:pt x="119653" y="294532"/>
                  <a:pt x="119653" y="294532"/>
                  <a:pt x="119653" y="294532"/>
                </a:cubicBezTo>
                <a:cubicBezTo>
                  <a:pt x="119960" y="294532"/>
                  <a:pt x="119960" y="294532"/>
                  <a:pt x="119960" y="294532"/>
                </a:cubicBezTo>
                <a:cubicBezTo>
                  <a:pt x="120574" y="294532"/>
                  <a:pt x="120574" y="294532"/>
                  <a:pt x="120574" y="294532"/>
                </a:cubicBezTo>
                <a:cubicBezTo>
                  <a:pt x="120881" y="294532"/>
                  <a:pt x="120881" y="294532"/>
                  <a:pt x="120881" y="294532"/>
                </a:cubicBezTo>
                <a:cubicBezTo>
                  <a:pt x="121495" y="292079"/>
                  <a:pt x="121495" y="292079"/>
                  <a:pt x="121495" y="292079"/>
                </a:cubicBezTo>
                <a:cubicBezTo>
                  <a:pt x="122416" y="294532"/>
                  <a:pt x="122416" y="294532"/>
                  <a:pt x="122416" y="294532"/>
                </a:cubicBezTo>
                <a:cubicBezTo>
                  <a:pt x="122723" y="294532"/>
                  <a:pt x="122723" y="294532"/>
                  <a:pt x="122723" y="294532"/>
                </a:cubicBezTo>
                <a:cubicBezTo>
                  <a:pt x="123337" y="294532"/>
                  <a:pt x="123337" y="294532"/>
                  <a:pt x="123337" y="294532"/>
                </a:cubicBezTo>
                <a:cubicBezTo>
                  <a:pt x="124258" y="289932"/>
                  <a:pt x="124258" y="289932"/>
                  <a:pt x="124258" y="289932"/>
                </a:cubicBezTo>
                <a:cubicBezTo>
                  <a:pt x="124258" y="289626"/>
                  <a:pt x="124258" y="289626"/>
                  <a:pt x="124258" y="289626"/>
                </a:cubicBezTo>
                <a:cubicBezTo>
                  <a:pt x="123337" y="289626"/>
                  <a:pt x="123337" y="289626"/>
                  <a:pt x="123337" y="289626"/>
                </a:cubicBezTo>
                <a:cubicBezTo>
                  <a:pt x="123337" y="289626"/>
                  <a:pt x="123337" y="289626"/>
                  <a:pt x="123337" y="289932"/>
                </a:cubicBezTo>
                <a:cubicBezTo>
                  <a:pt x="122723" y="292385"/>
                  <a:pt x="122723" y="292385"/>
                  <a:pt x="122723" y="292385"/>
                </a:cubicBezTo>
                <a:cubicBezTo>
                  <a:pt x="121802" y="289932"/>
                  <a:pt x="121802" y="289932"/>
                  <a:pt x="121802" y="289932"/>
                </a:cubicBezTo>
                <a:cubicBezTo>
                  <a:pt x="121495" y="289626"/>
                  <a:pt x="121495" y="289626"/>
                  <a:pt x="121495" y="289626"/>
                </a:cubicBezTo>
                <a:cubicBezTo>
                  <a:pt x="120881" y="289626"/>
                  <a:pt x="120881" y="289626"/>
                  <a:pt x="120881" y="289626"/>
                </a:cubicBezTo>
                <a:close/>
                <a:moveTo>
                  <a:pt x="117198" y="289626"/>
                </a:moveTo>
                <a:cubicBezTo>
                  <a:pt x="115356" y="294532"/>
                  <a:pt x="115356" y="294532"/>
                  <a:pt x="115356" y="294532"/>
                </a:cubicBezTo>
                <a:cubicBezTo>
                  <a:pt x="116277" y="294532"/>
                  <a:pt x="116277" y="294532"/>
                  <a:pt x="116277" y="294532"/>
                </a:cubicBezTo>
                <a:cubicBezTo>
                  <a:pt x="116584" y="294532"/>
                  <a:pt x="116584" y="294532"/>
                  <a:pt x="116584" y="294532"/>
                </a:cubicBezTo>
                <a:cubicBezTo>
                  <a:pt x="116584" y="293918"/>
                  <a:pt x="116584" y="293918"/>
                  <a:pt x="116584" y="293918"/>
                </a:cubicBezTo>
                <a:cubicBezTo>
                  <a:pt x="116891" y="293612"/>
                  <a:pt x="116891" y="293612"/>
                  <a:pt x="116891" y="293612"/>
                </a:cubicBezTo>
                <a:cubicBezTo>
                  <a:pt x="117812" y="293612"/>
                  <a:pt x="117812" y="293612"/>
                  <a:pt x="117812" y="293612"/>
                </a:cubicBezTo>
                <a:cubicBezTo>
                  <a:pt x="118119" y="293918"/>
                  <a:pt x="118119" y="293918"/>
                  <a:pt x="118119" y="293918"/>
                </a:cubicBezTo>
                <a:cubicBezTo>
                  <a:pt x="118119" y="294532"/>
                  <a:pt x="118119" y="294532"/>
                  <a:pt x="118119" y="294532"/>
                </a:cubicBezTo>
                <a:cubicBezTo>
                  <a:pt x="119040" y="294532"/>
                  <a:pt x="119040" y="294532"/>
                  <a:pt x="119040" y="294532"/>
                </a:cubicBezTo>
                <a:cubicBezTo>
                  <a:pt x="119040" y="289626"/>
                  <a:pt x="119040" y="289626"/>
                  <a:pt x="119040" y="289626"/>
                </a:cubicBezTo>
                <a:cubicBezTo>
                  <a:pt x="118733" y="289626"/>
                  <a:pt x="118733" y="289626"/>
                  <a:pt x="118733" y="289626"/>
                </a:cubicBezTo>
                <a:cubicBezTo>
                  <a:pt x="117505" y="289626"/>
                  <a:pt x="117505" y="289626"/>
                  <a:pt x="117505" y="289626"/>
                </a:cubicBezTo>
                <a:cubicBezTo>
                  <a:pt x="117198" y="289626"/>
                  <a:pt x="117198" y="289626"/>
                  <a:pt x="117198" y="289626"/>
                </a:cubicBezTo>
                <a:close/>
                <a:moveTo>
                  <a:pt x="112901" y="289626"/>
                </a:moveTo>
                <a:cubicBezTo>
                  <a:pt x="112901" y="289932"/>
                  <a:pt x="112901" y="289932"/>
                  <a:pt x="112901" y="289932"/>
                </a:cubicBezTo>
                <a:cubicBezTo>
                  <a:pt x="111980" y="294532"/>
                  <a:pt x="111980" y="294532"/>
                  <a:pt x="111980" y="294532"/>
                </a:cubicBezTo>
                <a:cubicBezTo>
                  <a:pt x="114742" y="294532"/>
                  <a:pt x="114742" y="294532"/>
                  <a:pt x="114742" y="294532"/>
                </a:cubicBezTo>
                <a:cubicBezTo>
                  <a:pt x="115049" y="294532"/>
                  <a:pt x="115049" y="294532"/>
                  <a:pt x="115049" y="294532"/>
                </a:cubicBezTo>
                <a:cubicBezTo>
                  <a:pt x="115356" y="293918"/>
                  <a:pt x="115356" y="293918"/>
                  <a:pt x="115356" y="293918"/>
                </a:cubicBezTo>
                <a:cubicBezTo>
                  <a:pt x="115049" y="293612"/>
                  <a:pt x="115049" y="293612"/>
                  <a:pt x="115049" y="293612"/>
                </a:cubicBezTo>
                <a:cubicBezTo>
                  <a:pt x="113515" y="293612"/>
                  <a:pt x="113515" y="293612"/>
                  <a:pt x="113515" y="293612"/>
                </a:cubicBezTo>
                <a:cubicBezTo>
                  <a:pt x="113208" y="293612"/>
                  <a:pt x="113208" y="293612"/>
                  <a:pt x="113208" y="293612"/>
                </a:cubicBezTo>
                <a:cubicBezTo>
                  <a:pt x="113208" y="293305"/>
                  <a:pt x="113208" y="293305"/>
                  <a:pt x="113208" y="293305"/>
                </a:cubicBezTo>
                <a:cubicBezTo>
                  <a:pt x="113821" y="289932"/>
                  <a:pt x="113821" y="289932"/>
                  <a:pt x="113821" y="289932"/>
                </a:cubicBezTo>
                <a:cubicBezTo>
                  <a:pt x="113821" y="289626"/>
                  <a:pt x="113821" y="289626"/>
                  <a:pt x="113821" y="289626"/>
                </a:cubicBezTo>
                <a:cubicBezTo>
                  <a:pt x="112901" y="289626"/>
                  <a:pt x="112901" y="289626"/>
                  <a:pt x="112901" y="289626"/>
                </a:cubicBezTo>
                <a:close/>
                <a:moveTo>
                  <a:pt x="108296" y="289626"/>
                </a:moveTo>
                <a:cubicBezTo>
                  <a:pt x="108296" y="289932"/>
                  <a:pt x="108296" y="289932"/>
                  <a:pt x="108296" y="289932"/>
                </a:cubicBezTo>
                <a:cubicBezTo>
                  <a:pt x="107683" y="292999"/>
                  <a:pt x="107683" y="292999"/>
                  <a:pt x="107683" y="292999"/>
                </a:cubicBezTo>
                <a:cubicBezTo>
                  <a:pt x="107683" y="293305"/>
                  <a:pt x="107376" y="293305"/>
                  <a:pt x="107683" y="293612"/>
                </a:cubicBezTo>
                <a:cubicBezTo>
                  <a:pt x="107683" y="293918"/>
                  <a:pt x="107683" y="293918"/>
                  <a:pt x="107989" y="294225"/>
                </a:cubicBezTo>
                <a:cubicBezTo>
                  <a:pt x="107989" y="294225"/>
                  <a:pt x="108296" y="294532"/>
                  <a:pt x="108296" y="294532"/>
                </a:cubicBezTo>
                <a:cubicBezTo>
                  <a:pt x="108603" y="294532"/>
                  <a:pt x="108910" y="294532"/>
                  <a:pt x="109217" y="294532"/>
                </a:cubicBezTo>
                <a:cubicBezTo>
                  <a:pt x="109524" y="294532"/>
                  <a:pt x="109831" y="294532"/>
                  <a:pt x="110138" y="294532"/>
                </a:cubicBezTo>
                <a:cubicBezTo>
                  <a:pt x="110138" y="294532"/>
                  <a:pt x="110445" y="294225"/>
                  <a:pt x="110445" y="294225"/>
                </a:cubicBezTo>
                <a:cubicBezTo>
                  <a:pt x="110752" y="293918"/>
                  <a:pt x="110752" y="293918"/>
                  <a:pt x="111059" y="293612"/>
                </a:cubicBezTo>
                <a:cubicBezTo>
                  <a:pt x="111059" y="293305"/>
                  <a:pt x="111059" y="293305"/>
                  <a:pt x="111059" y="292999"/>
                </a:cubicBezTo>
                <a:cubicBezTo>
                  <a:pt x="111673" y="289932"/>
                  <a:pt x="111673" y="289932"/>
                  <a:pt x="111673" y="289932"/>
                </a:cubicBezTo>
                <a:cubicBezTo>
                  <a:pt x="111673" y="289626"/>
                  <a:pt x="111673" y="289626"/>
                  <a:pt x="111673" y="289626"/>
                </a:cubicBezTo>
                <a:cubicBezTo>
                  <a:pt x="110752" y="289626"/>
                  <a:pt x="110752" y="289626"/>
                  <a:pt x="110752" y="289626"/>
                </a:cubicBezTo>
                <a:cubicBezTo>
                  <a:pt x="110445" y="289932"/>
                  <a:pt x="110445" y="289932"/>
                  <a:pt x="110445" y="289932"/>
                </a:cubicBezTo>
                <a:cubicBezTo>
                  <a:pt x="109831" y="292999"/>
                  <a:pt x="109831" y="292999"/>
                  <a:pt x="109831" y="292999"/>
                </a:cubicBezTo>
                <a:cubicBezTo>
                  <a:pt x="109831" y="293305"/>
                  <a:pt x="109831" y="293305"/>
                  <a:pt x="109831" y="293612"/>
                </a:cubicBezTo>
                <a:cubicBezTo>
                  <a:pt x="109524" y="293612"/>
                  <a:pt x="109524" y="293612"/>
                  <a:pt x="109217" y="293612"/>
                </a:cubicBezTo>
                <a:cubicBezTo>
                  <a:pt x="108910" y="293612"/>
                  <a:pt x="108910" y="293612"/>
                  <a:pt x="108910" y="293612"/>
                </a:cubicBezTo>
                <a:cubicBezTo>
                  <a:pt x="108603" y="293305"/>
                  <a:pt x="108603" y="293305"/>
                  <a:pt x="108603" y="292999"/>
                </a:cubicBezTo>
                <a:cubicBezTo>
                  <a:pt x="109217" y="289932"/>
                  <a:pt x="109217" y="289932"/>
                  <a:pt x="109217" y="289932"/>
                </a:cubicBezTo>
                <a:cubicBezTo>
                  <a:pt x="109217" y="289626"/>
                  <a:pt x="109217" y="289626"/>
                  <a:pt x="109217" y="289626"/>
                </a:cubicBezTo>
                <a:cubicBezTo>
                  <a:pt x="108296" y="289626"/>
                  <a:pt x="108296" y="289626"/>
                  <a:pt x="108296" y="289626"/>
                </a:cubicBezTo>
                <a:close/>
                <a:moveTo>
                  <a:pt x="103692" y="289626"/>
                </a:moveTo>
                <a:cubicBezTo>
                  <a:pt x="103692" y="289932"/>
                  <a:pt x="103692" y="289932"/>
                  <a:pt x="103692" y="289932"/>
                </a:cubicBezTo>
                <a:cubicBezTo>
                  <a:pt x="102771" y="294532"/>
                  <a:pt x="102771" y="294532"/>
                  <a:pt x="102771" y="294532"/>
                </a:cubicBezTo>
                <a:cubicBezTo>
                  <a:pt x="102771" y="294532"/>
                  <a:pt x="102771" y="294532"/>
                  <a:pt x="103078" y="294532"/>
                </a:cubicBezTo>
                <a:cubicBezTo>
                  <a:pt x="105227" y="294532"/>
                  <a:pt x="105227" y="294532"/>
                  <a:pt x="105227" y="294532"/>
                </a:cubicBezTo>
                <a:cubicBezTo>
                  <a:pt x="105227" y="294532"/>
                  <a:pt x="105534" y="294532"/>
                  <a:pt x="105841" y="294532"/>
                </a:cubicBezTo>
                <a:cubicBezTo>
                  <a:pt x="105841" y="294532"/>
                  <a:pt x="106148" y="294225"/>
                  <a:pt x="106148" y="294225"/>
                </a:cubicBezTo>
                <a:cubicBezTo>
                  <a:pt x="106455" y="293918"/>
                  <a:pt x="106455" y="293918"/>
                  <a:pt x="106762" y="293612"/>
                </a:cubicBezTo>
                <a:cubicBezTo>
                  <a:pt x="106762" y="293305"/>
                  <a:pt x="106762" y="293305"/>
                  <a:pt x="106762" y="292999"/>
                </a:cubicBezTo>
                <a:cubicBezTo>
                  <a:pt x="106762" y="292692"/>
                  <a:pt x="106762" y="292692"/>
                  <a:pt x="106762" y="292385"/>
                </a:cubicBezTo>
                <a:cubicBezTo>
                  <a:pt x="106455" y="292385"/>
                  <a:pt x="106455" y="292079"/>
                  <a:pt x="106148" y="292079"/>
                </a:cubicBezTo>
                <a:cubicBezTo>
                  <a:pt x="106455" y="292079"/>
                  <a:pt x="106455" y="291772"/>
                  <a:pt x="106762" y="291772"/>
                </a:cubicBezTo>
                <a:cubicBezTo>
                  <a:pt x="106762" y="291772"/>
                  <a:pt x="106762" y="291772"/>
                  <a:pt x="106762" y="291466"/>
                </a:cubicBezTo>
                <a:cubicBezTo>
                  <a:pt x="107069" y="291466"/>
                  <a:pt x="107069" y="291159"/>
                  <a:pt x="107069" y="291159"/>
                </a:cubicBezTo>
                <a:cubicBezTo>
                  <a:pt x="107069" y="291159"/>
                  <a:pt x="107069" y="290852"/>
                  <a:pt x="107069" y="290852"/>
                </a:cubicBezTo>
                <a:cubicBezTo>
                  <a:pt x="107069" y="290546"/>
                  <a:pt x="107069" y="290239"/>
                  <a:pt x="106762" y="289932"/>
                </a:cubicBezTo>
                <a:cubicBezTo>
                  <a:pt x="106455" y="289626"/>
                  <a:pt x="106148" y="289626"/>
                  <a:pt x="105534" y="289626"/>
                </a:cubicBezTo>
                <a:cubicBezTo>
                  <a:pt x="103999" y="289626"/>
                  <a:pt x="103999" y="289626"/>
                  <a:pt x="103999" y="289626"/>
                </a:cubicBezTo>
                <a:cubicBezTo>
                  <a:pt x="103692" y="289626"/>
                  <a:pt x="103692" y="289626"/>
                  <a:pt x="103692" y="289626"/>
                </a:cubicBezTo>
                <a:close/>
                <a:moveTo>
                  <a:pt x="98167" y="289626"/>
                </a:moveTo>
                <a:cubicBezTo>
                  <a:pt x="98167" y="289932"/>
                  <a:pt x="98167" y="289932"/>
                  <a:pt x="98167" y="289932"/>
                </a:cubicBezTo>
                <a:cubicBezTo>
                  <a:pt x="97860" y="290546"/>
                  <a:pt x="97860" y="291466"/>
                  <a:pt x="97553" y="292079"/>
                </a:cubicBezTo>
                <a:cubicBezTo>
                  <a:pt x="97553" y="292999"/>
                  <a:pt x="97246" y="293612"/>
                  <a:pt x="97246" y="294532"/>
                </a:cubicBezTo>
                <a:cubicBezTo>
                  <a:pt x="98167" y="294532"/>
                  <a:pt x="98167" y="294532"/>
                  <a:pt x="98167" y="294532"/>
                </a:cubicBezTo>
                <a:cubicBezTo>
                  <a:pt x="98474" y="294225"/>
                  <a:pt x="98474" y="293918"/>
                  <a:pt x="98474" y="293612"/>
                </a:cubicBezTo>
                <a:cubicBezTo>
                  <a:pt x="98474" y="292999"/>
                  <a:pt x="98474" y="292692"/>
                  <a:pt x="98781" y="292385"/>
                </a:cubicBezTo>
                <a:cubicBezTo>
                  <a:pt x="98781" y="293305"/>
                  <a:pt x="98781" y="293305"/>
                  <a:pt x="98781" y="293305"/>
                </a:cubicBezTo>
                <a:cubicBezTo>
                  <a:pt x="99088" y="294225"/>
                  <a:pt x="99088" y="294225"/>
                  <a:pt x="99088" y="294225"/>
                </a:cubicBezTo>
                <a:cubicBezTo>
                  <a:pt x="99088" y="294532"/>
                  <a:pt x="99088" y="294532"/>
                  <a:pt x="99088" y="294532"/>
                </a:cubicBezTo>
                <a:cubicBezTo>
                  <a:pt x="99395" y="294532"/>
                  <a:pt x="99395" y="294532"/>
                  <a:pt x="99395" y="294532"/>
                </a:cubicBezTo>
                <a:cubicBezTo>
                  <a:pt x="99702" y="294532"/>
                  <a:pt x="99702" y="294532"/>
                  <a:pt x="99702" y="294532"/>
                </a:cubicBezTo>
                <a:cubicBezTo>
                  <a:pt x="100009" y="294225"/>
                  <a:pt x="100009" y="294225"/>
                  <a:pt x="100009" y="294225"/>
                </a:cubicBezTo>
                <a:cubicBezTo>
                  <a:pt x="100623" y="293305"/>
                  <a:pt x="100623" y="293305"/>
                  <a:pt x="100623" y="293305"/>
                </a:cubicBezTo>
                <a:cubicBezTo>
                  <a:pt x="100930" y="292385"/>
                  <a:pt x="100930" y="292385"/>
                  <a:pt x="100930" y="292385"/>
                </a:cubicBezTo>
                <a:cubicBezTo>
                  <a:pt x="101237" y="292385"/>
                  <a:pt x="101237" y="292385"/>
                  <a:pt x="101237" y="292385"/>
                </a:cubicBezTo>
                <a:cubicBezTo>
                  <a:pt x="100930" y="292692"/>
                  <a:pt x="100930" y="292999"/>
                  <a:pt x="100930" y="293305"/>
                </a:cubicBezTo>
                <a:cubicBezTo>
                  <a:pt x="100930" y="293918"/>
                  <a:pt x="100623" y="294225"/>
                  <a:pt x="100623" y="294532"/>
                </a:cubicBezTo>
                <a:cubicBezTo>
                  <a:pt x="100930" y="294532"/>
                  <a:pt x="100930" y="294532"/>
                  <a:pt x="100930" y="294532"/>
                </a:cubicBezTo>
                <a:cubicBezTo>
                  <a:pt x="101544" y="294532"/>
                  <a:pt x="101544" y="294532"/>
                  <a:pt x="101544" y="294532"/>
                </a:cubicBezTo>
                <a:cubicBezTo>
                  <a:pt x="101851" y="294532"/>
                  <a:pt x="101851" y="294532"/>
                  <a:pt x="101851" y="294532"/>
                </a:cubicBezTo>
                <a:cubicBezTo>
                  <a:pt x="102771" y="289932"/>
                  <a:pt x="102771" y="289932"/>
                  <a:pt x="102771" y="289932"/>
                </a:cubicBezTo>
                <a:cubicBezTo>
                  <a:pt x="102771" y="289626"/>
                  <a:pt x="102771" y="289626"/>
                  <a:pt x="102771" y="289626"/>
                </a:cubicBezTo>
                <a:cubicBezTo>
                  <a:pt x="102464" y="289626"/>
                  <a:pt x="102464" y="289626"/>
                  <a:pt x="102464" y="289626"/>
                </a:cubicBezTo>
                <a:cubicBezTo>
                  <a:pt x="101851" y="289626"/>
                  <a:pt x="101851" y="289626"/>
                  <a:pt x="101851" y="289626"/>
                </a:cubicBezTo>
                <a:cubicBezTo>
                  <a:pt x="101851" y="289626"/>
                  <a:pt x="101851" y="289626"/>
                  <a:pt x="101544" y="289626"/>
                </a:cubicBezTo>
                <a:cubicBezTo>
                  <a:pt x="101544" y="289626"/>
                  <a:pt x="101544" y="289626"/>
                  <a:pt x="101544" y="289932"/>
                </a:cubicBezTo>
                <a:cubicBezTo>
                  <a:pt x="100623" y="291466"/>
                  <a:pt x="100623" y="291466"/>
                  <a:pt x="100623" y="291466"/>
                </a:cubicBezTo>
                <a:cubicBezTo>
                  <a:pt x="100316" y="291466"/>
                  <a:pt x="100316" y="291772"/>
                  <a:pt x="100316" y="292079"/>
                </a:cubicBezTo>
                <a:cubicBezTo>
                  <a:pt x="100009" y="292079"/>
                  <a:pt x="100009" y="292385"/>
                  <a:pt x="99702" y="292692"/>
                </a:cubicBezTo>
                <a:cubicBezTo>
                  <a:pt x="99395" y="291466"/>
                  <a:pt x="99395" y="291466"/>
                  <a:pt x="99395" y="291466"/>
                </a:cubicBezTo>
                <a:cubicBezTo>
                  <a:pt x="99088" y="289932"/>
                  <a:pt x="99088" y="289932"/>
                  <a:pt x="99088" y="289932"/>
                </a:cubicBezTo>
                <a:cubicBezTo>
                  <a:pt x="99088" y="289626"/>
                  <a:pt x="99088" y="289626"/>
                  <a:pt x="99088" y="289626"/>
                </a:cubicBezTo>
                <a:cubicBezTo>
                  <a:pt x="99088" y="289626"/>
                  <a:pt x="99088" y="289626"/>
                  <a:pt x="98781" y="289626"/>
                </a:cubicBezTo>
                <a:cubicBezTo>
                  <a:pt x="98167" y="289626"/>
                  <a:pt x="98167" y="289626"/>
                  <a:pt x="98167" y="289626"/>
                </a:cubicBezTo>
                <a:close/>
                <a:moveTo>
                  <a:pt x="94791" y="289626"/>
                </a:moveTo>
                <a:cubicBezTo>
                  <a:pt x="92642" y="294532"/>
                  <a:pt x="92642" y="294532"/>
                  <a:pt x="92642" y="294532"/>
                </a:cubicBezTo>
                <a:cubicBezTo>
                  <a:pt x="92642" y="294532"/>
                  <a:pt x="92642" y="294532"/>
                  <a:pt x="92949" y="294532"/>
                </a:cubicBezTo>
                <a:cubicBezTo>
                  <a:pt x="93563" y="294532"/>
                  <a:pt x="93563" y="294532"/>
                  <a:pt x="93563" y="294532"/>
                </a:cubicBezTo>
                <a:cubicBezTo>
                  <a:pt x="93870" y="294532"/>
                  <a:pt x="93870" y="294532"/>
                  <a:pt x="93870" y="294532"/>
                </a:cubicBezTo>
                <a:cubicBezTo>
                  <a:pt x="94177" y="293918"/>
                  <a:pt x="94177" y="293918"/>
                  <a:pt x="94177" y="293918"/>
                </a:cubicBezTo>
                <a:cubicBezTo>
                  <a:pt x="94177" y="293612"/>
                  <a:pt x="94177" y="293612"/>
                  <a:pt x="94177" y="293612"/>
                </a:cubicBezTo>
                <a:cubicBezTo>
                  <a:pt x="95098" y="293612"/>
                  <a:pt x="95098" y="293612"/>
                  <a:pt x="95098" y="293612"/>
                </a:cubicBezTo>
                <a:cubicBezTo>
                  <a:pt x="95405" y="293612"/>
                  <a:pt x="95405" y="293612"/>
                  <a:pt x="95405" y="293612"/>
                </a:cubicBezTo>
                <a:cubicBezTo>
                  <a:pt x="95405" y="293918"/>
                  <a:pt x="95405" y="293918"/>
                  <a:pt x="95405" y="293918"/>
                </a:cubicBezTo>
                <a:cubicBezTo>
                  <a:pt x="95405" y="294532"/>
                  <a:pt x="95405" y="294532"/>
                  <a:pt x="95405" y="294532"/>
                </a:cubicBezTo>
                <a:cubicBezTo>
                  <a:pt x="95712" y="294532"/>
                  <a:pt x="95712" y="294532"/>
                  <a:pt x="95712" y="294532"/>
                </a:cubicBezTo>
                <a:cubicBezTo>
                  <a:pt x="96326" y="294532"/>
                  <a:pt x="96326" y="294532"/>
                  <a:pt x="96326" y="294532"/>
                </a:cubicBezTo>
                <a:cubicBezTo>
                  <a:pt x="96632" y="294532"/>
                  <a:pt x="96632" y="294532"/>
                  <a:pt x="96632" y="294532"/>
                </a:cubicBezTo>
                <a:cubicBezTo>
                  <a:pt x="96326" y="289626"/>
                  <a:pt x="96326" y="289626"/>
                  <a:pt x="96326" y="289626"/>
                </a:cubicBezTo>
                <a:cubicBezTo>
                  <a:pt x="96019" y="289626"/>
                  <a:pt x="96019" y="289626"/>
                  <a:pt x="96019" y="289626"/>
                </a:cubicBezTo>
                <a:cubicBezTo>
                  <a:pt x="95098" y="289626"/>
                  <a:pt x="95098" y="289626"/>
                  <a:pt x="95098" y="289626"/>
                </a:cubicBezTo>
                <a:cubicBezTo>
                  <a:pt x="94791" y="289626"/>
                  <a:pt x="94791" y="289626"/>
                  <a:pt x="94791" y="289626"/>
                </a:cubicBezTo>
                <a:close/>
                <a:moveTo>
                  <a:pt x="191034" y="283383"/>
                </a:moveTo>
                <a:lnTo>
                  <a:pt x="192828" y="292905"/>
                </a:lnTo>
                <a:lnTo>
                  <a:pt x="192432" y="291723"/>
                </a:lnTo>
                <a:lnTo>
                  <a:pt x="191466" y="286111"/>
                </a:lnTo>
                <a:close/>
                <a:moveTo>
                  <a:pt x="289502" y="279549"/>
                </a:moveTo>
                <a:cubicBezTo>
                  <a:pt x="289196" y="279549"/>
                  <a:pt x="289196" y="279855"/>
                  <a:pt x="289196" y="279855"/>
                </a:cubicBezTo>
                <a:cubicBezTo>
                  <a:pt x="289196" y="280162"/>
                  <a:pt x="289196" y="280162"/>
                  <a:pt x="289502" y="280162"/>
                </a:cubicBezTo>
                <a:cubicBezTo>
                  <a:pt x="295301" y="280162"/>
                  <a:pt x="295301" y="280162"/>
                  <a:pt x="295301" y="280162"/>
                </a:cubicBezTo>
                <a:cubicBezTo>
                  <a:pt x="295606" y="280162"/>
                  <a:pt x="295911" y="280162"/>
                  <a:pt x="295911" y="279855"/>
                </a:cubicBezTo>
                <a:cubicBezTo>
                  <a:pt x="295911" y="279855"/>
                  <a:pt x="295606" y="279549"/>
                  <a:pt x="295301" y="279549"/>
                </a:cubicBezTo>
                <a:cubicBezTo>
                  <a:pt x="289502" y="279549"/>
                  <a:pt x="289502" y="279549"/>
                  <a:pt x="289502" y="279549"/>
                </a:cubicBezTo>
                <a:close/>
                <a:moveTo>
                  <a:pt x="190141" y="277736"/>
                </a:moveTo>
                <a:lnTo>
                  <a:pt x="191034" y="283383"/>
                </a:lnTo>
                <a:lnTo>
                  <a:pt x="190585" y="280999"/>
                </a:lnTo>
                <a:close/>
                <a:moveTo>
                  <a:pt x="289502" y="275870"/>
                </a:moveTo>
                <a:cubicBezTo>
                  <a:pt x="289196" y="275870"/>
                  <a:pt x="289196" y="276177"/>
                  <a:pt x="289196" y="276177"/>
                </a:cubicBezTo>
                <a:cubicBezTo>
                  <a:pt x="289196" y="276483"/>
                  <a:pt x="289196" y="276790"/>
                  <a:pt x="289502" y="276790"/>
                </a:cubicBezTo>
                <a:cubicBezTo>
                  <a:pt x="295301" y="276790"/>
                  <a:pt x="295301" y="276790"/>
                  <a:pt x="295301" y="276790"/>
                </a:cubicBezTo>
                <a:cubicBezTo>
                  <a:pt x="295606" y="276790"/>
                  <a:pt x="295911" y="276483"/>
                  <a:pt x="295911" y="276177"/>
                </a:cubicBezTo>
                <a:cubicBezTo>
                  <a:pt x="295911" y="276177"/>
                  <a:pt x="295606" y="275870"/>
                  <a:pt x="295301" y="275870"/>
                </a:cubicBezTo>
                <a:cubicBezTo>
                  <a:pt x="289502" y="275870"/>
                  <a:pt x="289502" y="275870"/>
                  <a:pt x="289502" y="275870"/>
                </a:cubicBezTo>
                <a:close/>
                <a:moveTo>
                  <a:pt x="371594" y="274689"/>
                </a:moveTo>
                <a:lnTo>
                  <a:pt x="376166" y="282575"/>
                </a:lnTo>
                <a:lnTo>
                  <a:pt x="380738" y="274689"/>
                </a:lnTo>
                <a:close/>
                <a:moveTo>
                  <a:pt x="289502" y="272498"/>
                </a:moveTo>
                <a:cubicBezTo>
                  <a:pt x="289196" y="272498"/>
                  <a:pt x="289196" y="272498"/>
                  <a:pt x="289196" y="272804"/>
                </a:cubicBezTo>
                <a:cubicBezTo>
                  <a:pt x="289196" y="273111"/>
                  <a:pt x="289196" y="273111"/>
                  <a:pt x="289502" y="273111"/>
                </a:cubicBezTo>
                <a:cubicBezTo>
                  <a:pt x="295301" y="273111"/>
                  <a:pt x="295301" y="273111"/>
                  <a:pt x="295301" y="273111"/>
                </a:cubicBezTo>
                <a:cubicBezTo>
                  <a:pt x="295606" y="273111"/>
                  <a:pt x="295911" y="273111"/>
                  <a:pt x="295911" y="272804"/>
                </a:cubicBezTo>
                <a:cubicBezTo>
                  <a:pt x="295911" y="272498"/>
                  <a:pt x="295606" y="272498"/>
                  <a:pt x="295301" y="272498"/>
                </a:cubicBezTo>
                <a:cubicBezTo>
                  <a:pt x="289502" y="272498"/>
                  <a:pt x="289502" y="272498"/>
                  <a:pt x="289502" y="272498"/>
                </a:cubicBezTo>
                <a:close/>
                <a:moveTo>
                  <a:pt x="289502" y="269126"/>
                </a:moveTo>
                <a:cubicBezTo>
                  <a:pt x="289196" y="269126"/>
                  <a:pt x="289196" y="269126"/>
                  <a:pt x="289196" y="269432"/>
                </a:cubicBezTo>
                <a:cubicBezTo>
                  <a:pt x="289196" y="269739"/>
                  <a:pt x="289196" y="269739"/>
                  <a:pt x="289502" y="269739"/>
                </a:cubicBezTo>
                <a:cubicBezTo>
                  <a:pt x="295301" y="269739"/>
                  <a:pt x="295301" y="269739"/>
                  <a:pt x="295301" y="269739"/>
                </a:cubicBezTo>
                <a:cubicBezTo>
                  <a:pt x="295606" y="269739"/>
                  <a:pt x="295911" y="269739"/>
                  <a:pt x="295911" y="269432"/>
                </a:cubicBezTo>
                <a:cubicBezTo>
                  <a:pt x="295911" y="269126"/>
                  <a:pt x="295606" y="269126"/>
                  <a:pt x="295301" y="269126"/>
                </a:cubicBezTo>
                <a:cubicBezTo>
                  <a:pt x="289502" y="269126"/>
                  <a:pt x="289502" y="269126"/>
                  <a:pt x="289502" y="269126"/>
                </a:cubicBezTo>
                <a:close/>
                <a:moveTo>
                  <a:pt x="2454" y="269052"/>
                </a:moveTo>
                <a:cubicBezTo>
                  <a:pt x="1841" y="269052"/>
                  <a:pt x="1227" y="269665"/>
                  <a:pt x="1227" y="270278"/>
                </a:cubicBezTo>
                <a:cubicBezTo>
                  <a:pt x="1227" y="294794"/>
                  <a:pt x="1227" y="294794"/>
                  <a:pt x="1227" y="294794"/>
                </a:cubicBezTo>
                <a:cubicBezTo>
                  <a:pt x="1227" y="295713"/>
                  <a:pt x="1841" y="296326"/>
                  <a:pt x="2454" y="296326"/>
                </a:cubicBezTo>
                <a:cubicBezTo>
                  <a:pt x="36512" y="296326"/>
                  <a:pt x="36512" y="296326"/>
                  <a:pt x="36512" y="296326"/>
                </a:cubicBezTo>
                <a:cubicBezTo>
                  <a:pt x="37126" y="296326"/>
                  <a:pt x="37739" y="295713"/>
                  <a:pt x="37739" y="294794"/>
                </a:cubicBezTo>
                <a:cubicBezTo>
                  <a:pt x="37739" y="270278"/>
                  <a:pt x="37739" y="270278"/>
                  <a:pt x="37739" y="270278"/>
                </a:cubicBezTo>
                <a:cubicBezTo>
                  <a:pt x="37739" y="269665"/>
                  <a:pt x="37126" y="269052"/>
                  <a:pt x="36512" y="269052"/>
                </a:cubicBezTo>
                <a:close/>
                <a:moveTo>
                  <a:pt x="133830" y="267309"/>
                </a:moveTo>
                <a:cubicBezTo>
                  <a:pt x="135988" y="267309"/>
                  <a:pt x="135988" y="267309"/>
                  <a:pt x="135988" y="267309"/>
                </a:cubicBezTo>
                <a:cubicBezTo>
                  <a:pt x="136297" y="267309"/>
                  <a:pt x="136605" y="267614"/>
                  <a:pt x="136605" y="267919"/>
                </a:cubicBezTo>
                <a:cubicBezTo>
                  <a:pt x="136605" y="272193"/>
                  <a:pt x="136605" y="272193"/>
                  <a:pt x="136605" y="272193"/>
                </a:cubicBezTo>
                <a:cubicBezTo>
                  <a:pt x="140922" y="272193"/>
                  <a:pt x="140922" y="272193"/>
                  <a:pt x="140922" y="272193"/>
                </a:cubicBezTo>
                <a:cubicBezTo>
                  <a:pt x="141538" y="272193"/>
                  <a:pt x="141847" y="272499"/>
                  <a:pt x="141847" y="273109"/>
                </a:cubicBezTo>
                <a:cubicBezTo>
                  <a:pt x="141847" y="274941"/>
                  <a:pt x="141847" y="274941"/>
                  <a:pt x="141847" y="274941"/>
                </a:cubicBezTo>
                <a:cubicBezTo>
                  <a:pt x="141847" y="275551"/>
                  <a:pt x="141538" y="275857"/>
                  <a:pt x="140922" y="275857"/>
                </a:cubicBezTo>
                <a:cubicBezTo>
                  <a:pt x="136605" y="275857"/>
                  <a:pt x="136605" y="275857"/>
                  <a:pt x="136605" y="275857"/>
                </a:cubicBezTo>
                <a:cubicBezTo>
                  <a:pt x="136605" y="280130"/>
                  <a:pt x="136605" y="280130"/>
                  <a:pt x="136605" y="280130"/>
                </a:cubicBezTo>
                <a:cubicBezTo>
                  <a:pt x="136605" y="280436"/>
                  <a:pt x="136297" y="280741"/>
                  <a:pt x="135988" y="280741"/>
                </a:cubicBezTo>
                <a:cubicBezTo>
                  <a:pt x="133830" y="280741"/>
                  <a:pt x="133830" y="280741"/>
                  <a:pt x="133830" y="280741"/>
                </a:cubicBezTo>
                <a:cubicBezTo>
                  <a:pt x="133522" y="280741"/>
                  <a:pt x="133213" y="280436"/>
                  <a:pt x="133213" y="280130"/>
                </a:cubicBezTo>
                <a:cubicBezTo>
                  <a:pt x="133213" y="275857"/>
                  <a:pt x="133213" y="275857"/>
                  <a:pt x="133213" y="275857"/>
                </a:cubicBezTo>
                <a:cubicBezTo>
                  <a:pt x="128588" y="275857"/>
                  <a:pt x="128588" y="275857"/>
                  <a:pt x="128588" y="275857"/>
                </a:cubicBezTo>
                <a:cubicBezTo>
                  <a:pt x="128280" y="275857"/>
                  <a:pt x="127972" y="275551"/>
                  <a:pt x="127972" y="274941"/>
                </a:cubicBezTo>
                <a:cubicBezTo>
                  <a:pt x="127972" y="273109"/>
                  <a:pt x="127972" y="273109"/>
                  <a:pt x="127972" y="273109"/>
                </a:cubicBezTo>
                <a:cubicBezTo>
                  <a:pt x="127972" y="272499"/>
                  <a:pt x="128280" y="272193"/>
                  <a:pt x="128588" y="272193"/>
                </a:cubicBezTo>
                <a:cubicBezTo>
                  <a:pt x="133213" y="272193"/>
                  <a:pt x="133213" y="272193"/>
                  <a:pt x="133213" y="272193"/>
                </a:cubicBezTo>
                <a:cubicBezTo>
                  <a:pt x="133213" y="267919"/>
                  <a:pt x="133213" y="267919"/>
                  <a:pt x="133213" y="267919"/>
                </a:cubicBezTo>
                <a:cubicBezTo>
                  <a:pt x="133213" y="267614"/>
                  <a:pt x="133522" y="267309"/>
                  <a:pt x="133830" y="267309"/>
                </a:cubicBezTo>
                <a:close/>
                <a:moveTo>
                  <a:pt x="289502" y="265447"/>
                </a:moveTo>
                <a:cubicBezTo>
                  <a:pt x="289196" y="265447"/>
                  <a:pt x="289196" y="265753"/>
                  <a:pt x="289196" y="266060"/>
                </a:cubicBezTo>
                <a:cubicBezTo>
                  <a:pt x="289196" y="266060"/>
                  <a:pt x="289196" y="266367"/>
                  <a:pt x="289502" y="266367"/>
                </a:cubicBezTo>
                <a:cubicBezTo>
                  <a:pt x="295301" y="266367"/>
                  <a:pt x="295301" y="266367"/>
                  <a:pt x="295301" y="266367"/>
                </a:cubicBezTo>
                <a:cubicBezTo>
                  <a:pt x="295606" y="266367"/>
                  <a:pt x="295911" y="266060"/>
                  <a:pt x="295911" y="266060"/>
                </a:cubicBezTo>
                <a:cubicBezTo>
                  <a:pt x="295911" y="265753"/>
                  <a:pt x="295606" y="265447"/>
                  <a:pt x="295301" y="265447"/>
                </a:cubicBezTo>
                <a:cubicBezTo>
                  <a:pt x="289502" y="265447"/>
                  <a:pt x="289502" y="265447"/>
                  <a:pt x="289502" y="265447"/>
                </a:cubicBezTo>
                <a:close/>
                <a:moveTo>
                  <a:pt x="366202" y="265390"/>
                </a:moveTo>
                <a:lnTo>
                  <a:pt x="366203" y="265390"/>
                </a:lnTo>
                <a:lnTo>
                  <a:pt x="386128" y="265390"/>
                </a:lnTo>
                <a:lnTo>
                  <a:pt x="386117" y="265410"/>
                </a:lnTo>
                <a:lnTo>
                  <a:pt x="386129" y="265390"/>
                </a:lnTo>
                <a:lnTo>
                  <a:pt x="394099" y="269670"/>
                </a:lnTo>
                <a:lnTo>
                  <a:pt x="381431" y="291656"/>
                </a:lnTo>
                <a:lnTo>
                  <a:pt x="394099" y="313508"/>
                </a:lnTo>
                <a:lnTo>
                  <a:pt x="386129" y="318084"/>
                </a:lnTo>
                <a:lnTo>
                  <a:pt x="376166" y="300793"/>
                </a:lnTo>
                <a:lnTo>
                  <a:pt x="366203" y="318084"/>
                </a:lnTo>
                <a:lnTo>
                  <a:pt x="358232" y="313508"/>
                </a:lnTo>
                <a:lnTo>
                  <a:pt x="370901" y="291656"/>
                </a:lnTo>
                <a:lnTo>
                  <a:pt x="358232" y="269670"/>
                </a:lnTo>
                <a:lnTo>
                  <a:pt x="366202" y="265390"/>
                </a:lnTo>
                <a:close/>
                <a:moveTo>
                  <a:pt x="255242" y="265156"/>
                </a:moveTo>
                <a:lnTo>
                  <a:pt x="256863" y="277787"/>
                </a:lnTo>
                <a:lnTo>
                  <a:pt x="257817" y="278581"/>
                </a:lnTo>
                <a:cubicBezTo>
                  <a:pt x="257817" y="280111"/>
                  <a:pt x="257817" y="281642"/>
                  <a:pt x="257817" y="282866"/>
                </a:cubicBezTo>
                <a:cubicBezTo>
                  <a:pt x="258124" y="287765"/>
                  <a:pt x="258430" y="291821"/>
                  <a:pt x="256936" y="294959"/>
                </a:cubicBezTo>
                <a:lnTo>
                  <a:pt x="246556" y="300804"/>
                </a:lnTo>
                <a:lnTo>
                  <a:pt x="247394" y="304703"/>
                </a:lnTo>
                <a:cubicBezTo>
                  <a:pt x="247702" y="305317"/>
                  <a:pt x="247702" y="305317"/>
                  <a:pt x="247702" y="305317"/>
                </a:cubicBezTo>
                <a:cubicBezTo>
                  <a:pt x="248932" y="308383"/>
                  <a:pt x="249239" y="308689"/>
                  <a:pt x="251699" y="311142"/>
                </a:cubicBezTo>
                <a:cubicBezTo>
                  <a:pt x="252314" y="311449"/>
                  <a:pt x="252622" y="311755"/>
                  <a:pt x="252929" y="312062"/>
                </a:cubicBezTo>
                <a:cubicBezTo>
                  <a:pt x="255389" y="313595"/>
                  <a:pt x="256312" y="314208"/>
                  <a:pt x="259694" y="314208"/>
                </a:cubicBezTo>
                <a:cubicBezTo>
                  <a:pt x="262462" y="314208"/>
                  <a:pt x="264922" y="313901"/>
                  <a:pt x="267075" y="312982"/>
                </a:cubicBezTo>
                <a:cubicBezTo>
                  <a:pt x="269227" y="311755"/>
                  <a:pt x="271380" y="310222"/>
                  <a:pt x="272917" y="308383"/>
                </a:cubicBezTo>
                <a:cubicBezTo>
                  <a:pt x="276300" y="304703"/>
                  <a:pt x="277530" y="300411"/>
                  <a:pt x="277837" y="296119"/>
                </a:cubicBezTo>
                <a:cubicBezTo>
                  <a:pt x="277837" y="291520"/>
                  <a:pt x="276607" y="286614"/>
                  <a:pt x="273840" y="282321"/>
                </a:cubicBezTo>
                <a:cubicBezTo>
                  <a:pt x="272302" y="280175"/>
                  <a:pt x="270765" y="278029"/>
                  <a:pt x="268920" y="275883"/>
                </a:cubicBezTo>
                <a:lnTo>
                  <a:pt x="266578" y="273771"/>
                </a:lnTo>
                <a:lnTo>
                  <a:pt x="264553" y="279826"/>
                </a:lnTo>
                <a:cubicBezTo>
                  <a:pt x="264553" y="283810"/>
                  <a:pt x="266091" y="288100"/>
                  <a:pt x="267936" y="291471"/>
                </a:cubicBezTo>
                <a:lnTo>
                  <a:pt x="270830" y="295509"/>
                </a:lnTo>
                <a:lnTo>
                  <a:pt x="271949" y="295509"/>
                </a:lnTo>
                <a:cubicBezTo>
                  <a:pt x="274680" y="298842"/>
                  <a:pt x="274680" y="298842"/>
                  <a:pt x="274680" y="298842"/>
                </a:cubicBezTo>
                <a:cubicBezTo>
                  <a:pt x="274983" y="299145"/>
                  <a:pt x="274680" y="299448"/>
                  <a:pt x="274376" y="299751"/>
                </a:cubicBezTo>
                <a:cubicBezTo>
                  <a:pt x="273770" y="300660"/>
                  <a:pt x="273770" y="300660"/>
                  <a:pt x="273770" y="300660"/>
                </a:cubicBezTo>
                <a:cubicBezTo>
                  <a:pt x="273163" y="300963"/>
                  <a:pt x="272860" y="300660"/>
                  <a:pt x="272556" y="300357"/>
                </a:cubicBezTo>
                <a:cubicBezTo>
                  <a:pt x="269826" y="297327"/>
                  <a:pt x="269826" y="297327"/>
                  <a:pt x="269826" y="297327"/>
                </a:cubicBezTo>
                <a:cubicBezTo>
                  <a:pt x="269522" y="297024"/>
                  <a:pt x="269522" y="296418"/>
                  <a:pt x="269826" y="296115"/>
                </a:cubicBezTo>
                <a:lnTo>
                  <a:pt x="270080" y="295945"/>
                </a:lnTo>
                <a:lnTo>
                  <a:pt x="267013" y="291778"/>
                </a:lnTo>
                <a:cubicBezTo>
                  <a:pt x="265168" y="288407"/>
                  <a:pt x="263631" y="284116"/>
                  <a:pt x="263323" y="279826"/>
                </a:cubicBezTo>
                <a:lnTo>
                  <a:pt x="265779" y="273049"/>
                </a:lnTo>
                <a:lnTo>
                  <a:pt x="262462" y="270057"/>
                </a:lnTo>
                <a:cubicBezTo>
                  <a:pt x="261232" y="268831"/>
                  <a:pt x="260002" y="267911"/>
                  <a:pt x="258464" y="266991"/>
                </a:cubicBezTo>
                <a:close/>
                <a:moveTo>
                  <a:pt x="134694" y="264484"/>
                </a:moveTo>
                <a:cubicBezTo>
                  <a:pt x="129476" y="264484"/>
                  <a:pt x="125178" y="268776"/>
                  <a:pt x="125178" y="273989"/>
                </a:cubicBezTo>
                <a:cubicBezTo>
                  <a:pt x="125178" y="279508"/>
                  <a:pt x="129476" y="283800"/>
                  <a:pt x="134694" y="283800"/>
                </a:cubicBezTo>
                <a:cubicBezTo>
                  <a:pt x="140219" y="283800"/>
                  <a:pt x="144516" y="279508"/>
                  <a:pt x="144516" y="273989"/>
                </a:cubicBezTo>
                <a:cubicBezTo>
                  <a:pt x="144516" y="268776"/>
                  <a:pt x="140219" y="264484"/>
                  <a:pt x="134694" y="264484"/>
                </a:cubicBezTo>
                <a:close/>
                <a:moveTo>
                  <a:pt x="75146" y="264484"/>
                </a:moveTo>
                <a:cubicBezTo>
                  <a:pt x="73612" y="264484"/>
                  <a:pt x="72384" y="264790"/>
                  <a:pt x="71770" y="265403"/>
                </a:cubicBezTo>
                <a:cubicBezTo>
                  <a:pt x="57036" y="280121"/>
                  <a:pt x="57036" y="280121"/>
                  <a:pt x="57036" y="280121"/>
                </a:cubicBezTo>
                <a:cubicBezTo>
                  <a:pt x="56729" y="280427"/>
                  <a:pt x="56423" y="281041"/>
                  <a:pt x="56423" y="281347"/>
                </a:cubicBezTo>
                <a:cubicBezTo>
                  <a:pt x="56423" y="281961"/>
                  <a:pt x="56423" y="281961"/>
                  <a:pt x="56423" y="281961"/>
                </a:cubicBezTo>
                <a:cubicBezTo>
                  <a:pt x="56423" y="282267"/>
                  <a:pt x="56423" y="282267"/>
                  <a:pt x="56423" y="282267"/>
                </a:cubicBezTo>
                <a:cubicBezTo>
                  <a:pt x="56423" y="283494"/>
                  <a:pt x="58264" y="283494"/>
                  <a:pt x="60413" y="283494"/>
                </a:cubicBezTo>
                <a:cubicBezTo>
                  <a:pt x="77295" y="283494"/>
                  <a:pt x="77295" y="283494"/>
                  <a:pt x="77295" y="283494"/>
                </a:cubicBezTo>
                <a:cubicBezTo>
                  <a:pt x="77295" y="264484"/>
                  <a:pt x="77295" y="264484"/>
                  <a:pt x="77295" y="264484"/>
                </a:cubicBezTo>
                <a:cubicBezTo>
                  <a:pt x="75146" y="264484"/>
                  <a:pt x="75146" y="264484"/>
                  <a:pt x="75146" y="264484"/>
                </a:cubicBezTo>
                <a:close/>
                <a:moveTo>
                  <a:pt x="84969" y="263870"/>
                </a:moveTo>
                <a:cubicBezTo>
                  <a:pt x="84355" y="263870"/>
                  <a:pt x="83434" y="264484"/>
                  <a:pt x="83434" y="265403"/>
                </a:cubicBezTo>
                <a:cubicBezTo>
                  <a:pt x="83434" y="281961"/>
                  <a:pt x="83434" y="281961"/>
                  <a:pt x="83434" y="281961"/>
                </a:cubicBezTo>
                <a:cubicBezTo>
                  <a:pt x="83434" y="282880"/>
                  <a:pt x="84355" y="283494"/>
                  <a:pt x="84969" y="283494"/>
                </a:cubicBezTo>
                <a:cubicBezTo>
                  <a:pt x="112594" y="283494"/>
                  <a:pt x="112594" y="283494"/>
                  <a:pt x="112594" y="283494"/>
                </a:cubicBezTo>
                <a:cubicBezTo>
                  <a:pt x="113515" y="283494"/>
                  <a:pt x="114128" y="282880"/>
                  <a:pt x="114128" y="281961"/>
                </a:cubicBezTo>
                <a:cubicBezTo>
                  <a:pt x="114128" y="265403"/>
                  <a:pt x="114128" y="265403"/>
                  <a:pt x="114128" y="265403"/>
                </a:cubicBezTo>
                <a:cubicBezTo>
                  <a:pt x="114128" y="264484"/>
                  <a:pt x="113515" y="263870"/>
                  <a:pt x="112594" y="263870"/>
                </a:cubicBezTo>
                <a:cubicBezTo>
                  <a:pt x="84969" y="263870"/>
                  <a:pt x="84969" y="263870"/>
                  <a:pt x="84969" y="263870"/>
                </a:cubicBezTo>
                <a:close/>
                <a:moveTo>
                  <a:pt x="245549" y="262392"/>
                </a:moveTo>
                <a:cubicBezTo>
                  <a:pt x="243089" y="262086"/>
                  <a:pt x="240322" y="262392"/>
                  <a:pt x="237862" y="263006"/>
                </a:cubicBezTo>
                <a:lnTo>
                  <a:pt x="236595" y="263848"/>
                </a:lnTo>
                <a:lnTo>
                  <a:pt x="236421" y="264568"/>
                </a:lnTo>
                <a:lnTo>
                  <a:pt x="234660" y="278095"/>
                </a:lnTo>
                <a:lnTo>
                  <a:pt x="235146" y="278581"/>
                </a:lnTo>
                <a:cubicBezTo>
                  <a:pt x="235146" y="280417"/>
                  <a:pt x="235146" y="281642"/>
                  <a:pt x="235146" y="283173"/>
                </a:cubicBezTo>
                <a:cubicBezTo>
                  <a:pt x="234840" y="287152"/>
                  <a:pt x="234609" y="290520"/>
                  <a:pt x="235836" y="293122"/>
                </a:cubicBezTo>
                <a:lnTo>
                  <a:pt x="244951" y="298298"/>
                </a:lnTo>
                <a:lnTo>
                  <a:pt x="253947" y="293122"/>
                </a:lnTo>
                <a:cubicBezTo>
                  <a:pt x="255135" y="290520"/>
                  <a:pt x="254905" y="287152"/>
                  <a:pt x="254751" y="283173"/>
                </a:cubicBezTo>
                <a:cubicBezTo>
                  <a:pt x="254751" y="281642"/>
                  <a:pt x="254445" y="280417"/>
                  <a:pt x="254445" y="278581"/>
                </a:cubicBezTo>
                <a:lnTo>
                  <a:pt x="255583" y="277444"/>
                </a:lnTo>
                <a:lnTo>
                  <a:pt x="253895" y="264568"/>
                </a:lnTo>
                <a:lnTo>
                  <a:pt x="253868" y="264466"/>
                </a:lnTo>
                <a:close/>
                <a:moveTo>
                  <a:pt x="289502" y="262075"/>
                </a:moveTo>
                <a:cubicBezTo>
                  <a:pt x="289196" y="262075"/>
                  <a:pt x="289196" y="262075"/>
                  <a:pt x="289196" y="262381"/>
                </a:cubicBezTo>
                <a:cubicBezTo>
                  <a:pt x="289196" y="262381"/>
                  <a:pt x="289196" y="262688"/>
                  <a:pt x="289502" y="262688"/>
                </a:cubicBezTo>
                <a:cubicBezTo>
                  <a:pt x="295301" y="262688"/>
                  <a:pt x="295301" y="262688"/>
                  <a:pt x="295301" y="262688"/>
                </a:cubicBezTo>
                <a:cubicBezTo>
                  <a:pt x="295606" y="262688"/>
                  <a:pt x="295911" y="262381"/>
                  <a:pt x="295911" y="262381"/>
                </a:cubicBezTo>
                <a:cubicBezTo>
                  <a:pt x="295911" y="262075"/>
                  <a:pt x="295606" y="262075"/>
                  <a:pt x="295301" y="262075"/>
                </a:cubicBezTo>
                <a:cubicBezTo>
                  <a:pt x="289502" y="262075"/>
                  <a:pt x="289502" y="262075"/>
                  <a:pt x="289502" y="262075"/>
                </a:cubicBezTo>
                <a:close/>
                <a:moveTo>
                  <a:pt x="187888" y="261809"/>
                </a:moveTo>
                <a:lnTo>
                  <a:pt x="186980" y="262458"/>
                </a:lnTo>
                <a:lnTo>
                  <a:pt x="187958" y="261809"/>
                </a:lnTo>
                <a:close/>
                <a:moveTo>
                  <a:pt x="156502" y="260519"/>
                </a:moveTo>
                <a:cubicBezTo>
                  <a:pt x="156502" y="260519"/>
                  <a:pt x="156502" y="263888"/>
                  <a:pt x="156502" y="267870"/>
                </a:cubicBezTo>
                <a:cubicBezTo>
                  <a:pt x="156808" y="273077"/>
                  <a:pt x="157115" y="279815"/>
                  <a:pt x="157421" y="280734"/>
                </a:cubicBezTo>
                <a:cubicBezTo>
                  <a:pt x="157421" y="281960"/>
                  <a:pt x="157421" y="282878"/>
                  <a:pt x="157727" y="284104"/>
                </a:cubicBezTo>
                <a:cubicBezTo>
                  <a:pt x="158033" y="287473"/>
                  <a:pt x="158339" y="290842"/>
                  <a:pt x="158645" y="294211"/>
                </a:cubicBezTo>
                <a:cubicBezTo>
                  <a:pt x="158952" y="295130"/>
                  <a:pt x="158952" y="295743"/>
                  <a:pt x="158952" y="296662"/>
                </a:cubicBezTo>
                <a:cubicBezTo>
                  <a:pt x="158952" y="297274"/>
                  <a:pt x="159258" y="298806"/>
                  <a:pt x="159564" y="300950"/>
                </a:cubicBezTo>
                <a:cubicBezTo>
                  <a:pt x="159870" y="298806"/>
                  <a:pt x="159870" y="297274"/>
                  <a:pt x="160176" y="296662"/>
                </a:cubicBezTo>
                <a:cubicBezTo>
                  <a:pt x="160176" y="295743"/>
                  <a:pt x="160176" y="295130"/>
                  <a:pt x="160176" y="294211"/>
                </a:cubicBezTo>
                <a:cubicBezTo>
                  <a:pt x="160482" y="290842"/>
                  <a:pt x="161095" y="287473"/>
                  <a:pt x="161401" y="284104"/>
                </a:cubicBezTo>
                <a:cubicBezTo>
                  <a:pt x="161401" y="282878"/>
                  <a:pt x="161707" y="281960"/>
                  <a:pt x="161707" y="280734"/>
                </a:cubicBezTo>
                <a:cubicBezTo>
                  <a:pt x="161707" y="279815"/>
                  <a:pt x="162319" y="273077"/>
                  <a:pt x="162319" y="267870"/>
                </a:cubicBezTo>
                <a:cubicBezTo>
                  <a:pt x="162625" y="263888"/>
                  <a:pt x="162625" y="260519"/>
                  <a:pt x="162625" y="260519"/>
                </a:cubicBezTo>
                <a:cubicBezTo>
                  <a:pt x="163544" y="260825"/>
                  <a:pt x="162625" y="286554"/>
                  <a:pt x="162319" y="289004"/>
                </a:cubicBezTo>
                <a:cubicBezTo>
                  <a:pt x="162013" y="291148"/>
                  <a:pt x="162013" y="293292"/>
                  <a:pt x="161707" y="295436"/>
                </a:cubicBezTo>
                <a:cubicBezTo>
                  <a:pt x="161707" y="296049"/>
                  <a:pt x="161707" y="296662"/>
                  <a:pt x="161401" y="296968"/>
                </a:cubicBezTo>
                <a:cubicBezTo>
                  <a:pt x="161401" y="297274"/>
                  <a:pt x="161095" y="297274"/>
                  <a:pt x="161095" y="297581"/>
                </a:cubicBezTo>
                <a:cubicBezTo>
                  <a:pt x="160176" y="301562"/>
                  <a:pt x="160176" y="304932"/>
                  <a:pt x="160176" y="308301"/>
                </a:cubicBezTo>
                <a:cubicBezTo>
                  <a:pt x="160176" y="311364"/>
                  <a:pt x="160176" y="313508"/>
                  <a:pt x="159564" y="313508"/>
                </a:cubicBezTo>
                <a:cubicBezTo>
                  <a:pt x="158645" y="313508"/>
                  <a:pt x="158645" y="311364"/>
                  <a:pt x="158952" y="308301"/>
                </a:cubicBezTo>
                <a:cubicBezTo>
                  <a:pt x="158645" y="304932"/>
                  <a:pt x="158645" y="301562"/>
                  <a:pt x="158033" y="297581"/>
                </a:cubicBezTo>
                <a:cubicBezTo>
                  <a:pt x="158033" y="297274"/>
                  <a:pt x="157727" y="297274"/>
                  <a:pt x="157421" y="296968"/>
                </a:cubicBezTo>
                <a:cubicBezTo>
                  <a:pt x="157421" y="296662"/>
                  <a:pt x="157421" y="296049"/>
                  <a:pt x="157421" y="295436"/>
                </a:cubicBezTo>
                <a:cubicBezTo>
                  <a:pt x="157115" y="293292"/>
                  <a:pt x="156808" y="291148"/>
                  <a:pt x="156808" y="289004"/>
                </a:cubicBezTo>
                <a:cubicBezTo>
                  <a:pt x="156502" y="286554"/>
                  <a:pt x="155278" y="260825"/>
                  <a:pt x="156502" y="260519"/>
                </a:cubicBezTo>
                <a:close/>
                <a:moveTo>
                  <a:pt x="289502" y="258396"/>
                </a:moveTo>
                <a:cubicBezTo>
                  <a:pt x="289196" y="258396"/>
                  <a:pt x="289196" y="258703"/>
                  <a:pt x="289196" y="258703"/>
                </a:cubicBezTo>
                <a:cubicBezTo>
                  <a:pt x="289196" y="259009"/>
                  <a:pt x="289196" y="259316"/>
                  <a:pt x="289502" y="259316"/>
                </a:cubicBezTo>
                <a:cubicBezTo>
                  <a:pt x="295301" y="259316"/>
                  <a:pt x="295301" y="259316"/>
                  <a:pt x="295301" y="259316"/>
                </a:cubicBezTo>
                <a:cubicBezTo>
                  <a:pt x="295606" y="259316"/>
                  <a:pt x="295911" y="259009"/>
                  <a:pt x="295911" y="258703"/>
                </a:cubicBezTo>
                <a:cubicBezTo>
                  <a:pt x="295911" y="258703"/>
                  <a:pt x="295606" y="258396"/>
                  <a:pt x="295301" y="258396"/>
                </a:cubicBezTo>
                <a:cubicBezTo>
                  <a:pt x="289502" y="258396"/>
                  <a:pt x="289502" y="258396"/>
                  <a:pt x="289502" y="258396"/>
                </a:cubicBezTo>
                <a:close/>
                <a:moveTo>
                  <a:pt x="289502" y="255024"/>
                </a:moveTo>
                <a:cubicBezTo>
                  <a:pt x="289196" y="255024"/>
                  <a:pt x="289196" y="255024"/>
                  <a:pt x="289196" y="255330"/>
                </a:cubicBezTo>
                <a:cubicBezTo>
                  <a:pt x="289196" y="255637"/>
                  <a:pt x="289196" y="255637"/>
                  <a:pt x="289502" y="255637"/>
                </a:cubicBezTo>
                <a:cubicBezTo>
                  <a:pt x="295301" y="255637"/>
                  <a:pt x="295301" y="255637"/>
                  <a:pt x="295301" y="255637"/>
                </a:cubicBezTo>
                <a:cubicBezTo>
                  <a:pt x="295606" y="255637"/>
                  <a:pt x="295911" y="255637"/>
                  <a:pt x="295911" y="255330"/>
                </a:cubicBezTo>
                <a:cubicBezTo>
                  <a:pt x="295911" y="255024"/>
                  <a:pt x="295606" y="255024"/>
                  <a:pt x="295301" y="255024"/>
                </a:cubicBezTo>
                <a:cubicBezTo>
                  <a:pt x="289502" y="255024"/>
                  <a:pt x="289502" y="255024"/>
                  <a:pt x="289502" y="255024"/>
                </a:cubicBezTo>
                <a:close/>
                <a:moveTo>
                  <a:pt x="84355" y="253139"/>
                </a:moveTo>
                <a:cubicBezTo>
                  <a:pt x="88038" y="253139"/>
                  <a:pt x="88038" y="253139"/>
                  <a:pt x="88038" y="253139"/>
                </a:cubicBezTo>
                <a:cubicBezTo>
                  <a:pt x="89880" y="253139"/>
                  <a:pt x="91721" y="254672"/>
                  <a:pt x="91721" y="256818"/>
                </a:cubicBezTo>
                <a:cubicBezTo>
                  <a:pt x="91721" y="259271"/>
                  <a:pt x="91721" y="259271"/>
                  <a:pt x="91721" y="259271"/>
                </a:cubicBezTo>
                <a:cubicBezTo>
                  <a:pt x="146665" y="259271"/>
                  <a:pt x="146665" y="259271"/>
                  <a:pt x="146665" y="259271"/>
                </a:cubicBezTo>
                <a:cubicBezTo>
                  <a:pt x="149734" y="259271"/>
                  <a:pt x="151883" y="261724"/>
                  <a:pt x="151883" y="264484"/>
                </a:cubicBezTo>
                <a:cubicBezTo>
                  <a:pt x="151883" y="302197"/>
                  <a:pt x="151883" y="302197"/>
                  <a:pt x="151883" y="302197"/>
                </a:cubicBezTo>
                <a:cubicBezTo>
                  <a:pt x="151883" y="305263"/>
                  <a:pt x="149734" y="307409"/>
                  <a:pt x="146665" y="307409"/>
                </a:cubicBezTo>
                <a:cubicBezTo>
                  <a:pt x="139298" y="307409"/>
                  <a:pt x="139298" y="307409"/>
                  <a:pt x="139298" y="307409"/>
                </a:cubicBezTo>
                <a:cubicBezTo>
                  <a:pt x="139298" y="312622"/>
                  <a:pt x="135308" y="316608"/>
                  <a:pt x="130397" y="316608"/>
                </a:cubicBezTo>
                <a:cubicBezTo>
                  <a:pt x="125485" y="316608"/>
                  <a:pt x="121495" y="312622"/>
                  <a:pt x="121495" y="307409"/>
                </a:cubicBezTo>
                <a:cubicBezTo>
                  <a:pt x="80364" y="307409"/>
                  <a:pt x="80364" y="307409"/>
                  <a:pt x="80364" y="307409"/>
                </a:cubicBezTo>
                <a:cubicBezTo>
                  <a:pt x="72691" y="307409"/>
                  <a:pt x="72691" y="307409"/>
                  <a:pt x="72691" y="307409"/>
                </a:cubicBezTo>
                <a:cubicBezTo>
                  <a:pt x="72691" y="312622"/>
                  <a:pt x="68700" y="316608"/>
                  <a:pt x="63789" y="316608"/>
                </a:cubicBezTo>
                <a:cubicBezTo>
                  <a:pt x="58878" y="316608"/>
                  <a:pt x="54581" y="312622"/>
                  <a:pt x="54581" y="307409"/>
                </a:cubicBezTo>
                <a:cubicBezTo>
                  <a:pt x="50898" y="307409"/>
                  <a:pt x="50898" y="307409"/>
                  <a:pt x="50898" y="307409"/>
                </a:cubicBezTo>
                <a:cubicBezTo>
                  <a:pt x="46907" y="307409"/>
                  <a:pt x="43838" y="305263"/>
                  <a:pt x="43838" y="302197"/>
                </a:cubicBezTo>
                <a:cubicBezTo>
                  <a:pt x="43838" y="301277"/>
                  <a:pt x="43838" y="301277"/>
                  <a:pt x="43838" y="301277"/>
                </a:cubicBezTo>
                <a:cubicBezTo>
                  <a:pt x="43838" y="291466"/>
                  <a:pt x="43838" y="291466"/>
                  <a:pt x="43838" y="291466"/>
                </a:cubicBezTo>
                <a:cubicBezTo>
                  <a:pt x="43838" y="290546"/>
                  <a:pt x="44452" y="289319"/>
                  <a:pt x="45372" y="288399"/>
                </a:cubicBezTo>
                <a:cubicBezTo>
                  <a:pt x="70849" y="261417"/>
                  <a:pt x="70849" y="261417"/>
                  <a:pt x="70849" y="261417"/>
                </a:cubicBezTo>
                <a:cubicBezTo>
                  <a:pt x="72077" y="260191"/>
                  <a:pt x="73918" y="259271"/>
                  <a:pt x="76374" y="259271"/>
                </a:cubicBezTo>
                <a:cubicBezTo>
                  <a:pt x="80364" y="259271"/>
                  <a:pt x="80364" y="259271"/>
                  <a:pt x="80364" y="259271"/>
                </a:cubicBezTo>
                <a:cubicBezTo>
                  <a:pt x="80671" y="259271"/>
                  <a:pt x="80671" y="259271"/>
                  <a:pt x="80671" y="259271"/>
                </a:cubicBezTo>
                <a:cubicBezTo>
                  <a:pt x="80671" y="256818"/>
                  <a:pt x="80671" y="256818"/>
                  <a:pt x="80671" y="256818"/>
                </a:cubicBezTo>
                <a:cubicBezTo>
                  <a:pt x="80671" y="254672"/>
                  <a:pt x="82513" y="253139"/>
                  <a:pt x="84355" y="253139"/>
                </a:cubicBezTo>
                <a:close/>
                <a:moveTo>
                  <a:pt x="337952" y="252548"/>
                </a:moveTo>
                <a:cubicBezTo>
                  <a:pt x="337952" y="252548"/>
                  <a:pt x="337952" y="252548"/>
                  <a:pt x="340407" y="252548"/>
                </a:cubicBezTo>
                <a:cubicBezTo>
                  <a:pt x="340714" y="252854"/>
                  <a:pt x="341021" y="253467"/>
                  <a:pt x="341021" y="253773"/>
                </a:cubicBezTo>
                <a:cubicBezTo>
                  <a:pt x="341021" y="253773"/>
                  <a:pt x="341021" y="253773"/>
                  <a:pt x="342555" y="275213"/>
                </a:cubicBezTo>
                <a:cubicBezTo>
                  <a:pt x="342862" y="278276"/>
                  <a:pt x="344704" y="280727"/>
                  <a:pt x="347466" y="281952"/>
                </a:cubicBezTo>
                <a:cubicBezTo>
                  <a:pt x="354218" y="285015"/>
                  <a:pt x="358822" y="292059"/>
                  <a:pt x="358822" y="299410"/>
                </a:cubicBezTo>
                <a:cubicBezTo>
                  <a:pt x="358822" y="307068"/>
                  <a:pt x="354525" y="313500"/>
                  <a:pt x="348387" y="316869"/>
                </a:cubicBezTo>
                <a:cubicBezTo>
                  <a:pt x="346852" y="317482"/>
                  <a:pt x="345625" y="317788"/>
                  <a:pt x="344090" y="317788"/>
                </a:cubicBezTo>
                <a:cubicBezTo>
                  <a:pt x="344090" y="317788"/>
                  <a:pt x="344090" y="317788"/>
                  <a:pt x="335189" y="317788"/>
                </a:cubicBezTo>
                <a:cubicBezTo>
                  <a:pt x="333655" y="317788"/>
                  <a:pt x="332120" y="317482"/>
                  <a:pt x="330892" y="316869"/>
                </a:cubicBezTo>
                <a:cubicBezTo>
                  <a:pt x="324447" y="313500"/>
                  <a:pt x="320150" y="307068"/>
                  <a:pt x="320150" y="299410"/>
                </a:cubicBezTo>
                <a:cubicBezTo>
                  <a:pt x="320150" y="292059"/>
                  <a:pt x="324754" y="285321"/>
                  <a:pt x="331199" y="282258"/>
                </a:cubicBezTo>
                <a:cubicBezTo>
                  <a:pt x="333655" y="281033"/>
                  <a:pt x="335496" y="278583"/>
                  <a:pt x="335803" y="275520"/>
                </a:cubicBezTo>
                <a:cubicBezTo>
                  <a:pt x="335803" y="275520"/>
                  <a:pt x="335803" y="275520"/>
                  <a:pt x="337338" y="253773"/>
                </a:cubicBezTo>
                <a:cubicBezTo>
                  <a:pt x="337338" y="253467"/>
                  <a:pt x="337645" y="252854"/>
                  <a:pt x="337952" y="252548"/>
                </a:cubicBezTo>
                <a:close/>
                <a:moveTo>
                  <a:pt x="289502" y="251039"/>
                </a:moveTo>
                <a:cubicBezTo>
                  <a:pt x="289196" y="251039"/>
                  <a:pt x="289196" y="251345"/>
                  <a:pt x="289196" y="251652"/>
                </a:cubicBezTo>
                <a:cubicBezTo>
                  <a:pt x="289196" y="251652"/>
                  <a:pt x="289196" y="251958"/>
                  <a:pt x="289502" y="251958"/>
                </a:cubicBezTo>
                <a:cubicBezTo>
                  <a:pt x="295301" y="251958"/>
                  <a:pt x="295301" y="251958"/>
                  <a:pt x="295301" y="251958"/>
                </a:cubicBezTo>
                <a:cubicBezTo>
                  <a:pt x="295606" y="251958"/>
                  <a:pt x="295911" y="251652"/>
                  <a:pt x="295911" y="251652"/>
                </a:cubicBezTo>
                <a:cubicBezTo>
                  <a:pt x="295911" y="251345"/>
                  <a:pt x="295606" y="251039"/>
                  <a:pt x="295301" y="251039"/>
                </a:cubicBezTo>
                <a:cubicBezTo>
                  <a:pt x="289502" y="251039"/>
                  <a:pt x="289502" y="251039"/>
                  <a:pt x="289502" y="251039"/>
                </a:cubicBezTo>
                <a:close/>
                <a:moveTo>
                  <a:pt x="187885" y="250936"/>
                </a:moveTo>
                <a:lnTo>
                  <a:pt x="187885" y="261504"/>
                </a:lnTo>
                <a:lnTo>
                  <a:pt x="187888" y="261503"/>
                </a:lnTo>
                <a:lnTo>
                  <a:pt x="187888" y="251081"/>
                </a:lnTo>
                <a:close/>
                <a:moveTo>
                  <a:pt x="185683" y="250402"/>
                </a:moveTo>
                <a:lnTo>
                  <a:pt x="185684" y="250433"/>
                </a:lnTo>
                <a:lnTo>
                  <a:pt x="185684" y="250433"/>
                </a:lnTo>
                <a:close/>
                <a:moveTo>
                  <a:pt x="351931" y="248299"/>
                </a:moveTo>
                <a:lnTo>
                  <a:pt x="352344" y="249826"/>
                </a:lnTo>
                <a:cubicBezTo>
                  <a:pt x="354493" y="253201"/>
                  <a:pt x="357562" y="255963"/>
                  <a:pt x="360938" y="257804"/>
                </a:cubicBezTo>
                <a:cubicBezTo>
                  <a:pt x="381196" y="257804"/>
                  <a:pt x="381196" y="257804"/>
                  <a:pt x="381196" y="257804"/>
                </a:cubicBezTo>
                <a:cubicBezTo>
                  <a:pt x="384879" y="255963"/>
                  <a:pt x="387949" y="253201"/>
                  <a:pt x="389790" y="249826"/>
                </a:cubicBezTo>
                <a:lnTo>
                  <a:pt x="389800" y="249791"/>
                </a:lnTo>
                <a:lnTo>
                  <a:pt x="381264" y="257714"/>
                </a:lnTo>
                <a:cubicBezTo>
                  <a:pt x="381264" y="257714"/>
                  <a:pt x="381264" y="257714"/>
                  <a:pt x="361020" y="257714"/>
                </a:cubicBezTo>
                <a:cubicBezTo>
                  <a:pt x="357646" y="255875"/>
                  <a:pt x="354579" y="253116"/>
                  <a:pt x="352432" y="249743"/>
                </a:cubicBezTo>
                <a:close/>
                <a:moveTo>
                  <a:pt x="289502" y="247360"/>
                </a:moveTo>
                <a:cubicBezTo>
                  <a:pt x="289196" y="247360"/>
                  <a:pt x="289196" y="247666"/>
                  <a:pt x="289196" y="247973"/>
                </a:cubicBezTo>
                <a:cubicBezTo>
                  <a:pt x="289196" y="247973"/>
                  <a:pt x="289196" y="248279"/>
                  <a:pt x="289502" y="248279"/>
                </a:cubicBezTo>
                <a:cubicBezTo>
                  <a:pt x="295301" y="248279"/>
                  <a:pt x="295301" y="248279"/>
                  <a:pt x="295301" y="248279"/>
                </a:cubicBezTo>
                <a:cubicBezTo>
                  <a:pt x="295606" y="248279"/>
                  <a:pt x="295911" y="247973"/>
                  <a:pt x="295911" y="247973"/>
                </a:cubicBezTo>
                <a:cubicBezTo>
                  <a:pt x="295911" y="247666"/>
                  <a:pt x="295606" y="247360"/>
                  <a:pt x="295301" y="247360"/>
                </a:cubicBezTo>
                <a:cubicBezTo>
                  <a:pt x="289502" y="247360"/>
                  <a:pt x="289502" y="247360"/>
                  <a:pt x="289502" y="247360"/>
                </a:cubicBezTo>
                <a:close/>
                <a:moveTo>
                  <a:pt x="289502" y="243988"/>
                </a:moveTo>
                <a:cubicBezTo>
                  <a:pt x="289196" y="243988"/>
                  <a:pt x="289196" y="244294"/>
                  <a:pt x="289196" y="244601"/>
                </a:cubicBezTo>
                <a:cubicBezTo>
                  <a:pt x="289196" y="244601"/>
                  <a:pt x="289196" y="244907"/>
                  <a:pt x="289502" y="244907"/>
                </a:cubicBezTo>
                <a:cubicBezTo>
                  <a:pt x="295301" y="244907"/>
                  <a:pt x="295301" y="244907"/>
                  <a:pt x="295301" y="244907"/>
                </a:cubicBezTo>
                <a:cubicBezTo>
                  <a:pt x="295606" y="244907"/>
                  <a:pt x="295911" y="244601"/>
                  <a:pt x="295911" y="244601"/>
                </a:cubicBezTo>
                <a:cubicBezTo>
                  <a:pt x="295911" y="244294"/>
                  <a:pt x="295606" y="243988"/>
                  <a:pt x="295301" y="243988"/>
                </a:cubicBezTo>
                <a:cubicBezTo>
                  <a:pt x="289502" y="243988"/>
                  <a:pt x="289502" y="243988"/>
                  <a:pt x="289502" y="243988"/>
                </a:cubicBezTo>
                <a:close/>
                <a:moveTo>
                  <a:pt x="245054" y="240858"/>
                </a:moveTo>
                <a:lnTo>
                  <a:pt x="241012" y="245557"/>
                </a:lnTo>
                <a:lnTo>
                  <a:pt x="237393" y="260542"/>
                </a:lnTo>
                <a:lnTo>
                  <a:pt x="245857" y="259939"/>
                </a:lnTo>
                <a:lnTo>
                  <a:pt x="253201" y="261892"/>
                </a:lnTo>
                <a:lnTo>
                  <a:pt x="248963" y="245557"/>
                </a:lnTo>
                <a:close/>
                <a:moveTo>
                  <a:pt x="289502" y="240309"/>
                </a:moveTo>
                <a:cubicBezTo>
                  <a:pt x="289196" y="240309"/>
                  <a:pt x="289196" y="240309"/>
                  <a:pt x="289196" y="240615"/>
                </a:cubicBezTo>
                <a:cubicBezTo>
                  <a:pt x="289196" y="240922"/>
                  <a:pt x="289196" y="240922"/>
                  <a:pt x="289502" y="240922"/>
                </a:cubicBezTo>
                <a:cubicBezTo>
                  <a:pt x="295301" y="240922"/>
                  <a:pt x="295301" y="240922"/>
                  <a:pt x="295301" y="240922"/>
                </a:cubicBezTo>
                <a:cubicBezTo>
                  <a:pt x="295606" y="240922"/>
                  <a:pt x="295911" y="240922"/>
                  <a:pt x="295911" y="240615"/>
                </a:cubicBezTo>
                <a:cubicBezTo>
                  <a:pt x="295911" y="240309"/>
                  <a:pt x="295606" y="240309"/>
                  <a:pt x="295301" y="240309"/>
                </a:cubicBezTo>
                <a:cubicBezTo>
                  <a:pt x="289502" y="240309"/>
                  <a:pt x="289502" y="240309"/>
                  <a:pt x="289502" y="240309"/>
                </a:cubicBezTo>
                <a:close/>
                <a:moveTo>
                  <a:pt x="205020" y="238723"/>
                </a:moveTo>
                <a:lnTo>
                  <a:pt x="204103" y="239395"/>
                </a:lnTo>
                <a:cubicBezTo>
                  <a:pt x="202262" y="242151"/>
                  <a:pt x="201342" y="243683"/>
                  <a:pt x="202262" y="247053"/>
                </a:cubicBezTo>
                <a:cubicBezTo>
                  <a:pt x="202569" y="248891"/>
                  <a:pt x="202876" y="248891"/>
                  <a:pt x="204103" y="250729"/>
                </a:cubicBezTo>
                <a:lnTo>
                  <a:pt x="205040" y="251633"/>
                </a:lnTo>
                <a:lnTo>
                  <a:pt x="205040" y="248268"/>
                </a:lnTo>
                <a:lnTo>
                  <a:pt x="205020" y="248268"/>
                </a:lnTo>
                <a:close/>
                <a:moveTo>
                  <a:pt x="11966" y="236875"/>
                </a:moveTo>
                <a:cubicBezTo>
                  <a:pt x="27307" y="236875"/>
                  <a:pt x="27307" y="236875"/>
                  <a:pt x="27307" y="236875"/>
                </a:cubicBezTo>
                <a:cubicBezTo>
                  <a:pt x="27614" y="241166"/>
                  <a:pt x="27001" y="241472"/>
                  <a:pt x="29762" y="244843"/>
                </a:cubicBezTo>
                <a:cubicBezTo>
                  <a:pt x="36819" y="251585"/>
                  <a:pt x="38967" y="261698"/>
                  <a:pt x="38967" y="270891"/>
                </a:cubicBezTo>
                <a:cubicBezTo>
                  <a:pt x="38660" y="314407"/>
                  <a:pt x="38660" y="314407"/>
                  <a:pt x="38660" y="314407"/>
                </a:cubicBezTo>
                <a:cubicBezTo>
                  <a:pt x="38660" y="316552"/>
                  <a:pt x="36819" y="318084"/>
                  <a:pt x="34978" y="318084"/>
                </a:cubicBezTo>
                <a:cubicBezTo>
                  <a:pt x="3988" y="318084"/>
                  <a:pt x="3988" y="318084"/>
                  <a:pt x="3988" y="318084"/>
                </a:cubicBezTo>
                <a:cubicBezTo>
                  <a:pt x="2148" y="318084"/>
                  <a:pt x="307" y="316552"/>
                  <a:pt x="307" y="314407"/>
                </a:cubicBezTo>
                <a:cubicBezTo>
                  <a:pt x="0" y="270891"/>
                  <a:pt x="0" y="270891"/>
                  <a:pt x="0" y="270891"/>
                </a:cubicBezTo>
                <a:cubicBezTo>
                  <a:pt x="0" y="261698"/>
                  <a:pt x="2148" y="251585"/>
                  <a:pt x="9205" y="244843"/>
                </a:cubicBezTo>
                <a:cubicBezTo>
                  <a:pt x="11966" y="241472"/>
                  <a:pt x="11352" y="241166"/>
                  <a:pt x="11966" y="236875"/>
                </a:cubicBezTo>
                <a:close/>
                <a:moveTo>
                  <a:pt x="184543" y="231534"/>
                </a:moveTo>
                <a:lnTo>
                  <a:pt x="185354" y="239304"/>
                </a:lnTo>
                <a:lnTo>
                  <a:pt x="185094" y="233901"/>
                </a:lnTo>
                <a:cubicBezTo>
                  <a:pt x="184799" y="232983"/>
                  <a:pt x="184799" y="232370"/>
                  <a:pt x="184799" y="232064"/>
                </a:cubicBezTo>
                <a:close/>
                <a:moveTo>
                  <a:pt x="186969" y="230851"/>
                </a:moveTo>
                <a:cubicBezTo>
                  <a:pt x="187275" y="230851"/>
                  <a:pt x="187275" y="231157"/>
                  <a:pt x="187275" y="231157"/>
                </a:cubicBezTo>
                <a:lnTo>
                  <a:pt x="187270" y="231157"/>
                </a:lnTo>
                <a:lnTo>
                  <a:pt x="187307" y="231287"/>
                </a:lnTo>
                <a:lnTo>
                  <a:pt x="187275" y="231157"/>
                </a:lnTo>
                <a:cubicBezTo>
                  <a:pt x="187581" y="231464"/>
                  <a:pt x="187581" y="231770"/>
                  <a:pt x="187888" y="232077"/>
                </a:cubicBezTo>
                <a:cubicBezTo>
                  <a:pt x="187888" y="232690"/>
                  <a:pt x="187888" y="232997"/>
                  <a:pt x="187888" y="233303"/>
                </a:cubicBezTo>
                <a:cubicBezTo>
                  <a:pt x="188194" y="239433"/>
                  <a:pt x="188194" y="245257"/>
                  <a:pt x="188194" y="251081"/>
                </a:cubicBezTo>
                <a:cubicBezTo>
                  <a:pt x="188194" y="254453"/>
                  <a:pt x="188194" y="258131"/>
                  <a:pt x="188194" y="261809"/>
                </a:cubicBezTo>
                <a:lnTo>
                  <a:pt x="188135" y="261809"/>
                </a:lnTo>
                <a:lnTo>
                  <a:pt x="189007" y="269397"/>
                </a:lnTo>
                <a:lnTo>
                  <a:pt x="190141" y="277736"/>
                </a:lnTo>
                <a:lnTo>
                  <a:pt x="188895" y="269852"/>
                </a:lnTo>
                <a:lnTo>
                  <a:pt x="187840" y="262193"/>
                </a:lnTo>
                <a:lnTo>
                  <a:pt x="188122" y="262006"/>
                </a:lnTo>
                <a:cubicBezTo>
                  <a:pt x="187815" y="262006"/>
                  <a:pt x="187815" y="262006"/>
                  <a:pt x="187815" y="262006"/>
                </a:cubicBezTo>
                <a:lnTo>
                  <a:pt x="187840" y="262193"/>
                </a:lnTo>
                <a:lnTo>
                  <a:pt x="187839" y="262194"/>
                </a:lnTo>
                <a:lnTo>
                  <a:pt x="188824" y="269402"/>
                </a:lnTo>
                <a:lnTo>
                  <a:pt x="188895" y="269852"/>
                </a:lnTo>
                <a:lnTo>
                  <a:pt x="190008" y="277937"/>
                </a:lnTo>
                <a:lnTo>
                  <a:pt x="190585" y="280999"/>
                </a:lnTo>
                <a:lnTo>
                  <a:pt x="190585" y="281001"/>
                </a:lnTo>
                <a:lnTo>
                  <a:pt x="191466" y="286111"/>
                </a:lnTo>
                <a:lnTo>
                  <a:pt x="192347" y="291685"/>
                </a:lnTo>
                <a:lnTo>
                  <a:pt x="192846" y="293001"/>
                </a:lnTo>
                <a:lnTo>
                  <a:pt x="192828" y="292905"/>
                </a:lnTo>
                <a:lnTo>
                  <a:pt x="192967" y="293318"/>
                </a:lnTo>
                <a:lnTo>
                  <a:pt x="194444" y="297210"/>
                </a:lnTo>
                <a:lnTo>
                  <a:pt x="194587" y="297544"/>
                </a:lnTo>
                <a:lnTo>
                  <a:pt x="194548" y="297485"/>
                </a:lnTo>
                <a:lnTo>
                  <a:pt x="194569" y="297540"/>
                </a:lnTo>
                <a:lnTo>
                  <a:pt x="194587" y="297544"/>
                </a:lnTo>
                <a:lnTo>
                  <a:pt x="195686" y="297763"/>
                </a:lnTo>
                <a:lnTo>
                  <a:pt x="196127" y="297544"/>
                </a:lnTo>
                <a:cubicBezTo>
                  <a:pt x="197974" y="296931"/>
                  <a:pt x="199513" y="296319"/>
                  <a:pt x="201360" y="296319"/>
                </a:cubicBezTo>
                <a:cubicBezTo>
                  <a:pt x="201360" y="296319"/>
                  <a:pt x="201360" y="296319"/>
                  <a:pt x="201668" y="296319"/>
                </a:cubicBezTo>
                <a:cubicBezTo>
                  <a:pt x="203515" y="296625"/>
                  <a:pt x="205055" y="296931"/>
                  <a:pt x="206286" y="299382"/>
                </a:cubicBezTo>
                <a:cubicBezTo>
                  <a:pt x="205055" y="297238"/>
                  <a:pt x="203515" y="296931"/>
                  <a:pt x="201668" y="296625"/>
                </a:cubicBezTo>
                <a:lnTo>
                  <a:pt x="201641" y="296625"/>
                </a:lnTo>
                <a:lnTo>
                  <a:pt x="206242" y="299379"/>
                </a:lnTo>
                <a:lnTo>
                  <a:pt x="207154" y="305898"/>
                </a:lnTo>
                <a:lnTo>
                  <a:pt x="207825" y="304897"/>
                </a:lnTo>
                <a:lnTo>
                  <a:pt x="207164" y="305970"/>
                </a:lnTo>
                <a:lnTo>
                  <a:pt x="207432" y="307882"/>
                </a:lnTo>
                <a:lnTo>
                  <a:pt x="202676" y="313257"/>
                </a:lnTo>
                <a:lnTo>
                  <a:pt x="201976" y="314394"/>
                </a:lnTo>
                <a:cubicBezTo>
                  <a:pt x="201360" y="314394"/>
                  <a:pt x="201052" y="314394"/>
                  <a:pt x="200745" y="314394"/>
                </a:cubicBezTo>
                <a:cubicBezTo>
                  <a:pt x="200437" y="314394"/>
                  <a:pt x="200129" y="314394"/>
                  <a:pt x="199821" y="314394"/>
                </a:cubicBezTo>
                <a:lnTo>
                  <a:pt x="196025" y="311197"/>
                </a:lnTo>
                <a:lnTo>
                  <a:pt x="195798" y="311023"/>
                </a:lnTo>
                <a:lnTo>
                  <a:pt x="195695" y="310594"/>
                </a:lnTo>
                <a:lnTo>
                  <a:pt x="193972" y="304590"/>
                </a:lnTo>
                <a:lnTo>
                  <a:pt x="193972" y="302562"/>
                </a:lnTo>
                <a:lnTo>
                  <a:pt x="193955" y="302443"/>
                </a:lnTo>
                <a:cubicBezTo>
                  <a:pt x="193955" y="302137"/>
                  <a:pt x="193955" y="301830"/>
                  <a:pt x="193647" y="301524"/>
                </a:cubicBezTo>
                <a:lnTo>
                  <a:pt x="192114" y="299689"/>
                </a:lnTo>
                <a:lnTo>
                  <a:pt x="190893" y="299689"/>
                </a:lnTo>
                <a:cubicBezTo>
                  <a:pt x="190277" y="299689"/>
                  <a:pt x="189662" y="299689"/>
                  <a:pt x="188738" y="299995"/>
                </a:cubicBezTo>
                <a:cubicBezTo>
                  <a:pt x="188430" y="299995"/>
                  <a:pt x="188122" y="299995"/>
                  <a:pt x="188122" y="299995"/>
                </a:cubicBezTo>
                <a:cubicBezTo>
                  <a:pt x="187507" y="299995"/>
                  <a:pt x="187199" y="299995"/>
                  <a:pt x="187199" y="299689"/>
                </a:cubicBezTo>
                <a:cubicBezTo>
                  <a:pt x="186891" y="299382"/>
                  <a:pt x="186891" y="298769"/>
                  <a:pt x="186891" y="297850"/>
                </a:cubicBezTo>
                <a:cubicBezTo>
                  <a:pt x="187199" y="298769"/>
                  <a:pt x="187199" y="299076"/>
                  <a:pt x="187199" y="299382"/>
                </a:cubicBezTo>
                <a:cubicBezTo>
                  <a:pt x="187507" y="299689"/>
                  <a:pt x="187507" y="299689"/>
                  <a:pt x="188122" y="299689"/>
                </a:cubicBezTo>
                <a:cubicBezTo>
                  <a:pt x="188122" y="299689"/>
                  <a:pt x="188430" y="299689"/>
                  <a:pt x="188738" y="299689"/>
                </a:cubicBezTo>
                <a:lnTo>
                  <a:pt x="188761" y="299685"/>
                </a:lnTo>
                <a:lnTo>
                  <a:pt x="188733" y="299685"/>
                </a:lnTo>
                <a:lnTo>
                  <a:pt x="186892" y="297849"/>
                </a:lnTo>
                <a:lnTo>
                  <a:pt x="186891" y="297850"/>
                </a:lnTo>
                <a:lnTo>
                  <a:pt x="186892" y="297849"/>
                </a:lnTo>
                <a:lnTo>
                  <a:pt x="186890" y="297847"/>
                </a:lnTo>
                <a:lnTo>
                  <a:pt x="186894" y="297844"/>
                </a:lnTo>
                <a:lnTo>
                  <a:pt x="187199" y="297238"/>
                </a:lnTo>
                <a:lnTo>
                  <a:pt x="187806" y="297238"/>
                </a:lnTo>
                <a:lnTo>
                  <a:pt x="187811" y="297234"/>
                </a:lnTo>
                <a:lnTo>
                  <a:pt x="187862" y="297228"/>
                </a:lnTo>
                <a:lnTo>
                  <a:pt x="189354" y="296931"/>
                </a:lnTo>
                <a:cubicBezTo>
                  <a:pt x="189970" y="296931"/>
                  <a:pt x="190585" y="296931"/>
                  <a:pt x="190585" y="296625"/>
                </a:cubicBezTo>
                <a:cubicBezTo>
                  <a:pt x="191201" y="296625"/>
                  <a:pt x="191201" y="296012"/>
                  <a:pt x="191201" y="295400"/>
                </a:cubicBezTo>
                <a:cubicBezTo>
                  <a:pt x="191201" y="295093"/>
                  <a:pt x="191201" y="294787"/>
                  <a:pt x="191201" y="294787"/>
                </a:cubicBezTo>
                <a:lnTo>
                  <a:pt x="189694" y="284887"/>
                </a:lnTo>
                <a:lnTo>
                  <a:pt x="189654" y="284670"/>
                </a:lnTo>
                <a:lnTo>
                  <a:pt x="186993" y="267539"/>
                </a:lnTo>
                <a:lnTo>
                  <a:pt x="186318" y="263203"/>
                </a:lnTo>
                <a:lnTo>
                  <a:pt x="186320" y="263202"/>
                </a:lnTo>
                <a:lnTo>
                  <a:pt x="186296" y="263046"/>
                </a:lnTo>
                <a:lnTo>
                  <a:pt x="186281" y="262957"/>
                </a:lnTo>
                <a:lnTo>
                  <a:pt x="186280" y="262958"/>
                </a:lnTo>
                <a:lnTo>
                  <a:pt x="186318" y="263203"/>
                </a:lnTo>
                <a:lnTo>
                  <a:pt x="186275" y="263232"/>
                </a:lnTo>
                <a:lnTo>
                  <a:pt x="186275" y="262961"/>
                </a:lnTo>
                <a:lnTo>
                  <a:pt x="185743" y="263342"/>
                </a:lnTo>
                <a:cubicBezTo>
                  <a:pt x="185436" y="267020"/>
                  <a:pt x="185130" y="271311"/>
                  <a:pt x="184211" y="275296"/>
                </a:cubicBezTo>
                <a:cubicBezTo>
                  <a:pt x="183904" y="277442"/>
                  <a:pt x="183292" y="279587"/>
                  <a:pt x="182985" y="281733"/>
                </a:cubicBezTo>
                <a:cubicBezTo>
                  <a:pt x="182372" y="284798"/>
                  <a:pt x="181759" y="288170"/>
                  <a:pt x="181147" y="291235"/>
                </a:cubicBezTo>
                <a:lnTo>
                  <a:pt x="181398" y="289676"/>
                </a:lnTo>
                <a:lnTo>
                  <a:pt x="181114" y="291136"/>
                </a:lnTo>
                <a:lnTo>
                  <a:pt x="180590" y="293741"/>
                </a:lnTo>
                <a:lnTo>
                  <a:pt x="181147" y="291235"/>
                </a:lnTo>
                <a:cubicBezTo>
                  <a:pt x="181147" y="292155"/>
                  <a:pt x="180840" y="293074"/>
                  <a:pt x="180840" y="294300"/>
                </a:cubicBezTo>
                <a:cubicBezTo>
                  <a:pt x="180534" y="294913"/>
                  <a:pt x="180534" y="295220"/>
                  <a:pt x="180534" y="295833"/>
                </a:cubicBezTo>
                <a:lnTo>
                  <a:pt x="180534" y="296182"/>
                </a:lnTo>
                <a:lnTo>
                  <a:pt x="181114" y="296951"/>
                </a:lnTo>
                <a:cubicBezTo>
                  <a:pt x="181114" y="296951"/>
                  <a:pt x="181422" y="296951"/>
                  <a:pt x="181729" y="296951"/>
                </a:cubicBezTo>
                <a:cubicBezTo>
                  <a:pt x="182653" y="297257"/>
                  <a:pt x="183268" y="297257"/>
                  <a:pt x="183884" y="297257"/>
                </a:cubicBezTo>
                <a:cubicBezTo>
                  <a:pt x="184192" y="297257"/>
                  <a:pt x="184192" y="297257"/>
                  <a:pt x="184500" y="297257"/>
                </a:cubicBezTo>
                <a:lnTo>
                  <a:pt x="184500" y="297365"/>
                </a:lnTo>
                <a:lnTo>
                  <a:pt x="184517" y="297365"/>
                </a:lnTo>
                <a:cubicBezTo>
                  <a:pt x="184824" y="297365"/>
                  <a:pt x="184824" y="297365"/>
                  <a:pt x="185130" y="297672"/>
                </a:cubicBezTo>
                <a:cubicBezTo>
                  <a:pt x="185130" y="297978"/>
                  <a:pt x="185130" y="297978"/>
                  <a:pt x="185130" y="298285"/>
                </a:cubicBezTo>
                <a:cubicBezTo>
                  <a:pt x="185130" y="298591"/>
                  <a:pt x="185130" y="298898"/>
                  <a:pt x="185130" y="299204"/>
                </a:cubicBezTo>
                <a:cubicBezTo>
                  <a:pt x="184824" y="299204"/>
                  <a:pt x="184824" y="299511"/>
                  <a:pt x="184824" y="299511"/>
                </a:cubicBezTo>
                <a:cubicBezTo>
                  <a:pt x="184824" y="299511"/>
                  <a:pt x="184824" y="299511"/>
                  <a:pt x="184517" y="299511"/>
                </a:cubicBezTo>
                <a:cubicBezTo>
                  <a:pt x="184517" y="299511"/>
                  <a:pt x="184824" y="299204"/>
                  <a:pt x="184824" y="299204"/>
                </a:cubicBezTo>
                <a:cubicBezTo>
                  <a:pt x="184824" y="298898"/>
                  <a:pt x="184824" y="298591"/>
                  <a:pt x="184824" y="298285"/>
                </a:cubicBezTo>
                <a:cubicBezTo>
                  <a:pt x="184824" y="298285"/>
                  <a:pt x="184824" y="297978"/>
                  <a:pt x="184824" y="297672"/>
                </a:cubicBezTo>
                <a:cubicBezTo>
                  <a:pt x="184824" y="297672"/>
                  <a:pt x="184517" y="297672"/>
                  <a:pt x="184517" y="297672"/>
                </a:cubicBezTo>
                <a:lnTo>
                  <a:pt x="184500" y="297672"/>
                </a:lnTo>
                <a:lnTo>
                  <a:pt x="184500" y="299399"/>
                </a:lnTo>
                <a:lnTo>
                  <a:pt x="184316" y="299486"/>
                </a:lnTo>
                <a:lnTo>
                  <a:pt x="184517" y="299511"/>
                </a:lnTo>
                <a:lnTo>
                  <a:pt x="184263" y="299511"/>
                </a:lnTo>
                <a:lnTo>
                  <a:pt x="178575" y="302204"/>
                </a:lnTo>
                <a:lnTo>
                  <a:pt x="178389" y="302576"/>
                </a:lnTo>
                <a:cubicBezTo>
                  <a:pt x="178389" y="303189"/>
                  <a:pt x="178389" y="303496"/>
                  <a:pt x="178389" y="304109"/>
                </a:cubicBezTo>
                <a:cubicBezTo>
                  <a:pt x="178389" y="307787"/>
                  <a:pt x="177470" y="310546"/>
                  <a:pt x="175018" y="312998"/>
                </a:cubicBezTo>
                <a:lnTo>
                  <a:pt x="171630" y="314450"/>
                </a:lnTo>
                <a:lnTo>
                  <a:pt x="174986" y="318380"/>
                </a:lnTo>
                <a:cubicBezTo>
                  <a:pt x="174986" y="318380"/>
                  <a:pt x="174986" y="318380"/>
                  <a:pt x="174986" y="337389"/>
                </a:cubicBezTo>
                <a:cubicBezTo>
                  <a:pt x="174986" y="337389"/>
                  <a:pt x="174986" y="337389"/>
                  <a:pt x="175605" y="337389"/>
                </a:cubicBezTo>
                <a:cubicBezTo>
                  <a:pt x="176224" y="337389"/>
                  <a:pt x="176533" y="337696"/>
                  <a:pt x="176533" y="338309"/>
                </a:cubicBezTo>
                <a:cubicBezTo>
                  <a:pt x="176533" y="338309"/>
                  <a:pt x="176533" y="338309"/>
                  <a:pt x="176533" y="338922"/>
                </a:cubicBezTo>
                <a:cubicBezTo>
                  <a:pt x="176533" y="339229"/>
                  <a:pt x="176224" y="339842"/>
                  <a:pt x="175605" y="339842"/>
                </a:cubicBezTo>
                <a:cubicBezTo>
                  <a:pt x="175605" y="339842"/>
                  <a:pt x="175605" y="339842"/>
                  <a:pt x="174057" y="339842"/>
                </a:cubicBezTo>
                <a:cubicBezTo>
                  <a:pt x="174057" y="339842"/>
                  <a:pt x="174057" y="339842"/>
                  <a:pt x="174367" y="377247"/>
                </a:cubicBezTo>
                <a:cubicBezTo>
                  <a:pt x="174367" y="377247"/>
                  <a:pt x="174367" y="377247"/>
                  <a:pt x="172510" y="393804"/>
                </a:cubicBezTo>
                <a:cubicBezTo>
                  <a:pt x="172510" y="393804"/>
                  <a:pt x="172510" y="393804"/>
                  <a:pt x="170963" y="393804"/>
                </a:cubicBezTo>
                <a:cubicBezTo>
                  <a:pt x="170963" y="393804"/>
                  <a:pt x="170963" y="393804"/>
                  <a:pt x="169106" y="377247"/>
                </a:cubicBezTo>
                <a:cubicBezTo>
                  <a:pt x="169106" y="377247"/>
                  <a:pt x="169106" y="377247"/>
                  <a:pt x="169415" y="339842"/>
                </a:cubicBezTo>
                <a:lnTo>
                  <a:pt x="167868" y="339842"/>
                </a:lnTo>
                <a:cubicBezTo>
                  <a:pt x="167249" y="339842"/>
                  <a:pt x="166939" y="339229"/>
                  <a:pt x="166939" y="338922"/>
                </a:cubicBezTo>
                <a:cubicBezTo>
                  <a:pt x="166939" y="338922"/>
                  <a:pt x="166939" y="338922"/>
                  <a:pt x="166939" y="338309"/>
                </a:cubicBezTo>
                <a:cubicBezTo>
                  <a:pt x="166939" y="337696"/>
                  <a:pt x="167249" y="337389"/>
                  <a:pt x="167868" y="337389"/>
                </a:cubicBezTo>
                <a:cubicBezTo>
                  <a:pt x="167868" y="337389"/>
                  <a:pt x="167868" y="337389"/>
                  <a:pt x="168487" y="337389"/>
                </a:cubicBezTo>
                <a:cubicBezTo>
                  <a:pt x="168487" y="337389"/>
                  <a:pt x="168487" y="337389"/>
                  <a:pt x="168487" y="318380"/>
                </a:cubicBezTo>
                <a:lnTo>
                  <a:pt x="171492" y="314509"/>
                </a:lnTo>
                <a:lnTo>
                  <a:pt x="170728" y="314837"/>
                </a:lnTo>
                <a:cubicBezTo>
                  <a:pt x="170728" y="314837"/>
                  <a:pt x="170728" y="314837"/>
                  <a:pt x="170422" y="314837"/>
                </a:cubicBezTo>
                <a:cubicBezTo>
                  <a:pt x="169503" y="314837"/>
                  <a:pt x="168584" y="314224"/>
                  <a:pt x="167664" y="313917"/>
                </a:cubicBezTo>
                <a:lnTo>
                  <a:pt x="165941" y="310327"/>
                </a:lnTo>
                <a:lnTo>
                  <a:pt x="164107" y="306782"/>
                </a:lnTo>
                <a:lnTo>
                  <a:pt x="164162" y="306621"/>
                </a:lnTo>
                <a:lnTo>
                  <a:pt x="163987" y="306254"/>
                </a:lnTo>
                <a:lnTo>
                  <a:pt x="165883" y="301617"/>
                </a:lnTo>
                <a:lnTo>
                  <a:pt x="166647" y="299399"/>
                </a:lnTo>
                <a:lnTo>
                  <a:pt x="167414" y="299254"/>
                </a:lnTo>
                <a:lnTo>
                  <a:pt x="170728" y="297978"/>
                </a:lnTo>
                <a:lnTo>
                  <a:pt x="172788" y="298236"/>
                </a:lnTo>
                <a:lnTo>
                  <a:pt x="173111" y="298175"/>
                </a:lnTo>
                <a:cubicBezTo>
                  <a:pt x="174958" y="298787"/>
                  <a:pt x="175265" y="299093"/>
                  <a:pt x="176189" y="298787"/>
                </a:cubicBezTo>
                <a:lnTo>
                  <a:pt x="177981" y="297005"/>
                </a:lnTo>
                <a:lnTo>
                  <a:pt x="178082" y="296752"/>
                </a:lnTo>
                <a:cubicBezTo>
                  <a:pt x="179308" y="293381"/>
                  <a:pt x="179921" y="288783"/>
                  <a:pt x="180534" y="285411"/>
                </a:cubicBezTo>
                <a:lnTo>
                  <a:pt x="183861" y="265440"/>
                </a:lnTo>
                <a:lnTo>
                  <a:pt x="184192" y="263289"/>
                </a:lnTo>
                <a:lnTo>
                  <a:pt x="184208" y="262977"/>
                </a:lnTo>
                <a:lnTo>
                  <a:pt x="184208" y="244010"/>
                </a:lnTo>
                <a:lnTo>
                  <a:pt x="184208" y="243997"/>
                </a:lnTo>
                <a:lnTo>
                  <a:pt x="183913" y="236350"/>
                </a:lnTo>
                <a:cubicBezTo>
                  <a:pt x="183913" y="234513"/>
                  <a:pt x="183913" y="232983"/>
                  <a:pt x="184208" y="232064"/>
                </a:cubicBezTo>
                <a:cubicBezTo>
                  <a:pt x="184208" y="231758"/>
                  <a:pt x="184208" y="231452"/>
                  <a:pt x="184208" y="231452"/>
                </a:cubicBezTo>
                <a:cubicBezTo>
                  <a:pt x="184208" y="231146"/>
                  <a:pt x="184504" y="231146"/>
                  <a:pt x="184504" y="231146"/>
                </a:cubicBezTo>
                <a:cubicBezTo>
                  <a:pt x="184799" y="231146"/>
                  <a:pt x="184799" y="231146"/>
                  <a:pt x="184799" y="231146"/>
                </a:cubicBezTo>
                <a:cubicBezTo>
                  <a:pt x="184799" y="231146"/>
                  <a:pt x="185094" y="231758"/>
                  <a:pt x="185094" y="232370"/>
                </a:cubicBezTo>
                <a:cubicBezTo>
                  <a:pt x="185389" y="234207"/>
                  <a:pt x="185537" y="238340"/>
                  <a:pt x="185647" y="242205"/>
                </a:cubicBezTo>
                <a:lnTo>
                  <a:pt x="185971" y="250240"/>
                </a:lnTo>
                <a:lnTo>
                  <a:pt x="186355" y="249856"/>
                </a:lnTo>
                <a:lnTo>
                  <a:pt x="186356" y="249819"/>
                </a:lnTo>
                <a:lnTo>
                  <a:pt x="186356" y="240046"/>
                </a:lnTo>
                <a:lnTo>
                  <a:pt x="186654" y="234673"/>
                </a:lnTo>
                <a:lnTo>
                  <a:pt x="186654" y="231463"/>
                </a:lnTo>
                <a:lnTo>
                  <a:pt x="186672" y="231454"/>
                </a:lnTo>
                <a:lnTo>
                  <a:pt x="186969" y="231157"/>
                </a:lnTo>
                <a:lnTo>
                  <a:pt x="186969" y="231307"/>
                </a:lnTo>
                <a:lnTo>
                  <a:pt x="187269" y="231157"/>
                </a:lnTo>
                <a:lnTo>
                  <a:pt x="186969" y="231157"/>
                </a:lnTo>
                <a:cubicBezTo>
                  <a:pt x="186969" y="231157"/>
                  <a:pt x="186969" y="231157"/>
                  <a:pt x="186969" y="230851"/>
                </a:cubicBezTo>
                <a:close/>
                <a:moveTo>
                  <a:pt x="133540" y="228046"/>
                </a:moveTo>
                <a:cubicBezTo>
                  <a:pt x="135687" y="228046"/>
                  <a:pt x="135687" y="228046"/>
                  <a:pt x="135687" y="228046"/>
                </a:cubicBezTo>
                <a:cubicBezTo>
                  <a:pt x="136301" y="228046"/>
                  <a:pt x="136608" y="228353"/>
                  <a:pt x="136608" y="228966"/>
                </a:cubicBezTo>
                <a:cubicBezTo>
                  <a:pt x="136608" y="233875"/>
                  <a:pt x="136608" y="233875"/>
                  <a:pt x="136608" y="233875"/>
                </a:cubicBezTo>
                <a:cubicBezTo>
                  <a:pt x="141516" y="233875"/>
                  <a:pt x="141516" y="233875"/>
                  <a:pt x="141516" y="233875"/>
                </a:cubicBezTo>
                <a:cubicBezTo>
                  <a:pt x="142130" y="233875"/>
                  <a:pt x="142437" y="234182"/>
                  <a:pt x="142437" y="234488"/>
                </a:cubicBezTo>
                <a:cubicBezTo>
                  <a:pt x="142437" y="236943"/>
                  <a:pt x="142437" y="236943"/>
                  <a:pt x="142437" y="236943"/>
                </a:cubicBezTo>
                <a:cubicBezTo>
                  <a:pt x="142437" y="237556"/>
                  <a:pt x="142130" y="237863"/>
                  <a:pt x="141516" y="237863"/>
                </a:cubicBezTo>
                <a:cubicBezTo>
                  <a:pt x="136608" y="237863"/>
                  <a:pt x="136608" y="237863"/>
                  <a:pt x="136608" y="237863"/>
                </a:cubicBezTo>
                <a:cubicBezTo>
                  <a:pt x="136608" y="242772"/>
                  <a:pt x="136608" y="242772"/>
                  <a:pt x="136608" y="242772"/>
                </a:cubicBezTo>
                <a:cubicBezTo>
                  <a:pt x="136608" y="243078"/>
                  <a:pt x="136301" y="243692"/>
                  <a:pt x="135687" y="243692"/>
                </a:cubicBezTo>
                <a:cubicBezTo>
                  <a:pt x="133540" y="243692"/>
                  <a:pt x="133540" y="243692"/>
                  <a:pt x="133540" y="243692"/>
                </a:cubicBezTo>
                <a:cubicBezTo>
                  <a:pt x="132926" y="243692"/>
                  <a:pt x="132620" y="243078"/>
                  <a:pt x="132620" y="242772"/>
                </a:cubicBezTo>
                <a:cubicBezTo>
                  <a:pt x="132620" y="237863"/>
                  <a:pt x="132620" y="237863"/>
                  <a:pt x="132620" y="237863"/>
                </a:cubicBezTo>
                <a:cubicBezTo>
                  <a:pt x="127711" y="237863"/>
                  <a:pt x="127711" y="237863"/>
                  <a:pt x="127711" y="237863"/>
                </a:cubicBezTo>
                <a:cubicBezTo>
                  <a:pt x="127098" y="237863"/>
                  <a:pt x="126791" y="237556"/>
                  <a:pt x="126791" y="236943"/>
                </a:cubicBezTo>
                <a:cubicBezTo>
                  <a:pt x="126791" y="234488"/>
                  <a:pt x="126791" y="234488"/>
                  <a:pt x="126791" y="234488"/>
                </a:cubicBezTo>
                <a:cubicBezTo>
                  <a:pt x="126791" y="234182"/>
                  <a:pt x="127098" y="233875"/>
                  <a:pt x="127711" y="233875"/>
                </a:cubicBezTo>
                <a:cubicBezTo>
                  <a:pt x="132620" y="233875"/>
                  <a:pt x="132620" y="233875"/>
                  <a:pt x="132620" y="233875"/>
                </a:cubicBezTo>
                <a:cubicBezTo>
                  <a:pt x="132620" y="228966"/>
                  <a:pt x="132620" y="228966"/>
                  <a:pt x="132620" y="228966"/>
                </a:cubicBezTo>
                <a:cubicBezTo>
                  <a:pt x="132620" y="228353"/>
                  <a:pt x="132926" y="228046"/>
                  <a:pt x="133540" y="228046"/>
                </a:cubicBezTo>
                <a:close/>
                <a:moveTo>
                  <a:pt x="437421" y="225537"/>
                </a:moveTo>
                <a:cubicBezTo>
                  <a:pt x="439530" y="225537"/>
                  <a:pt x="441037" y="227073"/>
                  <a:pt x="441037" y="229225"/>
                </a:cubicBezTo>
                <a:cubicBezTo>
                  <a:pt x="441037" y="230454"/>
                  <a:pt x="440434" y="231376"/>
                  <a:pt x="439832" y="231990"/>
                </a:cubicBezTo>
                <a:lnTo>
                  <a:pt x="439832" y="236017"/>
                </a:lnTo>
                <a:lnTo>
                  <a:pt x="442929" y="236017"/>
                </a:lnTo>
                <a:cubicBezTo>
                  <a:pt x="443238" y="236017"/>
                  <a:pt x="443546" y="236312"/>
                  <a:pt x="443546" y="236312"/>
                </a:cubicBezTo>
                <a:cubicBezTo>
                  <a:pt x="443546" y="236608"/>
                  <a:pt x="443238" y="236903"/>
                  <a:pt x="442929" y="236903"/>
                </a:cubicBezTo>
                <a:lnTo>
                  <a:pt x="439832" y="236903"/>
                </a:lnTo>
                <a:lnTo>
                  <a:pt x="439832" y="239707"/>
                </a:lnTo>
                <a:lnTo>
                  <a:pt x="441170" y="239707"/>
                </a:lnTo>
                <a:cubicBezTo>
                  <a:pt x="441479" y="239707"/>
                  <a:pt x="441479" y="240002"/>
                  <a:pt x="441479" y="240002"/>
                </a:cubicBezTo>
                <a:cubicBezTo>
                  <a:pt x="441479" y="240297"/>
                  <a:pt x="441479" y="240297"/>
                  <a:pt x="441170" y="240297"/>
                </a:cubicBezTo>
                <a:lnTo>
                  <a:pt x="439832" y="240297"/>
                </a:lnTo>
                <a:lnTo>
                  <a:pt x="439832" y="243692"/>
                </a:lnTo>
                <a:lnTo>
                  <a:pt x="442929" y="243692"/>
                </a:lnTo>
                <a:cubicBezTo>
                  <a:pt x="443238" y="243692"/>
                  <a:pt x="443546" y="243987"/>
                  <a:pt x="443546" y="244283"/>
                </a:cubicBezTo>
                <a:cubicBezTo>
                  <a:pt x="443546" y="244283"/>
                  <a:pt x="443238" y="244578"/>
                  <a:pt x="442929" y="244578"/>
                </a:cubicBezTo>
                <a:lnTo>
                  <a:pt x="439832" y="244578"/>
                </a:lnTo>
                <a:lnTo>
                  <a:pt x="439832" y="247382"/>
                </a:lnTo>
                <a:lnTo>
                  <a:pt x="441170" y="247382"/>
                </a:lnTo>
                <a:cubicBezTo>
                  <a:pt x="441479" y="247382"/>
                  <a:pt x="441479" y="247677"/>
                  <a:pt x="441479" y="247677"/>
                </a:cubicBezTo>
                <a:cubicBezTo>
                  <a:pt x="441479" y="247972"/>
                  <a:pt x="441479" y="247972"/>
                  <a:pt x="441170" y="247972"/>
                </a:cubicBezTo>
                <a:lnTo>
                  <a:pt x="439832" y="247972"/>
                </a:lnTo>
                <a:lnTo>
                  <a:pt x="439832" y="251368"/>
                </a:lnTo>
                <a:lnTo>
                  <a:pt x="442929" y="251368"/>
                </a:lnTo>
                <a:cubicBezTo>
                  <a:pt x="443238" y="251368"/>
                  <a:pt x="443546" y="251663"/>
                  <a:pt x="443546" y="251663"/>
                </a:cubicBezTo>
                <a:cubicBezTo>
                  <a:pt x="443546" y="251958"/>
                  <a:pt x="443238" y="251958"/>
                  <a:pt x="442929" y="251958"/>
                </a:cubicBezTo>
                <a:lnTo>
                  <a:pt x="439832" y="251958"/>
                </a:lnTo>
                <a:lnTo>
                  <a:pt x="439832" y="255058"/>
                </a:lnTo>
                <a:lnTo>
                  <a:pt x="441170" y="255058"/>
                </a:lnTo>
                <a:cubicBezTo>
                  <a:pt x="441479" y="255058"/>
                  <a:pt x="441479" y="255058"/>
                  <a:pt x="441479" y="255353"/>
                </a:cubicBezTo>
                <a:cubicBezTo>
                  <a:pt x="441479" y="255648"/>
                  <a:pt x="441479" y="255648"/>
                  <a:pt x="441170" y="255648"/>
                </a:cubicBezTo>
                <a:lnTo>
                  <a:pt x="439832" y="255648"/>
                </a:lnTo>
                <a:lnTo>
                  <a:pt x="439832" y="259338"/>
                </a:lnTo>
                <a:lnTo>
                  <a:pt x="442929" y="259338"/>
                </a:lnTo>
                <a:cubicBezTo>
                  <a:pt x="443238" y="259338"/>
                  <a:pt x="443546" y="259338"/>
                  <a:pt x="443546" y="259633"/>
                </a:cubicBezTo>
                <a:cubicBezTo>
                  <a:pt x="443546" y="259633"/>
                  <a:pt x="443238" y="259928"/>
                  <a:pt x="442929" y="259928"/>
                </a:cubicBezTo>
                <a:lnTo>
                  <a:pt x="439832" y="259928"/>
                </a:lnTo>
                <a:lnTo>
                  <a:pt x="439832" y="263028"/>
                </a:lnTo>
                <a:lnTo>
                  <a:pt x="439856" y="263028"/>
                </a:lnTo>
                <a:lnTo>
                  <a:pt x="441170" y="263028"/>
                </a:lnTo>
                <a:cubicBezTo>
                  <a:pt x="441479" y="263028"/>
                  <a:pt x="441479" y="263028"/>
                  <a:pt x="441479" y="263323"/>
                </a:cubicBezTo>
                <a:cubicBezTo>
                  <a:pt x="441479" y="263323"/>
                  <a:pt x="441479" y="263618"/>
                  <a:pt x="441170" y="263618"/>
                </a:cubicBezTo>
                <a:lnTo>
                  <a:pt x="439856" y="263618"/>
                </a:lnTo>
                <a:lnTo>
                  <a:pt x="439856" y="266718"/>
                </a:lnTo>
                <a:lnTo>
                  <a:pt x="442929" y="266718"/>
                </a:lnTo>
                <a:cubicBezTo>
                  <a:pt x="443238" y="266718"/>
                  <a:pt x="443546" y="266718"/>
                  <a:pt x="443546" y="267013"/>
                </a:cubicBezTo>
                <a:cubicBezTo>
                  <a:pt x="443546" y="267013"/>
                  <a:pt x="443238" y="267308"/>
                  <a:pt x="442929" y="267308"/>
                </a:cubicBezTo>
                <a:lnTo>
                  <a:pt x="439856" y="267308"/>
                </a:lnTo>
                <a:lnTo>
                  <a:pt x="439856" y="269965"/>
                </a:lnTo>
                <a:lnTo>
                  <a:pt x="441170" y="269965"/>
                </a:lnTo>
                <a:cubicBezTo>
                  <a:pt x="441479" y="269965"/>
                  <a:pt x="441479" y="270309"/>
                  <a:pt x="441479" y="270654"/>
                </a:cubicBezTo>
                <a:cubicBezTo>
                  <a:pt x="441479" y="270654"/>
                  <a:pt x="441479" y="270998"/>
                  <a:pt x="441170" y="270998"/>
                </a:cubicBezTo>
                <a:lnTo>
                  <a:pt x="439856" y="270998"/>
                </a:lnTo>
                <a:lnTo>
                  <a:pt x="439856" y="274246"/>
                </a:lnTo>
                <a:lnTo>
                  <a:pt x="442929" y="274246"/>
                </a:lnTo>
                <a:cubicBezTo>
                  <a:pt x="443238" y="274246"/>
                  <a:pt x="443546" y="274246"/>
                  <a:pt x="443546" y="274615"/>
                </a:cubicBezTo>
                <a:cubicBezTo>
                  <a:pt x="443546" y="274984"/>
                  <a:pt x="443238" y="274984"/>
                  <a:pt x="442929" y="274984"/>
                </a:cubicBezTo>
                <a:lnTo>
                  <a:pt x="439856" y="274984"/>
                </a:lnTo>
                <a:lnTo>
                  <a:pt x="439856" y="277936"/>
                </a:lnTo>
                <a:lnTo>
                  <a:pt x="441170" y="277936"/>
                </a:lnTo>
                <a:cubicBezTo>
                  <a:pt x="441479" y="277936"/>
                  <a:pt x="441479" y="277936"/>
                  <a:pt x="441479" y="278305"/>
                </a:cubicBezTo>
                <a:cubicBezTo>
                  <a:pt x="441479" y="278305"/>
                  <a:pt x="441479" y="278674"/>
                  <a:pt x="441170" y="278674"/>
                </a:cubicBezTo>
                <a:lnTo>
                  <a:pt x="439856" y="278674"/>
                </a:lnTo>
                <a:lnTo>
                  <a:pt x="439856" y="281921"/>
                </a:lnTo>
                <a:lnTo>
                  <a:pt x="442929" y="281921"/>
                </a:lnTo>
                <a:cubicBezTo>
                  <a:pt x="443238" y="281921"/>
                  <a:pt x="443546" y="281921"/>
                  <a:pt x="443546" y="282290"/>
                </a:cubicBezTo>
                <a:cubicBezTo>
                  <a:pt x="443546" y="282290"/>
                  <a:pt x="443238" y="282659"/>
                  <a:pt x="442929" y="282659"/>
                </a:cubicBezTo>
                <a:lnTo>
                  <a:pt x="439856" y="282659"/>
                </a:lnTo>
                <a:lnTo>
                  <a:pt x="439856" y="285316"/>
                </a:lnTo>
                <a:lnTo>
                  <a:pt x="441170" y="285316"/>
                </a:lnTo>
                <a:cubicBezTo>
                  <a:pt x="441479" y="285316"/>
                  <a:pt x="441479" y="285611"/>
                  <a:pt x="441479" y="285611"/>
                </a:cubicBezTo>
                <a:cubicBezTo>
                  <a:pt x="441479" y="285907"/>
                  <a:pt x="441479" y="286202"/>
                  <a:pt x="441170" y="286202"/>
                </a:cubicBezTo>
                <a:lnTo>
                  <a:pt x="439856" y="286202"/>
                </a:lnTo>
                <a:lnTo>
                  <a:pt x="439856" y="289597"/>
                </a:lnTo>
                <a:lnTo>
                  <a:pt x="442929" y="289597"/>
                </a:lnTo>
                <a:cubicBezTo>
                  <a:pt x="443238" y="289597"/>
                  <a:pt x="443546" y="289597"/>
                  <a:pt x="443546" y="289892"/>
                </a:cubicBezTo>
                <a:cubicBezTo>
                  <a:pt x="443546" y="289892"/>
                  <a:pt x="443238" y="290187"/>
                  <a:pt x="442929" y="290187"/>
                </a:cubicBezTo>
                <a:lnTo>
                  <a:pt x="439856" y="290187"/>
                </a:lnTo>
                <a:lnTo>
                  <a:pt x="439856" y="292275"/>
                </a:lnTo>
                <a:lnTo>
                  <a:pt x="439856" y="293287"/>
                </a:lnTo>
                <a:lnTo>
                  <a:pt x="441170" y="293287"/>
                </a:lnTo>
                <a:cubicBezTo>
                  <a:pt x="441479" y="293287"/>
                  <a:pt x="441479" y="293287"/>
                  <a:pt x="441479" y="293582"/>
                </a:cubicBezTo>
                <a:cubicBezTo>
                  <a:pt x="441479" y="293582"/>
                  <a:pt x="441479" y="293877"/>
                  <a:pt x="441170" y="293877"/>
                </a:cubicBezTo>
                <a:lnTo>
                  <a:pt x="439856" y="293877"/>
                </a:lnTo>
                <a:lnTo>
                  <a:pt x="439856" y="296453"/>
                </a:lnTo>
                <a:cubicBezTo>
                  <a:pt x="439856" y="297680"/>
                  <a:pt x="438636" y="298600"/>
                  <a:pt x="437416" y="298600"/>
                </a:cubicBezTo>
                <a:cubicBezTo>
                  <a:pt x="436195" y="298600"/>
                  <a:pt x="435280" y="297680"/>
                  <a:pt x="435280" y="296453"/>
                </a:cubicBezTo>
                <a:lnTo>
                  <a:pt x="435280" y="293877"/>
                </a:lnTo>
                <a:lnTo>
                  <a:pt x="433058" y="293877"/>
                </a:lnTo>
                <a:cubicBezTo>
                  <a:pt x="431899" y="293877"/>
                  <a:pt x="431899" y="293877"/>
                  <a:pt x="431899" y="293877"/>
                </a:cubicBezTo>
                <a:cubicBezTo>
                  <a:pt x="431899" y="293877"/>
                  <a:pt x="431590" y="293582"/>
                  <a:pt x="431590" y="293582"/>
                </a:cubicBezTo>
                <a:cubicBezTo>
                  <a:pt x="431590" y="293287"/>
                  <a:pt x="431899" y="293287"/>
                  <a:pt x="431899" y="293287"/>
                </a:cubicBezTo>
                <a:lnTo>
                  <a:pt x="435280" y="293287"/>
                </a:lnTo>
                <a:lnTo>
                  <a:pt x="435280" y="290187"/>
                </a:lnTo>
                <a:lnTo>
                  <a:pt x="434827" y="290187"/>
                </a:lnTo>
                <a:cubicBezTo>
                  <a:pt x="433670" y="290187"/>
                  <a:pt x="433670" y="290187"/>
                  <a:pt x="433670" y="290187"/>
                </a:cubicBezTo>
                <a:cubicBezTo>
                  <a:pt x="433670" y="290187"/>
                  <a:pt x="433361" y="289892"/>
                  <a:pt x="433361" y="289892"/>
                </a:cubicBezTo>
                <a:cubicBezTo>
                  <a:pt x="433361" y="289597"/>
                  <a:pt x="433670" y="289597"/>
                  <a:pt x="433670" y="289597"/>
                </a:cubicBezTo>
                <a:lnTo>
                  <a:pt x="435280" y="289597"/>
                </a:lnTo>
                <a:lnTo>
                  <a:pt x="435280" y="286202"/>
                </a:lnTo>
                <a:lnTo>
                  <a:pt x="433058" y="286202"/>
                </a:lnTo>
                <a:cubicBezTo>
                  <a:pt x="431899" y="286202"/>
                  <a:pt x="431899" y="286202"/>
                  <a:pt x="431899" y="286202"/>
                </a:cubicBezTo>
                <a:cubicBezTo>
                  <a:pt x="431899" y="286202"/>
                  <a:pt x="431590" y="285907"/>
                  <a:pt x="431590" y="285611"/>
                </a:cubicBezTo>
                <a:cubicBezTo>
                  <a:pt x="431590" y="285611"/>
                  <a:pt x="431899" y="285316"/>
                  <a:pt x="431899" y="285316"/>
                </a:cubicBezTo>
                <a:lnTo>
                  <a:pt x="435280" y="285316"/>
                </a:lnTo>
                <a:lnTo>
                  <a:pt x="435280" y="282659"/>
                </a:lnTo>
                <a:lnTo>
                  <a:pt x="434827" y="282659"/>
                </a:lnTo>
                <a:cubicBezTo>
                  <a:pt x="433670" y="282659"/>
                  <a:pt x="433670" y="282659"/>
                  <a:pt x="433670" y="282659"/>
                </a:cubicBezTo>
                <a:cubicBezTo>
                  <a:pt x="433670" y="282659"/>
                  <a:pt x="433361" y="282290"/>
                  <a:pt x="433361" y="282290"/>
                </a:cubicBezTo>
                <a:cubicBezTo>
                  <a:pt x="433361" y="281921"/>
                  <a:pt x="433670" y="281921"/>
                  <a:pt x="433670" y="281921"/>
                </a:cubicBezTo>
                <a:lnTo>
                  <a:pt x="435280" y="281921"/>
                </a:lnTo>
                <a:lnTo>
                  <a:pt x="435280" y="278674"/>
                </a:lnTo>
                <a:lnTo>
                  <a:pt x="433058" y="278674"/>
                </a:lnTo>
                <a:cubicBezTo>
                  <a:pt x="431899" y="278674"/>
                  <a:pt x="431899" y="278674"/>
                  <a:pt x="431899" y="278674"/>
                </a:cubicBezTo>
                <a:cubicBezTo>
                  <a:pt x="431899" y="278674"/>
                  <a:pt x="431590" y="278305"/>
                  <a:pt x="431590" y="278305"/>
                </a:cubicBezTo>
                <a:cubicBezTo>
                  <a:pt x="431590" y="277936"/>
                  <a:pt x="431899" y="277936"/>
                  <a:pt x="431899" y="277936"/>
                </a:cubicBezTo>
                <a:lnTo>
                  <a:pt x="435280" y="277936"/>
                </a:lnTo>
                <a:lnTo>
                  <a:pt x="435280" y="274984"/>
                </a:lnTo>
                <a:lnTo>
                  <a:pt x="434827" y="274984"/>
                </a:lnTo>
                <a:cubicBezTo>
                  <a:pt x="433670" y="274984"/>
                  <a:pt x="433670" y="274984"/>
                  <a:pt x="433670" y="274984"/>
                </a:cubicBezTo>
                <a:cubicBezTo>
                  <a:pt x="433670" y="274984"/>
                  <a:pt x="433361" y="274984"/>
                  <a:pt x="433361" y="274615"/>
                </a:cubicBezTo>
                <a:cubicBezTo>
                  <a:pt x="433361" y="274246"/>
                  <a:pt x="433670" y="274246"/>
                  <a:pt x="433670" y="274246"/>
                </a:cubicBezTo>
                <a:lnTo>
                  <a:pt x="435280" y="274246"/>
                </a:lnTo>
                <a:lnTo>
                  <a:pt x="435280" y="270998"/>
                </a:lnTo>
                <a:lnTo>
                  <a:pt x="433058" y="270998"/>
                </a:lnTo>
                <a:cubicBezTo>
                  <a:pt x="431899" y="270998"/>
                  <a:pt x="431899" y="270998"/>
                  <a:pt x="431899" y="270998"/>
                </a:cubicBezTo>
                <a:cubicBezTo>
                  <a:pt x="431899" y="270998"/>
                  <a:pt x="431590" y="270654"/>
                  <a:pt x="431590" y="270654"/>
                </a:cubicBezTo>
                <a:cubicBezTo>
                  <a:pt x="431590" y="270309"/>
                  <a:pt x="431899" y="269965"/>
                  <a:pt x="431899" y="269965"/>
                </a:cubicBezTo>
                <a:lnTo>
                  <a:pt x="435280" y="269965"/>
                </a:lnTo>
                <a:lnTo>
                  <a:pt x="435280" y="267308"/>
                </a:lnTo>
                <a:lnTo>
                  <a:pt x="434827" y="267308"/>
                </a:lnTo>
                <a:cubicBezTo>
                  <a:pt x="433670" y="267308"/>
                  <a:pt x="433670" y="267308"/>
                  <a:pt x="433670" y="267308"/>
                </a:cubicBezTo>
                <a:cubicBezTo>
                  <a:pt x="433670" y="267308"/>
                  <a:pt x="433361" y="267013"/>
                  <a:pt x="433361" y="267013"/>
                </a:cubicBezTo>
                <a:cubicBezTo>
                  <a:pt x="433361" y="266718"/>
                  <a:pt x="433670" y="266718"/>
                  <a:pt x="433670" y="266718"/>
                </a:cubicBezTo>
                <a:lnTo>
                  <a:pt x="435280" y="266718"/>
                </a:lnTo>
                <a:lnTo>
                  <a:pt x="435280" y="263618"/>
                </a:lnTo>
                <a:lnTo>
                  <a:pt x="433058" y="263618"/>
                </a:lnTo>
                <a:cubicBezTo>
                  <a:pt x="431899" y="263618"/>
                  <a:pt x="431899" y="263618"/>
                  <a:pt x="431899" y="263618"/>
                </a:cubicBezTo>
                <a:cubicBezTo>
                  <a:pt x="431899" y="263618"/>
                  <a:pt x="431590" y="263323"/>
                  <a:pt x="431590" y="263323"/>
                </a:cubicBezTo>
                <a:cubicBezTo>
                  <a:pt x="431590" y="263028"/>
                  <a:pt x="431899" y="263028"/>
                  <a:pt x="431899" y="263028"/>
                </a:cubicBezTo>
                <a:lnTo>
                  <a:pt x="435280" y="263028"/>
                </a:lnTo>
                <a:lnTo>
                  <a:pt x="435311" y="263028"/>
                </a:lnTo>
                <a:lnTo>
                  <a:pt x="435311" y="259928"/>
                </a:lnTo>
                <a:lnTo>
                  <a:pt x="434827" y="259928"/>
                </a:lnTo>
                <a:cubicBezTo>
                  <a:pt x="433670" y="259928"/>
                  <a:pt x="433670" y="259928"/>
                  <a:pt x="433670" y="259928"/>
                </a:cubicBezTo>
                <a:cubicBezTo>
                  <a:pt x="433670" y="259928"/>
                  <a:pt x="433361" y="259633"/>
                  <a:pt x="433361" y="259633"/>
                </a:cubicBezTo>
                <a:cubicBezTo>
                  <a:pt x="433361" y="259338"/>
                  <a:pt x="433670" y="259338"/>
                  <a:pt x="433670" y="259338"/>
                </a:cubicBezTo>
                <a:lnTo>
                  <a:pt x="435311" y="259338"/>
                </a:lnTo>
                <a:lnTo>
                  <a:pt x="435311" y="255648"/>
                </a:lnTo>
                <a:lnTo>
                  <a:pt x="433058" y="255648"/>
                </a:lnTo>
                <a:cubicBezTo>
                  <a:pt x="431899" y="255648"/>
                  <a:pt x="431899" y="255648"/>
                  <a:pt x="431899" y="255648"/>
                </a:cubicBezTo>
                <a:cubicBezTo>
                  <a:pt x="431899" y="255648"/>
                  <a:pt x="431590" y="255648"/>
                  <a:pt x="431590" y="255353"/>
                </a:cubicBezTo>
                <a:cubicBezTo>
                  <a:pt x="431590" y="255058"/>
                  <a:pt x="431899" y="255058"/>
                  <a:pt x="431899" y="255058"/>
                </a:cubicBezTo>
                <a:lnTo>
                  <a:pt x="435311" y="255058"/>
                </a:lnTo>
                <a:lnTo>
                  <a:pt x="435311" y="251958"/>
                </a:lnTo>
                <a:lnTo>
                  <a:pt x="434827" y="251958"/>
                </a:lnTo>
                <a:cubicBezTo>
                  <a:pt x="433670" y="251958"/>
                  <a:pt x="433670" y="251958"/>
                  <a:pt x="433670" y="251958"/>
                </a:cubicBezTo>
                <a:cubicBezTo>
                  <a:pt x="433670" y="251958"/>
                  <a:pt x="433361" y="251958"/>
                  <a:pt x="433361" y="251663"/>
                </a:cubicBezTo>
                <a:cubicBezTo>
                  <a:pt x="433361" y="251663"/>
                  <a:pt x="433670" y="251368"/>
                  <a:pt x="433670" y="251368"/>
                </a:cubicBezTo>
                <a:lnTo>
                  <a:pt x="435311" y="251368"/>
                </a:lnTo>
                <a:lnTo>
                  <a:pt x="435311" y="247972"/>
                </a:lnTo>
                <a:lnTo>
                  <a:pt x="433058" y="247972"/>
                </a:lnTo>
                <a:cubicBezTo>
                  <a:pt x="431899" y="247972"/>
                  <a:pt x="431899" y="247972"/>
                  <a:pt x="431899" y="247972"/>
                </a:cubicBezTo>
                <a:cubicBezTo>
                  <a:pt x="431899" y="247972"/>
                  <a:pt x="431590" y="247972"/>
                  <a:pt x="431590" y="247677"/>
                </a:cubicBezTo>
                <a:cubicBezTo>
                  <a:pt x="431590" y="247677"/>
                  <a:pt x="431899" y="247382"/>
                  <a:pt x="431899" y="247382"/>
                </a:cubicBezTo>
                <a:lnTo>
                  <a:pt x="435311" y="247382"/>
                </a:lnTo>
                <a:lnTo>
                  <a:pt x="435311" y="245084"/>
                </a:lnTo>
                <a:lnTo>
                  <a:pt x="435311" y="244578"/>
                </a:lnTo>
                <a:lnTo>
                  <a:pt x="434827" y="244578"/>
                </a:lnTo>
                <a:cubicBezTo>
                  <a:pt x="433670" y="244578"/>
                  <a:pt x="433670" y="244578"/>
                  <a:pt x="433670" y="244578"/>
                </a:cubicBezTo>
                <a:cubicBezTo>
                  <a:pt x="433670" y="244578"/>
                  <a:pt x="433361" y="244283"/>
                  <a:pt x="433361" y="244283"/>
                </a:cubicBezTo>
                <a:cubicBezTo>
                  <a:pt x="433361" y="243987"/>
                  <a:pt x="433670" y="243692"/>
                  <a:pt x="433670" y="243692"/>
                </a:cubicBezTo>
                <a:lnTo>
                  <a:pt x="435311" y="243692"/>
                </a:lnTo>
                <a:lnTo>
                  <a:pt x="435311" y="240297"/>
                </a:lnTo>
                <a:lnTo>
                  <a:pt x="433058" y="240297"/>
                </a:lnTo>
                <a:cubicBezTo>
                  <a:pt x="431899" y="240297"/>
                  <a:pt x="431899" y="240297"/>
                  <a:pt x="431899" y="240297"/>
                </a:cubicBezTo>
                <a:cubicBezTo>
                  <a:pt x="431899" y="240297"/>
                  <a:pt x="431590" y="240297"/>
                  <a:pt x="431590" y="240002"/>
                </a:cubicBezTo>
                <a:cubicBezTo>
                  <a:pt x="431590" y="240002"/>
                  <a:pt x="431899" y="239707"/>
                  <a:pt x="431899" y="239707"/>
                </a:cubicBezTo>
                <a:lnTo>
                  <a:pt x="435311" y="239707"/>
                </a:lnTo>
                <a:lnTo>
                  <a:pt x="435311" y="236903"/>
                </a:lnTo>
                <a:lnTo>
                  <a:pt x="434827" y="236903"/>
                </a:lnTo>
                <a:cubicBezTo>
                  <a:pt x="433670" y="236903"/>
                  <a:pt x="433670" y="236903"/>
                  <a:pt x="433670" y="236903"/>
                </a:cubicBezTo>
                <a:cubicBezTo>
                  <a:pt x="433670" y="236903"/>
                  <a:pt x="433361" y="236608"/>
                  <a:pt x="433361" y="236312"/>
                </a:cubicBezTo>
                <a:cubicBezTo>
                  <a:pt x="433361" y="236312"/>
                  <a:pt x="433670" y="236017"/>
                  <a:pt x="433670" y="236017"/>
                </a:cubicBezTo>
                <a:lnTo>
                  <a:pt x="435311" y="236017"/>
                </a:lnTo>
                <a:lnTo>
                  <a:pt x="435311" y="235870"/>
                </a:lnTo>
                <a:cubicBezTo>
                  <a:pt x="435311" y="231990"/>
                  <a:pt x="435311" y="231990"/>
                  <a:pt x="435311" y="231990"/>
                </a:cubicBezTo>
                <a:cubicBezTo>
                  <a:pt x="434407" y="231376"/>
                  <a:pt x="433804" y="230454"/>
                  <a:pt x="433804" y="229225"/>
                </a:cubicBezTo>
                <a:cubicBezTo>
                  <a:pt x="433804" y="227073"/>
                  <a:pt x="435612" y="225537"/>
                  <a:pt x="437421" y="225537"/>
                </a:cubicBezTo>
                <a:close/>
                <a:moveTo>
                  <a:pt x="49373" y="225537"/>
                </a:moveTo>
                <a:cubicBezTo>
                  <a:pt x="50596" y="225537"/>
                  <a:pt x="51513" y="226455"/>
                  <a:pt x="51513" y="227679"/>
                </a:cubicBezTo>
                <a:cubicBezTo>
                  <a:pt x="51513" y="238083"/>
                  <a:pt x="51513" y="238083"/>
                  <a:pt x="51513" y="238083"/>
                </a:cubicBezTo>
                <a:lnTo>
                  <a:pt x="53826" y="238083"/>
                </a:lnTo>
                <a:cubicBezTo>
                  <a:pt x="55288" y="238083"/>
                  <a:pt x="55288" y="238083"/>
                  <a:pt x="55288" y="238083"/>
                </a:cubicBezTo>
                <a:cubicBezTo>
                  <a:pt x="56211" y="238083"/>
                  <a:pt x="56827" y="238394"/>
                  <a:pt x="56827" y="239327"/>
                </a:cubicBezTo>
                <a:cubicBezTo>
                  <a:pt x="56827" y="245548"/>
                  <a:pt x="56827" y="245548"/>
                  <a:pt x="56827" y="245548"/>
                </a:cubicBezTo>
                <a:cubicBezTo>
                  <a:pt x="56827" y="246170"/>
                  <a:pt x="56211" y="246792"/>
                  <a:pt x="55288" y="246792"/>
                </a:cubicBezTo>
                <a:lnTo>
                  <a:pt x="54053" y="246792"/>
                </a:lnTo>
                <a:cubicBezTo>
                  <a:pt x="55895" y="246792"/>
                  <a:pt x="57123" y="248014"/>
                  <a:pt x="57123" y="249848"/>
                </a:cubicBezTo>
                <a:cubicBezTo>
                  <a:pt x="57123" y="269714"/>
                  <a:pt x="57123" y="269714"/>
                  <a:pt x="57123" y="269714"/>
                </a:cubicBezTo>
                <a:cubicBezTo>
                  <a:pt x="57123" y="271547"/>
                  <a:pt x="55895" y="272770"/>
                  <a:pt x="54053" y="272770"/>
                </a:cubicBezTo>
                <a:cubicBezTo>
                  <a:pt x="44842" y="272770"/>
                  <a:pt x="44842" y="272770"/>
                  <a:pt x="44842" y="272770"/>
                </a:cubicBezTo>
                <a:cubicBezTo>
                  <a:pt x="43307" y="272770"/>
                  <a:pt x="41772" y="271547"/>
                  <a:pt x="41772" y="269714"/>
                </a:cubicBezTo>
                <a:cubicBezTo>
                  <a:pt x="41772" y="249848"/>
                  <a:pt x="41772" y="249848"/>
                  <a:pt x="41772" y="249848"/>
                </a:cubicBezTo>
                <a:cubicBezTo>
                  <a:pt x="41772" y="248014"/>
                  <a:pt x="43307" y="246792"/>
                  <a:pt x="44842" y="246792"/>
                </a:cubicBezTo>
                <a:lnTo>
                  <a:pt x="43593" y="246792"/>
                </a:lnTo>
                <a:cubicBezTo>
                  <a:pt x="42977" y="246792"/>
                  <a:pt x="42362" y="246170"/>
                  <a:pt x="42362" y="245548"/>
                </a:cubicBezTo>
                <a:cubicBezTo>
                  <a:pt x="42362" y="239327"/>
                  <a:pt x="42362" y="239327"/>
                  <a:pt x="42362" y="239327"/>
                </a:cubicBezTo>
                <a:cubicBezTo>
                  <a:pt x="42362" y="238394"/>
                  <a:pt x="42977" y="238083"/>
                  <a:pt x="43593" y="238083"/>
                </a:cubicBezTo>
                <a:lnTo>
                  <a:pt x="47233" y="238083"/>
                </a:lnTo>
                <a:cubicBezTo>
                  <a:pt x="47233" y="227679"/>
                  <a:pt x="47233" y="227679"/>
                  <a:pt x="47233" y="227679"/>
                </a:cubicBezTo>
                <a:cubicBezTo>
                  <a:pt x="47233" y="226455"/>
                  <a:pt x="48150" y="225537"/>
                  <a:pt x="49373" y="225537"/>
                </a:cubicBezTo>
                <a:close/>
                <a:moveTo>
                  <a:pt x="14421" y="225537"/>
                </a:moveTo>
                <a:cubicBezTo>
                  <a:pt x="24853" y="225537"/>
                  <a:pt x="24853" y="225537"/>
                  <a:pt x="24853" y="225537"/>
                </a:cubicBezTo>
                <a:cubicBezTo>
                  <a:pt x="26694" y="225537"/>
                  <a:pt x="28535" y="227069"/>
                  <a:pt x="28535" y="228908"/>
                </a:cubicBezTo>
                <a:cubicBezTo>
                  <a:pt x="28535" y="235956"/>
                  <a:pt x="28535" y="235956"/>
                  <a:pt x="28535" y="235956"/>
                </a:cubicBezTo>
                <a:cubicBezTo>
                  <a:pt x="10739" y="235956"/>
                  <a:pt x="10739" y="235956"/>
                  <a:pt x="10739" y="235956"/>
                </a:cubicBezTo>
                <a:cubicBezTo>
                  <a:pt x="10739" y="229214"/>
                  <a:pt x="10739" y="229214"/>
                  <a:pt x="10739" y="229214"/>
                </a:cubicBezTo>
                <a:cubicBezTo>
                  <a:pt x="10739" y="227069"/>
                  <a:pt x="12580" y="225537"/>
                  <a:pt x="14421" y="225537"/>
                </a:cubicBezTo>
                <a:close/>
                <a:moveTo>
                  <a:pt x="134460" y="225001"/>
                </a:moveTo>
                <a:cubicBezTo>
                  <a:pt x="128631" y="225001"/>
                  <a:pt x="123723" y="229898"/>
                  <a:pt x="123723" y="235712"/>
                </a:cubicBezTo>
                <a:cubicBezTo>
                  <a:pt x="123723" y="241833"/>
                  <a:pt x="128631" y="246424"/>
                  <a:pt x="134460" y="246424"/>
                </a:cubicBezTo>
                <a:cubicBezTo>
                  <a:pt x="140595" y="246424"/>
                  <a:pt x="145504" y="241833"/>
                  <a:pt x="145504" y="235712"/>
                </a:cubicBezTo>
                <a:cubicBezTo>
                  <a:pt x="145504" y="229898"/>
                  <a:pt x="140595" y="225001"/>
                  <a:pt x="134460" y="225001"/>
                </a:cubicBezTo>
                <a:close/>
                <a:moveTo>
                  <a:pt x="133846" y="223471"/>
                </a:moveTo>
                <a:cubicBezTo>
                  <a:pt x="150106" y="223471"/>
                  <a:pt x="164831" y="229592"/>
                  <a:pt x="173728" y="239385"/>
                </a:cubicBezTo>
                <a:cubicBezTo>
                  <a:pt x="173728" y="239385"/>
                  <a:pt x="173728" y="239385"/>
                  <a:pt x="163297" y="256829"/>
                </a:cubicBezTo>
                <a:cubicBezTo>
                  <a:pt x="155934" y="251626"/>
                  <a:pt x="145504" y="248260"/>
                  <a:pt x="133846" y="248260"/>
                </a:cubicBezTo>
                <a:cubicBezTo>
                  <a:pt x="123109" y="248260"/>
                  <a:pt x="113292" y="251320"/>
                  <a:pt x="106236" y="255911"/>
                </a:cubicBezTo>
                <a:cubicBezTo>
                  <a:pt x="106236" y="255911"/>
                  <a:pt x="106236" y="255911"/>
                  <a:pt x="95499" y="237855"/>
                </a:cubicBezTo>
                <a:cubicBezTo>
                  <a:pt x="104702" y="228980"/>
                  <a:pt x="118507" y="223471"/>
                  <a:pt x="133846" y="223471"/>
                </a:cubicBezTo>
                <a:close/>
                <a:moveTo>
                  <a:pt x="83458" y="219838"/>
                </a:moveTo>
                <a:cubicBezTo>
                  <a:pt x="85340" y="219570"/>
                  <a:pt x="87031" y="219877"/>
                  <a:pt x="87799" y="221869"/>
                </a:cubicBezTo>
                <a:cubicBezTo>
                  <a:pt x="88414" y="224015"/>
                  <a:pt x="87799" y="226468"/>
                  <a:pt x="86877" y="228613"/>
                </a:cubicBezTo>
                <a:cubicBezTo>
                  <a:pt x="86262" y="229840"/>
                  <a:pt x="85648" y="230453"/>
                  <a:pt x="85033" y="231372"/>
                </a:cubicBezTo>
                <a:cubicBezTo>
                  <a:pt x="83804" y="233518"/>
                  <a:pt x="84726" y="239343"/>
                  <a:pt x="84418" y="241795"/>
                </a:cubicBezTo>
                <a:cubicBezTo>
                  <a:pt x="84111" y="244248"/>
                  <a:pt x="83804" y="245474"/>
                  <a:pt x="83189" y="248233"/>
                </a:cubicBezTo>
                <a:cubicBezTo>
                  <a:pt x="82574" y="250072"/>
                  <a:pt x="81960" y="251912"/>
                  <a:pt x="81345" y="252525"/>
                </a:cubicBezTo>
                <a:cubicBezTo>
                  <a:pt x="81038" y="252525"/>
                  <a:pt x="80423" y="253138"/>
                  <a:pt x="80423" y="252831"/>
                </a:cubicBezTo>
                <a:cubicBezTo>
                  <a:pt x="79808" y="251605"/>
                  <a:pt x="79808" y="247007"/>
                  <a:pt x="79501" y="243328"/>
                </a:cubicBezTo>
                <a:cubicBezTo>
                  <a:pt x="79193" y="242102"/>
                  <a:pt x="78886" y="239956"/>
                  <a:pt x="78271" y="238423"/>
                </a:cubicBezTo>
                <a:cubicBezTo>
                  <a:pt x="77964" y="238117"/>
                  <a:pt x="77657" y="237810"/>
                  <a:pt x="77349" y="237810"/>
                </a:cubicBezTo>
                <a:cubicBezTo>
                  <a:pt x="76735" y="237810"/>
                  <a:pt x="76427" y="238117"/>
                  <a:pt x="76120" y="238423"/>
                </a:cubicBezTo>
                <a:cubicBezTo>
                  <a:pt x="75505" y="239956"/>
                  <a:pt x="75198" y="242102"/>
                  <a:pt x="75198" y="243328"/>
                </a:cubicBezTo>
                <a:cubicBezTo>
                  <a:pt x="74583" y="247007"/>
                  <a:pt x="74583" y="251605"/>
                  <a:pt x="73969" y="252831"/>
                </a:cubicBezTo>
                <a:cubicBezTo>
                  <a:pt x="73969" y="253138"/>
                  <a:pt x="73354" y="252525"/>
                  <a:pt x="73047" y="252525"/>
                </a:cubicBezTo>
                <a:cubicBezTo>
                  <a:pt x="72432" y="251912"/>
                  <a:pt x="71817" y="250072"/>
                  <a:pt x="71510" y="248233"/>
                </a:cubicBezTo>
                <a:cubicBezTo>
                  <a:pt x="70588" y="245474"/>
                  <a:pt x="70281" y="244248"/>
                  <a:pt x="69973" y="241795"/>
                </a:cubicBezTo>
                <a:cubicBezTo>
                  <a:pt x="69973" y="239343"/>
                  <a:pt x="70588" y="233518"/>
                  <a:pt x="69359" y="231372"/>
                </a:cubicBezTo>
                <a:cubicBezTo>
                  <a:pt x="68744" y="230453"/>
                  <a:pt x="68129" y="229840"/>
                  <a:pt x="67514" y="228613"/>
                </a:cubicBezTo>
                <a:cubicBezTo>
                  <a:pt x="66592" y="226468"/>
                  <a:pt x="65978" y="224015"/>
                  <a:pt x="66900" y="221869"/>
                </a:cubicBezTo>
                <a:cubicBezTo>
                  <a:pt x="68436" y="217271"/>
                  <a:pt x="73969" y="221869"/>
                  <a:pt x="77964" y="221256"/>
                </a:cubicBezTo>
                <a:cubicBezTo>
                  <a:pt x="79501" y="220950"/>
                  <a:pt x="81576" y="220106"/>
                  <a:pt x="83458" y="219838"/>
                </a:cubicBezTo>
                <a:close/>
                <a:moveTo>
                  <a:pt x="399708" y="215205"/>
                </a:moveTo>
                <a:lnTo>
                  <a:pt x="407089" y="228636"/>
                </a:lnTo>
                <a:lnTo>
                  <a:pt x="416831" y="228636"/>
                </a:lnTo>
                <a:lnTo>
                  <a:pt x="417716" y="238083"/>
                </a:lnTo>
                <a:lnTo>
                  <a:pt x="418371" y="238083"/>
                </a:lnTo>
                <a:cubicBezTo>
                  <a:pt x="420904" y="238083"/>
                  <a:pt x="420904" y="238083"/>
                  <a:pt x="420904" y="238083"/>
                </a:cubicBezTo>
                <a:cubicBezTo>
                  <a:pt x="421825" y="238083"/>
                  <a:pt x="422439" y="238703"/>
                  <a:pt x="422439" y="239323"/>
                </a:cubicBezTo>
                <a:cubicBezTo>
                  <a:pt x="422439" y="239943"/>
                  <a:pt x="422439" y="239943"/>
                  <a:pt x="422439" y="239943"/>
                </a:cubicBezTo>
                <a:cubicBezTo>
                  <a:pt x="422439" y="240873"/>
                  <a:pt x="421825" y="241183"/>
                  <a:pt x="420904" y="241183"/>
                </a:cubicBezTo>
                <a:lnTo>
                  <a:pt x="420223" y="241183"/>
                </a:lnTo>
                <a:cubicBezTo>
                  <a:pt x="422677" y="244250"/>
                  <a:pt x="423597" y="247318"/>
                  <a:pt x="424210" y="250692"/>
                </a:cubicBezTo>
                <a:cubicBezTo>
                  <a:pt x="424210" y="250692"/>
                  <a:pt x="424210" y="250692"/>
                  <a:pt x="424210" y="314800"/>
                </a:cubicBezTo>
                <a:cubicBezTo>
                  <a:pt x="424210" y="317561"/>
                  <a:pt x="422063" y="319708"/>
                  <a:pt x="419610" y="319708"/>
                </a:cubicBezTo>
                <a:cubicBezTo>
                  <a:pt x="419610" y="319708"/>
                  <a:pt x="419610" y="319708"/>
                  <a:pt x="410409" y="319708"/>
                </a:cubicBezTo>
                <a:cubicBezTo>
                  <a:pt x="410409" y="319708"/>
                  <a:pt x="410409" y="319708"/>
                  <a:pt x="401209" y="319708"/>
                </a:cubicBezTo>
                <a:cubicBezTo>
                  <a:pt x="398755" y="319708"/>
                  <a:pt x="396608" y="317561"/>
                  <a:pt x="396608" y="314800"/>
                </a:cubicBezTo>
                <a:cubicBezTo>
                  <a:pt x="396608" y="314800"/>
                  <a:pt x="396608" y="314800"/>
                  <a:pt x="396608" y="250692"/>
                </a:cubicBezTo>
                <a:cubicBezTo>
                  <a:pt x="397222" y="247318"/>
                  <a:pt x="398448" y="244250"/>
                  <a:pt x="400595" y="241183"/>
                </a:cubicBezTo>
                <a:lnTo>
                  <a:pt x="400641" y="241183"/>
                </a:lnTo>
                <a:cubicBezTo>
                  <a:pt x="400027" y="241183"/>
                  <a:pt x="399413" y="240873"/>
                  <a:pt x="399413" y="239943"/>
                </a:cubicBezTo>
                <a:cubicBezTo>
                  <a:pt x="399413" y="239323"/>
                  <a:pt x="399413" y="239323"/>
                  <a:pt x="399413" y="239323"/>
                </a:cubicBezTo>
                <a:cubicBezTo>
                  <a:pt x="399413" y="238703"/>
                  <a:pt x="400027" y="238083"/>
                  <a:pt x="400641" y="238083"/>
                </a:cubicBezTo>
                <a:lnTo>
                  <a:pt x="403694" y="238083"/>
                </a:lnTo>
                <a:lnTo>
                  <a:pt x="404284" y="229522"/>
                </a:lnTo>
                <a:lnTo>
                  <a:pt x="397494" y="216386"/>
                </a:lnTo>
                <a:close/>
                <a:moveTo>
                  <a:pt x="136532" y="213286"/>
                </a:moveTo>
                <a:lnTo>
                  <a:pt x="136975" y="213286"/>
                </a:lnTo>
                <a:lnTo>
                  <a:pt x="137270" y="213286"/>
                </a:lnTo>
                <a:lnTo>
                  <a:pt x="137270" y="213876"/>
                </a:lnTo>
                <a:lnTo>
                  <a:pt x="136532" y="213876"/>
                </a:lnTo>
                <a:close/>
                <a:moveTo>
                  <a:pt x="434047" y="212400"/>
                </a:moveTo>
                <a:lnTo>
                  <a:pt x="434047" y="214023"/>
                </a:lnTo>
                <a:cubicBezTo>
                  <a:pt x="434047" y="216092"/>
                  <a:pt x="434047" y="216092"/>
                  <a:pt x="434047" y="216092"/>
                </a:cubicBezTo>
                <a:cubicBezTo>
                  <a:pt x="434047" y="216705"/>
                  <a:pt x="434047" y="217318"/>
                  <a:pt x="433433" y="217932"/>
                </a:cubicBezTo>
                <a:cubicBezTo>
                  <a:pt x="433126" y="218545"/>
                  <a:pt x="432820" y="218851"/>
                  <a:pt x="432206" y="219158"/>
                </a:cubicBezTo>
                <a:cubicBezTo>
                  <a:pt x="430979" y="219771"/>
                  <a:pt x="430059" y="220691"/>
                  <a:pt x="429446" y="221917"/>
                </a:cubicBezTo>
                <a:cubicBezTo>
                  <a:pt x="428832" y="222837"/>
                  <a:pt x="428525" y="224063"/>
                  <a:pt x="428525" y="225596"/>
                </a:cubicBezTo>
                <a:cubicBezTo>
                  <a:pt x="428525" y="267445"/>
                  <a:pt x="428525" y="288370"/>
                  <a:pt x="428525" y="298832"/>
                </a:cubicBezTo>
                <a:lnTo>
                  <a:pt x="428525" y="299252"/>
                </a:lnTo>
                <a:lnTo>
                  <a:pt x="440799" y="306253"/>
                </a:lnTo>
                <a:lnTo>
                  <a:pt x="446316" y="304876"/>
                </a:lnTo>
                <a:lnTo>
                  <a:pt x="446316" y="281667"/>
                </a:lnTo>
                <a:cubicBezTo>
                  <a:pt x="446316" y="225596"/>
                  <a:pt x="446316" y="225596"/>
                  <a:pt x="446316" y="225596"/>
                </a:cubicBezTo>
                <a:cubicBezTo>
                  <a:pt x="446316" y="224370"/>
                  <a:pt x="446009" y="223144"/>
                  <a:pt x="445396" y="221917"/>
                </a:cubicBezTo>
                <a:cubicBezTo>
                  <a:pt x="444782" y="220691"/>
                  <a:pt x="443862" y="219771"/>
                  <a:pt x="442635" y="219158"/>
                </a:cubicBezTo>
                <a:cubicBezTo>
                  <a:pt x="442022" y="218851"/>
                  <a:pt x="441715" y="218545"/>
                  <a:pt x="441408" y="217932"/>
                </a:cubicBezTo>
                <a:cubicBezTo>
                  <a:pt x="441102" y="217625"/>
                  <a:pt x="440795" y="217012"/>
                  <a:pt x="440795" y="216399"/>
                </a:cubicBezTo>
                <a:lnTo>
                  <a:pt x="440795" y="212400"/>
                </a:lnTo>
                <a:lnTo>
                  <a:pt x="434764" y="212400"/>
                </a:lnTo>
                <a:close/>
                <a:moveTo>
                  <a:pt x="307625" y="212400"/>
                </a:moveTo>
                <a:cubicBezTo>
                  <a:pt x="309763" y="213013"/>
                  <a:pt x="309763" y="213320"/>
                  <a:pt x="311595" y="214546"/>
                </a:cubicBezTo>
                <a:cubicBezTo>
                  <a:pt x="315870" y="220065"/>
                  <a:pt x="313733" y="230182"/>
                  <a:pt x="313427" y="236928"/>
                </a:cubicBezTo>
                <a:cubicBezTo>
                  <a:pt x="313427" y="236928"/>
                  <a:pt x="313427" y="236928"/>
                  <a:pt x="312816" y="236928"/>
                </a:cubicBezTo>
                <a:cubicBezTo>
                  <a:pt x="312816" y="236928"/>
                  <a:pt x="312816" y="236928"/>
                  <a:pt x="312816" y="246432"/>
                </a:cubicBezTo>
                <a:cubicBezTo>
                  <a:pt x="313427" y="246432"/>
                  <a:pt x="313733" y="246432"/>
                  <a:pt x="314038" y="246739"/>
                </a:cubicBezTo>
                <a:cubicBezTo>
                  <a:pt x="314343" y="247045"/>
                  <a:pt x="314649" y="247658"/>
                  <a:pt x="314343" y="247965"/>
                </a:cubicBezTo>
                <a:cubicBezTo>
                  <a:pt x="314038" y="258389"/>
                  <a:pt x="313733" y="268813"/>
                  <a:pt x="313427" y="279238"/>
                </a:cubicBezTo>
                <a:cubicBezTo>
                  <a:pt x="313427" y="280158"/>
                  <a:pt x="313733" y="281077"/>
                  <a:pt x="313733" y="282304"/>
                </a:cubicBezTo>
                <a:cubicBezTo>
                  <a:pt x="313733" y="282304"/>
                  <a:pt x="313733" y="282304"/>
                  <a:pt x="315259" y="308978"/>
                </a:cubicBezTo>
                <a:cubicBezTo>
                  <a:pt x="315259" y="310817"/>
                  <a:pt x="313122" y="311737"/>
                  <a:pt x="311290" y="311737"/>
                </a:cubicBezTo>
                <a:cubicBezTo>
                  <a:pt x="309457" y="311737"/>
                  <a:pt x="307014" y="310817"/>
                  <a:pt x="307014" y="308978"/>
                </a:cubicBezTo>
                <a:cubicBezTo>
                  <a:pt x="307625" y="299780"/>
                  <a:pt x="308236" y="290888"/>
                  <a:pt x="308541" y="281997"/>
                </a:cubicBezTo>
                <a:cubicBezTo>
                  <a:pt x="308541" y="281077"/>
                  <a:pt x="308541" y="280158"/>
                  <a:pt x="308541" y="279238"/>
                </a:cubicBezTo>
                <a:cubicBezTo>
                  <a:pt x="308541" y="279238"/>
                  <a:pt x="308541" y="279238"/>
                  <a:pt x="307930" y="247965"/>
                </a:cubicBezTo>
                <a:cubicBezTo>
                  <a:pt x="307625" y="247658"/>
                  <a:pt x="307930" y="247045"/>
                  <a:pt x="308236" y="246739"/>
                </a:cubicBezTo>
                <a:cubicBezTo>
                  <a:pt x="308541" y="246432"/>
                  <a:pt x="308847" y="246432"/>
                  <a:pt x="309457" y="246432"/>
                </a:cubicBezTo>
                <a:cubicBezTo>
                  <a:pt x="309457" y="246432"/>
                  <a:pt x="309457" y="246432"/>
                  <a:pt x="309457" y="236928"/>
                </a:cubicBezTo>
                <a:cubicBezTo>
                  <a:pt x="309457" y="236928"/>
                  <a:pt x="309457" y="236928"/>
                  <a:pt x="309152" y="236928"/>
                </a:cubicBezTo>
                <a:cubicBezTo>
                  <a:pt x="308847" y="235088"/>
                  <a:pt x="308541" y="233248"/>
                  <a:pt x="308236" y="231102"/>
                </a:cubicBezTo>
                <a:cubicBezTo>
                  <a:pt x="307625" y="227730"/>
                  <a:pt x="307320" y="225583"/>
                  <a:pt x="307320" y="221904"/>
                </a:cubicBezTo>
                <a:cubicBezTo>
                  <a:pt x="307014" y="219452"/>
                  <a:pt x="307320" y="217305"/>
                  <a:pt x="307320" y="215159"/>
                </a:cubicBezTo>
                <a:cubicBezTo>
                  <a:pt x="307320" y="214239"/>
                  <a:pt x="307625" y="213320"/>
                  <a:pt x="307625" y="212400"/>
                </a:cubicBezTo>
                <a:close/>
                <a:moveTo>
                  <a:pt x="68707" y="212130"/>
                </a:moveTo>
                <a:cubicBezTo>
                  <a:pt x="68400" y="212130"/>
                  <a:pt x="68400" y="212437"/>
                  <a:pt x="68400" y="212437"/>
                </a:cubicBezTo>
                <a:cubicBezTo>
                  <a:pt x="68400" y="212745"/>
                  <a:pt x="68400" y="212745"/>
                  <a:pt x="68707" y="212745"/>
                </a:cubicBezTo>
                <a:lnTo>
                  <a:pt x="81921" y="212745"/>
                </a:lnTo>
                <a:cubicBezTo>
                  <a:pt x="82228" y="212745"/>
                  <a:pt x="82228" y="212745"/>
                  <a:pt x="82228" y="212437"/>
                </a:cubicBezTo>
                <a:cubicBezTo>
                  <a:pt x="82228" y="212437"/>
                  <a:pt x="82228" y="212130"/>
                  <a:pt x="81921" y="212130"/>
                </a:cubicBezTo>
                <a:cubicBezTo>
                  <a:pt x="81921" y="212130"/>
                  <a:pt x="81921" y="212130"/>
                  <a:pt x="68707" y="212130"/>
                </a:cubicBezTo>
                <a:close/>
                <a:moveTo>
                  <a:pt x="151905" y="212052"/>
                </a:moveTo>
                <a:lnTo>
                  <a:pt x="155056" y="215205"/>
                </a:lnTo>
                <a:lnTo>
                  <a:pt x="156679" y="213581"/>
                </a:lnTo>
                <a:lnTo>
                  <a:pt x="153462" y="213581"/>
                </a:lnTo>
                <a:cubicBezTo>
                  <a:pt x="153152" y="213581"/>
                  <a:pt x="152843" y="213275"/>
                  <a:pt x="152843" y="212969"/>
                </a:cubicBezTo>
                <a:cubicBezTo>
                  <a:pt x="152843" y="212052"/>
                  <a:pt x="152843" y="212052"/>
                  <a:pt x="152843" y="212052"/>
                </a:cubicBezTo>
                <a:close/>
                <a:moveTo>
                  <a:pt x="138746" y="211809"/>
                </a:moveTo>
                <a:lnTo>
                  <a:pt x="138451" y="213285"/>
                </a:lnTo>
                <a:lnTo>
                  <a:pt x="139927" y="213285"/>
                </a:lnTo>
                <a:lnTo>
                  <a:pt x="140222" y="211809"/>
                </a:lnTo>
                <a:close/>
                <a:moveTo>
                  <a:pt x="134170" y="211514"/>
                </a:moveTo>
                <a:lnTo>
                  <a:pt x="134170" y="211809"/>
                </a:lnTo>
                <a:lnTo>
                  <a:pt x="134170" y="213285"/>
                </a:lnTo>
                <a:lnTo>
                  <a:pt x="133580" y="213581"/>
                </a:lnTo>
                <a:lnTo>
                  <a:pt x="133580" y="213285"/>
                </a:lnTo>
                <a:lnTo>
                  <a:pt x="133580" y="211809"/>
                </a:lnTo>
                <a:close/>
                <a:moveTo>
                  <a:pt x="138451" y="211219"/>
                </a:moveTo>
                <a:lnTo>
                  <a:pt x="138746" y="211219"/>
                </a:lnTo>
                <a:lnTo>
                  <a:pt x="140665" y="211219"/>
                </a:lnTo>
                <a:lnTo>
                  <a:pt x="140665" y="211514"/>
                </a:lnTo>
                <a:lnTo>
                  <a:pt x="140961" y="211514"/>
                </a:lnTo>
                <a:lnTo>
                  <a:pt x="140961" y="211809"/>
                </a:lnTo>
                <a:lnTo>
                  <a:pt x="140665" y="213285"/>
                </a:lnTo>
                <a:lnTo>
                  <a:pt x="140222" y="213581"/>
                </a:lnTo>
                <a:lnTo>
                  <a:pt x="139927" y="213876"/>
                </a:lnTo>
                <a:lnTo>
                  <a:pt x="138451" y="213876"/>
                </a:lnTo>
                <a:lnTo>
                  <a:pt x="138156" y="213581"/>
                </a:lnTo>
                <a:lnTo>
                  <a:pt x="137861" y="213285"/>
                </a:lnTo>
                <a:lnTo>
                  <a:pt x="138156" y="211809"/>
                </a:lnTo>
                <a:lnTo>
                  <a:pt x="138451" y="211514"/>
                </a:lnTo>
                <a:close/>
                <a:moveTo>
                  <a:pt x="134170" y="211219"/>
                </a:moveTo>
                <a:lnTo>
                  <a:pt x="134465" y="211219"/>
                </a:lnTo>
                <a:lnTo>
                  <a:pt x="135941" y="211219"/>
                </a:lnTo>
                <a:lnTo>
                  <a:pt x="136237" y="211219"/>
                </a:lnTo>
                <a:lnTo>
                  <a:pt x="136237" y="211514"/>
                </a:lnTo>
                <a:lnTo>
                  <a:pt x="136532" y="211809"/>
                </a:lnTo>
                <a:lnTo>
                  <a:pt x="136237" y="213285"/>
                </a:lnTo>
                <a:lnTo>
                  <a:pt x="135941" y="213581"/>
                </a:lnTo>
                <a:lnTo>
                  <a:pt x="135646" y="213876"/>
                </a:lnTo>
                <a:lnTo>
                  <a:pt x="135351" y="213876"/>
                </a:lnTo>
                <a:lnTo>
                  <a:pt x="133875" y="213876"/>
                </a:lnTo>
                <a:lnTo>
                  <a:pt x="133875" y="213581"/>
                </a:lnTo>
                <a:lnTo>
                  <a:pt x="134170" y="213285"/>
                </a:lnTo>
                <a:lnTo>
                  <a:pt x="135646" y="213285"/>
                </a:lnTo>
                <a:lnTo>
                  <a:pt x="135941" y="211809"/>
                </a:lnTo>
                <a:lnTo>
                  <a:pt x="134465" y="211809"/>
                </a:lnTo>
                <a:lnTo>
                  <a:pt x="134170" y="211514"/>
                </a:lnTo>
                <a:close/>
                <a:moveTo>
                  <a:pt x="130481" y="211219"/>
                </a:moveTo>
                <a:lnTo>
                  <a:pt x="131071" y="211219"/>
                </a:lnTo>
                <a:lnTo>
                  <a:pt x="132547" y="211219"/>
                </a:lnTo>
                <a:lnTo>
                  <a:pt x="132990" y="211219"/>
                </a:lnTo>
                <a:lnTo>
                  <a:pt x="132990" y="211514"/>
                </a:lnTo>
                <a:lnTo>
                  <a:pt x="133286" y="211809"/>
                </a:lnTo>
                <a:lnTo>
                  <a:pt x="132990" y="213285"/>
                </a:lnTo>
                <a:lnTo>
                  <a:pt x="132547" y="213581"/>
                </a:lnTo>
                <a:lnTo>
                  <a:pt x="132252" y="213876"/>
                </a:lnTo>
                <a:lnTo>
                  <a:pt x="130481" y="213876"/>
                </a:lnTo>
                <a:lnTo>
                  <a:pt x="130186" y="213581"/>
                </a:lnTo>
                <a:lnTo>
                  <a:pt x="130481" y="213285"/>
                </a:lnTo>
                <a:lnTo>
                  <a:pt x="132252" y="213285"/>
                </a:lnTo>
                <a:lnTo>
                  <a:pt x="132547" y="211809"/>
                </a:lnTo>
                <a:lnTo>
                  <a:pt x="130776" y="211809"/>
                </a:lnTo>
                <a:lnTo>
                  <a:pt x="130481" y="211514"/>
                </a:lnTo>
                <a:close/>
                <a:moveTo>
                  <a:pt x="157492" y="210263"/>
                </a:moveTo>
                <a:lnTo>
                  <a:pt x="157492" y="212767"/>
                </a:lnTo>
                <a:lnTo>
                  <a:pt x="158743" y="211515"/>
                </a:lnTo>
                <a:close/>
                <a:moveTo>
                  <a:pt x="152843" y="210039"/>
                </a:moveTo>
                <a:lnTo>
                  <a:pt x="152053" y="210829"/>
                </a:lnTo>
                <a:lnTo>
                  <a:pt x="152843" y="210829"/>
                </a:lnTo>
                <a:close/>
                <a:moveTo>
                  <a:pt x="138746" y="209005"/>
                </a:moveTo>
                <a:lnTo>
                  <a:pt x="139042" y="209300"/>
                </a:lnTo>
                <a:lnTo>
                  <a:pt x="138746" y="210924"/>
                </a:lnTo>
                <a:lnTo>
                  <a:pt x="138451" y="211219"/>
                </a:lnTo>
                <a:lnTo>
                  <a:pt x="138156" y="210924"/>
                </a:lnTo>
                <a:lnTo>
                  <a:pt x="138451" y="209300"/>
                </a:lnTo>
                <a:close/>
                <a:moveTo>
                  <a:pt x="139337" y="208710"/>
                </a:moveTo>
                <a:lnTo>
                  <a:pt x="140961" y="208710"/>
                </a:lnTo>
                <a:lnTo>
                  <a:pt x="141256" y="209005"/>
                </a:lnTo>
                <a:lnTo>
                  <a:pt x="140961" y="209300"/>
                </a:lnTo>
                <a:lnTo>
                  <a:pt x="139042" y="209300"/>
                </a:lnTo>
                <a:lnTo>
                  <a:pt x="139042" y="209005"/>
                </a:lnTo>
                <a:close/>
                <a:moveTo>
                  <a:pt x="134761" y="208710"/>
                </a:moveTo>
                <a:lnTo>
                  <a:pt x="136532" y="208710"/>
                </a:lnTo>
                <a:lnTo>
                  <a:pt x="136975" y="209005"/>
                </a:lnTo>
                <a:lnTo>
                  <a:pt x="136532" y="209300"/>
                </a:lnTo>
                <a:lnTo>
                  <a:pt x="134761" y="209300"/>
                </a:lnTo>
                <a:lnTo>
                  <a:pt x="134465" y="210924"/>
                </a:lnTo>
                <a:lnTo>
                  <a:pt x="134170" y="211219"/>
                </a:lnTo>
                <a:lnTo>
                  <a:pt x="133875" y="210924"/>
                </a:lnTo>
                <a:lnTo>
                  <a:pt x="134170" y="209300"/>
                </a:lnTo>
                <a:lnTo>
                  <a:pt x="134465" y="209005"/>
                </a:lnTo>
                <a:close/>
                <a:moveTo>
                  <a:pt x="131367" y="208710"/>
                </a:moveTo>
                <a:lnTo>
                  <a:pt x="133286" y="208710"/>
                </a:lnTo>
                <a:lnTo>
                  <a:pt x="133286" y="209005"/>
                </a:lnTo>
                <a:lnTo>
                  <a:pt x="133581" y="209005"/>
                </a:lnTo>
                <a:lnTo>
                  <a:pt x="133581" y="209300"/>
                </a:lnTo>
                <a:lnTo>
                  <a:pt x="133286" y="210924"/>
                </a:lnTo>
                <a:lnTo>
                  <a:pt x="132990" y="211219"/>
                </a:lnTo>
                <a:lnTo>
                  <a:pt x="132547" y="210924"/>
                </a:lnTo>
                <a:lnTo>
                  <a:pt x="132990" y="209300"/>
                </a:lnTo>
                <a:lnTo>
                  <a:pt x="131367" y="209300"/>
                </a:lnTo>
                <a:lnTo>
                  <a:pt x="131071" y="209005"/>
                </a:lnTo>
                <a:close/>
                <a:moveTo>
                  <a:pt x="155056" y="207825"/>
                </a:moveTo>
                <a:lnTo>
                  <a:pt x="153581" y="209301"/>
                </a:lnTo>
                <a:lnTo>
                  <a:pt x="156531" y="209301"/>
                </a:lnTo>
                <a:close/>
                <a:moveTo>
                  <a:pt x="128629" y="207825"/>
                </a:moveTo>
                <a:cubicBezTo>
                  <a:pt x="128014" y="207825"/>
                  <a:pt x="127400" y="208132"/>
                  <a:pt x="127400" y="208747"/>
                </a:cubicBezTo>
                <a:cubicBezTo>
                  <a:pt x="127400" y="208747"/>
                  <a:pt x="127400" y="208747"/>
                  <a:pt x="127400" y="214282"/>
                </a:cubicBezTo>
                <a:cubicBezTo>
                  <a:pt x="127400" y="214590"/>
                  <a:pt x="128014" y="215205"/>
                  <a:pt x="128629" y="215205"/>
                </a:cubicBezTo>
                <a:cubicBezTo>
                  <a:pt x="128629" y="215205"/>
                  <a:pt x="128629" y="215205"/>
                  <a:pt x="142764" y="215205"/>
                </a:cubicBezTo>
                <a:cubicBezTo>
                  <a:pt x="143379" y="215205"/>
                  <a:pt x="143993" y="214590"/>
                  <a:pt x="143993" y="214282"/>
                </a:cubicBezTo>
                <a:cubicBezTo>
                  <a:pt x="143993" y="214282"/>
                  <a:pt x="143993" y="214282"/>
                  <a:pt x="143993" y="208747"/>
                </a:cubicBezTo>
                <a:cubicBezTo>
                  <a:pt x="143993" y="208132"/>
                  <a:pt x="143379" y="207825"/>
                  <a:pt x="142764" y="207825"/>
                </a:cubicBezTo>
                <a:cubicBezTo>
                  <a:pt x="142764" y="207825"/>
                  <a:pt x="142764" y="207825"/>
                  <a:pt x="128629" y="207825"/>
                </a:cubicBezTo>
                <a:close/>
                <a:moveTo>
                  <a:pt x="191847" y="205020"/>
                </a:moveTo>
                <a:cubicBezTo>
                  <a:pt x="191847" y="205020"/>
                  <a:pt x="192462" y="205020"/>
                  <a:pt x="192462" y="205325"/>
                </a:cubicBezTo>
                <a:cubicBezTo>
                  <a:pt x="192769" y="205630"/>
                  <a:pt x="192462" y="205935"/>
                  <a:pt x="192154" y="206240"/>
                </a:cubicBezTo>
                <a:cubicBezTo>
                  <a:pt x="191847" y="206240"/>
                  <a:pt x="191847" y="206545"/>
                  <a:pt x="191847" y="207155"/>
                </a:cubicBezTo>
                <a:cubicBezTo>
                  <a:pt x="191847" y="207460"/>
                  <a:pt x="191847" y="208071"/>
                  <a:pt x="191539" y="208681"/>
                </a:cubicBezTo>
                <a:cubicBezTo>
                  <a:pt x="191232" y="208986"/>
                  <a:pt x="190924" y="208986"/>
                  <a:pt x="190617" y="209291"/>
                </a:cubicBezTo>
                <a:cubicBezTo>
                  <a:pt x="190309" y="209291"/>
                  <a:pt x="190309" y="209291"/>
                  <a:pt x="190002" y="209596"/>
                </a:cubicBezTo>
                <a:cubicBezTo>
                  <a:pt x="189694" y="209596"/>
                  <a:pt x="189387" y="209596"/>
                  <a:pt x="189387" y="209291"/>
                </a:cubicBezTo>
                <a:cubicBezTo>
                  <a:pt x="189079" y="208681"/>
                  <a:pt x="189387" y="208376"/>
                  <a:pt x="189694" y="208376"/>
                </a:cubicBezTo>
                <a:cubicBezTo>
                  <a:pt x="189694" y="208376"/>
                  <a:pt x="190002" y="208376"/>
                  <a:pt x="190002" y="208071"/>
                </a:cubicBezTo>
                <a:cubicBezTo>
                  <a:pt x="190309" y="208071"/>
                  <a:pt x="190309" y="208071"/>
                  <a:pt x="190309" y="208071"/>
                </a:cubicBezTo>
                <a:cubicBezTo>
                  <a:pt x="190617" y="207765"/>
                  <a:pt x="190617" y="207460"/>
                  <a:pt x="190617" y="207155"/>
                </a:cubicBezTo>
                <a:cubicBezTo>
                  <a:pt x="190617" y="206240"/>
                  <a:pt x="190617" y="205630"/>
                  <a:pt x="191847" y="205020"/>
                </a:cubicBezTo>
                <a:close/>
                <a:moveTo>
                  <a:pt x="49064" y="204421"/>
                </a:moveTo>
                <a:cubicBezTo>
                  <a:pt x="49064" y="204421"/>
                  <a:pt x="49064" y="204421"/>
                  <a:pt x="49371" y="204421"/>
                </a:cubicBezTo>
                <a:cubicBezTo>
                  <a:pt x="49371" y="204421"/>
                  <a:pt x="49371" y="204421"/>
                  <a:pt x="49678" y="205953"/>
                </a:cubicBezTo>
                <a:cubicBezTo>
                  <a:pt x="49678" y="205953"/>
                  <a:pt x="49678" y="205953"/>
                  <a:pt x="49984" y="207484"/>
                </a:cubicBezTo>
                <a:cubicBezTo>
                  <a:pt x="49984" y="207484"/>
                  <a:pt x="49984" y="207484"/>
                  <a:pt x="49678" y="207484"/>
                </a:cubicBezTo>
                <a:cubicBezTo>
                  <a:pt x="49678" y="207484"/>
                  <a:pt x="49678" y="207484"/>
                  <a:pt x="48758" y="207484"/>
                </a:cubicBezTo>
                <a:cubicBezTo>
                  <a:pt x="48758" y="207484"/>
                  <a:pt x="48758" y="207484"/>
                  <a:pt x="49064" y="205953"/>
                </a:cubicBezTo>
                <a:cubicBezTo>
                  <a:pt x="49064" y="205953"/>
                  <a:pt x="49064" y="205953"/>
                  <a:pt x="49064" y="204421"/>
                </a:cubicBezTo>
                <a:close/>
                <a:moveTo>
                  <a:pt x="115108" y="204135"/>
                </a:moveTo>
                <a:cubicBezTo>
                  <a:pt x="115108" y="204135"/>
                  <a:pt x="115108" y="204135"/>
                  <a:pt x="164582" y="204135"/>
                </a:cubicBezTo>
                <a:cubicBezTo>
                  <a:pt x="166733" y="204135"/>
                  <a:pt x="168577" y="205057"/>
                  <a:pt x="169806" y="206287"/>
                </a:cubicBezTo>
                <a:cubicBezTo>
                  <a:pt x="171343" y="207517"/>
                  <a:pt x="171957" y="209362"/>
                  <a:pt x="171957" y="211515"/>
                </a:cubicBezTo>
                <a:cubicBezTo>
                  <a:pt x="171957" y="213360"/>
                  <a:pt x="171343" y="215205"/>
                  <a:pt x="169806" y="216742"/>
                </a:cubicBezTo>
                <a:cubicBezTo>
                  <a:pt x="168577" y="217972"/>
                  <a:pt x="166733" y="218895"/>
                  <a:pt x="164582" y="218895"/>
                </a:cubicBezTo>
                <a:cubicBezTo>
                  <a:pt x="164582" y="218895"/>
                  <a:pt x="164582" y="218895"/>
                  <a:pt x="114801" y="218587"/>
                </a:cubicBezTo>
                <a:cubicBezTo>
                  <a:pt x="114801" y="218587"/>
                  <a:pt x="114801" y="218587"/>
                  <a:pt x="90832" y="214282"/>
                </a:cubicBezTo>
                <a:cubicBezTo>
                  <a:pt x="87145" y="213975"/>
                  <a:pt x="83765" y="213667"/>
                  <a:pt x="80692" y="213667"/>
                </a:cubicBezTo>
                <a:cubicBezTo>
                  <a:pt x="77312" y="213360"/>
                  <a:pt x="73931" y="213360"/>
                  <a:pt x="70244" y="213360"/>
                </a:cubicBezTo>
                <a:cubicBezTo>
                  <a:pt x="69629" y="213360"/>
                  <a:pt x="68400" y="213360"/>
                  <a:pt x="67478" y="213052"/>
                </a:cubicBezTo>
                <a:cubicBezTo>
                  <a:pt x="67171" y="212745"/>
                  <a:pt x="66864" y="212437"/>
                  <a:pt x="66864" y="212130"/>
                </a:cubicBezTo>
                <a:cubicBezTo>
                  <a:pt x="66864" y="211822"/>
                  <a:pt x="67171" y="211515"/>
                  <a:pt x="67478" y="211515"/>
                </a:cubicBezTo>
                <a:cubicBezTo>
                  <a:pt x="68400" y="210900"/>
                  <a:pt x="69629" y="210900"/>
                  <a:pt x="70244" y="210900"/>
                </a:cubicBezTo>
                <a:cubicBezTo>
                  <a:pt x="73931" y="210900"/>
                  <a:pt x="77312" y="210592"/>
                  <a:pt x="80692" y="210285"/>
                </a:cubicBezTo>
                <a:cubicBezTo>
                  <a:pt x="83765" y="210285"/>
                  <a:pt x="87145" y="209670"/>
                  <a:pt x="90832" y="209362"/>
                </a:cubicBezTo>
                <a:cubicBezTo>
                  <a:pt x="90832" y="209362"/>
                  <a:pt x="90832" y="209362"/>
                  <a:pt x="115108" y="204135"/>
                </a:cubicBezTo>
                <a:close/>
                <a:moveTo>
                  <a:pt x="31274" y="203809"/>
                </a:moveTo>
                <a:cubicBezTo>
                  <a:pt x="31274" y="203809"/>
                  <a:pt x="31274" y="203809"/>
                  <a:pt x="31581" y="203809"/>
                </a:cubicBezTo>
                <a:cubicBezTo>
                  <a:pt x="31581" y="203809"/>
                  <a:pt x="31581" y="203809"/>
                  <a:pt x="32501" y="203809"/>
                </a:cubicBezTo>
                <a:cubicBezTo>
                  <a:pt x="32501" y="203809"/>
                  <a:pt x="32808" y="203809"/>
                  <a:pt x="33115" y="204115"/>
                </a:cubicBezTo>
                <a:cubicBezTo>
                  <a:pt x="33115" y="204115"/>
                  <a:pt x="33115" y="204421"/>
                  <a:pt x="33115" y="204728"/>
                </a:cubicBezTo>
                <a:cubicBezTo>
                  <a:pt x="33115" y="204728"/>
                  <a:pt x="33115" y="205034"/>
                  <a:pt x="33115" y="205340"/>
                </a:cubicBezTo>
                <a:cubicBezTo>
                  <a:pt x="32808" y="205340"/>
                  <a:pt x="32501" y="205340"/>
                  <a:pt x="32501" y="205340"/>
                </a:cubicBezTo>
                <a:cubicBezTo>
                  <a:pt x="32501" y="205340"/>
                  <a:pt x="32501" y="205340"/>
                  <a:pt x="31581" y="205340"/>
                </a:cubicBezTo>
                <a:cubicBezTo>
                  <a:pt x="31581" y="205340"/>
                  <a:pt x="31581" y="205340"/>
                  <a:pt x="31274" y="205340"/>
                </a:cubicBezTo>
                <a:cubicBezTo>
                  <a:pt x="31274" y="205340"/>
                  <a:pt x="31274" y="205340"/>
                  <a:pt x="31274" y="205034"/>
                </a:cubicBezTo>
                <a:cubicBezTo>
                  <a:pt x="31274" y="205034"/>
                  <a:pt x="31274" y="205034"/>
                  <a:pt x="31274" y="204115"/>
                </a:cubicBezTo>
                <a:cubicBezTo>
                  <a:pt x="31274" y="204115"/>
                  <a:pt x="31274" y="204115"/>
                  <a:pt x="31274" y="203809"/>
                </a:cubicBezTo>
                <a:close/>
                <a:moveTo>
                  <a:pt x="16858" y="203503"/>
                </a:moveTo>
                <a:cubicBezTo>
                  <a:pt x="17165" y="203503"/>
                  <a:pt x="17471" y="203809"/>
                  <a:pt x="17471" y="203809"/>
                </a:cubicBezTo>
                <a:cubicBezTo>
                  <a:pt x="17778" y="204115"/>
                  <a:pt x="17778" y="204421"/>
                  <a:pt x="17778" y="204728"/>
                </a:cubicBezTo>
                <a:cubicBezTo>
                  <a:pt x="17778" y="204728"/>
                  <a:pt x="17778" y="204728"/>
                  <a:pt x="17778" y="208097"/>
                </a:cubicBezTo>
                <a:cubicBezTo>
                  <a:pt x="17778" y="208403"/>
                  <a:pt x="17778" y="208709"/>
                  <a:pt x="17471" y="208709"/>
                </a:cubicBezTo>
                <a:cubicBezTo>
                  <a:pt x="17471" y="209016"/>
                  <a:pt x="17165" y="209016"/>
                  <a:pt x="16858" y="209016"/>
                </a:cubicBezTo>
                <a:cubicBezTo>
                  <a:pt x="16245" y="209016"/>
                  <a:pt x="16245" y="209016"/>
                  <a:pt x="15938" y="208709"/>
                </a:cubicBezTo>
                <a:cubicBezTo>
                  <a:pt x="15631" y="208709"/>
                  <a:pt x="15631" y="208403"/>
                  <a:pt x="15631" y="208097"/>
                </a:cubicBezTo>
                <a:cubicBezTo>
                  <a:pt x="15631" y="208097"/>
                  <a:pt x="15631" y="208097"/>
                  <a:pt x="15631" y="204728"/>
                </a:cubicBezTo>
                <a:cubicBezTo>
                  <a:pt x="15631" y="204421"/>
                  <a:pt x="15631" y="204115"/>
                  <a:pt x="15938" y="203809"/>
                </a:cubicBezTo>
                <a:cubicBezTo>
                  <a:pt x="16245" y="203809"/>
                  <a:pt x="16551" y="203503"/>
                  <a:pt x="16858" y="203503"/>
                </a:cubicBezTo>
                <a:close/>
                <a:moveTo>
                  <a:pt x="53972" y="201971"/>
                </a:moveTo>
                <a:cubicBezTo>
                  <a:pt x="53972" y="202277"/>
                  <a:pt x="53972" y="202277"/>
                  <a:pt x="53972" y="202277"/>
                </a:cubicBezTo>
                <a:cubicBezTo>
                  <a:pt x="53972" y="210547"/>
                  <a:pt x="53972" y="210547"/>
                  <a:pt x="53972" y="210547"/>
                </a:cubicBezTo>
                <a:cubicBezTo>
                  <a:pt x="53972" y="210853"/>
                  <a:pt x="53972" y="210853"/>
                  <a:pt x="54279" y="210853"/>
                </a:cubicBezTo>
                <a:cubicBezTo>
                  <a:pt x="59186" y="210853"/>
                  <a:pt x="59186" y="210853"/>
                  <a:pt x="59186" y="210853"/>
                </a:cubicBezTo>
                <a:cubicBezTo>
                  <a:pt x="59493" y="210853"/>
                  <a:pt x="59493" y="210853"/>
                  <a:pt x="59493" y="210547"/>
                </a:cubicBezTo>
                <a:cubicBezTo>
                  <a:pt x="59493" y="209322"/>
                  <a:pt x="59493" y="209322"/>
                  <a:pt x="59493" y="209322"/>
                </a:cubicBezTo>
                <a:cubicBezTo>
                  <a:pt x="59493" y="209016"/>
                  <a:pt x="59493" y="209016"/>
                  <a:pt x="59493" y="209016"/>
                </a:cubicBezTo>
                <a:lnTo>
                  <a:pt x="59186" y="209016"/>
                </a:lnTo>
                <a:cubicBezTo>
                  <a:pt x="56119" y="209016"/>
                  <a:pt x="56119" y="209016"/>
                  <a:pt x="56119" y="209016"/>
                </a:cubicBezTo>
                <a:cubicBezTo>
                  <a:pt x="55812" y="209016"/>
                  <a:pt x="55812" y="209016"/>
                  <a:pt x="55812" y="209016"/>
                </a:cubicBezTo>
                <a:cubicBezTo>
                  <a:pt x="55812" y="208709"/>
                  <a:pt x="55812" y="208709"/>
                  <a:pt x="55812" y="208709"/>
                </a:cubicBezTo>
                <a:cubicBezTo>
                  <a:pt x="55812" y="202277"/>
                  <a:pt x="55812" y="202277"/>
                  <a:pt x="55812" y="202277"/>
                </a:cubicBezTo>
                <a:cubicBezTo>
                  <a:pt x="55812" y="201971"/>
                  <a:pt x="55812" y="201971"/>
                  <a:pt x="55812" y="201971"/>
                </a:cubicBezTo>
                <a:cubicBezTo>
                  <a:pt x="55506" y="201971"/>
                  <a:pt x="55506" y="201971"/>
                  <a:pt x="55506" y="201971"/>
                </a:cubicBezTo>
                <a:cubicBezTo>
                  <a:pt x="54279" y="201971"/>
                  <a:pt x="54279" y="201971"/>
                  <a:pt x="54279" y="201971"/>
                </a:cubicBezTo>
                <a:cubicBezTo>
                  <a:pt x="53972" y="201971"/>
                  <a:pt x="53972" y="201971"/>
                  <a:pt x="53972" y="201971"/>
                </a:cubicBezTo>
                <a:close/>
                <a:moveTo>
                  <a:pt x="48144" y="201971"/>
                </a:moveTo>
                <a:cubicBezTo>
                  <a:pt x="48144" y="201971"/>
                  <a:pt x="47837" y="201971"/>
                  <a:pt x="47837" y="202277"/>
                </a:cubicBezTo>
                <a:cubicBezTo>
                  <a:pt x="45690" y="210547"/>
                  <a:pt x="45690" y="210547"/>
                  <a:pt x="45690" y="210547"/>
                </a:cubicBezTo>
                <a:cubicBezTo>
                  <a:pt x="45690" y="210853"/>
                  <a:pt x="45690" y="210853"/>
                  <a:pt x="45690" y="210853"/>
                </a:cubicBezTo>
                <a:cubicBezTo>
                  <a:pt x="45997" y="210853"/>
                  <a:pt x="45997" y="210853"/>
                  <a:pt x="45997" y="210853"/>
                </a:cubicBezTo>
                <a:cubicBezTo>
                  <a:pt x="47531" y="210853"/>
                  <a:pt x="47531" y="210853"/>
                  <a:pt x="47531" y="210853"/>
                </a:cubicBezTo>
                <a:cubicBezTo>
                  <a:pt x="47837" y="210853"/>
                  <a:pt x="47837" y="210853"/>
                  <a:pt x="47837" y="210853"/>
                </a:cubicBezTo>
                <a:cubicBezTo>
                  <a:pt x="47837" y="210547"/>
                  <a:pt x="47837" y="210547"/>
                  <a:pt x="47837" y="210547"/>
                </a:cubicBezTo>
                <a:cubicBezTo>
                  <a:pt x="48144" y="209628"/>
                  <a:pt x="48144" y="209628"/>
                  <a:pt x="48144" y="209628"/>
                </a:cubicBezTo>
                <a:cubicBezTo>
                  <a:pt x="48144" y="209322"/>
                  <a:pt x="48144" y="209322"/>
                  <a:pt x="48144" y="209322"/>
                </a:cubicBezTo>
                <a:cubicBezTo>
                  <a:pt x="48451" y="209322"/>
                  <a:pt x="48451" y="209322"/>
                  <a:pt x="48451" y="209322"/>
                </a:cubicBezTo>
                <a:cubicBezTo>
                  <a:pt x="50291" y="209322"/>
                  <a:pt x="50291" y="209322"/>
                  <a:pt x="50291" y="209322"/>
                </a:cubicBezTo>
                <a:cubicBezTo>
                  <a:pt x="50291" y="209628"/>
                  <a:pt x="50291" y="209628"/>
                  <a:pt x="50291" y="209628"/>
                </a:cubicBezTo>
                <a:cubicBezTo>
                  <a:pt x="50598" y="210547"/>
                  <a:pt x="50598" y="210547"/>
                  <a:pt x="50598" y="210547"/>
                </a:cubicBezTo>
                <a:cubicBezTo>
                  <a:pt x="50905" y="210853"/>
                  <a:pt x="50905" y="210853"/>
                  <a:pt x="50905" y="210853"/>
                </a:cubicBezTo>
                <a:cubicBezTo>
                  <a:pt x="52438" y="210853"/>
                  <a:pt x="52438" y="210853"/>
                  <a:pt x="52438" y="210853"/>
                </a:cubicBezTo>
                <a:cubicBezTo>
                  <a:pt x="52745" y="210853"/>
                  <a:pt x="52745" y="210853"/>
                  <a:pt x="52745" y="210547"/>
                </a:cubicBezTo>
                <a:cubicBezTo>
                  <a:pt x="50598" y="202277"/>
                  <a:pt x="50598" y="202277"/>
                  <a:pt x="50598" y="202277"/>
                </a:cubicBezTo>
                <a:cubicBezTo>
                  <a:pt x="50598" y="201971"/>
                  <a:pt x="50598" y="201971"/>
                  <a:pt x="50598" y="201971"/>
                </a:cubicBezTo>
                <a:cubicBezTo>
                  <a:pt x="50291" y="201971"/>
                  <a:pt x="50291" y="201971"/>
                  <a:pt x="50291" y="201971"/>
                </a:cubicBezTo>
                <a:cubicBezTo>
                  <a:pt x="48144" y="201971"/>
                  <a:pt x="48144" y="201971"/>
                  <a:pt x="48144" y="201971"/>
                </a:cubicBezTo>
                <a:close/>
                <a:moveTo>
                  <a:pt x="39863" y="201971"/>
                </a:moveTo>
                <a:cubicBezTo>
                  <a:pt x="39863" y="202277"/>
                  <a:pt x="39863" y="202277"/>
                  <a:pt x="39863" y="202277"/>
                </a:cubicBezTo>
                <a:cubicBezTo>
                  <a:pt x="39863" y="203503"/>
                  <a:pt x="39863" y="203503"/>
                  <a:pt x="39863" y="203503"/>
                </a:cubicBezTo>
                <a:cubicBezTo>
                  <a:pt x="39863" y="203809"/>
                  <a:pt x="39863" y="203809"/>
                  <a:pt x="39863" y="203809"/>
                </a:cubicBezTo>
                <a:cubicBezTo>
                  <a:pt x="40169" y="203809"/>
                  <a:pt x="40169" y="203809"/>
                  <a:pt x="40169" y="203809"/>
                </a:cubicBezTo>
                <a:cubicBezTo>
                  <a:pt x="41396" y="203809"/>
                  <a:pt x="41396" y="203809"/>
                  <a:pt x="41396" y="203809"/>
                </a:cubicBezTo>
                <a:cubicBezTo>
                  <a:pt x="41703" y="203809"/>
                  <a:pt x="41703" y="203809"/>
                  <a:pt x="41703" y="203809"/>
                </a:cubicBezTo>
                <a:cubicBezTo>
                  <a:pt x="41703" y="204115"/>
                  <a:pt x="41703" y="204115"/>
                  <a:pt x="41703" y="204115"/>
                </a:cubicBezTo>
                <a:cubicBezTo>
                  <a:pt x="41703" y="210547"/>
                  <a:pt x="41703" y="210547"/>
                  <a:pt x="41703" y="210547"/>
                </a:cubicBezTo>
                <a:cubicBezTo>
                  <a:pt x="42010" y="210853"/>
                  <a:pt x="42010" y="210853"/>
                  <a:pt x="42010" y="210853"/>
                </a:cubicBezTo>
                <a:cubicBezTo>
                  <a:pt x="43543" y="210853"/>
                  <a:pt x="43543" y="210853"/>
                  <a:pt x="43543" y="210853"/>
                </a:cubicBezTo>
                <a:cubicBezTo>
                  <a:pt x="43850" y="210853"/>
                  <a:pt x="43850" y="210853"/>
                  <a:pt x="43850" y="210547"/>
                </a:cubicBezTo>
                <a:cubicBezTo>
                  <a:pt x="43850" y="204115"/>
                  <a:pt x="43850" y="204115"/>
                  <a:pt x="43850" y="204115"/>
                </a:cubicBezTo>
                <a:cubicBezTo>
                  <a:pt x="43850" y="203809"/>
                  <a:pt x="43850" y="203809"/>
                  <a:pt x="43850" y="203809"/>
                </a:cubicBezTo>
                <a:cubicBezTo>
                  <a:pt x="44157" y="203809"/>
                  <a:pt x="44157" y="203809"/>
                  <a:pt x="44157" y="203809"/>
                </a:cubicBezTo>
                <a:cubicBezTo>
                  <a:pt x="45690" y="203809"/>
                  <a:pt x="45690" y="203809"/>
                  <a:pt x="45690" y="203809"/>
                </a:cubicBezTo>
                <a:cubicBezTo>
                  <a:pt x="45997" y="203809"/>
                  <a:pt x="45997" y="203809"/>
                  <a:pt x="45997" y="203809"/>
                </a:cubicBezTo>
                <a:cubicBezTo>
                  <a:pt x="45997" y="203503"/>
                  <a:pt x="45997" y="203503"/>
                  <a:pt x="45997" y="203503"/>
                </a:cubicBezTo>
                <a:cubicBezTo>
                  <a:pt x="45997" y="202277"/>
                  <a:pt x="45997" y="202277"/>
                  <a:pt x="45997" y="202277"/>
                </a:cubicBezTo>
                <a:cubicBezTo>
                  <a:pt x="45997" y="201971"/>
                  <a:pt x="45997" y="201971"/>
                  <a:pt x="45690" y="201971"/>
                </a:cubicBezTo>
                <a:cubicBezTo>
                  <a:pt x="40169" y="201971"/>
                  <a:pt x="40169" y="201971"/>
                  <a:pt x="40169" y="201971"/>
                </a:cubicBezTo>
                <a:cubicBezTo>
                  <a:pt x="39863" y="201971"/>
                  <a:pt x="39863" y="201971"/>
                  <a:pt x="39863" y="201971"/>
                </a:cubicBezTo>
                <a:close/>
                <a:moveTo>
                  <a:pt x="36795" y="201971"/>
                </a:moveTo>
                <a:cubicBezTo>
                  <a:pt x="36795" y="201971"/>
                  <a:pt x="36489" y="201971"/>
                  <a:pt x="36489" y="202277"/>
                </a:cubicBezTo>
                <a:cubicBezTo>
                  <a:pt x="36489" y="210547"/>
                  <a:pt x="36489" y="210547"/>
                  <a:pt x="36489" y="210547"/>
                </a:cubicBezTo>
                <a:cubicBezTo>
                  <a:pt x="36489" y="210853"/>
                  <a:pt x="36795" y="210853"/>
                  <a:pt x="36795" y="210853"/>
                </a:cubicBezTo>
                <a:cubicBezTo>
                  <a:pt x="38329" y="210853"/>
                  <a:pt x="38329" y="210853"/>
                  <a:pt x="38329" y="210853"/>
                </a:cubicBezTo>
                <a:cubicBezTo>
                  <a:pt x="38636" y="210853"/>
                  <a:pt x="38636" y="210853"/>
                  <a:pt x="38636" y="210547"/>
                </a:cubicBezTo>
                <a:cubicBezTo>
                  <a:pt x="38636" y="202277"/>
                  <a:pt x="38636" y="202277"/>
                  <a:pt x="38636" y="202277"/>
                </a:cubicBezTo>
                <a:cubicBezTo>
                  <a:pt x="38636" y="201971"/>
                  <a:pt x="38636" y="201971"/>
                  <a:pt x="38636" y="201971"/>
                </a:cubicBezTo>
                <a:cubicBezTo>
                  <a:pt x="38329" y="201971"/>
                  <a:pt x="38329" y="201971"/>
                  <a:pt x="38329" y="201971"/>
                </a:cubicBezTo>
                <a:cubicBezTo>
                  <a:pt x="36795" y="201971"/>
                  <a:pt x="36795" y="201971"/>
                  <a:pt x="36795" y="201971"/>
                </a:cubicBezTo>
                <a:close/>
                <a:moveTo>
                  <a:pt x="29434" y="201971"/>
                </a:moveTo>
                <a:cubicBezTo>
                  <a:pt x="29127" y="201971"/>
                  <a:pt x="29127" y="201971"/>
                  <a:pt x="29127" y="202277"/>
                </a:cubicBezTo>
                <a:cubicBezTo>
                  <a:pt x="29127" y="210547"/>
                  <a:pt x="29127" y="210547"/>
                  <a:pt x="29127" y="210547"/>
                </a:cubicBezTo>
                <a:cubicBezTo>
                  <a:pt x="29127" y="210853"/>
                  <a:pt x="29127" y="210853"/>
                  <a:pt x="29434" y="210853"/>
                </a:cubicBezTo>
                <a:cubicBezTo>
                  <a:pt x="30967" y="210853"/>
                  <a:pt x="30967" y="210853"/>
                  <a:pt x="30967" y="210853"/>
                </a:cubicBezTo>
                <a:cubicBezTo>
                  <a:pt x="30967" y="210853"/>
                  <a:pt x="31274" y="210853"/>
                  <a:pt x="31274" y="210547"/>
                </a:cubicBezTo>
                <a:cubicBezTo>
                  <a:pt x="31274" y="207484"/>
                  <a:pt x="31274" y="207484"/>
                  <a:pt x="31274" y="207484"/>
                </a:cubicBezTo>
                <a:cubicBezTo>
                  <a:pt x="31274" y="207178"/>
                  <a:pt x="31274" y="207178"/>
                  <a:pt x="31274" y="207178"/>
                </a:cubicBezTo>
                <a:cubicBezTo>
                  <a:pt x="31581" y="207178"/>
                  <a:pt x="31581" y="207178"/>
                  <a:pt x="31581" y="207178"/>
                </a:cubicBezTo>
                <a:cubicBezTo>
                  <a:pt x="32501" y="207178"/>
                  <a:pt x="32501" y="207178"/>
                  <a:pt x="32501" y="207178"/>
                </a:cubicBezTo>
                <a:cubicBezTo>
                  <a:pt x="32808" y="207178"/>
                  <a:pt x="33115" y="207178"/>
                  <a:pt x="33421" y="207178"/>
                </a:cubicBezTo>
                <a:cubicBezTo>
                  <a:pt x="34035" y="206872"/>
                  <a:pt x="34341" y="206872"/>
                  <a:pt x="34341" y="206565"/>
                </a:cubicBezTo>
                <a:cubicBezTo>
                  <a:pt x="34648" y="206259"/>
                  <a:pt x="34955" y="205953"/>
                  <a:pt x="34955" y="205647"/>
                </a:cubicBezTo>
                <a:cubicBezTo>
                  <a:pt x="35262" y="205340"/>
                  <a:pt x="35262" y="205034"/>
                  <a:pt x="35262" y="204728"/>
                </a:cubicBezTo>
                <a:cubicBezTo>
                  <a:pt x="35262" y="204421"/>
                  <a:pt x="35262" y="203809"/>
                  <a:pt x="34955" y="203503"/>
                </a:cubicBezTo>
                <a:cubicBezTo>
                  <a:pt x="34955" y="203196"/>
                  <a:pt x="34648" y="202890"/>
                  <a:pt x="34341" y="202584"/>
                </a:cubicBezTo>
                <a:cubicBezTo>
                  <a:pt x="34341" y="202584"/>
                  <a:pt x="34035" y="202277"/>
                  <a:pt x="33421" y="202277"/>
                </a:cubicBezTo>
                <a:cubicBezTo>
                  <a:pt x="33115" y="201971"/>
                  <a:pt x="32808" y="201971"/>
                  <a:pt x="32501" y="201971"/>
                </a:cubicBezTo>
                <a:cubicBezTo>
                  <a:pt x="29434" y="201971"/>
                  <a:pt x="29434" y="201971"/>
                  <a:pt x="29434" y="201971"/>
                </a:cubicBezTo>
                <a:close/>
                <a:moveTo>
                  <a:pt x="23299" y="201971"/>
                </a:moveTo>
                <a:cubicBezTo>
                  <a:pt x="22993" y="202277"/>
                  <a:pt x="22686" y="202277"/>
                  <a:pt x="22379" y="202584"/>
                </a:cubicBezTo>
                <a:cubicBezTo>
                  <a:pt x="22072" y="202890"/>
                  <a:pt x="22072" y="203196"/>
                  <a:pt x="21766" y="203503"/>
                </a:cubicBezTo>
                <a:cubicBezTo>
                  <a:pt x="21766" y="203809"/>
                  <a:pt x="21459" y="204115"/>
                  <a:pt x="21459" y="204421"/>
                </a:cubicBezTo>
                <a:cubicBezTo>
                  <a:pt x="21459" y="204728"/>
                  <a:pt x="21766" y="205034"/>
                  <a:pt x="21766" y="205340"/>
                </a:cubicBezTo>
                <a:cubicBezTo>
                  <a:pt x="21766" y="205647"/>
                  <a:pt x="22072" y="205953"/>
                  <a:pt x="22072" y="206259"/>
                </a:cubicBezTo>
                <a:cubicBezTo>
                  <a:pt x="22379" y="206259"/>
                  <a:pt x="22686" y="206565"/>
                  <a:pt x="22686" y="206565"/>
                </a:cubicBezTo>
                <a:cubicBezTo>
                  <a:pt x="22993" y="206872"/>
                  <a:pt x="23299" y="206872"/>
                  <a:pt x="23606" y="206872"/>
                </a:cubicBezTo>
                <a:cubicBezTo>
                  <a:pt x="24219" y="207178"/>
                  <a:pt x="24833" y="207484"/>
                  <a:pt x="25140" y="207484"/>
                </a:cubicBezTo>
                <a:cubicBezTo>
                  <a:pt x="25446" y="207791"/>
                  <a:pt x="25753" y="208097"/>
                  <a:pt x="25753" y="208403"/>
                </a:cubicBezTo>
                <a:cubicBezTo>
                  <a:pt x="25753" y="208709"/>
                  <a:pt x="25753" y="208709"/>
                  <a:pt x="25753" y="208709"/>
                </a:cubicBezTo>
                <a:cubicBezTo>
                  <a:pt x="25446" y="208709"/>
                  <a:pt x="25446" y="208709"/>
                  <a:pt x="25446" y="208709"/>
                </a:cubicBezTo>
                <a:cubicBezTo>
                  <a:pt x="25446" y="209016"/>
                  <a:pt x="25446" y="209016"/>
                  <a:pt x="25140" y="209016"/>
                </a:cubicBezTo>
                <a:cubicBezTo>
                  <a:pt x="25140" y="209016"/>
                  <a:pt x="24833" y="209016"/>
                  <a:pt x="24526" y="209016"/>
                </a:cubicBezTo>
                <a:cubicBezTo>
                  <a:pt x="24526" y="209016"/>
                  <a:pt x="24219" y="209016"/>
                  <a:pt x="24219" y="209016"/>
                </a:cubicBezTo>
                <a:cubicBezTo>
                  <a:pt x="23913" y="209016"/>
                  <a:pt x="23913" y="209016"/>
                  <a:pt x="23606" y="209016"/>
                </a:cubicBezTo>
                <a:cubicBezTo>
                  <a:pt x="23606" y="208709"/>
                  <a:pt x="23299" y="208709"/>
                  <a:pt x="22993" y="208709"/>
                </a:cubicBezTo>
                <a:cubicBezTo>
                  <a:pt x="22993" y="208709"/>
                  <a:pt x="22686" y="208403"/>
                  <a:pt x="22686" y="208403"/>
                </a:cubicBezTo>
                <a:cubicBezTo>
                  <a:pt x="22379" y="208097"/>
                  <a:pt x="22379" y="208097"/>
                  <a:pt x="22379" y="208097"/>
                </a:cubicBezTo>
                <a:cubicBezTo>
                  <a:pt x="22379" y="208097"/>
                  <a:pt x="22072" y="208403"/>
                  <a:pt x="22072" y="208403"/>
                </a:cubicBezTo>
                <a:cubicBezTo>
                  <a:pt x="21459" y="209322"/>
                  <a:pt x="21459" y="209322"/>
                  <a:pt x="21459" y="209322"/>
                </a:cubicBezTo>
                <a:cubicBezTo>
                  <a:pt x="21459" y="209322"/>
                  <a:pt x="21152" y="209322"/>
                  <a:pt x="21459" y="209628"/>
                </a:cubicBezTo>
                <a:cubicBezTo>
                  <a:pt x="21459" y="209935"/>
                  <a:pt x="21459" y="209935"/>
                  <a:pt x="21459" y="209935"/>
                </a:cubicBezTo>
                <a:cubicBezTo>
                  <a:pt x="22072" y="210241"/>
                  <a:pt x="22379" y="210547"/>
                  <a:pt x="22993" y="210547"/>
                </a:cubicBezTo>
                <a:cubicBezTo>
                  <a:pt x="23606" y="210853"/>
                  <a:pt x="24219" y="210853"/>
                  <a:pt x="24526" y="210853"/>
                </a:cubicBezTo>
                <a:cubicBezTo>
                  <a:pt x="25140" y="210853"/>
                  <a:pt x="25446" y="210853"/>
                  <a:pt x="25753" y="210853"/>
                </a:cubicBezTo>
                <a:cubicBezTo>
                  <a:pt x="26367" y="210547"/>
                  <a:pt x="26673" y="210547"/>
                  <a:pt x="26980" y="210241"/>
                </a:cubicBezTo>
                <a:cubicBezTo>
                  <a:pt x="27287" y="209935"/>
                  <a:pt x="27287" y="209628"/>
                  <a:pt x="27593" y="209322"/>
                </a:cubicBezTo>
                <a:cubicBezTo>
                  <a:pt x="27593" y="209016"/>
                  <a:pt x="27900" y="208709"/>
                  <a:pt x="27900" y="208097"/>
                </a:cubicBezTo>
                <a:cubicBezTo>
                  <a:pt x="27900" y="207791"/>
                  <a:pt x="27593" y="207484"/>
                  <a:pt x="27593" y="207178"/>
                </a:cubicBezTo>
                <a:cubicBezTo>
                  <a:pt x="27287" y="206872"/>
                  <a:pt x="26980" y="206565"/>
                  <a:pt x="26673" y="206259"/>
                </a:cubicBezTo>
                <a:cubicBezTo>
                  <a:pt x="26673" y="205953"/>
                  <a:pt x="26367" y="205953"/>
                  <a:pt x="25753" y="205647"/>
                </a:cubicBezTo>
                <a:cubicBezTo>
                  <a:pt x="25446" y="205647"/>
                  <a:pt x="25140" y="205647"/>
                  <a:pt x="24833" y="205340"/>
                </a:cubicBezTo>
                <a:cubicBezTo>
                  <a:pt x="24833" y="205340"/>
                  <a:pt x="24833" y="205340"/>
                  <a:pt x="24526" y="205340"/>
                </a:cubicBezTo>
                <a:cubicBezTo>
                  <a:pt x="24526" y="205340"/>
                  <a:pt x="24219" y="205340"/>
                  <a:pt x="24219" y="205034"/>
                </a:cubicBezTo>
                <a:cubicBezTo>
                  <a:pt x="23913" y="204728"/>
                  <a:pt x="23913" y="204728"/>
                  <a:pt x="23913" y="204728"/>
                </a:cubicBezTo>
                <a:cubicBezTo>
                  <a:pt x="23606" y="204728"/>
                  <a:pt x="23606" y="204728"/>
                  <a:pt x="23606" y="204421"/>
                </a:cubicBezTo>
                <a:cubicBezTo>
                  <a:pt x="23606" y="204115"/>
                  <a:pt x="23606" y="203809"/>
                  <a:pt x="23913" y="203809"/>
                </a:cubicBezTo>
                <a:cubicBezTo>
                  <a:pt x="24219" y="203809"/>
                  <a:pt x="24526" y="203503"/>
                  <a:pt x="24526" y="203503"/>
                </a:cubicBezTo>
                <a:cubicBezTo>
                  <a:pt x="24833" y="203503"/>
                  <a:pt x="25140" y="203809"/>
                  <a:pt x="25446" y="203809"/>
                </a:cubicBezTo>
                <a:cubicBezTo>
                  <a:pt x="25753" y="203809"/>
                  <a:pt x="26060" y="204115"/>
                  <a:pt x="26367" y="204115"/>
                </a:cubicBezTo>
                <a:cubicBezTo>
                  <a:pt x="26673" y="204115"/>
                  <a:pt x="26673" y="204115"/>
                  <a:pt x="26673" y="203809"/>
                </a:cubicBezTo>
                <a:cubicBezTo>
                  <a:pt x="27287" y="203196"/>
                  <a:pt x="27287" y="203196"/>
                  <a:pt x="27287" y="203196"/>
                </a:cubicBezTo>
                <a:cubicBezTo>
                  <a:pt x="27287" y="202890"/>
                  <a:pt x="27287" y="202890"/>
                  <a:pt x="27287" y="202584"/>
                </a:cubicBezTo>
                <a:cubicBezTo>
                  <a:pt x="26980" y="202584"/>
                  <a:pt x="26980" y="202584"/>
                  <a:pt x="26980" y="202584"/>
                </a:cubicBezTo>
                <a:cubicBezTo>
                  <a:pt x="26980" y="202277"/>
                  <a:pt x="26367" y="202277"/>
                  <a:pt x="26060" y="201971"/>
                </a:cubicBezTo>
                <a:cubicBezTo>
                  <a:pt x="25753" y="201971"/>
                  <a:pt x="25140" y="201971"/>
                  <a:pt x="24526" y="201971"/>
                </a:cubicBezTo>
                <a:cubicBezTo>
                  <a:pt x="24219" y="201971"/>
                  <a:pt x="23913" y="201971"/>
                  <a:pt x="23299" y="201971"/>
                </a:cubicBezTo>
                <a:close/>
                <a:moveTo>
                  <a:pt x="15631" y="201971"/>
                </a:moveTo>
                <a:cubicBezTo>
                  <a:pt x="15018" y="202277"/>
                  <a:pt x="14711" y="202277"/>
                  <a:pt x="14404" y="202584"/>
                </a:cubicBezTo>
                <a:cubicBezTo>
                  <a:pt x="14097" y="202890"/>
                  <a:pt x="14097" y="203196"/>
                  <a:pt x="13791" y="203503"/>
                </a:cubicBezTo>
                <a:cubicBezTo>
                  <a:pt x="13791" y="203809"/>
                  <a:pt x="13484" y="204115"/>
                  <a:pt x="13484" y="204728"/>
                </a:cubicBezTo>
                <a:cubicBezTo>
                  <a:pt x="13484" y="208097"/>
                  <a:pt x="13484" y="208097"/>
                  <a:pt x="13484" y="208097"/>
                </a:cubicBezTo>
                <a:cubicBezTo>
                  <a:pt x="13484" y="208709"/>
                  <a:pt x="13791" y="209016"/>
                  <a:pt x="13791" y="209322"/>
                </a:cubicBezTo>
                <a:cubicBezTo>
                  <a:pt x="14097" y="209628"/>
                  <a:pt x="14097" y="209935"/>
                  <a:pt x="14404" y="210241"/>
                </a:cubicBezTo>
                <a:cubicBezTo>
                  <a:pt x="14711" y="210547"/>
                  <a:pt x="15018" y="210547"/>
                  <a:pt x="15631" y="210853"/>
                </a:cubicBezTo>
                <a:cubicBezTo>
                  <a:pt x="15938" y="210853"/>
                  <a:pt x="16245" y="210853"/>
                  <a:pt x="16858" y="210853"/>
                </a:cubicBezTo>
                <a:cubicBezTo>
                  <a:pt x="17165" y="210853"/>
                  <a:pt x="17778" y="210853"/>
                  <a:pt x="18085" y="210853"/>
                </a:cubicBezTo>
                <a:cubicBezTo>
                  <a:pt x="18392" y="210547"/>
                  <a:pt x="18698" y="210547"/>
                  <a:pt x="19005" y="210241"/>
                </a:cubicBezTo>
                <a:cubicBezTo>
                  <a:pt x="19312" y="209935"/>
                  <a:pt x="19619" y="209628"/>
                  <a:pt x="19619" y="209322"/>
                </a:cubicBezTo>
                <a:cubicBezTo>
                  <a:pt x="19925" y="209016"/>
                  <a:pt x="19925" y="208709"/>
                  <a:pt x="19925" y="208097"/>
                </a:cubicBezTo>
                <a:cubicBezTo>
                  <a:pt x="19925" y="204728"/>
                  <a:pt x="19925" y="204728"/>
                  <a:pt x="19925" y="204728"/>
                </a:cubicBezTo>
                <a:cubicBezTo>
                  <a:pt x="19925" y="204115"/>
                  <a:pt x="19925" y="203809"/>
                  <a:pt x="19619" y="203503"/>
                </a:cubicBezTo>
                <a:cubicBezTo>
                  <a:pt x="19619" y="203196"/>
                  <a:pt x="19312" y="202890"/>
                  <a:pt x="19005" y="202584"/>
                </a:cubicBezTo>
                <a:cubicBezTo>
                  <a:pt x="18698" y="202277"/>
                  <a:pt x="18392" y="202277"/>
                  <a:pt x="18085" y="201971"/>
                </a:cubicBezTo>
                <a:cubicBezTo>
                  <a:pt x="17778" y="201971"/>
                  <a:pt x="17165" y="201971"/>
                  <a:pt x="16858" y="201971"/>
                </a:cubicBezTo>
                <a:cubicBezTo>
                  <a:pt x="16245" y="201971"/>
                  <a:pt x="15938" y="201971"/>
                  <a:pt x="15631" y="201971"/>
                </a:cubicBezTo>
                <a:close/>
                <a:moveTo>
                  <a:pt x="5509" y="201971"/>
                </a:moveTo>
                <a:cubicBezTo>
                  <a:pt x="5202" y="202277"/>
                  <a:pt x="5202" y="202277"/>
                  <a:pt x="5202" y="202277"/>
                </a:cubicBezTo>
                <a:cubicBezTo>
                  <a:pt x="5202" y="210547"/>
                  <a:pt x="5202" y="210547"/>
                  <a:pt x="5202" y="210547"/>
                </a:cubicBezTo>
                <a:cubicBezTo>
                  <a:pt x="5202" y="210853"/>
                  <a:pt x="5509" y="210853"/>
                  <a:pt x="5509" y="210853"/>
                </a:cubicBezTo>
                <a:cubicBezTo>
                  <a:pt x="7043" y="210853"/>
                  <a:pt x="7043" y="210853"/>
                  <a:pt x="7043" y="210853"/>
                </a:cubicBezTo>
                <a:cubicBezTo>
                  <a:pt x="7349" y="210853"/>
                  <a:pt x="7349" y="210853"/>
                  <a:pt x="7349" y="210547"/>
                </a:cubicBezTo>
                <a:cubicBezTo>
                  <a:pt x="7349" y="207484"/>
                  <a:pt x="7349" y="207484"/>
                  <a:pt x="7349" y="207484"/>
                </a:cubicBezTo>
                <a:cubicBezTo>
                  <a:pt x="7349" y="207178"/>
                  <a:pt x="7349" y="207178"/>
                  <a:pt x="7349" y="207178"/>
                </a:cubicBezTo>
                <a:cubicBezTo>
                  <a:pt x="7349" y="207178"/>
                  <a:pt x="7656" y="207178"/>
                  <a:pt x="7656" y="207178"/>
                </a:cubicBezTo>
                <a:cubicBezTo>
                  <a:pt x="9497" y="207178"/>
                  <a:pt x="9497" y="207178"/>
                  <a:pt x="9497" y="207178"/>
                </a:cubicBezTo>
                <a:cubicBezTo>
                  <a:pt x="9803" y="207178"/>
                  <a:pt x="9803" y="207178"/>
                  <a:pt x="9803" y="207178"/>
                </a:cubicBezTo>
                <a:cubicBezTo>
                  <a:pt x="9803" y="207484"/>
                  <a:pt x="9803" y="207484"/>
                  <a:pt x="9803" y="207484"/>
                </a:cubicBezTo>
                <a:cubicBezTo>
                  <a:pt x="9803" y="210547"/>
                  <a:pt x="9803" y="210547"/>
                  <a:pt x="9803" y="210547"/>
                </a:cubicBezTo>
                <a:cubicBezTo>
                  <a:pt x="9803" y="210853"/>
                  <a:pt x="9803" y="210853"/>
                  <a:pt x="10110" y="210853"/>
                </a:cubicBezTo>
                <a:cubicBezTo>
                  <a:pt x="11644" y="210853"/>
                  <a:pt x="11644" y="210853"/>
                  <a:pt x="11644" y="210853"/>
                </a:cubicBezTo>
                <a:cubicBezTo>
                  <a:pt x="11644" y="210853"/>
                  <a:pt x="11950" y="210853"/>
                  <a:pt x="11950" y="210547"/>
                </a:cubicBezTo>
                <a:cubicBezTo>
                  <a:pt x="11950" y="202277"/>
                  <a:pt x="11950" y="202277"/>
                  <a:pt x="11950" y="202277"/>
                </a:cubicBezTo>
                <a:cubicBezTo>
                  <a:pt x="11644" y="201971"/>
                  <a:pt x="11644" y="201971"/>
                  <a:pt x="11644" y="201971"/>
                </a:cubicBezTo>
                <a:cubicBezTo>
                  <a:pt x="10110" y="201971"/>
                  <a:pt x="10110" y="201971"/>
                  <a:pt x="10110" y="201971"/>
                </a:cubicBezTo>
                <a:cubicBezTo>
                  <a:pt x="9803" y="201971"/>
                  <a:pt x="9803" y="201971"/>
                  <a:pt x="9803" y="201971"/>
                </a:cubicBezTo>
                <a:cubicBezTo>
                  <a:pt x="9803" y="202277"/>
                  <a:pt x="9803" y="202277"/>
                  <a:pt x="9803" y="202277"/>
                </a:cubicBezTo>
                <a:cubicBezTo>
                  <a:pt x="9803" y="205034"/>
                  <a:pt x="9803" y="205034"/>
                  <a:pt x="9803" y="205034"/>
                </a:cubicBezTo>
                <a:cubicBezTo>
                  <a:pt x="9803" y="205034"/>
                  <a:pt x="9803" y="205340"/>
                  <a:pt x="9803" y="205340"/>
                </a:cubicBezTo>
                <a:cubicBezTo>
                  <a:pt x="9497" y="205340"/>
                  <a:pt x="9497" y="205340"/>
                  <a:pt x="9497" y="205340"/>
                </a:cubicBezTo>
                <a:cubicBezTo>
                  <a:pt x="7656" y="205340"/>
                  <a:pt x="7656" y="205340"/>
                  <a:pt x="7656" y="205340"/>
                </a:cubicBezTo>
                <a:cubicBezTo>
                  <a:pt x="7349" y="205340"/>
                  <a:pt x="7349" y="205340"/>
                  <a:pt x="7349" y="205340"/>
                </a:cubicBezTo>
                <a:cubicBezTo>
                  <a:pt x="7349" y="205340"/>
                  <a:pt x="7349" y="205034"/>
                  <a:pt x="7349" y="205034"/>
                </a:cubicBezTo>
                <a:cubicBezTo>
                  <a:pt x="7349" y="202277"/>
                  <a:pt x="7349" y="202277"/>
                  <a:pt x="7349" y="202277"/>
                </a:cubicBezTo>
                <a:cubicBezTo>
                  <a:pt x="7349" y="201971"/>
                  <a:pt x="7349" y="201971"/>
                  <a:pt x="7349" y="201971"/>
                </a:cubicBezTo>
                <a:cubicBezTo>
                  <a:pt x="7043" y="201971"/>
                  <a:pt x="7043" y="201971"/>
                  <a:pt x="7043" y="201971"/>
                </a:cubicBezTo>
                <a:cubicBezTo>
                  <a:pt x="5509" y="201971"/>
                  <a:pt x="5509" y="201971"/>
                  <a:pt x="5509" y="201971"/>
                </a:cubicBezTo>
                <a:close/>
                <a:moveTo>
                  <a:pt x="421101" y="200777"/>
                </a:moveTo>
                <a:cubicBezTo>
                  <a:pt x="424170" y="200777"/>
                  <a:pt x="429081" y="204128"/>
                  <a:pt x="429081" y="206870"/>
                </a:cubicBezTo>
                <a:cubicBezTo>
                  <a:pt x="429081" y="209307"/>
                  <a:pt x="424170" y="212963"/>
                  <a:pt x="421101" y="212963"/>
                </a:cubicBezTo>
                <a:cubicBezTo>
                  <a:pt x="418339" y="212963"/>
                  <a:pt x="415883" y="212049"/>
                  <a:pt x="414348" y="211135"/>
                </a:cubicBezTo>
                <a:cubicBezTo>
                  <a:pt x="412507" y="209917"/>
                  <a:pt x="411586" y="208393"/>
                  <a:pt x="411586" y="206870"/>
                </a:cubicBezTo>
                <a:cubicBezTo>
                  <a:pt x="411586" y="203519"/>
                  <a:pt x="415883" y="200777"/>
                  <a:pt x="421101" y="200777"/>
                </a:cubicBezTo>
                <a:close/>
                <a:moveTo>
                  <a:pt x="418339" y="199559"/>
                </a:moveTo>
                <a:cubicBezTo>
                  <a:pt x="419259" y="199559"/>
                  <a:pt x="420180" y="199864"/>
                  <a:pt x="421101" y="199864"/>
                </a:cubicBezTo>
                <a:cubicBezTo>
                  <a:pt x="415269" y="199864"/>
                  <a:pt x="410665" y="202910"/>
                  <a:pt x="410665" y="206870"/>
                </a:cubicBezTo>
                <a:cubicBezTo>
                  <a:pt x="410665" y="208698"/>
                  <a:pt x="411893" y="210526"/>
                  <a:pt x="413735" y="211744"/>
                </a:cubicBezTo>
                <a:cubicBezTo>
                  <a:pt x="415576" y="212963"/>
                  <a:pt x="418339" y="213572"/>
                  <a:pt x="421101" y="213572"/>
                </a:cubicBezTo>
                <a:cubicBezTo>
                  <a:pt x="420180" y="213877"/>
                  <a:pt x="419259" y="213877"/>
                  <a:pt x="418339" y="213877"/>
                </a:cubicBezTo>
                <a:cubicBezTo>
                  <a:pt x="413735" y="213877"/>
                  <a:pt x="409744" y="212049"/>
                  <a:pt x="408210" y="209307"/>
                </a:cubicBezTo>
                <a:cubicBezTo>
                  <a:pt x="384269" y="209307"/>
                  <a:pt x="384269" y="209307"/>
                  <a:pt x="384269" y="209307"/>
                </a:cubicBezTo>
                <a:cubicBezTo>
                  <a:pt x="383348" y="209307"/>
                  <a:pt x="382734" y="208698"/>
                  <a:pt x="382734" y="207784"/>
                </a:cubicBezTo>
                <a:cubicBezTo>
                  <a:pt x="382734" y="205652"/>
                  <a:pt x="382734" y="205652"/>
                  <a:pt x="382734" y="205652"/>
                </a:cubicBezTo>
                <a:cubicBezTo>
                  <a:pt x="382734" y="205042"/>
                  <a:pt x="383348" y="204128"/>
                  <a:pt x="384269" y="204128"/>
                </a:cubicBezTo>
                <a:lnTo>
                  <a:pt x="408210" y="204128"/>
                </a:lnTo>
                <a:cubicBezTo>
                  <a:pt x="409744" y="201691"/>
                  <a:pt x="413735" y="199559"/>
                  <a:pt x="418339" y="199559"/>
                </a:cubicBezTo>
                <a:close/>
                <a:moveTo>
                  <a:pt x="266736" y="198876"/>
                </a:moveTo>
                <a:cubicBezTo>
                  <a:pt x="266736" y="198876"/>
                  <a:pt x="266430" y="198876"/>
                  <a:pt x="266430" y="199182"/>
                </a:cubicBezTo>
                <a:cubicBezTo>
                  <a:pt x="266430" y="199182"/>
                  <a:pt x="266736" y="199489"/>
                  <a:pt x="266736" y="199489"/>
                </a:cubicBezTo>
                <a:cubicBezTo>
                  <a:pt x="274080" y="199489"/>
                  <a:pt x="274080" y="199489"/>
                  <a:pt x="274080" y="199489"/>
                </a:cubicBezTo>
                <a:cubicBezTo>
                  <a:pt x="274080" y="199489"/>
                  <a:pt x="274386" y="199182"/>
                  <a:pt x="274386" y="199182"/>
                </a:cubicBezTo>
                <a:cubicBezTo>
                  <a:pt x="274386" y="198876"/>
                  <a:pt x="274080" y="198876"/>
                  <a:pt x="274080" y="198876"/>
                </a:cubicBezTo>
                <a:cubicBezTo>
                  <a:pt x="266736" y="198876"/>
                  <a:pt x="266736" y="198876"/>
                  <a:pt x="266736" y="198876"/>
                </a:cubicBezTo>
                <a:close/>
                <a:moveTo>
                  <a:pt x="438409" y="198605"/>
                </a:moveTo>
                <a:cubicBezTo>
                  <a:pt x="438409" y="198605"/>
                  <a:pt x="438102" y="198911"/>
                  <a:pt x="438102" y="199218"/>
                </a:cubicBezTo>
                <a:cubicBezTo>
                  <a:pt x="438102" y="210561"/>
                  <a:pt x="438102" y="210561"/>
                  <a:pt x="438102" y="210561"/>
                </a:cubicBezTo>
                <a:cubicBezTo>
                  <a:pt x="438102" y="210867"/>
                  <a:pt x="438409" y="210867"/>
                  <a:pt x="438409" y="210867"/>
                </a:cubicBezTo>
                <a:cubicBezTo>
                  <a:pt x="438716" y="210867"/>
                  <a:pt x="439023" y="210867"/>
                  <a:pt x="439023" y="210561"/>
                </a:cubicBezTo>
                <a:cubicBezTo>
                  <a:pt x="439023" y="199218"/>
                  <a:pt x="439023" y="199218"/>
                  <a:pt x="439023" y="199218"/>
                </a:cubicBezTo>
                <a:cubicBezTo>
                  <a:pt x="439023" y="198911"/>
                  <a:pt x="438716" y="198605"/>
                  <a:pt x="438409" y="198605"/>
                </a:cubicBezTo>
                <a:close/>
                <a:moveTo>
                  <a:pt x="439383" y="197431"/>
                </a:moveTo>
                <a:lnTo>
                  <a:pt x="440447" y="198494"/>
                </a:lnTo>
                <a:lnTo>
                  <a:pt x="440181" y="197697"/>
                </a:lnTo>
                <a:close/>
                <a:moveTo>
                  <a:pt x="435791" y="197320"/>
                </a:moveTo>
                <a:lnTo>
                  <a:pt x="434660" y="197697"/>
                </a:lnTo>
                <a:lnTo>
                  <a:pt x="434196" y="199090"/>
                </a:lnTo>
                <a:close/>
                <a:moveTo>
                  <a:pt x="266736" y="196425"/>
                </a:moveTo>
                <a:cubicBezTo>
                  <a:pt x="266736" y="196425"/>
                  <a:pt x="266430" y="196732"/>
                  <a:pt x="266430" y="196732"/>
                </a:cubicBezTo>
                <a:cubicBezTo>
                  <a:pt x="266430" y="197038"/>
                  <a:pt x="266736" y="197038"/>
                  <a:pt x="266736" y="197038"/>
                </a:cubicBezTo>
                <a:cubicBezTo>
                  <a:pt x="274080" y="197038"/>
                  <a:pt x="274080" y="197038"/>
                  <a:pt x="274080" y="197038"/>
                </a:cubicBezTo>
                <a:cubicBezTo>
                  <a:pt x="274080" y="197038"/>
                  <a:pt x="274386" y="197038"/>
                  <a:pt x="274386" y="196732"/>
                </a:cubicBezTo>
                <a:cubicBezTo>
                  <a:pt x="274386" y="196732"/>
                  <a:pt x="274080" y="196425"/>
                  <a:pt x="274080" y="196425"/>
                </a:cubicBezTo>
                <a:cubicBezTo>
                  <a:pt x="266736" y="196425"/>
                  <a:pt x="266736" y="196425"/>
                  <a:pt x="266736" y="196425"/>
                </a:cubicBezTo>
                <a:close/>
                <a:moveTo>
                  <a:pt x="436501" y="196164"/>
                </a:moveTo>
                <a:cubicBezTo>
                  <a:pt x="438341" y="196164"/>
                  <a:pt x="438341" y="196164"/>
                  <a:pt x="438341" y="196164"/>
                </a:cubicBezTo>
                <a:cubicBezTo>
                  <a:pt x="439261" y="196164"/>
                  <a:pt x="440181" y="196470"/>
                  <a:pt x="440795" y="197084"/>
                </a:cubicBezTo>
                <a:cubicBezTo>
                  <a:pt x="441408" y="197697"/>
                  <a:pt x="441715" y="198617"/>
                  <a:pt x="441715" y="199536"/>
                </a:cubicBezTo>
                <a:cubicBezTo>
                  <a:pt x="441715" y="216399"/>
                  <a:pt x="441715" y="216399"/>
                  <a:pt x="441715" y="216399"/>
                </a:cubicBezTo>
                <a:cubicBezTo>
                  <a:pt x="441715" y="216705"/>
                  <a:pt x="442022" y="217318"/>
                  <a:pt x="442022" y="217625"/>
                </a:cubicBezTo>
                <a:cubicBezTo>
                  <a:pt x="442328" y="217932"/>
                  <a:pt x="442635" y="218238"/>
                  <a:pt x="443249" y="218545"/>
                </a:cubicBezTo>
                <a:cubicBezTo>
                  <a:pt x="444476" y="219158"/>
                  <a:pt x="445396" y="220078"/>
                  <a:pt x="446316" y="221611"/>
                </a:cubicBezTo>
                <a:cubicBezTo>
                  <a:pt x="446930" y="222837"/>
                  <a:pt x="447236" y="224063"/>
                  <a:pt x="447236" y="225596"/>
                </a:cubicBezTo>
                <a:cubicBezTo>
                  <a:pt x="447236" y="309294"/>
                  <a:pt x="447236" y="309294"/>
                  <a:pt x="447236" y="309294"/>
                </a:cubicBezTo>
                <a:cubicBezTo>
                  <a:pt x="447236" y="312054"/>
                  <a:pt x="446316" y="314506"/>
                  <a:pt x="444476" y="316346"/>
                </a:cubicBezTo>
                <a:cubicBezTo>
                  <a:pt x="442635" y="318186"/>
                  <a:pt x="440181" y="319412"/>
                  <a:pt x="437421" y="319412"/>
                </a:cubicBezTo>
                <a:cubicBezTo>
                  <a:pt x="434660" y="319412"/>
                  <a:pt x="432206" y="318186"/>
                  <a:pt x="430366" y="316346"/>
                </a:cubicBezTo>
                <a:cubicBezTo>
                  <a:pt x="428832" y="314506"/>
                  <a:pt x="427605" y="312054"/>
                  <a:pt x="427605" y="309294"/>
                </a:cubicBezTo>
                <a:cubicBezTo>
                  <a:pt x="427605" y="225596"/>
                  <a:pt x="427605" y="225596"/>
                  <a:pt x="427605" y="225596"/>
                </a:cubicBezTo>
                <a:cubicBezTo>
                  <a:pt x="427605" y="224063"/>
                  <a:pt x="427912" y="222530"/>
                  <a:pt x="428832" y="221304"/>
                </a:cubicBezTo>
                <a:cubicBezTo>
                  <a:pt x="429446" y="220078"/>
                  <a:pt x="430673" y="219158"/>
                  <a:pt x="431900" y="218545"/>
                </a:cubicBezTo>
                <a:cubicBezTo>
                  <a:pt x="432206" y="218238"/>
                  <a:pt x="432513" y="217932"/>
                  <a:pt x="432820" y="217625"/>
                </a:cubicBezTo>
                <a:cubicBezTo>
                  <a:pt x="433126" y="217012"/>
                  <a:pt x="433126" y="216705"/>
                  <a:pt x="433126" y="216092"/>
                </a:cubicBezTo>
                <a:cubicBezTo>
                  <a:pt x="433126" y="199536"/>
                  <a:pt x="433126" y="199536"/>
                  <a:pt x="433126" y="199536"/>
                </a:cubicBezTo>
                <a:cubicBezTo>
                  <a:pt x="433126" y="198617"/>
                  <a:pt x="433433" y="197697"/>
                  <a:pt x="434047" y="197084"/>
                </a:cubicBezTo>
                <a:cubicBezTo>
                  <a:pt x="434660" y="196470"/>
                  <a:pt x="435580" y="196164"/>
                  <a:pt x="436501" y="196164"/>
                </a:cubicBezTo>
                <a:close/>
                <a:moveTo>
                  <a:pt x="247684" y="194983"/>
                </a:moveTo>
                <a:cubicBezTo>
                  <a:pt x="249524" y="206302"/>
                  <a:pt x="255353" y="212114"/>
                  <a:pt x="255353" y="217621"/>
                </a:cubicBezTo>
                <a:cubicBezTo>
                  <a:pt x="255353" y="232917"/>
                  <a:pt x="239707" y="232917"/>
                  <a:pt x="239707" y="217621"/>
                </a:cubicBezTo>
                <a:cubicBezTo>
                  <a:pt x="239707" y="212114"/>
                  <a:pt x="245536" y="206302"/>
                  <a:pt x="247684" y="194983"/>
                </a:cubicBezTo>
                <a:close/>
                <a:moveTo>
                  <a:pt x="266736" y="194281"/>
                </a:moveTo>
                <a:cubicBezTo>
                  <a:pt x="266736" y="194281"/>
                  <a:pt x="266430" y="194281"/>
                  <a:pt x="266430" y="194587"/>
                </a:cubicBezTo>
                <a:cubicBezTo>
                  <a:pt x="266430" y="194587"/>
                  <a:pt x="266736" y="194894"/>
                  <a:pt x="266736" y="194894"/>
                </a:cubicBezTo>
                <a:cubicBezTo>
                  <a:pt x="274080" y="194894"/>
                  <a:pt x="274080" y="194894"/>
                  <a:pt x="274080" y="194894"/>
                </a:cubicBezTo>
                <a:cubicBezTo>
                  <a:pt x="274080" y="194894"/>
                  <a:pt x="274386" y="194587"/>
                  <a:pt x="274386" y="194587"/>
                </a:cubicBezTo>
                <a:cubicBezTo>
                  <a:pt x="274386" y="194281"/>
                  <a:pt x="274080" y="194281"/>
                  <a:pt x="274080" y="194281"/>
                </a:cubicBezTo>
                <a:cubicBezTo>
                  <a:pt x="266736" y="194281"/>
                  <a:pt x="266736" y="194281"/>
                  <a:pt x="266736" y="194281"/>
                </a:cubicBezTo>
                <a:close/>
                <a:moveTo>
                  <a:pt x="292844" y="193360"/>
                </a:moveTo>
                <a:lnTo>
                  <a:pt x="292844" y="220076"/>
                </a:lnTo>
                <a:lnTo>
                  <a:pt x="293775" y="220076"/>
                </a:lnTo>
                <a:cubicBezTo>
                  <a:pt x="294080" y="220076"/>
                  <a:pt x="294385" y="220382"/>
                  <a:pt x="294385" y="220689"/>
                </a:cubicBezTo>
                <a:cubicBezTo>
                  <a:pt x="294385" y="226820"/>
                  <a:pt x="294385" y="226820"/>
                  <a:pt x="294385" y="226820"/>
                </a:cubicBezTo>
                <a:cubicBezTo>
                  <a:pt x="294690" y="226820"/>
                  <a:pt x="294690" y="226820"/>
                  <a:pt x="294690" y="226820"/>
                </a:cubicBezTo>
                <a:cubicBezTo>
                  <a:pt x="295301" y="226820"/>
                  <a:pt x="295606" y="227127"/>
                  <a:pt x="295606" y="227740"/>
                </a:cubicBezTo>
                <a:cubicBezTo>
                  <a:pt x="295606" y="232951"/>
                  <a:pt x="295606" y="232951"/>
                  <a:pt x="295606" y="232951"/>
                </a:cubicBezTo>
                <a:lnTo>
                  <a:pt x="297132" y="232951"/>
                </a:lnTo>
                <a:cubicBezTo>
                  <a:pt x="297437" y="232951"/>
                  <a:pt x="297437" y="232951"/>
                  <a:pt x="297437" y="232951"/>
                </a:cubicBezTo>
                <a:cubicBezTo>
                  <a:pt x="297437" y="232951"/>
                  <a:pt x="297743" y="232951"/>
                  <a:pt x="297743" y="232951"/>
                </a:cubicBezTo>
                <a:cubicBezTo>
                  <a:pt x="298048" y="232951"/>
                  <a:pt x="298048" y="232951"/>
                  <a:pt x="298048" y="232951"/>
                </a:cubicBezTo>
                <a:cubicBezTo>
                  <a:pt x="298048" y="232951"/>
                  <a:pt x="298048" y="232951"/>
                  <a:pt x="298048" y="233258"/>
                </a:cubicBezTo>
                <a:cubicBezTo>
                  <a:pt x="298353" y="233258"/>
                  <a:pt x="298353" y="233258"/>
                  <a:pt x="298353" y="233258"/>
                </a:cubicBezTo>
                <a:cubicBezTo>
                  <a:pt x="298353" y="233565"/>
                  <a:pt x="298353" y="233565"/>
                  <a:pt x="298353" y="233565"/>
                </a:cubicBezTo>
                <a:cubicBezTo>
                  <a:pt x="298353" y="233871"/>
                  <a:pt x="298353" y="233871"/>
                  <a:pt x="298353" y="234178"/>
                </a:cubicBezTo>
                <a:cubicBezTo>
                  <a:pt x="298353" y="253184"/>
                  <a:pt x="298353" y="253184"/>
                  <a:pt x="298353" y="253184"/>
                </a:cubicBezTo>
                <a:cubicBezTo>
                  <a:pt x="298353" y="284147"/>
                  <a:pt x="298353" y="284147"/>
                  <a:pt x="298353" y="284147"/>
                </a:cubicBezTo>
                <a:cubicBezTo>
                  <a:pt x="299879" y="284147"/>
                  <a:pt x="299879" y="284147"/>
                  <a:pt x="299879" y="284147"/>
                </a:cubicBezTo>
                <a:cubicBezTo>
                  <a:pt x="300795" y="284147"/>
                  <a:pt x="301405" y="284760"/>
                  <a:pt x="301405" y="285680"/>
                </a:cubicBezTo>
                <a:cubicBezTo>
                  <a:pt x="301405" y="285987"/>
                  <a:pt x="301405" y="285987"/>
                  <a:pt x="301405" y="285987"/>
                </a:cubicBezTo>
                <a:cubicBezTo>
                  <a:pt x="301405" y="286906"/>
                  <a:pt x="300795" y="287826"/>
                  <a:pt x="299879" y="287826"/>
                </a:cubicBezTo>
                <a:lnTo>
                  <a:pt x="296827" y="287826"/>
                </a:lnTo>
                <a:lnTo>
                  <a:pt x="296827" y="290022"/>
                </a:lnTo>
                <a:cubicBezTo>
                  <a:pt x="296827" y="292514"/>
                  <a:pt x="296827" y="297498"/>
                  <a:pt x="296827" y="307465"/>
                </a:cubicBezTo>
                <a:cubicBezTo>
                  <a:pt x="296827" y="307465"/>
                  <a:pt x="296827" y="307465"/>
                  <a:pt x="299574" y="307465"/>
                </a:cubicBezTo>
                <a:cubicBezTo>
                  <a:pt x="300795" y="307465"/>
                  <a:pt x="301405" y="308386"/>
                  <a:pt x="301405" y="309306"/>
                </a:cubicBezTo>
                <a:cubicBezTo>
                  <a:pt x="301405" y="310532"/>
                  <a:pt x="300795" y="311146"/>
                  <a:pt x="299574" y="311146"/>
                </a:cubicBezTo>
                <a:cubicBezTo>
                  <a:pt x="299574" y="311146"/>
                  <a:pt x="299574" y="311146"/>
                  <a:pt x="285229" y="311146"/>
                </a:cubicBezTo>
                <a:cubicBezTo>
                  <a:pt x="284313" y="311146"/>
                  <a:pt x="283397" y="310532"/>
                  <a:pt x="283397" y="309306"/>
                </a:cubicBezTo>
                <a:cubicBezTo>
                  <a:pt x="283397" y="308386"/>
                  <a:pt x="284313" y="307465"/>
                  <a:pt x="285229" y="307465"/>
                </a:cubicBezTo>
                <a:cubicBezTo>
                  <a:pt x="285229" y="307465"/>
                  <a:pt x="285229" y="307465"/>
                  <a:pt x="288281" y="307465"/>
                </a:cubicBezTo>
                <a:cubicBezTo>
                  <a:pt x="288281" y="307465"/>
                  <a:pt x="288281" y="307465"/>
                  <a:pt x="288281" y="304973"/>
                </a:cubicBezTo>
                <a:lnTo>
                  <a:pt x="288281" y="287826"/>
                </a:lnTo>
                <a:lnTo>
                  <a:pt x="287060" y="287826"/>
                </a:lnTo>
                <a:cubicBezTo>
                  <a:pt x="285229" y="287826"/>
                  <a:pt x="285229" y="287826"/>
                  <a:pt x="285229" y="287826"/>
                </a:cubicBezTo>
                <a:cubicBezTo>
                  <a:pt x="284313" y="287826"/>
                  <a:pt x="283397" y="286906"/>
                  <a:pt x="283397" y="285987"/>
                </a:cubicBezTo>
                <a:cubicBezTo>
                  <a:pt x="283397" y="285680"/>
                  <a:pt x="283397" y="285680"/>
                  <a:pt x="283397" y="285680"/>
                </a:cubicBezTo>
                <a:cubicBezTo>
                  <a:pt x="283397" y="284760"/>
                  <a:pt x="284313" y="284147"/>
                  <a:pt x="285229" y="284147"/>
                </a:cubicBezTo>
                <a:cubicBezTo>
                  <a:pt x="286449" y="284147"/>
                  <a:pt x="286449" y="284147"/>
                  <a:pt x="286449" y="284147"/>
                </a:cubicBezTo>
                <a:cubicBezTo>
                  <a:pt x="286449" y="253184"/>
                  <a:pt x="286449" y="253184"/>
                  <a:pt x="286449" y="253184"/>
                </a:cubicBezTo>
                <a:cubicBezTo>
                  <a:pt x="286449" y="234178"/>
                  <a:pt x="286449" y="234178"/>
                  <a:pt x="286449" y="234178"/>
                </a:cubicBezTo>
                <a:cubicBezTo>
                  <a:pt x="286449" y="233871"/>
                  <a:pt x="286449" y="233871"/>
                  <a:pt x="286449" y="233565"/>
                </a:cubicBezTo>
                <a:cubicBezTo>
                  <a:pt x="286449" y="233565"/>
                  <a:pt x="286755" y="233565"/>
                  <a:pt x="286755" y="233258"/>
                </a:cubicBezTo>
                <a:cubicBezTo>
                  <a:pt x="286755" y="233258"/>
                  <a:pt x="287060" y="233258"/>
                  <a:pt x="287060" y="233258"/>
                </a:cubicBezTo>
                <a:cubicBezTo>
                  <a:pt x="287060" y="232951"/>
                  <a:pt x="287060" y="232951"/>
                  <a:pt x="287060" y="232951"/>
                </a:cubicBezTo>
                <a:cubicBezTo>
                  <a:pt x="287365" y="232951"/>
                  <a:pt x="287365" y="232951"/>
                  <a:pt x="287670" y="232951"/>
                </a:cubicBezTo>
                <a:cubicBezTo>
                  <a:pt x="289196" y="232951"/>
                  <a:pt x="289196" y="232951"/>
                  <a:pt x="289196" y="232951"/>
                </a:cubicBezTo>
                <a:cubicBezTo>
                  <a:pt x="289196" y="227740"/>
                  <a:pt x="289196" y="227740"/>
                  <a:pt x="289196" y="227740"/>
                </a:cubicBezTo>
                <a:cubicBezTo>
                  <a:pt x="289196" y="227127"/>
                  <a:pt x="289807" y="226820"/>
                  <a:pt x="290112" y="226820"/>
                </a:cubicBezTo>
                <a:cubicBezTo>
                  <a:pt x="290417" y="226820"/>
                  <a:pt x="290417" y="226820"/>
                  <a:pt x="290417" y="226820"/>
                </a:cubicBezTo>
                <a:cubicBezTo>
                  <a:pt x="290417" y="220689"/>
                  <a:pt x="290417" y="220689"/>
                  <a:pt x="290417" y="220689"/>
                </a:cubicBezTo>
                <a:cubicBezTo>
                  <a:pt x="290417" y="220382"/>
                  <a:pt x="290723" y="220076"/>
                  <a:pt x="291333" y="220076"/>
                </a:cubicBezTo>
                <a:lnTo>
                  <a:pt x="291958" y="220076"/>
                </a:lnTo>
                <a:lnTo>
                  <a:pt x="291958" y="194983"/>
                </a:lnTo>
                <a:close/>
                <a:moveTo>
                  <a:pt x="220318" y="191945"/>
                </a:moveTo>
                <a:cubicBezTo>
                  <a:pt x="225405" y="193518"/>
                  <a:pt x="229666" y="196748"/>
                  <a:pt x="231888" y="201314"/>
                </a:cubicBezTo>
                <a:lnTo>
                  <a:pt x="233065" y="210629"/>
                </a:lnTo>
                <a:lnTo>
                  <a:pt x="236064" y="210629"/>
                </a:lnTo>
                <a:cubicBezTo>
                  <a:pt x="237003" y="210629"/>
                  <a:pt x="237003" y="210629"/>
                  <a:pt x="237003" y="210629"/>
                </a:cubicBezTo>
                <a:cubicBezTo>
                  <a:pt x="237617" y="210629"/>
                  <a:pt x="238230" y="211238"/>
                  <a:pt x="238230" y="211847"/>
                </a:cubicBezTo>
                <a:cubicBezTo>
                  <a:pt x="238230" y="212760"/>
                  <a:pt x="237617" y="213369"/>
                  <a:pt x="237003" y="213369"/>
                </a:cubicBezTo>
                <a:cubicBezTo>
                  <a:pt x="236390" y="213369"/>
                  <a:pt x="236390" y="213369"/>
                  <a:pt x="236390" y="213369"/>
                </a:cubicBezTo>
                <a:cubicBezTo>
                  <a:pt x="236236" y="216718"/>
                  <a:pt x="232862" y="219686"/>
                  <a:pt x="227531" y="221817"/>
                </a:cubicBezTo>
                <a:lnTo>
                  <a:pt x="227046" y="221898"/>
                </a:lnTo>
                <a:lnTo>
                  <a:pt x="223128" y="228060"/>
                </a:lnTo>
                <a:cubicBezTo>
                  <a:pt x="219446" y="230817"/>
                  <a:pt x="215764" y="232349"/>
                  <a:pt x="211468" y="234493"/>
                </a:cubicBezTo>
                <a:lnTo>
                  <a:pt x="208712" y="236022"/>
                </a:lnTo>
                <a:lnTo>
                  <a:pt x="208712" y="244141"/>
                </a:lnTo>
                <a:cubicBezTo>
                  <a:pt x="208712" y="248487"/>
                  <a:pt x="208712" y="251384"/>
                  <a:pt x="208712" y="253316"/>
                </a:cubicBezTo>
                <a:lnTo>
                  <a:pt x="208712" y="255181"/>
                </a:lnTo>
                <a:lnTo>
                  <a:pt x="213616" y="259918"/>
                </a:lnTo>
                <a:lnTo>
                  <a:pt x="212633" y="261941"/>
                </a:lnTo>
                <a:lnTo>
                  <a:pt x="212995" y="262380"/>
                </a:lnTo>
                <a:cubicBezTo>
                  <a:pt x="217891" y="263298"/>
                  <a:pt x="221256" y="265440"/>
                  <a:pt x="221256" y="267888"/>
                </a:cubicBezTo>
                <a:cubicBezTo>
                  <a:pt x="221256" y="268194"/>
                  <a:pt x="221256" y="268194"/>
                  <a:pt x="221256" y="268194"/>
                </a:cubicBezTo>
                <a:lnTo>
                  <a:pt x="209597" y="268194"/>
                </a:lnTo>
                <a:lnTo>
                  <a:pt x="208706" y="270027"/>
                </a:lnTo>
                <a:cubicBezTo>
                  <a:pt x="208092" y="270333"/>
                  <a:pt x="207479" y="270946"/>
                  <a:pt x="206865" y="271252"/>
                </a:cubicBezTo>
                <a:cubicBezTo>
                  <a:pt x="205331" y="272171"/>
                  <a:pt x="202876" y="273090"/>
                  <a:pt x="201955" y="274928"/>
                </a:cubicBezTo>
                <a:cubicBezTo>
                  <a:pt x="201955" y="275235"/>
                  <a:pt x="201342" y="276460"/>
                  <a:pt x="201035" y="276460"/>
                </a:cubicBezTo>
                <a:cubicBezTo>
                  <a:pt x="200421" y="276154"/>
                  <a:pt x="200728" y="275235"/>
                  <a:pt x="201342" y="274316"/>
                </a:cubicBezTo>
                <a:cubicBezTo>
                  <a:pt x="201955" y="273703"/>
                  <a:pt x="202569" y="273090"/>
                  <a:pt x="203183" y="272784"/>
                </a:cubicBezTo>
                <a:cubicBezTo>
                  <a:pt x="204103" y="271865"/>
                  <a:pt x="205024" y="271252"/>
                  <a:pt x="205331" y="270946"/>
                </a:cubicBezTo>
                <a:lnTo>
                  <a:pt x="208088" y="268194"/>
                </a:lnTo>
                <a:lnTo>
                  <a:pt x="204452" y="268194"/>
                </a:lnTo>
                <a:cubicBezTo>
                  <a:pt x="192189" y="268194"/>
                  <a:pt x="192189" y="268194"/>
                  <a:pt x="192189" y="268194"/>
                </a:cubicBezTo>
                <a:cubicBezTo>
                  <a:pt x="191883" y="268194"/>
                  <a:pt x="191883" y="268194"/>
                  <a:pt x="191883" y="267888"/>
                </a:cubicBezTo>
                <a:cubicBezTo>
                  <a:pt x="191883" y="265440"/>
                  <a:pt x="195555" y="263298"/>
                  <a:pt x="200756" y="262380"/>
                </a:cubicBezTo>
                <a:cubicBezTo>
                  <a:pt x="203204" y="261768"/>
                  <a:pt x="205040" y="259626"/>
                  <a:pt x="205040" y="257179"/>
                </a:cubicBezTo>
                <a:lnTo>
                  <a:pt x="205040" y="254737"/>
                </a:lnTo>
                <a:lnTo>
                  <a:pt x="201342" y="251954"/>
                </a:lnTo>
                <a:cubicBezTo>
                  <a:pt x="198580" y="249197"/>
                  <a:pt x="197046" y="246134"/>
                  <a:pt x="197966" y="242151"/>
                </a:cubicBezTo>
                <a:lnTo>
                  <a:pt x="205020" y="234006"/>
                </a:lnTo>
                <a:lnTo>
                  <a:pt x="205020" y="230851"/>
                </a:lnTo>
                <a:lnTo>
                  <a:pt x="205040" y="230851"/>
                </a:lnTo>
                <a:lnTo>
                  <a:pt x="205040" y="226275"/>
                </a:lnTo>
                <a:cubicBezTo>
                  <a:pt x="208712" y="226275"/>
                  <a:pt x="208712" y="226275"/>
                  <a:pt x="208712" y="226275"/>
                </a:cubicBezTo>
                <a:lnTo>
                  <a:pt x="208712" y="231824"/>
                </a:lnTo>
                <a:lnTo>
                  <a:pt x="215150" y="228060"/>
                </a:lnTo>
                <a:cubicBezTo>
                  <a:pt x="216684" y="227141"/>
                  <a:pt x="217912" y="226223"/>
                  <a:pt x="219446" y="225304"/>
                </a:cubicBezTo>
                <a:lnTo>
                  <a:pt x="221267" y="222859"/>
                </a:lnTo>
                <a:lnTo>
                  <a:pt x="206939" y="225242"/>
                </a:lnTo>
                <a:cubicBezTo>
                  <a:pt x="190986" y="225242"/>
                  <a:pt x="177795" y="220066"/>
                  <a:pt x="177181" y="213369"/>
                </a:cubicBezTo>
                <a:cubicBezTo>
                  <a:pt x="176874" y="213369"/>
                  <a:pt x="176874" y="213369"/>
                  <a:pt x="176874" y="213369"/>
                </a:cubicBezTo>
                <a:cubicBezTo>
                  <a:pt x="176261" y="213369"/>
                  <a:pt x="175647" y="212760"/>
                  <a:pt x="175647" y="211847"/>
                </a:cubicBezTo>
                <a:cubicBezTo>
                  <a:pt x="175647" y="211238"/>
                  <a:pt x="176261" y="210629"/>
                  <a:pt x="176874" y="210629"/>
                </a:cubicBezTo>
                <a:cubicBezTo>
                  <a:pt x="191907" y="210629"/>
                  <a:pt x="203181" y="210629"/>
                  <a:pt x="211636" y="210629"/>
                </a:cubicBezTo>
                <a:lnTo>
                  <a:pt x="228345" y="210629"/>
                </a:lnTo>
                <a:lnTo>
                  <a:pt x="228345" y="207537"/>
                </a:lnTo>
                <a:cubicBezTo>
                  <a:pt x="227117" y="200798"/>
                  <a:pt x="222515" y="195896"/>
                  <a:pt x="215150" y="194977"/>
                </a:cubicBezTo>
                <a:cubicBezTo>
                  <a:pt x="213923" y="194977"/>
                  <a:pt x="212695" y="194977"/>
                  <a:pt x="211468" y="195284"/>
                </a:cubicBezTo>
                <a:cubicBezTo>
                  <a:pt x="208706" y="195590"/>
                  <a:pt x="206558" y="196203"/>
                  <a:pt x="204103" y="198347"/>
                </a:cubicBezTo>
                <a:cubicBezTo>
                  <a:pt x="202876" y="202023"/>
                  <a:pt x="197966" y="207537"/>
                  <a:pt x="193670" y="206618"/>
                </a:cubicBezTo>
                <a:cubicBezTo>
                  <a:pt x="189681" y="206005"/>
                  <a:pt x="189374" y="198960"/>
                  <a:pt x="198887" y="194365"/>
                </a:cubicBezTo>
                <a:cubicBezTo>
                  <a:pt x="200421" y="193752"/>
                  <a:pt x="202262" y="193139"/>
                  <a:pt x="203796" y="192527"/>
                </a:cubicBezTo>
                <a:cubicBezTo>
                  <a:pt x="209320" y="190459"/>
                  <a:pt x="215232" y="190373"/>
                  <a:pt x="220318" y="191945"/>
                </a:cubicBezTo>
                <a:close/>
                <a:moveTo>
                  <a:pt x="263982" y="191830"/>
                </a:moveTo>
                <a:cubicBezTo>
                  <a:pt x="263982" y="191830"/>
                  <a:pt x="263676" y="191830"/>
                  <a:pt x="263676" y="192137"/>
                </a:cubicBezTo>
                <a:cubicBezTo>
                  <a:pt x="263676" y="192137"/>
                  <a:pt x="263982" y="192443"/>
                  <a:pt x="263982" y="192443"/>
                </a:cubicBezTo>
                <a:cubicBezTo>
                  <a:pt x="276834" y="192443"/>
                  <a:pt x="276834" y="192443"/>
                  <a:pt x="276834" y="192443"/>
                </a:cubicBezTo>
                <a:cubicBezTo>
                  <a:pt x="276834" y="192443"/>
                  <a:pt x="277140" y="192137"/>
                  <a:pt x="277140" y="192137"/>
                </a:cubicBezTo>
                <a:cubicBezTo>
                  <a:pt x="277140" y="191830"/>
                  <a:pt x="276834" y="191830"/>
                  <a:pt x="276834" y="191830"/>
                </a:cubicBezTo>
                <a:cubicBezTo>
                  <a:pt x="263982" y="191830"/>
                  <a:pt x="263982" y="191830"/>
                  <a:pt x="263982" y="191830"/>
                </a:cubicBezTo>
                <a:close/>
                <a:moveTo>
                  <a:pt x="107509" y="189745"/>
                </a:moveTo>
                <a:lnTo>
                  <a:pt x="106691" y="190811"/>
                </a:lnTo>
                <a:lnTo>
                  <a:pt x="107118" y="190622"/>
                </a:lnTo>
                <a:close/>
                <a:moveTo>
                  <a:pt x="266736" y="189379"/>
                </a:moveTo>
                <a:cubicBezTo>
                  <a:pt x="266736" y="189379"/>
                  <a:pt x="266430" y="189379"/>
                  <a:pt x="266430" y="189686"/>
                </a:cubicBezTo>
                <a:cubicBezTo>
                  <a:pt x="266430" y="189686"/>
                  <a:pt x="266736" y="189992"/>
                  <a:pt x="266736" y="189992"/>
                </a:cubicBezTo>
                <a:cubicBezTo>
                  <a:pt x="274080" y="189992"/>
                  <a:pt x="274080" y="189992"/>
                  <a:pt x="274080" y="189992"/>
                </a:cubicBezTo>
                <a:cubicBezTo>
                  <a:pt x="274080" y="189992"/>
                  <a:pt x="274386" y="189686"/>
                  <a:pt x="274386" y="189686"/>
                </a:cubicBezTo>
                <a:cubicBezTo>
                  <a:pt x="274386" y="189379"/>
                  <a:pt x="274080" y="189379"/>
                  <a:pt x="274080" y="189379"/>
                </a:cubicBezTo>
                <a:cubicBezTo>
                  <a:pt x="266736" y="189379"/>
                  <a:pt x="266736" y="189379"/>
                  <a:pt x="266736" y="189379"/>
                </a:cubicBezTo>
                <a:close/>
                <a:moveTo>
                  <a:pt x="77477" y="189257"/>
                </a:moveTo>
                <a:lnTo>
                  <a:pt x="76169" y="190961"/>
                </a:lnTo>
                <a:lnTo>
                  <a:pt x="77020" y="190622"/>
                </a:lnTo>
                <a:close/>
                <a:moveTo>
                  <a:pt x="92769" y="189067"/>
                </a:moveTo>
                <a:lnTo>
                  <a:pt x="91527" y="190865"/>
                </a:lnTo>
                <a:lnTo>
                  <a:pt x="92075" y="190622"/>
                </a:lnTo>
                <a:close/>
                <a:moveTo>
                  <a:pt x="123178" y="189063"/>
                </a:moveTo>
                <a:lnTo>
                  <a:pt x="121933" y="190865"/>
                </a:lnTo>
                <a:lnTo>
                  <a:pt x="122482" y="190622"/>
                </a:lnTo>
                <a:close/>
                <a:moveTo>
                  <a:pt x="115991" y="188699"/>
                </a:moveTo>
                <a:lnTo>
                  <a:pt x="116634" y="190622"/>
                </a:lnTo>
                <a:lnTo>
                  <a:pt x="119094" y="191603"/>
                </a:lnTo>
                <a:close/>
                <a:moveTo>
                  <a:pt x="85584" y="188697"/>
                </a:moveTo>
                <a:lnTo>
                  <a:pt x="86227" y="190622"/>
                </a:lnTo>
                <a:lnTo>
                  <a:pt x="88689" y="191603"/>
                </a:lnTo>
                <a:close/>
                <a:moveTo>
                  <a:pt x="70187" y="188414"/>
                </a:moveTo>
                <a:lnTo>
                  <a:pt x="71172" y="190622"/>
                </a:lnTo>
                <a:lnTo>
                  <a:pt x="73354" y="191589"/>
                </a:lnTo>
                <a:close/>
                <a:moveTo>
                  <a:pt x="100592" y="188412"/>
                </a:moveTo>
                <a:lnTo>
                  <a:pt x="101578" y="190622"/>
                </a:lnTo>
                <a:lnTo>
                  <a:pt x="103762" y="191589"/>
                </a:lnTo>
                <a:close/>
                <a:moveTo>
                  <a:pt x="301115" y="187013"/>
                </a:moveTo>
                <a:cubicBezTo>
                  <a:pt x="301115" y="187013"/>
                  <a:pt x="301115" y="187013"/>
                  <a:pt x="305095" y="187013"/>
                </a:cubicBezTo>
                <a:lnTo>
                  <a:pt x="309075" y="187013"/>
                </a:lnTo>
                <a:cubicBezTo>
                  <a:pt x="309381" y="187013"/>
                  <a:pt x="309687" y="187013"/>
                  <a:pt x="309687" y="187320"/>
                </a:cubicBezTo>
                <a:cubicBezTo>
                  <a:pt x="309994" y="190388"/>
                  <a:pt x="310606" y="192229"/>
                  <a:pt x="311524" y="194377"/>
                </a:cubicBezTo>
                <a:cubicBezTo>
                  <a:pt x="312137" y="195912"/>
                  <a:pt x="312443" y="196525"/>
                  <a:pt x="312749" y="197753"/>
                </a:cubicBezTo>
                <a:cubicBezTo>
                  <a:pt x="313361" y="201742"/>
                  <a:pt x="312749" y="208493"/>
                  <a:pt x="308463" y="210334"/>
                </a:cubicBezTo>
                <a:cubicBezTo>
                  <a:pt x="308463" y="210334"/>
                  <a:pt x="308463" y="210334"/>
                  <a:pt x="305095" y="210334"/>
                </a:cubicBezTo>
                <a:cubicBezTo>
                  <a:pt x="305095" y="210334"/>
                  <a:pt x="305095" y="210334"/>
                  <a:pt x="304789" y="210334"/>
                </a:cubicBezTo>
                <a:cubicBezTo>
                  <a:pt x="304789" y="210334"/>
                  <a:pt x="304789" y="210334"/>
                  <a:pt x="301421" y="210334"/>
                </a:cubicBezTo>
                <a:cubicBezTo>
                  <a:pt x="297135" y="208493"/>
                  <a:pt x="296829" y="201742"/>
                  <a:pt x="297442" y="197753"/>
                </a:cubicBezTo>
                <a:cubicBezTo>
                  <a:pt x="297748" y="196525"/>
                  <a:pt x="298054" y="195912"/>
                  <a:pt x="298360" y="194377"/>
                </a:cubicBezTo>
                <a:cubicBezTo>
                  <a:pt x="299585" y="192229"/>
                  <a:pt x="299891" y="190388"/>
                  <a:pt x="300197" y="187320"/>
                </a:cubicBezTo>
                <a:cubicBezTo>
                  <a:pt x="300197" y="187013"/>
                  <a:pt x="300503" y="187013"/>
                  <a:pt x="301115" y="187013"/>
                </a:cubicBezTo>
                <a:close/>
                <a:moveTo>
                  <a:pt x="266736" y="186929"/>
                </a:moveTo>
                <a:cubicBezTo>
                  <a:pt x="266736" y="186929"/>
                  <a:pt x="266430" y="187235"/>
                  <a:pt x="266430" y="187235"/>
                </a:cubicBezTo>
                <a:cubicBezTo>
                  <a:pt x="266430" y="187541"/>
                  <a:pt x="266736" y="187541"/>
                  <a:pt x="266736" y="187541"/>
                </a:cubicBezTo>
                <a:cubicBezTo>
                  <a:pt x="274080" y="187541"/>
                  <a:pt x="274080" y="187541"/>
                  <a:pt x="274080" y="187541"/>
                </a:cubicBezTo>
                <a:cubicBezTo>
                  <a:pt x="274080" y="187541"/>
                  <a:pt x="274386" y="187541"/>
                  <a:pt x="274386" y="187235"/>
                </a:cubicBezTo>
                <a:cubicBezTo>
                  <a:pt x="274386" y="187235"/>
                  <a:pt x="274080" y="186929"/>
                  <a:pt x="274080" y="186929"/>
                </a:cubicBezTo>
                <a:cubicBezTo>
                  <a:pt x="266736" y="186929"/>
                  <a:pt x="266736" y="186929"/>
                  <a:pt x="266736" y="186929"/>
                </a:cubicBezTo>
                <a:close/>
                <a:moveTo>
                  <a:pt x="266736" y="184784"/>
                </a:moveTo>
                <a:cubicBezTo>
                  <a:pt x="266736" y="184784"/>
                  <a:pt x="266430" y="184784"/>
                  <a:pt x="266430" y="185091"/>
                </a:cubicBezTo>
                <a:cubicBezTo>
                  <a:pt x="266430" y="185091"/>
                  <a:pt x="266736" y="185397"/>
                  <a:pt x="266736" y="185397"/>
                </a:cubicBezTo>
                <a:cubicBezTo>
                  <a:pt x="274080" y="185397"/>
                  <a:pt x="274080" y="185397"/>
                  <a:pt x="274080" y="185397"/>
                </a:cubicBezTo>
                <a:cubicBezTo>
                  <a:pt x="274080" y="185397"/>
                  <a:pt x="274386" y="185091"/>
                  <a:pt x="274386" y="185091"/>
                </a:cubicBezTo>
                <a:cubicBezTo>
                  <a:pt x="274386" y="184784"/>
                  <a:pt x="274080" y="184784"/>
                  <a:pt x="274080" y="184784"/>
                </a:cubicBezTo>
                <a:cubicBezTo>
                  <a:pt x="266736" y="184784"/>
                  <a:pt x="266736" y="184784"/>
                  <a:pt x="266736" y="184784"/>
                </a:cubicBezTo>
                <a:close/>
                <a:moveTo>
                  <a:pt x="340741" y="184417"/>
                </a:moveTo>
                <a:cubicBezTo>
                  <a:pt x="342402" y="184417"/>
                  <a:pt x="344062" y="186102"/>
                  <a:pt x="344062" y="189473"/>
                </a:cubicBezTo>
                <a:cubicBezTo>
                  <a:pt x="344062" y="191617"/>
                  <a:pt x="342553" y="193762"/>
                  <a:pt x="341345" y="197133"/>
                </a:cubicBezTo>
                <a:cubicBezTo>
                  <a:pt x="341345" y="232981"/>
                  <a:pt x="341345" y="232981"/>
                  <a:pt x="341345" y="232981"/>
                </a:cubicBezTo>
                <a:cubicBezTo>
                  <a:pt x="342553" y="236352"/>
                  <a:pt x="344062" y="238496"/>
                  <a:pt x="344062" y="240335"/>
                </a:cubicBezTo>
                <a:cubicBezTo>
                  <a:pt x="344062" y="247382"/>
                  <a:pt x="337420" y="247382"/>
                  <a:pt x="337420" y="240335"/>
                </a:cubicBezTo>
                <a:cubicBezTo>
                  <a:pt x="337420" y="238496"/>
                  <a:pt x="338930" y="236352"/>
                  <a:pt x="340137" y="232981"/>
                </a:cubicBezTo>
                <a:cubicBezTo>
                  <a:pt x="340137" y="197133"/>
                  <a:pt x="340137" y="197133"/>
                  <a:pt x="340137" y="197133"/>
                </a:cubicBezTo>
                <a:cubicBezTo>
                  <a:pt x="338930" y="193762"/>
                  <a:pt x="337420" y="191617"/>
                  <a:pt x="337420" y="189473"/>
                </a:cubicBezTo>
                <a:cubicBezTo>
                  <a:pt x="337420" y="186102"/>
                  <a:pt x="339081" y="184417"/>
                  <a:pt x="340741" y="184417"/>
                </a:cubicBezTo>
                <a:close/>
                <a:moveTo>
                  <a:pt x="263982" y="181721"/>
                </a:moveTo>
                <a:cubicBezTo>
                  <a:pt x="263982" y="181721"/>
                  <a:pt x="263676" y="181721"/>
                  <a:pt x="263676" y="182027"/>
                </a:cubicBezTo>
                <a:cubicBezTo>
                  <a:pt x="263676" y="182027"/>
                  <a:pt x="263982" y="182334"/>
                  <a:pt x="263982" y="182334"/>
                </a:cubicBezTo>
                <a:cubicBezTo>
                  <a:pt x="276834" y="182334"/>
                  <a:pt x="276834" y="182334"/>
                  <a:pt x="276834" y="182334"/>
                </a:cubicBezTo>
                <a:cubicBezTo>
                  <a:pt x="276834" y="182334"/>
                  <a:pt x="277140" y="182027"/>
                  <a:pt x="277140" y="182027"/>
                </a:cubicBezTo>
                <a:cubicBezTo>
                  <a:pt x="277140" y="181721"/>
                  <a:pt x="276834" y="181721"/>
                  <a:pt x="276834" y="181721"/>
                </a:cubicBezTo>
                <a:cubicBezTo>
                  <a:pt x="263982" y="181721"/>
                  <a:pt x="263982" y="181721"/>
                  <a:pt x="263982" y="181721"/>
                </a:cubicBezTo>
                <a:close/>
                <a:moveTo>
                  <a:pt x="136887" y="180801"/>
                </a:moveTo>
                <a:cubicBezTo>
                  <a:pt x="136274" y="181720"/>
                  <a:pt x="135967" y="182638"/>
                  <a:pt x="135660" y="183557"/>
                </a:cubicBezTo>
                <a:cubicBezTo>
                  <a:pt x="158353" y="183557"/>
                  <a:pt x="158353" y="183557"/>
                  <a:pt x="158353" y="183557"/>
                </a:cubicBezTo>
                <a:cubicBezTo>
                  <a:pt x="158046" y="182638"/>
                  <a:pt x="157739" y="181720"/>
                  <a:pt x="157126" y="180801"/>
                </a:cubicBezTo>
                <a:cubicBezTo>
                  <a:pt x="136887" y="180801"/>
                  <a:pt x="136887" y="180801"/>
                  <a:pt x="136887" y="180801"/>
                </a:cubicBezTo>
                <a:close/>
                <a:moveTo>
                  <a:pt x="367752" y="178747"/>
                </a:moveTo>
                <a:cubicBezTo>
                  <a:pt x="368084" y="178747"/>
                  <a:pt x="368416" y="179052"/>
                  <a:pt x="368416" y="179358"/>
                </a:cubicBezTo>
                <a:cubicBezTo>
                  <a:pt x="368416" y="217251"/>
                  <a:pt x="368416" y="217251"/>
                  <a:pt x="368416" y="217251"/>
                </a:cubicBezTo>
                <a:cubicBezTo>
                  <a:pt x="368416" y="217556"/>
                  <a:pt x="368084" y="217862"/>
                  <a:pt x="367752" y="217862"/>
                </a:cubicBezTo>
                <a:cubicBezTo>
                  <a:pt x="367420" y="217862"/>
                  <a:pt x="367088" y="217556"/>
                  <a:pt x="367088" y="217251"/>
                </a:cubicBezTo>
                <a:lnTo>
                  <a:pt x="367088" y="179358"/>
                </a:lnTo>
                <a:cubicBezTo>
                  <a:pt x="367088" y="179052"/>
                  <a:pt x="367420" y="178747"/>
                  <a:pt x="367752" y="178747"/>
                </a:cubicBezTo>
                <a:close/>
                <a:moveTo>
                  <a:pt x="405090" y="176936"/>
                </a:moveTo>
                <a:lnTo>
                  <a:pt x="390798" y="180281"/>
                </a:lnTo>
                <a:cubicBezTo>
                  <a:pt x="390798" y="180281"/>
                  <a:pt x="390798" y="180587"/>
                  <a:pt x="390798" y="180893"/>
                </a:cubicBezTo>
                <a:cubicBezTo>
                  <a:pt x="390798" y="183954"/>
                  <a:pt x="393559" y="187015"/>
                  <a:pt x="397855" y="189157"/>
                </a:cubicBezTo>
                <a:lnTo>
                  <a:pt x="407982" y="191248"/>
                </a:lnTo>
                <a:lnTo>
                  <a:pt x="406739" y="190738"/>
                </a:lnTo>
                <a:cubicBezTo>
                  <a:pt x="404481" y="188468"/>
                  <a:pt x="403103" y="185313"/>
                  <a:pt x="403103" y="181773"/>
                </a:cubicBezTo>
                <a:close/>
                <a:moveTo>
                  <a:pt x="425919" y="176898"/>
                </a:moveTo>
                <a:lnTo>
                  <a:pt x="427900" y="181773"/>
                </a:lnTo>
                <a:cubicBezTo>
                  <a:pt x="427900" y="185313"/>
                  <a:pt x="426523" y="188468"/>
                  <a:pt x="424303" y="190738"/>
                </a:cubicBezTo>
                <a:lnTo>
                  <a:pt x="422887" y="191336"/>
                </a:lnTo>
                <a:lnTo>
                  <a:pt x="433445" y="189157"/>
                </a:lnTo>
                <a:cubicBezTo>
                  <a:pt x="437740" y="187015"/>
                  <a:pt x="440195" y="183954"/>
                  <a:pt x="440195" y="180893"/>
                </a:cubicBezTo>
                <a:cubicBezTo>
                  <a:pt x="440195" y="180587"/>
                  <a:pt x="440195" y="180281"/>
                  <a:pt x="440195" y="180281"/>
                </a:cubicBezTo>
                <a:close/>
                <a:moveTo>
                  <a:pt x="415654" y="176828"/>
                </a:moveTo>
                <a:cubicBezTo>
                  <a:pt x="417787" y="176828"/>
                  <a:pt x="419921" y="178682"/>
                  <a:pt x="420225" y="180845"/>
                </a:cubicBezTo>
                <a:cubicBezTo>
                  <a:pt x="419921" y="180536"/>
                  <a:pt x="419311" y="180536"/>
                  <a:pt x="418702" y="180536"/>
                </a:cubicBezTo>
                <a:cubicBezTo>
                  <a:pt x="417178" y="180536"/>
                  <a:pt x="415959" y="181772"/>
                  <a:pt x="415959" y="183318"/>
                </a:cubicBezTo>
                <a:cubicBezTo>
                  <a:pt x="415959" y="184554"/>
                  <a:pt x="417178" y="185790"/>
                  <a:pt x="418397" y="186099"/>
                </a:cubicBezTo>
                <a:cubicBezTo>
                  <a:pt x="417483" y="186408"/>
                  <a:pt x="416568" y="186717"/>
                  <a:pt x="415654" y="186717"/>
                </a:cubicBezTo>
                <a:cubicBezTo>
                  <a:pt x="412911" y="186717"/>
                  <a:pt x="410778" y="184554"/>
                  <a:pt x="410778" y="181772"/>
                </a:cubicBezTo>
                <a:cubicBezTo>
                  <a:pt x="410778" y="179300"/>
                  <a:pt x="412911" y="176828"/>
                  <a:pt x="415654" y="176828"/>
                </a:cubicBezTo>
                <a:close/>
                <a:moveTo>
                  <a:pt x="352394" y="176238"/>
                </a:moveTo>
                <a:cubicBezTo>
                  <a:pt x="352998" y="176238"/>
                  <a:pt x="352998" y="176238"/>
                  <a:pt x="352998" y="176238"/>
                </a:cubicBezTo>
                <a:cubicBezTo>
                  <a:pt x="354508" y="176238"/>
                  <a:pt x="356017" y="177773"/>
                  <a:pt x="356017" y="179308"/>
                </a:cubicBezTo>
                <a:cubicBezTo>
                  <a:pt x="356017" y="214927"/>
                  <a:pt x="356017" y="214927"/>
                  <a:pt x="356017" y="214927"/>
                </a:cubicBezTo>
                <a:cubicBezTo>
                  <a:pt x="356017" y="216770"/>
                  <a:pt x="354508" y="218305"/>
                  <a:pt x="352998" y="218305"/>
                </a:cubicBezTo>
                <a:cubicBezTo>
                  <a:pt x="352394" y="218305"/>
                  <a:pt x="352394" y="218305"/>
                  <a:pt x="352394" y="218305"/>
                </a:cubicBezTo>
                <a:cubicBezTo>
                  <a:pt x="350583" y="218305"/>
                  <a:pt x="349375" y="216770"/>
                  <a:pt x="349375" y="214927"/>
                </a:cubicBezTo>
                <a:cubicBezTo>
                  <a:pt x="349375" y="179308"/>
                  <a:pt x="349375" y="179308"/>
                  <a:pt x="349375" y="179308"/>
                </a:cubicBezTo>
                <a:cubicBezTo>
                  <a:pt x="349375" y="177773"/>
                  <a:pt x="350583" y="176238"/>
                  <a:pt x="352394" y="176238"/>
                </a:cubicBezTo>
                <a:close/>
                <a:moveTo>
                  <a:pt x="361552" y="174955"/>
                </a:moveTo>
                <a:cubicBezTo>
                  <a:pt x="361245" y="174955"/>
                  <a:pt x="360938" y="175262"/>
                  <a:pt x="360632" y="175262"/>
                </a:cubicBezTo>
                <a:cubicBezTo>
                  <a:pt x="360632" y="175569"/>
                  <a:pt x="360632" y="175876"/>
                  <a:pt x="360632" y="176183"/>
                </a:cubicBezTo>
                <a:cubicBezTo>
                  <a:pt x="360632" y="176796"/>
                  <a:pt x="360632" y="176796"/>
                  <a:pt x="360632" y="176796"/>
                </a:cubicBezTo>
                <a:cubicBezTo>
                  <a:pt x="360632" y="177103"/>
                  <a:pt x="360632" y="177103"/>
                  <a:pt x="360632" y="177410"/>
                </a:cubicBezTo>
                <a:cubicBezTo>
                  <a:pt x="360938" y="177717"/>
                  <a:pt x="361245" y="177717"/>
                  <a:pt x="361552" y="177717"/>
                </a:cubicBezTo>
                <a:cubicBezTo>
                  <a:pt x="364008" y="177717"/>
                  <a:pt x="364008" y="177717"/>
                  <a:pt x="364008" y="177717"/>
                </a:cubicBezTo>
                <a:cubicBezTo>
                  <a:pt x="364622" y="177717"/>
                  <a:pt x="364622" y="177717"/>
                  <a:pt x="364622" y="177717"/>
                </a:cubicBezTo>
                <a:cubicBezTo>
                  <a:pt x="364622" y="178331"/>
                  <a:pt x="364622" y="178331"/>
                  <a:pt x="364622" y="178331"/>
                </a:cubicBezTo>
                <a:cubicBezTo>
                  <a:pt x="364622" y="217300"/>
                  <a:pt x="364622" y="217300"/>
                  <a:pt x="364622" y="217300"/>
                </a:cubicBezTo>
                <a:cubicBezTo>
                  <a:pt x="364622" y="217607"/>
                  <a:pt x="364622" y="217607"/>
                  <a:pt x="364622" y="217607"/>
                </a:cubicBezTo>
                <a:cubicBezTo>
                  <a:pt x="364008" y="217914"/>
                  <a:pt x="364008" y="217914"/>
                  <a:pt x="364008" y="217914"/>
                </a:cubicBezTo>
                <a:cubicBezTo>
                  <a:pt x="359711" y="219448"/>
                  <a:pt x="356028" y="222210"/>
                  <a:pt x="353265" y="225892"/>
                </a:cubicBezTo>
                <a:cubicBezTo>
                  <a:pt x="350810" y="229267"/>
                  <a:pt x="349275" y="233870"/>
                  <a:pt x="349275" y="238472"/>
                </a:cubicBezTo>
                <a:lnTo>
                  <a:pt x="350167" y="241773"/>
                </a:lnTo>
                <a:lnTo>
                  <a:pt x="350347" y="241773"/>
                </a:lnTo>
                <a:cubicBezTo>
                  <a:pt x="351698" y="241773"/>
                  <a:pt x="355753" y="241773"/>
                  <a:pt x="367916" y="241773"/>
                </a:cubicBezTo>
                <a:lnTo>
                  <a:pt x="392185" y="241773"/>
                </a:lnTo>
                <a:lnTo>
                  <a:pt x="393167" y="238472"/>
                </a:lnTo>
                <a:cubicBezTo>
                  <a:pt x="393167" y="233870"/>
                  <a:pt x="391632" y="229267"/>
                  <a:pt x="388869" y="225892"/>
                </a:cubicBezTo>
                <a:cubicBezTo>
                  <a:pt x="386414" y="222210"/>
                  <a:pt x="382731" y="219448"/>
                  <a:pt x="378127" y="217914"/>
                </a:cubicBezTo>
                <a:cubicBezTo>
                  <a:pt x="377820" y="217607"/>
                  <a:pt x="377820" y="217607"/>
                  <a:pt x="377820" y="217607"/>
                </a:cubicBezTo>
                <a:cubicBezTo>
                  <a:pt x="377820" y="217300"/>
                  <a:pt x="377820" y="217300"/>
                  <a:pt x="377820" y="217300"/>
                </a:cubicBezTo>
                <a:cubicBezTo>
                  <a:pt x="377820" y="178331"/>
                  <a:pt x="377820" y="178331"/>
                  <a:pt x="377820" y="178331"/>
                </a:cubicBezTo>
                <a:cubicBezTo>
                  <a:pt x="377820" y="177717"/>
                  <a:pt x="377820" y="177717"/>
                  <a:pt x="377820" y="177717"/>
                </a:cubicBezTo>
                <a:cubicBezTo>
                  <a:pt x="378434" y="177717"/>
                  <a:pt x="378434" y="177717"/>
                  <a:pt x="378434" y="177717"/>
                </a:cubicBezTo>
                <a:cubicBezTo>
                  <a:pt x="380889" y="177717"/>
                  <a:pt x="380889" y="177717"/>
                  <a:pt x="380889" y="177717"/>
                </a:cubicBezTo>
                <a:cubicBezTo>
                  <a:pt x="381196" y="177717"/>
                  <a:pt x="381503" y="177717"/>
                  <a:pt x="381503" y="177410"/>
                </a:cubicBezTo>
                <a:cubicBezTo>
                  <a:pt x="381810" y="177103"/>
                  <a:pt x="381810" y="177103"/>
                  <a:pt x="381810" y="176796"/>
                </a:cubicBezTo>
                <a:cubicBezTo>
                  <a:pt x="381810" y="176183"/>
                  <a:pt x="381810" y="176183"/>
                  <a:pt x="381810" y="176183"/>
                </a:cubicBezTo>
                <a:cubicBezTo>
                  <a:pt x="381810" y="175876"/>
                  <a:pt x="381810" y="175569"/>
                  <a:pt x="381503" y="175262"/>
                </a:cubicBezTo>
                <a:cubicBezTo>
                  <a:pt x="381503" y="175262"/>
                  <a:pt x="381196" y="175262"/>
                  <a:pt x="380889" y="175262"/>
                </a:cubicBezTo>
                <a:cubicBezTo>
                  <a:pt x="361552" y="174955"/>
                  <a:pt x="361552" y="174955"/>
                  <a:pt x="361552" y="174955"/>
                </a:cubicBezTo>
                <a:close/>
                <a:moveTo>
                  <a:pt x="415650" y="174465"/>
                </a:moveTo>
                <a:lnTo>
                  <a:pt x="407144" y="176456"/>
                </a:lnTo>
                <a:lnTo>
                  <a:pt x="404940" y="181773"/>
                </a:lnTo>
                <a:cubicBezTo>
                  <a:pt x="404940" y="184851"/>
                  <a:pt x="406165" y="187621"/>
                  <a:pt x="408001" y="189468"/>
                </a:cubicBezTo>
                <a:cubicBezTo>
                  <a:pt x="410144" y="191315"/>
                  <a:pt x="412593" y="192546"/>
                  <a:pt x="415655" y="192546"/>
                </a:cubicBezTo>
                <a:cubicBezTo>
                  <a:pt x="418410" y="192546"/>
                  <a:pt x="421165" y="191315"/>
                  <a:pt x="423002" y="189468"/>
                </a:cubicBezTo>
                <a:cubicBezTo>
                  <a:pt x="424839" y="187621"/>
                  <a:pt x="426063" y="184851"/>
                  <a:pt x="426063" y="181773"/>
                </a:cubicBezTo>
                <a:lnTo>
                  <a:pt x="423839" y="176405"/>
                </a:lnTo>
                <a:close/>
                <a:moveTo>
                  <a:pt x="361552" y="173728"/>
                </a:moveTo>
                <a:cubicBezTo>
                  <a:pt x="380889" y="173728"/>
                  <a:pt x="380889" y="173728"/>
                  <a:pt x="380889" y="173728"/>
                </a:cubicBezTo>
                <a:cubicBezTo>
                  <a:pt x="381503" y="173728"/>
                  <a:pt x="382117" y="174035"/>
                  <a:pt x="382424" y="174342"/>
                </a:cubicBezTo>
                <a:cubicBezTo>
                  <a:pt x="383038" y="174955"/>
                  <a:pt x="383345" y="175569"/>
                  <a:pt x="383345" y="176183"/>
                </a:cubicBezTo>
                <a:cubicBezTo>
                  <a:pt x="383345" y="176796"/>
                  <a:pt x="383345" y="176796"/>
                  <a:pt x="383345" y="176796"/>
                </a:cubicBezTo>
                <a:cubicBezTo>
                  <a:pt x="383345" y="177410"/>
                  <a:pt x="383038" y="178024"/>
                  <a:pt x="382424" y="178331"/>
                </a:cubicBezTo>
                <a:cubicBezTo>
                  <a:pt x="382117" y="178944"/>
                  <a:pt x="381503" y="178944"/>
                  <a:pt x="380889" y="178944"/>
                </a:cubicBezTo>
                <a:cubicBezTo>
                  <a:pt x="379048" y="178944"/>
                  <a:pt x="379048" y="178944"/>
                  <a:pt x="379048" y="178944"/>
                </a:cubicBezTo>
                <a:cubicBezTo>
                  <a:pt x="379048" y="216686"/>
                  <a:pt x="379048" y="216686"/>
                  <a:pt x="379048" y="216686"/>
                </a:cubicBezTo>
                <a:cubicBezTo>
                  <a:pt x="383652" y="218221"/>
                  <a:pt x="387335" y="221289"/>
                  <a:pt x="390097" y="224971"/>
                </a:cubicBezTo>
                <a:cubicBezTo>
                  <a:pt x="392860" y="228960"/>
                  <a:pt x="394394" y="233563"/>
                  <a:pt x="394394" y="238472"/>
                </a:cubicBezTo>
                <a:cubicBezTo>
                  <a:pt x="394394" y="243075"/>
                  <a:pt x="393167" y="247064"/>
                  <a:pt x="391018" y="250746"/>
                </a:cubicBezTo>
                <a:cubicBezTo>
                  <a:pt x="388869" y="254121"/>
                  <a:pt x="385493" y="257190"/>
                  <a:pt x="381810" y="259031"/>
                </a:cubicBezTo>
                <a:cubicBezTo>
                  <a:pt x="381810" y="259338"/>
                  <a:pt x="381810" y="259338"/>
                  <a:pt x="381810" y="259338"/>
                </a:cubicBezTo>
                <a:cubicBezTo>
                  <a:pt x="381503" y="259338"/>
                  <a:pt x="381503" y="259338"/>
                  <a:pt x="381503" y="259338"/>
                </a:cubicBezTo>
                <a:cubicBezTo>
                  <a:pt x="360938" y="259338"/>
                  <a:pt x="360938" y="259338"/>
                  <a:pt x="360938" y="259338"/>
                </a:cubicBezTo>
                <a:cubicBezTo>
                  <a:pt x="360632" y="259338"/>
                  <a:pt x="360632" y="259338"/>
                  <a:pt x="360632" y="259338"/>
                </a:cubicBezTo>
                <a:cubicBezTo>
                  <a:pt x="360632" y="259031"/>
                  <a:pt x="360632" y="259031"/>
                  <a:pt x="360632" y="259031"/>
                </a:cubicBezTo>
                <a:cubicBezTo>
                  <a:pt x="356641" y="257190"/>
                  <a:pt x="353572" y="254121"/>
                  <a:pt x="351424" y="250746"/>
                </a:cubicBezTo>
                <a:cubicBezTo>
                  <a:pt x="349275" y="247064"/>
                  <a:pt x="348047" y="243075"/>
                  <a:pt x="348047" y="238472"/>
                </a:cubicBezTo>
                <a:cubicBezTo>
                  <a:pt x="348047" y="233563"/>
                  <a:pt x="349582" y="228960"/>
                  <a:pt x="352344" y="224971"/>
                </a:cubicBezTo>
                <a:cubicBezTo>
                  <a:pt x="355107" y="221289"/>
                  <a:pt x="358790" y="218221"/>
                  <a:pt x="363087" y="216686"/>
                </a:cubicBezTo>
                <a:cubicBezTo>
                  <a:pt x="363087" y="178944"/>
                  <a:pt x="363087" y="178944"/>
                  <a:pt x="363087" y="178944"/>
                </a:cubicBezTo>
                <a:cubicBezTo>
                  <a:pt x="361552" y="178944"/>
                  <a:pt x="361552" y="178944"/>
                  <a:pt x="361552" y="178944"/>
                </a:cubicBezTo>
                <a:cubicBezTo>
                  <a:pt x="360938" y="178944"/>
                  <a:pt x="360325" y="178944"/>
                  <a:pt x="359711" y="178331"/>
                </a:cubicBezTo>
                <a:cubicBezTo>
                  <a:pt x="359404" y="178024"/>
                  <a:pt x="359097" y="177410"/>
                  <a:pt x="359097" y="176796"/>
                </a:cubicBezTo>
                <a:cubicBezTo>
                  <a:pt x="359097" y="176183"/>
                  <a:pt x="359097" y="176183"/>
                  <a:pt x="359097" y="176183"/>
                </a:cubicBezTo>
                <a:cubicBezTo>
                  <a:pt x="359097" y="175569"/>
                  <a:pt x="359404" y="174955"/>
                  <a:pt x="359711" y="174342"/>
                </a:cubicBezTo>
                <a:cubicBezTo>
                  <a:pt x="360325" y="174035"/>
                  <a:pt x="360938" y="173728"/>
                  <a:pt x="361552" y="173728"/>
                </a:cubicBezTo>
                <a:close/>
                <a:moveTo>
                  <a:pt x="326338" y="173728"/>
                </a:moveTo>
                <a:cubicBezTo>
                  <a:pt x="339511" y="174649"/>
                  <a:pt x="339511" y="174649"/>
                  <a:pt x="339511" y="174649"/>
                </a:cubicBezTo>
                <a:cubicBezTo>
                  <a:pt x="341350" y="174649"/>
                  <a:pt x="342881" y="176183"/>
                  <a:pt x="342881" y="178025"/>
                </a:cubicBezTo>
                <a:cubicBezTo>
                  <a:pt x="342881" y="178638"/>
                  <a:pt x="342881" y="178638"/>
                  <a:pt x="342881" y="178638"/>
                </a:cubicBezTo>
                <a:cubicBezTo>
                  <a:pt x="342881" y="180480"/>
                  <a:pt x="341350" y="182014"/>
                  <a:pt x="339511" y="182014"/>
                </a:cubicBezTo>
                <a:cubicBezTo>
                  <a:pt x="327870" y="182628"/>
                  <a:pt x="327870" y="182628"/>
                  <a:pt x="327870" y="182628"/>
                </a:cubicBezTo>
                <a:cubicBezTo>
                  <a:pt x="327870" y="217616"/>
                  <a:pt x="327870" y="217616"/>
                  <a:pt x="327870" y="217616"/>
                </a:cubicBezTo>
                <a:cubicBezTo>
                  <a:pt x="328483" y="217616"/>
                  <a:pt x="328483" y="217616"/>
                  <a:pt x="328483" y="217616"/>
                </a:cubicBezTo>
                <a:cubicBezTo>
                  <a:pt x="329708" y="217616"/>
                  <a:pt x="330934" y="218537"/>
                  <a:pt x="330934" y="220071"/>
                </a:cubicBezTo>
                <a:cubicBezTo>
                  <a:pt x="330934" y="235724"/>
                  <a:pt x="330934" y="235724"/>
                  <a:pt x="330934" y="235724"/>
                </a:cubicBezTo>
                <a:cubicBezTo>
                  <a:pt x="332159" y="258742"/>
                  <a:pt x="332159" y="258742"/>
                  <a:pt x="332159" y="258742"/>
                </a:cubicBezTo>
                <a:cubicBezTo>
                  <a:pt x="332159" y="260890"/>
                  <a:pt x="329096" y="262732"/>
                  <a:pt x="326951" y="262732"/>
                </a:cubicBezTo>
                <a:cubicBezTo>
                  <a:pt x="326645" y="262732"/>
                  <a:pt x="326645" y="262732"/>
                  <a:pt x="326645" y="262732"/>
                </a:cubicBezTo>
                <a:cubicBezTo>
                  <a:pt x="324500" y="262732"/>
                  <a:pt x="321130" y="260890"/>
                  <a:pt x="321130" y="258742"/>
                </a:cubicBezTo>
                <a:cubicBezTo>
                  <a:pt x="322662" y="235724"/>
                  <a:pt x="322662" y="235724"/>
                  <a:pt x="322662" y="235724"/>
                </a:cubicBezTo>
                <a:cubicBezTo>
                  <a:pt x="322662" y="219458"/>
                  <a:pt x="322662" y="219458"/>
                  <a:pt x="322662" y="219458"/>
                </a:cubicBezTo>
                <a:cubicBezTo>
                  <a:pt x="322662" y="218537"/>
                  <a:pt x="323581" y="217616"/>
                  <a:pt x="324807" y="217616"/>
                </a:cubicBezTo>
                <a:cubicBezTo>
                  <a:pt x="325726" y="217616"/>
                  <a:pt x="325726" y="217616"/>
                  <a:pt x="325726" y="217616"/>
                </a:cubicBezTo>
                <a:cubicBezTo>
                  <a:pt x="325726" y="182628"/>
                  <a:pt x="325726" y="182628"/>
                  <a:pt x="325726" y="182628"/>
                </a:cubicBezTo>
                <a:cubicBezTo>
                  <a:pt x="313778" y="182014"/>
                  <a:pt x="313778" y="182014"/>
                  <a:pt x="313778" y="182014"/>
                </a:cubicBezTo>
                <a:cubicBezTo>
                  <a:pt x="311940" y="182014"/>
                  <a:pt x="310408" y="180480"/>
                  <a:pt x="310408" y="178638"/>
                </a:cubicBezTo>
                <a:cubicBezTo>
                  <a:pt x="310408" y="178025"/>
                  <a:pt x="310408" y="178025"/>
                  <a:pt x="310408" y="178025"/>
                </a:cubicBezTo>
                <a:cubicBezTo>
                  <a:pt x="310408" y="176183"/>
                  <a:pt x="311940" y="174649"/>
                  <a:pt x="313778" y="174649"/>
                </a:cubicBezTo>
                <a:cubicBezTo>
                  <a:pt x="326338" y="173728"/>
                  <a:pt x="326338" y="173728"/>
                  <a:pt x="326338" y="173728"/>
                </a:cubicBezTo>
                <a:close/>
                <a:moveTo>
                  <a:pt x="304504" y="173433"/>
                </a:moveTo>
                <a:lnTo>
                  <a:pt x="305685" y="173433"/>
                </a:lnTo>
                <a:lnTo>
                  <a:pt x="305980" y="179337"/>
                </a:lnTo>
                <a:lnTo>
                  <a:pt x="306335" y="179337"/>
                </a:lnTo>
                <a:cubicBezTo>
                  <a:pt x="307884" y="180546"/>
                  <a:pt x="307884" y="183568"/>
                  <a:pt x="308194" y="185684"/>
                </a:cubicBezTo>
                <a:lnTo>
                  <a:pt x="309070" y="185684"/>
                </a:lnTo>
                <a:cubicBezTo>
                  <a:pt x="309375" y="185684"/>
                  <a:pt x="309375" y="185684"/>
                  <a:pt x="309375" y="186016"/>
                </a:cubicBezTo>
                <a:cubicBezTo>
                  <a:pt x="309375" y="186348"/>
                  <a:pt x="309375" y="186348"/>
                  <a:pt x="309375" y="186348"/>
                </a:cubicBezTo>
                <a:cubicBezTo>
                  <a:pt x="309375" y="186680"/>
                  <a:pt x="309375" y="187012"/>
                  <a:pt x="309070" y="187012"/>
                </a:cubicBezTo>
                <a:cubicBezTo>
                  <a:pt x="301130" y="187012"/>
                  <a:pt x="301130" y="187012"/>
                  <a:pt x="301130" y="187012"/>
                </a:cubicBezTo>
                <a:cubicBezTo>
                  <a:pt x="300825" y="187012"/>
                  <a:pt x="300519" y="186680"/>
                  <a:pt x="300519" y="186348"/>
                </a:cubicBezTo>
                <a:cubicBezTo>
                  <a:pt x="300519" y="186016"/>
                  <a:pt x="300519" y="186016"/>
                  <a:pt x="300519" y="186016"/>
                </a:cubicBezTo>
                <a:cubicBezTo>
                  <a:pt x="300519" y="185684"/>
                  <a:pt x="300825" y="185684"/>
                  <a:pt x="301130" y="185684"/>
                </a:cubicBezTo>
                <a:lnTo>
                  <a:pt x="301995" y="185684"/>
                </a:lnTo>
                <a:cubicBezTo>
                  <a:pt x="302305" y="183568"/>
                  <a:pt x="301995" y="180546"/>
                  <a:pt x="303855" y="179337"/>
                </a:cubicBezTo>
                <a:lnTo>
                  <a:pt x="304209" y="179337"/>
                </a:lnTo>
                <a:close/>
                <a:moveTo>
                  <a:pt x="19304" y="171088"/>
                </a:moveTo>
                <a:cubicBezTo>
                  <a:pt x="23001" y="170481"/>
                  <a:pt x="30086" y="172301"/>
                  <a:pt x="30702" y="175942"/>
                </a:cubicBezTo>
                <a:cubicBezTo>
                  <a:pt x="26081" y="175942"/>
                  <a:pt x="21460" y="175942"/>
                  <a:pt x="16840" y="175942"/>
                </a:cubicBezTo>
                <a:cubicBezTo>
                  <a:pt x="16532" y="175335"/>
                  <a:pt x="16532" y="174728"/>
                  <a:pt x="16532" y="174425"/>
                </a:cubicBezTo>
                <a:cubicBezTo>
                  <a:pt x="16840" y="172301"/>
                  <a:pt x="16840" y="171391"/>
                  <a:pt x="19304" y="171088"/>
                </a:cubicBezTo>
                <a:close/>
                <a:moveTo>
                  <a:pt x="147006" y="169168"/>
                </a:moveTo>
                <a:cubicBezTo>
                  <a:pt x="144860" y="171004"/>
                  <a:pt x="142407" y="173148"/>
                  <a:pt x="140567" y="175597"/>
                </a:cubicBezTo>
                <a:cubicBezTo>
                  <a:pt x="153446" y="175597"/>
                  <a:pt x="153446" y="175597"/>
                  <a:pt x="153446" y="175597"/>
                </a:cubicBezTo>
                <a:cubicBezTo>
                  <a:pt x="151606" y="173148"/>
                  <a:pt x="149460" y="171004"/>
                  <a:pt x="147006" y="169168"/>
                </a:cubicBezTo>
                <a:close/>
                <a:moveTo>
                  <a:pt x="198303" y="168273"/>
                </a:moveTo>
                <a:cubicBezTo>
                  <a:pt x="199837" y="169190"/>
                  <a:pt x="201678" y="171023"/>
                  <a:pt x="202905" y="170717"/>
                </a:cubicBezTo>
                <a:cubicBezTo>
                  <a:pt x="204132" y="170412"/>
                  <a:pt x="204746" y="170106"/>
                  <a:pt x="205973" y="170106"/>
                </a:cubicBezTo>
                <a:cubicBezTo>
                  <a:pt x="207507" y="170106"/>
                  <a:pt x="208121" y="170412"/>
                  <a:pt x="209348" y="170717"/>
                </a:cubicBezTo>
                <a:cubicBezTo>
                  <a:pt x="210576" y="171023"/>
                  <a:pt x="212416" y="169190"/>
                  <a:pt x="213950" y="168273"/>
                </a:cubicBezTo>
                <a:lnTo>
                  <a:pt x="219578" y="168635"/>
                </a:lnTo>
                <a:lnTo>
                  <a:pt x="213950" y="170412"/>
                </a:lnTo>
                <a:cubicBezTo>
                  <a:pt x="211496" y="172245"/>
                  <a:pt x="211189" y="172856"/>
                  <a:pt x="211496" y="175911"/>
                </a:cubicBezTo>
                <a:cubicBezTo>
                  <a:pt x="211496" y="178049"/>
                  <a:pt x="212416" y="179577"/>
                  <a:pt x="213644" y="181715"/>
                </a:cubicBezTo>
                <a:cubicBezTo>
                  <a:pt x="216712" y="187214"/>
                  <a:pt x="222848" y="188131"/>
                  <a:pt x="228677" y="188131"/>
                </a:cubicBezTo>
                <a:cubicBezTo>
                  <a:pt x="234200" y="188131"/>
                  <a:pt x="239723" y="184465"/>
                  <a:pt x="241564" y="179271"/>
                </a:cubicBezTo>
                <a:cubicBezTo>
                  <a:pt x="241870" y="178049"/>
                  <a:pt x="241870" y="176827"/>
                  <a:pt x="241870" y="175605"/>
                </a:cubicBezTo>
                <a:cubicBezTo>
                  <a:pt x="241870" y="173772"/>
                  <a:pt x="241257" y="172856"/>
                  <a:pt x="240336" y="171328"/>
                </a:cubicBezTo>
                <a:lnTo>
                  <a:pt x="236258" y="169706"/>
                </a:lnTo>
                <a:lnTo>
                  <a:pt x="242484" y="170106"/>
                </a:lnTo>
                <a:cubicBezTo>
                  <a:pt x="244325" y="171023"/>
                  <a:pt x="244939" y="171328"/>
                  <a:pt x="247086" y="171328"/>
                </a:cubicBezTo>
                <a:cubicBezTo>
                  <a:pt x="247086" y="172856"/>
                  <a:pt x="247086" y="174078"/>
                  <a:pt x="247086" y="175605"/>
                </a:cubicBezTo>
                <a:cubicBezTo>
                  <a:pt x="245552" y="175300"/>
                  <a:pt x="244632" y="176522"/>
                  <a:pt x="243711" y="177744"/>
                </a:cubicBezTo>
                <a:cubicBezTo>
                  <a:pt x="243404" y="178355"/>
                  <a:pt x="243098" y="178966"/>
                  <a:pt x="242177" y="181104"/>
                </a:cubicBezTo>
                <a:cubicBezTo>
                  <a:pt x="241257" y="182937"/>
                  <a:pt x="239109" y="185687"/>
                  <a:pt x="236348" y="187520"/>
                </a:cubicBezTo>
                <a:cubicBezTo>
                  <a:pt x="233280" y="189658"/>
                  <a:pt x="230518" y="189964"/>
                  <a:pt x="226837" y="189658"/>
                </a:cubicBezTo>
                <a:cubicBezTo>
                  <a:pt x="222234" y="189658"/>
                  <a:pt x="217632" y="188742"/>
                  <a:pt x="214564" y="185381"/>
                </a:cubicBezTo>
                <a:cubicBezTo>
                  <a:pt x="211189" y="181715"/>
                  <a:pt x="211496" y="180188"/>
                  <a:pt x="209962" y="175911"/>
                </a:cubicBezTo>
                <a:cubicBezTo>
                  <a:pt x="209348" y="174689"/>
                  <a:pt x="209041" y="173467"/>
                  <a:pt x="207814" y="173161"/>
                </a:cubicBezTo>
                <a:cubicBezTo>
                  <a:pt x="207507" y="173161"/>
                  <a:pt x="206894" y="173161"/>
                  <a:pt x="205973" y="173161"/>
                </a:cubicBezTo>
                <a:cubicBezTo>
                  <a:pt x="205360" y="173161"/>
                  <a:pt x="204746" y="173161"/>
                  <a:pt x="204439" y="173161"/>
                </a:cubicBezTo>
                <a:cubicBezTo>
                  <a:pt x="203212" y="173467"/>
                  <a:pt x="202598" y="174689"/>
                  <a:pt x="202292" y="175911"/>
                </a:cubicBezTo>
                <a:cubicBezTo>
                  <a:pt x="200451" y="180188"/>
                  <a:pt x="201064" y="181715"/>
                  <a:pt x="197689" y="185381"/>
                </a:cubicBezTo>
                <a:cubicBezTo>
                  <a:pt x="194621" y="188742"/>
                  <a:pt x="190019" y="189658"/>
                  <a:pt x="185417" y="189658"/>
                </a:cubicBezTo>
                <a:cubicBezTo>
                  <a:pt x="181735" y="189964"/>
                  <a:pt x="178974" y="189658"/>
                  <a:pt x="175906" y="187520"/>
                </a:cubicBezTo>
                <a:cubicBezTo>
                  <a:pt x="172838" y="185687"/>
                  <a:pt x="170997" y="182937"/>
                  <a:pt x="170076" y="181104"/>
                </a:cubicBezTo>
                <a:cubicBezTo>
                  <a:pt x="169156" y="178966"/>
                  <a:pt x="168849" y="178355"/>
                  <a:pt x="168542" y="177744"/>
                </a:cubicBezTo>
                <a:cubicBezTo>
                  <a:pt x="167622" y="176522"/>
                  <a:pt x="166701" y="175300"/>
                  <a:pt x="165167" y="175605"/>
                </a:cubicBezTo>
                <a:cubicBezTo>
                  <a:pt x="165167" y="174078"/>
                  <a:pt x="165167" y="172856"/>
                  <a:pt x="165167" y="171328"/>
                </a:cubicBezTo>
                <a:cubicBezTo>
                  <a:pt x="167008" y="171328"/>
                  <a:pt x="167929" y="171023"/>
                  <a:pt x="169769" y="170106"/>
                </a:cubicBezTo>
                <a:lnTo>
                  <a:pt x="175996" y="169706"/>
                </a:lnTo>
                <a:lnTo>
                  <a:pt x="171917" y="171328"/>
                </a:lnTo>
                <a:cubicBezTo>
                  <a:pt x="170997" y="172856"/>
                  <a:pt x="170383" y="173772"/>
                  <a:pt x="170383" y="175605"/>
                </a:cubicBezTo>
                <a:cubicBezTo>
                  <a:pt x="170076" y="176827"/>
                  <a:pt x="170383" y="178049"/>
                  <a:pt x="170690" y="179271"/>
                </a:cubicBezTo>
                <a:cubicBezTo>
                  <a:pt x="172531" y="184465"/>
                  <a:pt x="178053" y="188131"/>
                  <a:pt x="183269" y="188131"/>
                </a:cubicBezTo>
                <a:cubicBezTo>
                  <a:pt x="189099" y="188131"/>
                  <a:pt x="195542" y="187214"/>
                  <a:pt x="198610" y="181715"/>
                </a:cubicBezTo>
                <a:cubicBezTo>
                  <a:pt x="199837" y="179577"/>
                  <a:pt x="200758" y="178049"/>
                  <a:pt x="200758" y="175911"/>
                </a:cubicBezTo>
                <a:cubicBezTo>
                  <a:pt x="201064" y="172856"/>
                  <a:pt x="200758" y="172245"/>
                  <a:pt x="198303" y="170412"/>
                </a:cubicBezTo>
                <a:lnTo>
                  <a:pt x="192676" y="168635"/>
                </a:lnTo>
                <a:close/>
                <a:moveTo>
                  <a:pt x="270408" y="167935"/>
                </a:moveTo>
                <a:cubicBezTo>
                  <a:pt x="270102" y="167935"/>
                  <a:pt x="269796" y="168242"/>
                  <a:pt x="269796" y="168242"/>
                </a:cubicBezTo>
                <a:cubicBezTo>
                  <a:pt x="269490" y="168548"/>
                  <a:pt x="269490" y="168854"/>
                  <a:pt x="269490" y="169161"/>
                </a:cubicBezTo>
                <a:cubicBezTo>
                  <a:pt x="269490" y="169161"/>
                  <a:pt x="269490" y="169467"/>
                  <a:pt x="269796" y="169773"/>
                </a:cubicBezTo>
                <a:cubicBezTo>
                  <a:pt x="269796" y="169773"/>
                  <a:pt x="270102" y="170080"/>
                  <a:pt x="270408" y="170080"/>
                </a:cubicBezTo>
                <a:cubicBezTo>
                  <a:pt x="270714" y="170080"/>
                  <a:pt x="271020" y="169773"/>
                  <a:pt x="271020" y="169773"/>
                </a:cubicBezTo>
                <a:cubicBezTo>
                  <a:pt x="271326" y="169467"/>
                  <a:pt x="271326" y="169161"/>
                  <a:pt x="271326" y="169161"/>
                </a:cubicBezTo>
                <a:cubicBezTo>
                  <a:pt x="271326" y="168854"/>
                  <a:pt x="271326" y="168548"/>
                  <a:pt x="271020" y="168242"/>
                </a:cubicBezTo>
                <a:cubicBezTo>
                  <a:pt x="271020" y="168242"/>
                  <a:pt x="270714" y="167935"/>
                  <a:pt x="270408" y="167935"/>
                </a:cubicBezTo>
                <a:close/>
                <a:moveTo>
                  <a:pt x="415650" y="166201"/>
                </a:moveTo>
                <a:cubicBezTo>
                  <a:pt x="423013" y="166201"/>
                  <a:pt x="429763" y="167731"/>
                  <a:pt x="434672" y="170486"/>
                </a:cubicBezTo>
                <a:cubicBezTo>
                  <a:pt x="439581" y="172935"/>
                  <a:pt x="442956" y="176608"/>
                  <a:pt x="442956" y="180893"/>
                </a:cubicBezTo>
                <a:cubicBezTo>
                  <a:pt x="442956" y="185178"/>
                  <a:pt x="439581" y="188851"/>
                  <a:pt x="434672" y="191300"/>
                </a:cubicBezTo>
                <a:cubicBezTo>
                  <a:pt x="429763" y="193748"/>
                  <a:pt x="423013" y="195279"/>
                  <a:pt x="415650" y="195279"/>
                </a:cubicBezTo>
                <a:cubicBezTo>
                  <a:pt x="408286" y="195279"/>
                  <a:pt x="401536" y="193748"/>
                  <a:pt x="396627" y="191300"/>
                </a:cubicBezTo>
                <a:cubicBezTo>
                  <a:pt x="391411" y="188851"/>
                  <a:pt x="388343" y="185178"/>
                  <a:pt x="388343" y="180893"/>
                </a:cubicBezTo>
                <a:cubicBezTo>
                  <a:pt x="388343" y="176608"/>
                  <a:pt x="391411" y="172935"/>
                  <a:pt x="396627" y="170486"/>
                </a:cubicBezTo>
                <a:cubicBezTo>
                  <a:pt x="401536" y="167731"/>
                  <a:pt x="408286" y="166201"/>
                  <a:pt x="415650" y="166201"/>
                </a:cubicBezTo>
                <a:close/>
                <a:moveTo>
                  <a:pt x="227374" y="166173"/>
                </a:moveTo>
                <a:lnTo>
                  <a:pt x="236258" y="169706"/>
                </a:lnTo>
                <a:lnTo>
                  <a:pt x="219578" y="168635"/>
                </a:lnTo>
                <a:close/>
                <a:moveTo>
                  <a:pt x="184880" y="166173"/>
                </a:moveTo>
                <a:lnTo>
                  <a:pt x="192676" y="168635"/>
                </a:lnTo>
                <a:lnTo>
                  <a:pt x="175996" y="169706"/>
                </a:lnTo>
                <a:close/>
                <a:moveTo>
                  <a:pt x="270408" y="164872"/>
                </a:moveTo>
                <a:cubicBezTo>
                  <a:pt x="271938" y="164872"/>
                  <a:pt x="272856" y="165485"/>
                  <a:pt x="273468" y="166097"/>
                </a:cubicBezTo>
                <a:cubicBezTo>
                  <a:pt x="274080" y="166710"/>
                  <a:pt x="274692" y="167323"/>
                  <a:pt x="274998" y="168242"/>
                </a:cubicBezTo>
                <a:cubicBezTo>
                  <a:pt x="275304" y="168854"/>
                  <a:pt x="275610" y="169161"/>
                  <a:pt x="275916" y="169467"/>
                </a:cubicBezTo>
                <a:cubicBezTo>
                  <a:pt x="276528" y="169773"/>
                  <a:pt x="277140" y="170080"/>
                  <a:pt x="277752" y="170080"/>
                </a:cubicBezTo>
                <a:cubicBezTo>
                  <a:pt x="278364" y="170080"/>
                  <a:pt x="278976" y="170692"/>
                  <a:pt x="279588" y="170999"/>
                </a:cubicBezTo>
                <a:cubicBezTo>
                  <a:pt x="280200" y="171611"/>
                  <a:pt x="280506" y="172530"/>
                  <a:pt x="280506" y="173450"/>
                </a:cubicBezTo>
                <a:cubicBezTo>
                  <a:pt x="282954" y="207454"/>
                  <a:pt x="282954" y="207454"/>
                  <a:pt x="282954" y="207454"/>
                </a:cubicBezTo>
                <a:cubicBezTo>
                  <a:pt x="282954" y="208373"/>
                  <a:pt x="282648" y="208985"/>
                  <a:pt x="282036" y="209598"/>
                </a:cubicBezTo>
                <a:cubicBezTo>
                  <a:pt x="281424" y="210211"/>
                  <a:pt x="280812" y="210517"/>
                  <a:pt x="279894" y="210517"/>
                </a:cubicBezTo>
                <a:cubicBezTo>
                  <a:pt x="279588" y="210517"/>
                  <a:pt x="279588" y="210517"/>
                  <a:pt x="279588" y="210517"/>
                </a:cubicBezTo>
                <a:cubicBezTo>
                  <a:pt x="277140" y="210517"/>
                  <a:pt x="277140" y="210517"/>
                  <a:pt x="277140" y="210517"/>
                </a:cubicBezTo>
                <a:cubicBezTo>
                  <a:pt x="276222" y="210517"/>
                  <a:pt x="275304" y="211130"/>
                  <a:pt x="274692" y="211743"/>
                </a:cubicBezTo>
                <a:cubicBezTo>
                  <a:pt x="274080" y="212355"/>
                  <a:pt x="273468" y="213274"/>
                  <a:pt x="273468" y="214193"/>
                </a:cubicBezTo>
                <a:cubicBezTo>
                  <a:pt x="273468" y="217563"/>
                  <a:pt x="273468" y="217563"/>
                  <a:pt x="273468" y="217563"/>
                </a:cubicBezTo>
                <a:cubicBezTo>
                  <a:pt x="274998" y="217563"/>
                  <a:pt x="274998" y="217563"/>
                  <a:pt x="274998" y="217563"/>
                </a:cubicBezTo>
                <a:cubicBezTo>
                  <a:pt x="275304" y="217563"/>
                  <a:pt x="275610" y="217869"/>
                  <a:pt x="275610" y="218788"/>
                </a:cubicBezTo>
                <a:cubicBezTo>
                  <a:pt x="275610" y="219401"/>
                  <a:pt x="275304" y="220014"/>
                  <a:pt x="274998" y="220014"/>
                </a:cubicBezTo>
                <a:cubicBezTo>
                  <a:pt x="271938" y="220014"/>
                  <a:pt x="271938" y="220014"/>
                  <a:pt x="271938" y="220014"/>
                </a:cubicBezTo>
                <a:cubicBezTo>
                  <a:pt x="271938" y="228285"/>
                  <a:pt x="271938" y="228285"/>
                  <a:pt x="271938" y="228285"/>
                </a:cubicBezTo>
                <a:lnTo>
                  <a:pt x="271068" y="229156"/>
                </a:lnTo>
                <a:lnTo>
                  <a:pt x="272241" y="230793"/>
                </a:lnTo>
                <a:cubicBezTo>
                  <a:pt x="273471" y="233244"/>
                  <a:pt x="275008" y="235696"/>
                  <a:pt x="276546" y="238148"/>
                </a:cubicBezTo>
                <a:cubicBezTo>
                  <a:pt x="282388" y="249180"/>
                  <a:pt x="285463" y="259600"/>
                  <a:pt x="270088" y="268180"/>
                </a:cubicBezTo>
                <a:cubicBezTo>
                  <a:pt x="269166" y="268487"/>
                  <a:pt x="268551" y="269100"/>
                  <a:pt x="267936" y="269713"/>
                </a:cubicBezTo>
                <a:lnTo>
                  <a:pt x="267441" y="271193"/>
                </a:lnTo>
                <a:lnTo>
                  <a:pt x="270765" y="274350"/>
                </a:lnTo>
                <a:cubicBezTo>
                  <a:pt x="272610" y="276496"/>
                  <a:pt x="274455" y="278949"/>
                  <a:pt x="275992" y="281095"/>
                </a:cubicBezTo>
                <a:cubicBezTo>
                  <a:pt x="278760" y="285694"/>
                  <a:pt x="280297" y="291213"/>
                  <a:pt x="280297" y="296119"/>
                </a:cubicBezTo>
                <a:cubicBezTo>
                  <a:pt x="279990" y="301024"/>
                  <a:pt x="278452" y="305930"/>
                  <a:pt x="274762" y="309916"/>
                </a:cubicBezTo>
                <a:cubicBezTo>
                  <a:pt x="272917" y="312062"/>
                  <a:pt x="270765" y="313901"/>
                  <a:pt x="267997" y="315128"/>
                </a:cubicBezTo>
                <a:cubicBezTo>
                  <a:pt x="265537" y="316048"/>
                  <a:pt x="262769" y="316661"/>
                  <a:pt x="259694" y="316661"/>
                </a:cubicBezTo>
                <a:cubicBezTo>
                  <a:pt x="255389" y="316661"/>
                  <a:pt x="254467" y="315741"/>
                  <a:pt x="251699" y="314208"/>
                </a:cubicBezTo>
                <a:cubicBezTo>
                  <a:pt x="251084" y="313901"/>
                  <a:pt x="250777" y="313595"/>
                  <a:pt x="250469" y="313288"/>
                </a:cubicBezTo>
                <a:cubicBezTo>
                  <a:pt x="250162" y="313288"/>
                  <a:pt x="250162" y="313288"/>
                  <a:pt x="250162" y="313288"/>
                </a:cubicBezTo>
                <a:cubicBezTo>
                  <a:pt x="250162" y="312982"/>
                  <a:pt x="250162" y="312982"/>
                  <a:pt x="250162" y="312982"/>
                </a:cubicBezTo>
                <a:cubicBezTo>
                  <a:pt x="247087" y="309916"/>
                  <a:pt x="247087" y="309916"/>
                  <a:pt x="245549" y="306236"/>
                </a:cubicBezTo>
                <a:cubicBezTo>
                  <a:pt x="245242" y="305623"/>
                  <a:pt x="245242" y="305623"/>
                  <a:pt x="245242" y="305623"/>
                </a:cubicBezTo>
                <a:cubicBezTo>
                  <a:pt x="245242" y="305317"/>
                  <a:pt x="245242" y="305317"/>
                  <a:pt x="245242" y="305317"/>
                </a:cubicBezTo>
                <a:lnTo>
                  <a:pt x="244066" y="301212"/>
                </a:lnTo>
                <a:lnTo>
                  <a:pt x="232807" y="294959"/>
                </a:lnTo>
                <a:cubicBezTo>
                  <a:pt x="231235" y="291821"/>
                  <a:pt x="231465" y="287765"/>
                  <a:pt x="231772" y="282866"/>
                </a:cubicBezTo>
                <a:cubicBezTo>
                  <a:pt x="231772" y="281642"/>
                  <a:pt x="232078" y="280111"/>
                  <a:pt x="232078" y="278581"/>
                </a:cubicBezTo>
                <a:lnTo>
                  <a:pt x="233561" y="277101"/>
                </a:lnTo>
                <a:lnTo>
                  <a:pt x="235125" y="264825"/>
                </a:lnTo>
                <a:lnTo>
                  <a:pt x="227714" y="269751"/>
                </a:lnTo>
                <a:cubicBezTo>
                  <a:pt x="225254" y="272817"/>
                  <a:pt x="223716" y="276803"/>
                  <a:pt x="223716" y="281095"/>
                </a:cubicBezTo>
                <a:cubicBezTo>
                  <a:pt x="223716" y="283548"/>
                  <a:pt x="223716" y="285387"/>
                  <a:pt x="224024" y="287227"/>
                </a:cubicBezTo>
                <a:cubicBezTo>
                  <a:pt x="224331" y="289067"/>
                  <a:pt x="224946" y="290906"/>
                  <a:pt x="225869" y="292746"/>
                </a:cubicBezTo>
                <a:cubicBezTo>
                  <a:pt x="228636" y="298265"/>
                  <a:pt x="232326" y="302864"/>
                  <a:pt x="235709" y="307156"/>
                </a:cubicBezTo>
                <a:cubicBezTo>
                  <a:pt x="240629" y="312982"/>
                  <a:pt x="245242" y="318501"/>
                  <a:pt x="248009" y="326166"/>
                </a:cubicBezTo>
                <a:cubicBezTo>
                  <a:pt x="248009" y="326472"/>
                  <a:pt x="248009" y="326472"/>
                  <a:pt x="248009" y="326472"/>
                </a:cubicBezTo>
                <a:lnTo>
                  <a:pt x="249036" y="335944"/>
                </a:lnTo>
                <a:lnTo>
                  <a:pt x="249867" y="335944"/>
                </a:lnTo>
                <a:cubicBezTo>
                  <a:pt x="250170" y="335944"/>
                  <a:pt x="250474" y="336247"/>
                  <a:pt x="250474" y="336247"/>
                </a:cubicBezTo>
                <a:cubicBezTo>
                  <a:pt x="250777" y="336551"/>
                  <a:pt x="250777" y="336551"/>
                  <a:pt x="250777" y="336854"/>
                </a:cubicBezTo>
                <a:cubicBezTo>
                  <a:pt x="250777" y="340798"/>
                  <a:pt x="250777" y="340798"/>
                  <a:pt x="250777" y="340798"/>
                </a:cubicBezTo>
                <a:cubicBezTo>
                  <a:pt x="250777" y="340798"/>
                  <a:pt x="250777" y="341101"/>
                  <a:pt x="250474" y="341405"/>
                </a:cubicBezTo>
                <a:cubicBezTo>
                  <a:pt x="250474" y="341405"/>
                  <a:pt x="250170" y="341405"/>
                  <a:pt x="249867" y="341405"/>
                </a:cubicBezTo>
                <a:lnTo>
                  <a:pt x="249580" y="341405"/>
                </a:lnTo>
                <a:lnTo>
                  <a:pt x="255989" y="343871"/>
                </a:lnTo>
                <a:cubicBezTo>
                  <a:pt x="257821" y="346010"/>
                  <a:pt x="259043" y="348761"/>
                  <a:pt x="259043" y="351817"/>
                </a:cubicBezTo>
                <a:cubicBezTo>
                  <a:pt x="259043" y="354567"/>
                  <a:pt x="257821" y="357318"/>
                  <a:pt x="255989" y="359457"/>
                </a:cubicBezTo>
                <a:cubicBezTo>
                  <a:pt x="253850" y="361290"/>
                  <a:pt x="251101" y="362513"/>
                  <a:pt x="248047" y="362513"/>
                </a:cubicBezTo>
                <a:cubicBezTo>
                  <a:pt x="244992" y="362513"/>
                  <a:pt x="242243" y="361290"/>
                  <a:pt x="240410" y="359457"/>
                </a:cubicBezTo>
                <a:cubicBezTo>
                  <a:pt x="238272" y="357318"/>
                  <a:pt x="237050" y="354567"/>
                  <a:pt x="237050" y="351817"/>
                </a:cubicBezTo>
                <a:cubicBezTo>
                  <a:pt x="237050" y="348761"/>
                  <a:pt x="238272" y="346010"/>
                  <a:pt x="240410" y="343871"/>
                </a:cubicBezTo>
                <a:lnTo>
                  <a:pt x="246572" y="341405"/>
                </a:lnTo>
                <a:lnTo>
                  <a:pt x="246226" y="341405"/>
                </a:lnTo>
                <a:cubicBezTo>
                  <a:pt x="245923" y="341405"/>
                  <a:pt x="245923" y="341405"/>
                  <a:pt x="245620" y="341405"/>
                </a:cubicBezTo>
                <a:cubicBezTo>
                  <a:pt x="245620" y="341101"/>
                  <a:pt x="245316" y="340798"/>
                  <a:pt x="245316" y="340798"/>
                </a:cubicBezTo>
                <a:cubicBezTo>
                  <a:pt x="245316" y="336854"/>
                  <a:pt x="245316" y="336854"/>
                  <a:pt x="245316" y="336854"/>
                </a:cubicBezTo>
                <a:cubicBezTo>
                  <a:pt x="245316" y="336551"/>
                  <a:pt x="245620" y="336551"/>
                  <a:pt x="245620" y="336247"/>
                </a:cubicBezTo>
                <a:cubicBezTo>
                  <a:pt x="245923" y="336247"/>
                  <a:pt x="245923" y="335944"/>
                  <a:pt x="246226" y="335944"/>
                </a:cubicBezTo>
                <a:lnTo>
                  <a:pt x="246536" y="335944"/>
                </a:lnTo>
                <a:lnTo>
                  <a:pt x="245549" y="327085"/>
                </a:lnTo>
                <a:cubicBezTo>
                  <a:pt x="242782" y="319727"/>
                  <a:pt x="238477" y="314208"/>
                  <a:pt x="233864" y="308689"/>
                </a:cubicBezTo>
                <a:cubicBezTo>
                  <a:pt x="230174" y="304090"/>
                  <a:pt x="226484" y="299491"/>
                  <a:pt x="223716" y="293972"/>
                </a:cubicBezTo>
                <a:cubicBezTo>
                  <a:pt x="223409" y="293972"/>
                  <a:pt x="223409" y="293972"/>
                  <a:pt x="223409" y="293972"/>
                </a:cubicBezTo>
                <a:cubicBezTo>
                  <a:pt x="222794" y="291520"/>
                  <a:pt x="222179" y="289680"/>
                  <a:pt x="221564" y="287840"/>
                </a:cubicBezTo>
                <a:cubicBezTo>
                  <a:pt x="221256" y="285694"/>
                  <a:pt x="221256" y="283548"/>
                  <a:pt x="221256" y="281095"/>
                </a:cubicBezTo>
                <a:cubicBezTo>
                  <a:pt x="221256" y="276189"/>
                  <a:pt x="223101" y="271590"/>
                  <a:pt x="225561" y="268218"/>
                </a:cubicBezTo>
                <a:lnTo>
                  <a:pt x="235916" y="261426"/>
                </a:lnTo>
                <a:lnTo>
                  <a:pt x="240094" y="244943"/>
                </a:lnTo>
                <a:lnTo>
                  <a:pt x="244441" y="240121"/>
                </a:lnTo>
                <a:lnTo>
                  <a:pt x="241565" y="236664"/>
                </a:lnTo>
                <a:cubicBezTo>
                  <a:pt x="241565" y="236664"/>
                  <a:pt x="241257" y="236664"/>
                  <a:pt x="241257" y="236664"/>
                </a:cubicBezTo>
                <a:cubicBezTo>
                  <a:pt x="240641" y="236664"/>
                  <a:pt x="239716" y="236971"/>
                  <a:pt x="239100" y="236971"/>
                </a:cubicBezTo>
                <a:cubicBezTo>
                  <a:pt x="238175" y="237277"/>
                  <a:pt x="237558" y="237584"/>
                  <a:pt x="236634" y="237891"/>
                </a:cubicBezTo>
                <a:lnTo>
                  <a:pt x="236230" y="237088"/>
                </a:lnTo>
                <a:lnTo>
                  <a:pt x="236607" y="238758"/>
                </a:lnTo>
                <a:cubicBezTo>
                  <a:pt x="235379" y="239664"/>
                  <a:pt x="234458" y="240873"/>
                  <a:pt x="233537" y="240873"/>
                </a:cubicBezTo>
                <a:cubicBezTo>
                  <a:pt x="231695" y="241478"/>
                  <a:pt x="229853" y="241176"/>
                  <a:pt x="229546" y="239060"/>
                </a:cubicBezTo>
                <a:cubicBezTo>
                  <a:pt x="228932" y="236944"/>
                  <a:pt x="230467" y="235735"/>
                  <a:pt x="232309" y="235433"/>
                </a:cubicBezTo>
                <a:cubicBezTo>
                  <a:pt x="233230" y="235131"/>
                  <a:pt x="234458" y="235735"/>
                  <a:pt x="235993" y="236038"/>
                </a:cubicBezTo>
                <a:lnTo>
                  <a:pt x="236126" y="236628"/>
                </a:lnTo>
                <a:lnTo>
                  <a:pt x="238791" y="235744"/>
                </a:lnTo>
                <a:cubicBezTo>
                  <a:pt x="239408" y="235744"/>
                  <a:pt x="240333" y="235438"/>
                  <a:pt x="240949" y="235438"/>
                </a:cubicBezTo>
                <a:cubicBezTo>
                  <a:pt x="241257" y="235438"/>
                  <a:pt x="241257" y="235438"/>
                  <a:pt x="241565" y="235438"/>
                </a:cubicBezTo>
                <a:lnTo>
                  <a:pt x="245127" y="239360"/>
                </a:lnTo>
                <a:lnTo>
                  <a:pt x="248663" y="235438"/>
                </a:lnTo>
                <a:cubicBezTo>
                  <a:pt x="248663" y="235438"/>
                  <a:pt x="248969" y="235438"/>
                  <a:pt x="248969" y="235438"/>
                </a:cubicBezTo>
                <a:cubicBezTo>
                  <a:pt x="249887" y="235438"/>
                  <a:pt x="250806" y="235744"/>
                  <a:pt x="251418" y="235744"/>
                </a:cubicBezTo>
                <a:lnTo>
                  <a:pt x="253787" y="236535"/>
                </a:lnTo>
                <a:lnTo>
                  <a:pt x="253899" y="236038"/>
                </a:lnTo>
                <a:cubicBezTo>
                  <a:pt x="255739" y="235735"/>
                  <a:pt x="256659" y="235131"/>
                  <a:pt x="257885" y="235433"/>
                </a:cubicBezTo>
                <a:cubicBezTo>
                  <a:pt x="259724" y="235735"/>
                  <a:pt x="261257" y="236944"/>
                  <a:pt x="260644" y="239060"/>
                </a:cubicBezTo>
                <a:cubicBezTo>
                  <a:pt x="260338" y="241176"/>
                  <a:pt x="258498" y="241478"/>
                  <a:pt x="256659" y="240873"/>
                </a:cubicBezTo>
                <a:cubicBezTo>
                  <a:pt x="255432" y="240873"/>
                  <a:pt x="254819" y="239664"/>
                  <a:pt x="253286" y="238758"/>
                </a:cubicBezTo>
                <a:lnTo>
                  <a:pt x="253488" y="237863"/>
                </a:lnTo>
                <a:lnTo>
                  <a:pt x="251112" y="236971"/>
                </a:lnTo>
                <a:cubicBezTo>
                  <a:pt x="250500" y="236971"/>
                  <a:pt x="249581" y="236664"/>
                  <a:pt x="248969" y="236664"/>
                </a:cubicBezTo>
                <a:cubicBezTo>
                  <a:pt x="248663" y="236664"/>
                  <a:pt x="248663" y="236664"/>
                  <a:pt x="248663" y="236664"/>
                </a:cubicBezTo>
                <a:lnTo>
                  <a:pt x="245751" y="240048"/>
                </a:lnTo>
                <a:lnTo>
                  <a:pt x="250196" y="244943"/>
                </a:lnTo>
                <a:lnTo>
                  <a:pt x="254619" y="262269"/>
                </a:lnTo>
                <a:lnTo>
                  <a:pt x="255082" y="262392"/>
                </a:lnTo>
                <a:cubicBezTo>
                  <a:pt x="256927" y="263006"/>
                  <a:pt x="258464" y="263925"/>
                  <a:pt x="259694" y="264845"/>
                </a:cubicBezTo>
                <a:cubicBezTo>
                  <a:pt x="261232" y="265765"/>
                  <a:pt x="262769" y="266685"/>
                  <a:pt x="264307" y="268218"/>
                </a:cubicBezTo>
                <a:lnTo>
                  <a:pt x="266704" y="270494"/>
                </a:lnTo>
                <a:lnTo>
                  <a:pt x="267321" y="268793"/>
                </a:lnTo>
                <a:cubicBezTo>
                  <a:pt x="267936" y="268180"/>
                  <a:pt x="268858" y="267567"/>
                  <a:pt x="269473" y="267261"/>
                </a:cubicBezTo>
                <a:cubicBezTo>
                  <a:pt x="283926" y="259293"/>
                  <a:pt x="281466" y="249180"/>
                  <a:pt x="275623" y="238454"/>
                </a:cubicBezTo>
                <a:cubicBezTo>
                  <a:pt x="274086" y="236309"/>
                  <a:pt x="272856" y="233857"/>
                  <a:pt x="271318" y="231405"/>
                </a:cubicBezTo>
                <a:cubicBezTo>
                  <a:pt x="271011" y="230793"/>
                  <a:pt x="270396" y="230180"/>
                  <a:pt x="269781" y="229260"/>
                </a:cubicBezTo>
                <a:lnTo>
                  <a:pt x="269805" y="229213"/>
                </a:lnTo>
                <a:lnTo>
                  <a:pt x="268878" y="228285"/>
                </a:lnTo>
                <a:cubicBezTo>
                  <a:pt x="268878" y="220014"/>
                  <a:pt x="268878" y="220014"/>
                  <a:pt x="268878" y="220014"/>
                </a:cubicBezTo>
                <a:cubicBezTo>
                  <a:pt x="265818" y="220014"/>
                  <a:pt x="265818" y="220014"/>
                  <a:pt x="265818" y="220014"/>
                </a:cubicBezTo>
                <a:cubicBezTo>
                  <a:pt x="265512" y="220014"/>
                  <a:pt x="265206" y="219401"/>
                  <a:pt x="265206" y="218788"/>
                </a:cubicBezTo>
                <a:cubicBezTo>
                  <a:pt x="265206" y="217869"/>
                  <a:pt x="265512" y="217563"/>
                  <a:pt x="265818" y="217563"/>
                </a:cubicBezTo>
                <a:cubicBezTo>
                  <a:pt x="267348" y="217563"/>
                  <a:pt x="267348" y="217563"/>
                  <a:pt x="267348" y="217563"/>
                </a:cubicBezTo>
                <a:cubicBezTo>
                  <a:pt x="267348" y="214193"/>
                  <a:pt x="267348" y="214193"/>
                  <a:pt x="267348" y="214193"/>
                </a:cubicBezTo>
                <a:cubicBezTo>
                  <a:pt x="267348" y="213274"/>
                  <a:pt x="266736" y="212355"/>
                  <a:pt x="266124" y="211743"/>
                </a:cubicBezTo>
                <a:cubicBezTo>
                  <a:pt x="265512" y="211130"/>
                  <a:pt x="264594" y="210517"/>
                  <a:pt x="263676" y="210517"/>
                </a:cubicBezTo>
                <a:cubicBezTo>
                  <a:pt x="261228" y="210517"/>
                  <a:pt x="261228" y="210517"/>
                  <a:pt x="261228" y="210517"/>
                </a:cubicBezTo>
                <a:cubicBezTo>
                  <a:pt x="260922" y="210517"/>
                  <a:pt x="260922" y="210517"/>
                  <a:pt x="260922" y="210517"/>
                </a:cubicBezTo>
                <a:cubicBezTo>
                  <a:pt x="260004" y="210517"/>
                  <a:pt x="259392" y="210211"/>
                  <a:pt x="258780" y="209598"/>
                </a:cubicBezTo>
                <a:cubicBezTo>
                  <a:pt x="258168" y="208985"/>
                  <a:pt x="257862" y="208373"/>
                  <a:pt x="257862" y="207454"/>
                </a:cubicBezTo>
                <a:cubicBezTo>
                  <a:pt x="260310" y="173450"/>
                  <a:pt x="260310" y="173450"/>
                  <a:pt x="260310" y="173450"/>
                </a:cubicBezTo>
                <a:cubicBezTo>
                  <a:pt x="260310" y="172530"/>
                  <a:pt x="260616" y="171611"/>
                  <a:pt x="261228" y="171305"/>
                </a:cubicBezTo>
                <a:cubicBezTo>
                  <a:pt x="261840" y="170692"/>
                  <a:pt x="262452" y="170080"/>
                  <a:pt x="263064" y="170080"/>
                </a:cubicBezTo>
                <a:cubicBezTo>
                  <a:pt x="263676" y="170080"/>
                  <a:pt x="264288" y="169773"/>
                  <a:pt x="264900" y="169467"/>
                </a:cubicBezTo>
                <a:cubicBezTo>
                  <a:pt x="265206" y="169161"/>
                  <a:pt x="265512" y="168548"/>
                  <a:pt x="265818" y="168242"/>
                </a:cubicBezTo>
                <a:cubicBezTo>
                  <a:pt x="266124" y="167323"/>
                  <a:pt x="266430" y="166404"/>
                  <a:pt x="267348" y="165791"/>
                </a:cubicBezTo>
                <a:cubicBezTo>
                  <a:pt x="267960" y="165178"/>
                  <a:pt x="268878" y="164872"/>
                  <a:pt x="270408" y="164872"/>
                </a:cubicBezTo>
                <a:close/>
                <a:moveTo>
                  <a:pt x="11995" y="163396"/>
                </a:moveTo>
                <a:cubicBezTo>
                  <a:pt x="14130" y="163396"/>
                  <a:pt x="14130" y="163396"/>
                  <a:pt x="14130" y="163396"/>
                </a:cubicBezTo>
                <a:cubicBezTo>
                  <a:pt x="14741" y="163396"/>
                  <a:pt x="15351" y="164007"/>
                  <a:pt x="15351" y="164619"/>
                </a:cubicBezTo>
                <a:lnTo>
                  <a:pt x="15351" y="177123"/>
                </a:lnTo>
                <a:lnTo>
                  <a:pt x="35270" y="177123"/>
                </a:lnTo>
                <a:cubicBezTo>
                  <a:pt x="42627" y="177123"/>
                  <a:pt x="46305" y="177123"/>
                  <a:pt x="48144" y="177123"/>
                </a:cubicBezTo>
                <a:lnTo>
                  <a:pt x="48857" y="177123"/>
                </a:lnTo>
                <a:lnTo>
                  <a:pt x="48857" y="172554"/>
                </a:lnTo>
                <a:cubicBezTo>
                  <a:pt x="48857" y="170368"/>
                  <a:pt x="48857" y="170368"/>
                  <a:pt x="48857" y="170368"/>
                </a:cubicBezTo>
                <a:cubicBezTo>
                  <a:pt x="48857" y="169755"/>
                  <a:pt x="49470" y="169448"/>
                  <a:pt x="49776" y="169448"/>
                </a:cubicBezTo>
                <a:cubicBezTo>
                  <a:pt x="51616" y="169448"/>
                  <a:pt x="51616" y="169448"/>
                  <a:pt x="51616" y="169448"/>
                </a:cubicBezTo>
                <a:cubicBezTo>
                  <a:pt x="52229" y="169448"/>
                  <a:pt x="52842" y="169755"/>
                  <a:pt x="52842" y="170368"/>
                </a:cubicBezTo>
                <a:cubicBezTo>
                  <a:pt x="52842" y="187852"/>
                  <a:pt x="52842" y="187852"/>
                  <a:pt x="52842" y="187852"/>
                </a:cubicBezTo>
                <a:cubicBezTo>
                  <a:pt x="52842" y="188465"/>
                  <a:pt x="52229" y="189079"/>
                  <a:pt x="51616" y="189079"/>
                </a:cubicBezTo>
                <a:cubicBezTo>
                  <a:pt x="49776" y="189079"/>
                  <a:pt x="49776" y="189079"/>
                  <a:pt x="49776" y="189079"/>
                </a:cubicBezTo>
                <a:cubicBezTo>
                  <a:pt x="49470" y="189079"/>
                  <a:pt x="48857" y="188465"/>
                  <a:pt x="48857" y="187852"/>
                </a:cubicBezTo>
                <a:lnTo>
                  <a:pt x="48857" y="182732"/>
                </a:lnTo>
                <a:lnTo>
                  <a:pt x="29821" y="182732"/>
                </a:lnTo>
                <a:cubicBezTo>
                  <a:pt x="24917" y="182732"/>
                  <a:pt x="21648" y="182732"/>
                  <a:pt x="19468" y="182732"/>
                </a:cubicBezTo>
                <a:lnTo>
                  <a:pt x="15351" y="182732"/>
                </a:lnTo>
                <a:lnTo>
                  <a:pt x="15351" y="184951"/>
                </a:lnTo>
                <a:cubicBezTo>
                  <a:pt x="15351" y="187856"/>
                  <a:pt x="15351" y="187856"/>
                  <a:pt x="15351" y="187856"/>
                </a:cubicBezTo>
                <a:cubicBezTo>
                  <a:pt x="15351" y="188467"/>
                  <a:pt x="14741" y="189079"/>
                  <a:pt x="14130" y="189079"/>
                </a:cubicBezTo>
                <a:cubicBezTo>
                  <a:pt x="11995" y="189079"/>
                  <a:pt x="11995" y="189079"/>
                  <a:pt x="11995" y="189079"/>
                </a:cubicBezTo>
                <a:cubicBezTo>
                  <a:pt x="11385" y="189079"/>
                  <a:pt x="10775" y="188467"/>
                  <a:pt x="10775" y="187856"/>
                </a:cubicBezTo>
                <a:cubicBezTo>
                  <a:pt x="10775" y="164619"/>
                  <a:pt x="10775" y="164619"/>
                  <a:pt x="10775" y="164619"/>
                </a:cubicBezTo>
                <a:cubicBezTo>
                  <a:pt x="10775" y="164007"/>
                  <a:pt x="11385" y="163396"/>
                  <a:pt x="11995" y="163396"/>
                </a:cubicBezTo>
                <a:close/>
                <a:moveTo>
                  <a:pt x="432845" y="157493"/>
                </a:moveTo>
                <a:lnTo>
                  <a:pt x="432855" y="157502"/>
                </a:lnTo>
                <a:lnTo>
                  <a:pt x="432864" y="157493"/>
                </a:lnTo>
                <a:close/>
                <a:moveTo>
                  <a:pt x="414424" y="157493"/>
                </a:moveTo>
                <a:lnTo>
                  <a:pt x="414434" y="157502"/>
                </a:lnTo>
                <a:lnTo>
                  <a:pt x="414444" y="157493"/>
                </a:lnTo>
                <a:close/>
                <a:moveTo>
                  <a:pt x="396617" y="157493"/>
                </a:moveTo>
                <a:lnTo>
                  <a:pt x="396627" y="157502"/>
                </a:lnTo>
                <a:lnTo>
                  <a:pt x="396636" y="157493"/>
                </a:lnTo>
                <a:close/>
                <a:moveTo>
                  <a:pt x="136580" y="153248"/>
                </a:moveTo>
                <a:cubicBezTo>
                  <a:pt x="138727" y="156003"/>
                  <a:pt x="142100" y="158758"/>
                  <a:pt x="145780" y="161514"/>
                </a:cubicBezTo>
                <a:cubicBezTo>
                  <a:pt x="146086" y="162126"/>
                  <a:pt x="146700" y="162432"/>
                  <a:pt x="147006" y="162738"/>
                </a:cubicBezTo>
                <a:cubicBezTo>
                  <a:pt x="147620" y="162432"/>
                  <a:pt x="147926" y="162126"/>
                  <a:pt x="148540" y="161514"/>
                </a:cubicBezTo>
                <a:cubicBezTo>
                  <a:pt x="151913" y="158758"/>
                  <a:pt x="155286" y="156003"/>
                  <a:pt x="157739" y="153248"/>
                </a:cubicBezTo>
                <a:cubicBezTo>
                  <a:pt x="136580" y="153248"/>
                  <a:pt x="136580" y="153248"/>
                  <a:pt x="136580" y="153248"/>
                </a:cubicBezTo>
                <a:close/>
                <a:moveTo>
                  <a:pt x="290072" y="152896"/>
                </a:moveTo>
                <a:cubicBezTo>
                  <a:pt x="290072" y="152896"/>
                  <a:pt x="290072" y="152896"/>
                  <a:pt x="366482" y="152896"/>
                </a:cubicBezTo>
                <a:cubicBezTo>
                  <a:pt x="366482" y="152896"/>
                  <a:pt x="366482" y="152896"/>
                  <a:pt x="366482" y="156572"/>
                </a:cubicBezTo>
                <a:cubicBezTo>
                  <a:pt x="366482" y="156572"/>
                  <a:pt x="366482" y="156572"/>
                  <a:pt x="290072" y="156572"/>
                </a:cubicBezTo>
                <a:cubicBezTo>
                  <a:pt x="290072" y="156572"/>
                  <a:pt x="290072" y="156572"/>
                  <a:pt x="290072" y="152896"/>
                </a:cubicBezTo>
                <a:close/>
                <a:moveTo>
                  <a:pt x="415058" y="150738"/>
                </a:moveTo>
                <a:lnTo>
                  <a:pt x="415058" y="156928"/>
                </a:lnTo>
                <a:lnTo>
                  <a:pt x="418425" y="153833"/>
                </a:lnTo>
                <a:close/>
                <a:moveTo>
                  <a:pt x="414025" y="150571"/>
                </a:moveTo>
                <a:lnTo>
                  <a:pt x="410750" y="153833"/>
                </a:lnTo>
                <a:lnTo>
                  <a:pt x="414025" y="157095"/>
                </a:lnTo>
                <a:close/>
                <a:moveTo>
                  <a:pt x="432476" y="150541"/>
                </a:moveTo>
                <a:lnTo>
                  <a:pt x="429170" y="153833"/>
                </a:lnTo>
                <a:lnTo>
                  <a:pt x="432476" y="157125"/>
                </a:lnTo>
                <a:close/>
                <a:moveTo>
                  <a:pt x="396313" y="150477"/>
                </a:moveTo>
                <a:lnTo>
                  <a:pt x="392943" y="153833"/>
                </a:lnTo>
                <a:lnTo>
                  <a:pt x="396313" y="157190"/>
                </a:lnTo>
                <a:close/>
                <a:moveTo>
                  <a:pt x="396903" y="150440"/>
                </a:moveTo>
                <a:lnTo>
                  <a:pt x="396903" y="157227"/>
                </a:lnTo>
                <a:lnTo>
                  <a:pt x="400311" y="153833"/>
                </a:lnTo>
                <a:close/>
                <a:moveTo>
                  <a:pt x="433066" y="150375"/>
                </a:moveTo>
                <a:lnTo>
                  <a:pt x="433066" y="157292"/>
                </a:lnTo>
                <a:lnTo>
                  <a:pt x="436539" y="153833"/>
                </a:lnTo>
                <a:close/>
                <a:moveTo>
                  <a:pt x="432855" y="150164"/>
                </a:moveTo>
                <a:lnTo>
                  <a:pt x="432759" y="150260"/>
                </a:lnTo>
                <a:lnTo>
                  <a:pt x="432951" y="150260"/>
                </a:lnTo>
                <a:close/>
                <a:moveTo>
                  <a:pt x="414434" y="150164"/>
                </a:moveTo>
                <a:lnTo>
                  <a:pt x="414338" y="150260"/>
                </a:lnTo>
                <a:lnTo>
                  <a:pt x="414538" y="150260"/>
                </a:lnTo>
                <a:close/>
                <a:moveTo>
                  <a:pt x="396627" y="150164"/>
                </a:moveTo>
                <a:lnTo>
                  <a:pt x="396531" y="150260"/>
                </a:lnTo>
                <a:lnTo>
                  <a:pt x="396723" y="150260"/>
                </a:lnTo>
                <a:close/>
                <a:moveTo>
                  <a:pt x="290072" y="148608"/>
                </a:moveTo>
                <a:cubicBezTo>
                  <a:pt x="290072" y="148608"/>
                  <a:pt x="290072" y="148608"/>
                  <a:pt x="366482" y="148608"/>
                </a:cubicBezTo>
                <a:cubicBezTo>
                  <a:pt x="366482" y="148608"/>
                  <a:pt x="366482" y="148608"/>
                  <a:pt x="366482" y="151977"/>
                </a:cubicBezTo>
                <a:cubicBezTo>
                  <a:pt x="366482" y="151977"/>
                  <a:pt x="366482" y="151977"/>
                  <a:pt x="290072" y="151977"/>
                </a:cubicBezTo>
                <a:cubicBezTo>
                  <a:pt x="290072" y="151977"/>
                  <a:pt x="290072" y="151977"/>
                  <a:pt x="290072" y="148608"/>
                </a:cubicBezTo>
                <a:close/>
                <a:moveTo>
                  <a:pt x="133207" y="145594"/>
                </a:moveTo>
                <a:cubicBezTo>
                  <a:pt x="133207" y="146206"/>
                  <a:pt x="133514" y="147124"/>
                  <a:pt x="133514" y="147737"/>
                </a:cubicBezTo>
                <a:cubicBezTo>
                  <a:pt x="160499" y="147737"/>
                  <a:pt x="160499" y="147737"/>
                  <a:pt x="160499" y="147737"/>
                </a:cubicBezTo>
                <a:cubicBezTo>
                  <a:pt x="160806" y="147124"/>
                  <a:pt x="160806" y="146206"/>
                  <a:pt x="160806" y="145594"/>
                </a:cubicBezTo>
                <a:cubicBezTo>
                  <a:pt x="133207" y="145594"/>
                  <a:pt x="133207" y="145594"/>
                  <a:pt x="133207" y="145594"/>
                </a:cubicBezTo>
                <a:close/>
                <a:moveTo>
                  <a:pt x="389565" y="145578"/>
                </a:moveTo>
                <a:cubicBezTo>
                  <a:pt x="388951" y="145578"/>
                  <a:pt x="388644" y="146190"/>
                  <a:pt x="388644" y="146495"/>
                </a:cubicBezTo>
                <a:cubicBezTo>
                  <a:pt x="388644" y="146801"/>
                  <a:pt x="388951" y="147413"/>
                  <a:pt x="389565" y="147413"/>
                </a:cubicBezTo>
                <a:cubicBezTo>
                  <a:pt x="441758" y="147413"/>
                  <a:pt x="441758" y="147413"/>
                  <a:pt x="441758" y="147413"/>
                </a:cubicBezTo>
                <a:cubicBezTo>
                  <a:pt x="442065" y="147413"/>
                  <a:pt x="442372" y="146801"/>
                  <a:pt x="442372" y="146495"/>
                </a:cubicBezTo>
                <a:cubicBezTo>
                  <a:pt x="442372" y="146190"/>
                  <a:pt x="442065" y="145578"/>
                  <a:pt x="441758" y="145578"/>
                </a:cubicBezTo>
                <a:cubicBezTo>
                  <a:pt x="389565" y="145578"/>
                  <a:pt x="389565" y="145578"/>
                  <a:pt x="389565" y="145578"/>
                </a:cubicBezTo>
                <a:close/>
                <a:moveTo>
                  <a:pt x="30427" y="144060"/>
                </a:moveTo>
                <a:cubicBezTo>
                  <a:pt x="33189" y="144060"/>
                  <a:pt x="33189" y="144060"/>
                  <a:pt x="33189" y="144060"/>
                </a:cubicBezTo>
                <a:cubicBezTo>
                  <a:pt x="33803" y="144060"/>
                  <a:pt x="34110" y="144673"/>
                  <a:pt x="34110" y="145287"/>
                </a:cubicBezTo>
                <a:cubicBezTo>
                  <a:pt x="34110" y="151421"/>
                  <a:pt x="34110" y="151421"/>
                  <a:pt x="34110" y="151421"/>
                </a:cubicBezTo>
                <a:cubicBezTo>
                  <a:pt x="40555" y="151421"/>
                  <a:pt x="40555" y="151421"/>
                  <a:pt x="40555" y="151421"/>
                </a:cubicBezTo>
                <a:cubicBezTo>
                  <a:pt x="41169" y="151421"/>
                  <a:pt x="41476" y="151728"/>
                  <a:pt x="41476" y="152342"/>
                </a:cubicBezTo>
                <a:cubicBezTo>
                  <a:pt x="41476" y="155409"/>
                  <a:pt x="41476" y="155409"/>
                  <a:pt x="41476" y="155409"/>
                </a:cubicBezTo>
                <a:cubicBezTo>
                  <a:pt x="41476" y="156023"/>
                  <a:pt x="41169" y="156329"/>
                  <a:pt x="40555" y="156329"/>
                </a:cubicBezTo>
                <a:cubicBezTo>
                  <a:pt x="34110" y="156329"/>
                  <a:pt x="34110" y="156329"/>
                  <a:pt x="34110" y="156329"/>
                </a:cubicBezTo>
                <a:cubicBezTo>
                  <a:pt x="34110" y="162464"/>
                  <a:pt x="34110" y="162464"/>
                  <a:pt x="34110" y="162464"/>
                </a:cubicBezTo>
                <a:cubicBezTo>
                  <a:pt x="34110" y="163077"/>
                  <a:pt x="33803" y="163691"/>
                  <a:pt x="33189" y="163691"/>
                </a:cubicBezTo>
                <a:cubicBezTo>
                  <a:pt x="30427" y="163691"/>
                  <a:pt x="30427" y="163691"/>
                  <a:pt x="30427" y="163691"/>
                </a:cubicBezTo>
                <a:cubicBezTo>
                  <a:pt x="29813" y="163691"/>
                  <a:pt x="29199" y="163077"/>
                  <a:pt x="29199" y="162464"/>
                </a:cubicBezTo>
                <a:cubicBezTo>
                  <a:pt x="29199" y="156329"/>
                  <a:pt x="29199" y="156329"/>
                  <a:pt x="29199" y="156329"/>
                </a:cubicBezTo>
                <a:cubicBezTo>
                  <a:pt x="23061" y="156329"/>
                  <a:pt x="23061" y="156329"/>
                  <a:pt x="23061" y="156329"/>
                </a:cubicBezTo>
                <a:cubicBezTo>
                  <a:pt x="22447" y="156329"/>
                  <a:pt x="22140" y="156023"/>
                  <a:pt x="22140" y="155409"/>
                </a:cubicBezTo>
                <a:cubicBezTo>
                  <a:pt x="22140" y="152342"/>
                  <a:pt x="22140" y="152342"/>
                  <a:pt x="22140" y="152342"/>
                </a:cubicBezTo>
                <a:cubicBezTo>
                  <a:pt x="22140" y="151728"/>
                  <a:pt x="22447" y="151421"/>
                  <a:pt x="23061" y="151421"/>
                </a:cubicBezTo>
                <a:cubicBezTo>
                  <a:pt x="29199" y="151421"/>
                  <a:pt x="29199" y="151421"/>
                  <a:pt x="29199" y="151421"/>
                </a:cubicBezTo>
                <a:cubicBezTo>
                  <a:pt x="29199" y="145287"/>
                  <a:pt x="29199" y="145287"/>
                  <a:pt x="29199" y="145287"/>
                </a:cubicBezTo>
                <a:cubicBezTo>
                  <a:pt x="29199" y="144673"/>
                  <a:pt x="29813" y="144060"/>
                  <a:pt x="30427" y="144060"/>
                </a:cubicBezTo>
                <a:close/>
                <a:moveTo>
                  <a:pt x="115711" y="141994"/>
                </a:moveTo>
                <a:lnTo>
                  <a:pt x="115711" y="164445"/>
                </a:lnTo>
                <a:cubicBezTo>
                  <a:pt x="115711" y="172251"/>
                  <a:pt x="115711" y="177455"/>
                  <a:pt x="115711" y="180924"/>
                </a:cubicBezTo>
                <a:lnTo>
                  <a:pt x="115711" y="183913"/>
                </a:lnTo>
                <a:lnTo>
                  <a:pt x="115893" y="183913"/>
                </a:lnTo>
                <a:cubicBezTo>
                  <a:pt x="116657" y="183913"/>
                  <a:pt x="118184" y="183913"/>
                  <a:pt x="121237" y="183913"/>
                </a:cubicBezTo>
                <a:lnTo>
                  <a:pt x="123713" y="183913"/>
                </a:lnTo>
                <a:lnTo>
                  <a:pt x="123713" y="155772"/>
                </a:lnTo>
                <a:cubicBezTo>
                  <a:pt x="123713" y="149918"/>
                  <a:pt x="123713" y="145527"/>
                  <a:pt x="123713" y="142234"/>
                </a:cubicBezTo>
                <a:lnTo>
                  <a:pt x="123713" y="141994"/>
                </a:lnTo>
                <a:lnTo>
                  <a:pt x="117934" y="141994"/>
                </a:lnTo>
                <a:lnTo>
                  <a:pt x="117934" y="161309"/>
                </a:lnTo>
                <a:cubicBezTo>
                  <a:pt x="117934" y="181096"/>
                  <a:pt x="117934" y="181096"/>
                  <a:pt x="117934" y="181096"/>
                </a:cubicBezTo>
                <a:cubicBezTo>
                  <a:pt x="117934" y="181096"/>
                  <a:pt x="117589" y="181403"/>
                  <a:pt x="117589" y="181403"/>
                </a:cubicBezTo>
                <a:cubicBezTo>
                  <a:pt x="117245" y="181403"/>
                  <a:pt x="116901" y="181096"/>
                  <a:pt x="116901" y="181096"/>
                </a:cubicBezTo>
                <a:lnTo>
                  <a:pt x="116901" y="141994"/>
                </a:lnTo>
                <a:close/>
                <a:moveTo>
                  <a:pt x="100347" y="141994"/>
                </a:moveTo>
                <a:lnTo>
                  <a:pt x="100347" y="164445"/>
                </a:lnTo>
                <a:cubicBezTo>
                  <a:pt x="100347" y="172251"/>
                  <a:pt x="100347" y="177455"/>
                  <a:pt x="100347" y="180924"/>
                </a:cubicBezTo>
                <a:lnTo>
                  <a:pt x="100347" y="183913"/>
                </a:lnTo>
                <a:lnTo>
                  <a:pt x="100800" y="183913"/>
                </a:lnTo>
                <a:cubicBezTo>
                  <a:pt x="101525" y="183913"/>
                  <a:pt x="102976" y="183913"/>
                  <a:pt x="105877" y="183913"/>
                </a:cubicBezTo>
                <a:lnTo>
                  <a:pt x="108349" y="183913"/>
                </a:lnTo>
                <a:lnTo>
                  <a:pt x="108349" y="155772"/>
                </a:lnTo>
                <a:cubicBezTo>
                  <a:pt x="108349" y="149918"/>
                  <a:pt x="108349" y="145527"/>
                  <a:pt x="108349" y="142234"/>
                </a:cubicBezTo>
                <a:lnTo>
                  <a:pt x="108349" y="141994"/>
                </a:lnTo>
                <a:lnTo>
                  <a:pt x="102879" y="141994"/>
                </a:lnTo>
                <a:lnTo>
                  <a:pt x="102879" y="161309"/>
                </a:lnTo>
                <a:cubicBezTo>
                  <a:pt x="102879" y="181096"/>
                  <a:pt x="102879" y="181096"/>
                  <a:pt x="102879" y="181096"/>
                </a:cubicBezTo>
                <a:cubicBezTo>
                  <a:pt x="102879" y="181096"/>
                  <a:pt x="102534" y="181403"/>
                  <a:pt x="102190" y="181403"/>
                </a:cubicBezTo>
                <a:cubicBezTo>
                  <a:pt x="102190" y="181403"/>
                  <a:pt x="101846" y="181096"/>
                  <a:pt x="101846" y="181096"/>
                </a:cubicBezTo>
                <a:lnTo>
                  <a:pt x="101846" y="141994"/>
                </a:lnTo>
                <a:close/>
                <a:moveTo>
                  <a:pt x="85304" y="141994"/>
                </a:moveTo>
                <a:lnTo>
                  <a:pt x="85304" y="164445"/>
                </a:lnTo>
                <a:cubicBezTo>
                  <a:pt x="85304" y="172251"/>
                  <a:pt x="85304" y="177455"/>
                  <a:pt x="85304" y="180924"/>
                </a:cubicBezTo>
                <a:lnTo>
                  <a:pt x="85304" y="183913"/>
                </a:lnTo>
                <a:lnTo>
                  <a:pt x="85487" y="183913"/>
                </a:lnTo>
                <a:cubicBezTo>
                  <a:pt x="86251" y="183913"/>
                  <a:pt x="87778" y="183913"/>
                  <a:pt x="90831" y="183913"/>
                </a:cubicBezTo>
                <a:lnTo>
                  <a:pt x="93306" y="183913"/>
                </a:lnTo>
                <a:lnTo>
                  <a:pt x="93306" y="155772"/>
                </a:lnTo>
                <a:cubicBezTo>
                  <a:pt x="93306" y="149918"/>
                  <a:pt x="93306" y="145527"/>
                  <a:pt x="93306" y="142234"/>
                </a:cubicBezTo>
                <a:lnTo>
                  <a:pt x="93306" y="141994"/>
                </a:lnTo>
                <a:lnTo>
                  <a:pt x="92190" y="141994"/>
                </a:lnTo>
                <a:lnTo>
                  <a:pt x="87528" y="141994"/>
                </a:lnTo>
                <a:lnTo>
                  <a:pt x="87528" y="161309"/>
                </a:lnTo>
                <a:cubicBezTo>
                  <a:pt x="87528" y="181096"/>
                  <a:pt x="87528" y="181096"/>
                  <a:pt x="87528" y="181096"/>
                </a:cubicBezTo>
                <a:cubicBezTo>
                  <a:pt x="87528" y="181096"/>
                  <a:pt x="87233" y="181403"/>
                  <a:pt x="87233" y="181403"/>
                </a:cubicBezTo>
                <a:cubicBezTo>
                  <a:pt x="86938" y="181403"/>
                  <a:pt x="86938" y="181096"/>
                  <a:pt x="86938" y="181096"/>
                </a:cubicBezTo>
                <a:lnTo>
                  <a:pt x="86938" y="141994"/>
                </a:lnTo>
                <a:close/>
                <a:moveTo>
                  <a:pt x="69941" y="141994"/>
                </a:moveTo>
                <a:lnTo>
                  <a:pt x="69941" y="164445"/>
                </a:lnTo>
                <a:cubicBezTo>
                  <a:pt x="69941" y="172251"/>
                  <a:pt x="69941" y="177455"/>
                  <a:pt x="69941" y="180924"/>
                </a:cubicBezTo>
                <a:lnTo>
                  <a:pt x="69941" y="183913"/>
                </a:lnTo>
                <a:lnTo>
                  <a:pt x="70393" y="183913"/>
                </a:lnTo>
                <a:cubicBezTo>
                  <a:pt x="71118" y="183913"/>
                  <a:pt x="72569" y="183913"/>
                  <a:pt x="75470" y="183913"/>
                </a:cubicBezTo>
                <a:lnTo>
                  <a:pt x="77943" y="183913"/>
                </a:lnTo>
                <a:lnTo>
                  <a:pt x="77943" y="155772"/>
                </a:lnTo>
                <a:cubicBezTo>
                  <a:pt x="77943" y="149918"/>
                  <a:pt x="77943" y="145527"/>
                  <a:pt x="77943" y="142234"/>
                </a:cubicBezTo>
                <a:lnTo>
                  <a:pt x="77943" y="141994"/>
                </a:lnTo>
                <a:lnTo>
                  <a:pt x="73985" y="141994"/>
                </a:lnTo>
                <a:lnTo>
                  <a:pt x="72473" y="141994"/>
                </a:lnTo>
                <a:lnTo>
                  <a:pt x="72473" y="161309"/>
                </a:lnTo>
                <a:cubicBezTo>
                  <a:pt x="72473" y="181096"/>
                  <a:pt x="72473" y="181096"/>
                  <a:pt x="72473" y="181096"/>
                </a:cubicBezTo>
                <a:cubicBezTo>
                  <a:pt x="72473" y="181096"/>
                  <a:pt x="72177" y="181403"/>
                  <a:pt x="71882" y="181403"/>
                </a:cubicBezTo>
                <a:cubicBezTo>
                  <a:pt x="71882" y="181403"/>
                  <a:pt x="71587" y="181096"/>
                  <a:pt x="71587" y="181096"/>
                </a:cubicBezTo>
                <a:lnTo>
                  <a:pt x="71587" y="141994"/>
                </a:lnTo>
                <a:close/>
                <a:moveTo>
                  <a:pt x="134127" y="137634"/>
                </a:moveTo>
                <a:cubicBezTo>
                  <a:pt x="133820" y="138246"/>
                  <a:pt x="133514" y="139164"/>
                  <a:pt x="133514" y="140083"/>
                </a:cubicBezTo>
                <a:cubicBezTo>
                  <a:pt x="160499" y="140083"/>
                  <a:pt x="160499" y="140083"/>
                  <a:pt x="160499" y="140083"/>
                </a:cubicBezTo>
                <a:cubicBezTo>
                  <a:pt x="160499" y="139164"/>
                  <a:pt x="160192" y="138246"/>
                  <a:pt x="159886" y="137634"/>
                </a:cubicBezTo>
                <a:cubicBezTo>
                  <a:pt x="134127" y="137634"/>
                  <a:pt x="134127" y="137634"/>
                  <a:pt x="134127" y="137634"/>
                </a:cubicBezTo>
                <a:close/>
                <a:moveTo>
                  <a:pt x="11030" y="136732"/>
                </a:moveTo>
                <a:cubicBezTo>
                  <a:pt x="8576" y="136732"/>
                  <a:pt x="7043" y="138570"/>
                  <a:pt x="7043" y="140714"/>
                </a:cubicBezTo>
                <a:cubicBezTo>
                  <a:pt x="7043" y="188188"/>
                  <a:pt x="7043" y="188188"/>
                  <a:pt x="7043" y="188188"/>
                </a:cubicBezTo>
                <a:cubicBezTo>
                  <a:pt x="7043" y="190332"/>
                  <a:pt x="8576" y="192170"/>
                  <a:pt x="11030" y="192170"/>
                </a:cubicBezTo>
                <a:cubicBezTo>
                  <a:pt x="52438" y="192170"/>
                  <a:pt x="52438" y="192170"/>
                  <a:pt x="52438" y="192170"/>
                </a:cubicBezTo>
                <a:cubicBezTo>
                  <a:pt x="54585" y="192170"/>
                  <a:pt x="56426" y="190332"/>
                  <a:pt x="56426" y="188188"/>
                </a:cubicBezTo>
                <a:cubicBezTo>
                  <a:pt x="56426" y="140714"/>
                  <a:pt x="56426" y="140714"/>
                  <a:pt x="56426" y="140714"/>
                </a:cubicBezTo>
                <a:cubicBezTo>
                  <a:pt x="56426" y="138570"/>
                  <a:pt x="54585" y="136732"/>
                  <a:pt x="52438" y="136732"/>
                </a:cubicBezTo>
                <a:cubicBezTo>
                  <a:pt x="11030" y="136732"/>
                  <a:pt x="11030" y="136732"/>
                  <a:pt x="11030" y="136732"/>
                </a:cubicBezTo>
                <a:close/>
                <a:moveTo>
                  <a:pt x="415058" y="135805"/>
                </a:moveTo>
                <a:lnTo>
                  <a:pt x="415058" y="142252"/>
                </a:lnTo>
                <a:lnTo>
                  <a:pt x="418425" y="139157"/>
                </a:lnTo>
                <a:close/>
                <a:moveTo>
                  <a:pt x="414025" y="135624"/>
                </a:moveTo>
                <a:lnTo>
                  <a:pt x="410750" y="139157"/>
                </a:lnTo>
                <a:lnTo>
                  <a:pt x="414025" y="142420"/>
                </a:lnTo>
                <a:close/>
                <a:moveTo>
                  <a:pt x="432476" y="135591"/>
                </a:moveTo>
                <a:lnTo>
                  <a:pt x="429170" y="139157"/>
                </a:lnTo>
                <a:lnTo>
                  <a:pt x="432476" y="142449"/>
                </a:lnTo>
                <a:close/>
                <a:moveTo>
                  <a:pt x="396313" y="135521"/>
                </a:moveTo>
                <a:lnTo>
                  <a:pt x="392943" y="139157"/>
                </a:lnTo>
                <a:lnTo>
                  <a:pt x="396313" y="142514"/>
                </a:lnTo>
                <a:close/>
                <a:moveTo>
                  <a:pt x="396903" y="135481"/>
                </a:moveTo>
                <a:lnTo>
                  <a:pt x="396903" y="142551"/>
                </a:lnTo>
                <a:lnTo>
                  <a:pt x="400311" y="139157"/>
                </a:lnTo>
                <a:close/>
                <a:moveTo>
                  <a:pt x="433066" y="135411"/>
                </a:moveTo>
                <a:lnTo>
                  <a:pt x="433066" y="142616"/>
                </a:lnTo>
                <a:lnTo>
                  <a:pt x="436539" y="139157"/>
                </a:lnTo>
                <a:close/>
                <a:moveTo>
                  <a:pt x="432855" y="135183"/>
                </a:moveTo>
                <a:lnTo>
                  <a:pt x="432835" y="135204"/>
                </a:lnTo>
                <a:lnTo>
                  <a:pt x="432874" y="135204"/>
                </a:lnTo>
                <a:close/>
                <a:moveTo>
                  <a:pt x="414434" y="135183"/>
                </a:moveTo>
                <a:lnTo>
                  <a:pt x="414414" y="135204"/>
                </a:lnTo>
                <a:lnTo>
                  <a:pt x="414455" y="135204"/>
                </a:lnTo>
                <a:close/>
                <a:moveTo>
                  <a:pt x="396627" y="135183"/>
                </a:moveTo>
                <a:lnTo>
                  <a:pt x="396607" y="135204"/>
                </a:lnTo>
                <a:lnTo>
                  <a:pt x="396646" y="135204"/>
                </a:lnTo>
                <a:close/>
                <a:moveTo>
                  <a:pt x="232646" y="133285"/>
                </a:moveTo>
                <a:cubicBezTo>
                  <a:pt x="236017" y="143129"/>
                  <a:pt x="236017" y="143129"/>
                  <a:pt x="236017" y="143129"/>
                </a:cubicBezTo>
                <a:cubicBezTo>
                  <a:pt x="220385" y="148050"/>
                  <a:pt x="207205" y="148973"/>
                  <a:pt x="192493" y="159125"/>
                </a:cubicBezTo>
                <a:cubicBezTo>
                  <a:pt x="190347" y="160663"/>
                  <a:pt x="183604" y="166200"/>
                  <a:pt x="181765" y="163124"/>
                </a:cubicBezTo>
                <a:cubicBezTo>
                  <a:pt x="180233" y="160970"/>
                  <a:pt x="188202" y="156049"/>
                  <a:pt x="190654" y="154203"/>
                </a:cubicBezTo>
                <a:cubicBezTo>
                  <a:pt x="186363" y="155741"/>
                  <a:pt x="180846" y="158202"/>
                  <a:pt x="176555" y="158817"/>
                </a:cubicBezTo>
                <a:cubicBezTo>
                  <a:pt x="175941" y="159125"/>
                  <a:pt x="175635" y="159125"/>
                  <a:pt x="175328" y="159125"/>
                </a:cubicBezTo>
                <a:cubicBezTo>
                  <a:pt x="171957" y="159432"/>
                  <a:pt x="171957" y="156971"/>
                  <a:pt x="174409" y="155433"/>
                </a:cubicBezTo>
                <a:cubicBezTo>
                  <a:pt x="174715" y="155126"/>
                  <a:pt x="175635" y="154510"/>
                  <a:pt x="176555" y="154203"/>
                </a:cubicBezTo>
                <a:cubicBezTo>
                  <a:pt x="179620" y="152665"/>
                  <a:pt x="184830" y="151127"/>
                  <a:pt x="187282" y="149589"/>
                </a:cubicBezTo>
                <a:cubicBezTo>
                  <a:pt x="185137" y="149589"/>
                  <a:pt x="180539" y="151434"/>
                  <a:pt x="176555" y="152665"/>
                </a:cubicBezTo>
                <a:cubicBezTo>
                  <a:pt x="174715" y="153280"/>
                  <a:pt x="172876" y="153895"/>
                  <a:pt x="171344" y="154203"/>
                </a:cubicBezTo>
                <a:cubicBezTo>
                  <a:pt x="168892" y="154510"/>
                  <a:pt x="167972" y="152972"/>
                  <a:pt x="168585" y="151742"/>
                </a:cubicBezTo>
                <a:cubicBezTo>
                  <a:pt x="168892" y="150819"/>
                  <a:pt x="170118" y="149896"/>
                  <a:pt x="171957" y="149281"/>
                </a:cubicBezTo>
                <a:cubicBezTo>
                  <a:pt x="173489" y="148666"/>
                  <a:pt x="175022" y="148050"/>
                  <a:pt x="176555" y="147435"/>
                </a:cubicBezTo>
                <a:cubicBezTo>
                  <a:pt x="179620" y="146205"/>
                  <a:pt x="182685" y="145282"/>
                  <a:pt x="186056" y="143436"/>
                </a:cubicBezTo>
                <a:cubicBezTo>
                  <a:pt x="184217" y="143436"/>
                  <a:pt x="180233" y="144667"/>
                  <a:pt x="176555" y="145282"/>
                </a:cubicBezTo>
                <a:cubicBezTo>
                  <a:pt x="172876" y="145590"/>
                  <a:pt x="169505" y="145897"/>
                  <a:pt x="169198" y="143744"/>
                </a:cubicBezTo>
                <a:cubicBezTo>
                  <a:pt x="168892" y="140668"/>
                  <a:pt x="172876" y="140052"/>
                  <a:pt x="175941" y="139745"/>
                </a:cubicBezTo>
                <a:cubicBezTo>
                  <a:pt x="176248" y="139745"/>
                  <a:pt x="176248" y="139745"/>
                  <a:pt x="176555" y="139745"/>
                </a:cubicBezTo>
                <a:cubicBezTo>
                  <a:pt x="178087" y="139437"/>
                  <a:pt x="179926" y="139130"/>
                  <a:pt x="181765" y="138822"/>
                </a:cubicBezTo>
                <a:cubicBezTo>
                  <a:pt x="181459" y="139130"/>
                  <a:pt x="181152" y="140052"/>
                  <a:pt x="181152" y="140668"/>
                </a:cubicBezTo>
                <a:cubicBezTo>
                  <a:pt x="181152" y="140975"/>
                  <a:pt x="181152" y="140975"/>
                  <a:pt x="181152" y="140975"/>
                </a:cubicBezTo>
                <a:cubicBezTo>
                  <a:pt x="181152" y="140975"/>
                  <a:pt x="181152" y="141283"/>
                  <a:pt x="181459" y="141591"/>
                </a:cubicBezTo>
                <a:cubicBezTo>
                  <a:pt x="181765" y="142821"/>
                  <a:pt x="183604" y="143129"/>
                  <a:pt x="185750" y="143129"/>
                </a:cubicBezTo>
                <a:cubicBezTo>
                  <a:pt x="187589" y="143129"/>
                  <a:pt x="190041" y="142821"/>
                  <a:pt x="192799" y="142206"/>
                </a:cubicBezTo>
                <a:cubicBezTo>
                  <a:pt x="197704" y="141283"/>
                  <a:pt x="202914" y="139437"/>
                  <a:pt x="205060" y="138207"/>
                </a:cubicBezTo>
                <a:cubicBezTo>
                  <a:pt x="209964" y="138514"/>
                  <a:pt x="216707" y="140360"/>
                  <a:pt x="223144" y="142206"/>
                </a:cubicBezTo>
                <a:cubicBezTo>
                  <a:pt x="225289" y="143129"/>
                  <a:pt x="227435" y="143744"/>
                  <a:pt x="229581" y="144051"/>
                </a:cubicBezTo>
                <a:cubicBezTo>
                  <a:pt x="229581" y="144359"/>
                  <a:pt x="229887" y="144051"/>
                  <a:pt x="230194" y="143744"/>
                </a:cubicBezTo>
                <a:cubicBezTo>
                  <a:pt x="232646" y="133285"/>
                  <a:pt x="232646" y="133285"/>
                  <a:pt x="232646" y="133285"/>
                </a:cubicBezTo>
                <a:close/>
                <a:moveTo>
                  <a:pt x="387416" y="131514"/>
                </a:moveTo>
                <a:cubicBezTo>
                  <a:pt x="443293" y="131514"/>
                  <a:pt x="443293" y="131514"/>
                  <a:pt x="443293" y="131514"/>
                </a:cubicBezTo>
                <a:cubicBezTo>
                  <a:pt x="444828" y="131514"/>
                  <a:pt x="446056" y="132737"/>
                  <a:pt x="446056" y="134266"/>
                </a:cubicBezTo>
                <a:cubicBezTo>
                  <a:pt x="446056" y="158725"/>
                  <a:pt x="446056" y="158725"/>
                  <a:pt x="446056" y="158725"/>
                </a:cubicBezTo>
                <a:cubicBezTo>
                  <a:pt x="446056" y="160254"/>
                  <a:pt x="444828" y="161477"/>
                  <a:pt x="443293" y="161477"/>
                </a:cubicBezTo>
                <a:cubicBezTo>
                  <a:pt x="387416" y="161477"/>
                  <a:pt x="387416" y="161477"/>
                  <a:pt x="387416" y="161477"/>
                </a:cubicBezTo>
                <a:cubicBezTo>
                  <a:pt x="385881" y="161477"/>
                  <a:pt x="384653" y="160254"/>
                  <a:pt x="384653" y="158725"/>
                </a:cubicBezTo>
                <a:cubicBezTo>
                  <a:pt x="384653" y="134266"/>
                  <a:pt x="384653" y="134266"/>
                  <a:pt x="384653" y="134266"/>
                </a:cubicBezTo>
                <a:cubicBezTo>
                  <a:pt x="384653" y="132737"/>
                  <a:pt x="385881" y="131514"/>
                  <a:pt x="387416" y="131514"/>
                </a:cubicBezTo>
                <a:close/>
                <a:moveTo>
                  <a:pt x="4589" y="131219"/>
                </a:moveTo>
                <a:cubicBezTo>
                  <a:pt x="58880" y="131219"/>
                  <a:pt x="58880" y="131219"/>
                  <a:pt x="58880" y="131219"/>
                </a:cubicBezTo>
                <a:cubicBezTo>
                  <a:pt x="61027" y="131219"/>
                  <a:pt x="63174" y="133363"/>
                  <a:pt x="63174" y="135507"/>
                </a:cubicBezTo>
                <a:cubicBezTo>
                  <a:pt x="63174" y="216673"/>
                  <a:pt x="63174" y="216673"/>
                  <a:pt x="63174" y="216673"/>
                </a:cubicBezTo>
                <a:cubicBezTo>
                  <a:pt x="63174" y="219123"/>
                  <a:pt x="61027" y="220961"/>
                  <a:pt x="58880" y="220961"/>
                </a:cubicBezTo>
                <a:cubicBezTo>
                  <a:pt x="4589" y="220961"/>
                  <a:pt x="4589" y="220961"/>
                  <a:pt x="4589" y="220961"/>
                </a:cubicBezTo>
                <a:cubicBezTo>
                  <a:pt x="2135" y="220961"/>
                  <a:pt x="295" y="219123"/>
                  <a:pt x="295" y="216673"/>
                </a:cubicBezTo>
                <a:cubicBezTo>
                  <a:pt x="295" y="135507"/>
                  <a:pt x="295" y="135507"/>
                  <a:pt x="295" y="135507"/>
                </a:cubicBezTo>
                <a:cubicBezTo>
                  <a:pt x="295" y="133363"/>
                  <a:pt x="2135" y="131219"/>
                  <a:pt x="4589" y="131219"/>
                </a:cubicBezTo>
                <a:close/>
                <a:moveTo>
                  <a:pt x="374461" y="130843"/>
                </a:moveTo>
                <a:cubicBezTo>
                  <a:pt x="371699" y="131455"/>
                  <a:pt x="368630" y="133293"/>
                  <a:pt x="366482" y="136356"/>
                </a:cubicBezTo>
                <a:cubicBezTo>
                  <a:pt x="366482" y="136356"/>
                  <a:pt x="366482" y="136356"/>
                  <a:pt x="366482" y="147383"/>
                </a:cubicBezTo>
                <a:cubicBezTo>
                  <a:pt x="366482" y="147383"/>
                  <a:pt x="366482" y="147383"/>
                  <a:pt x="290072" y="147383"/>
                </a:cubicBezTo>
                <a:cubicBezTo>
                  <a:pt x="290072" y="147383"/>
                  <a:pt x="290072" y="147383"/>
                  <a:pt x="290072" y="136356"/>
                </a:cubicBezTo>
                <a:cubicBezTo>
                  <a:pt x="290072" y="136356"/>
                  <a:pt x="290072" y="136356"/>
                  <a:pt x="288230" y="136050"/>
                </a:cubicBezTo>
                <a:cubicBezTo>
                  <a:pt x="287617" y="136050"/>
                  <a:pt x="287003" y="135743"/>
                  <a:pt x="286389" y="135743"/>
                </a:cubicBezTo>
                <a:cubicBezTo>
                  <a:pt x="281479" y="134825"/>
                  <a:pt x="275342" y="133599"/>
                  <a:pt x="273194" y="138806"/>
                </a:cubicBezTo>
                <a:cubicBezTo>
                  <a:pt x="271659" y="142788"/>
                  <a:pt x="271966" y="144626"/>
                  <a:pt x="272887" y="147689"/>
                </a:cubicBezTo>
                <a:cubicBezTo>
                  <a:pt x="273194" y="148914"/>
                  <a:pt x="273501" y="150752"/>
                  <a:pt x="273808" y="152590"/>
                </a:cubicBezTo>
                <a:cubicBezTo>
                  <a:pt x="274421" y="156572"/>
                  <a:pt x="276569" y="159329"/>
                  <a:pt x="279331" y="160860"/>
                </a:cubicBezTo>
                <a:cubicBezTo>
                  <a:pt x="282400" y="162698"/>
                  <a:pt x="286389" y="163617"/>
                  <a:pt x="290072" y="163617"/>
                </a:cubicBezTo>
                <a:cubicBezTo>
                  <a:pt x="290072" y="163617"/>
                  <a:pt x="290072" y="163617"/>
                  <a:pt x="290072" y="157491"/>
                </a:cubicBezTo>
                <a:cubicBezTo>
                  <a:pt x="290072" y="157491"/>
                  <a:pt x="290072" y="157491"/>
                  <a:pt x="366482" y="157491"/>
                </a:cubicBezTo>
                <a:cubicBezTo>
                  <a:pt x="366482" y="157491"/>
                  <a:pt x="366482" y="157491"/>
                  <a:pt x="366482" y="165148"/>
                </a:cubicBezTo>
                <a:cubicBezTo>
                  <a:pt x="366482" y="164842"/>
                  <a:pt x="366789" y="164536"/>
                  <a:pt x="367096" y="164536"/>
                </a:cubicBezTo>
                <a:cubicBezTo>
                  <a:pt x="370471" y="161473"/>
                  <a:pt x="372619" y="159635"/>
                  <a:pt x="372619" y="153815"/>
                </a:cubicBezTo>
                <a:cubicBezTo>
                  <a:pt x="372313" y="145851"/>
                  <a:pt x="375074" y="143095"/>
                  <a:pt x="377529" y="140644"/>
                </a:cubicBezTo>
                <a:cubicBezTo>
                  <a:pt x="378757" y="139725"/>
                  <a:pt x="379984" y="138500"/>
                  <a:pt x="380291" y="136969"/>
                </a:cubicBezTo>
                <a:cubicBezTo>
                  <a:pt x="380905" y="134825"/>
                  <a:pt x="380598" y="133293"/>
                  <a:pt x="379984" y="132374"/>
                </a:cubicBezTo>
                <a:cubicBezTo>
                  <a:pt x="379371" y="131455"/>
                  <a:pt x="378757" y="131149"/>
                  <a:pt x="377836" y="130843"/>
                </a:cubicBezTo>
                <a:cubicBezTo>
                  <a:pt x="376609" y="130536"/>
                  <a:pt x="375688" y="130536"/>
                  <a:pt x="374461" y="130843"/>
                </a:cubicBezTo>
                <a:close/>
                <a:moveTo>
                  <a:pt x="113865" y="130515"/>
                </a:moveTo>
                <a:cubicBezTo>
                  <a:pt x="113865" y="130515"/>
                  <a:pt x="113557" y="130822"/>
                  <a:pt x="113557" y="130822"/>
                </a:cubicBezTo>
                <a:cubicBezTo>
                  <a:pt x="113249" y="130822"/>
                  <a:pt x="113249" y="131128"/>
                  <a:pt x="113249" y="131435"/>
                </a:cubicBezTo>
                <a:cubicBezTo>
                  <a:pt x="113249" y="131435"/>
                  <a:pt x="113249" y="131742"/>
                  <a:pt x="113557" y="131742"/>
                </a:cubicBezTo>
                <a:cubicBezTo>
                  <a:pt x="113557" y="132048"/>
                  <a:pt x="113865" y="132048"/>
                  <a:pt x="113865" y="132048"/>
                </a:cubicBezTo>
                <a:cubicBezTo>
                  <a:pt x="115096" y="132048"/>
                  <a:pt x="115096" y="132048"/>
                  <a:pt x="115096" y="132048"/>
                </a:cubicBezTo>
                <a:cubicBezTo>
                  <a:pt x="115711" y="132048"/>
                  <a:pt x="115711" y="132048"/>
                  <a:pt x="115711" y="132048"/>
                </a:cubicBezTo>
                <a:cubicBezTo>
                  <a:pt x="115711" y="132355"/>
                  <a:pt x="115711" y="132355"/>
                  <a:pt x="115711" y="132355"/>
                </a:cubicBezTo>
                <a:lnTo>
                  <a:pt x="115711" y="139780"/>
                </a:lnTo>
                <a:lnTo>
                  <a:pt x="116901" y="139780"/>
                </a:lnTo>
                <a:lnTo>
                  <a:pt x="116901" y="134193"/>
                </a:lnTo>
                <a:cubicBezTo>
                  <a:pt x="116901" y="133886"/>
                  <a:pt x="117245" y="133580"/>
                  <a:pt x="117589" y="133580"/>
                </a:cubicBezTo>
                <a:cubicBezTo>
                  <a:pt x="117589" y="133580"/>
                  <a:pt x="117934" y="133886"/>
                  <a:pt x="117934" y="134193"/>
                </a:cubicBezTo>
                <a:lnTo>
                  <a:pt x="117934" y="139780"/>
                </a:lnTo>
                <a:lnTo>
                  <a:pt x="119976" y="139780"/>
                </a:lnTo>
                <a:lnTo>
                  <a:pt x="123713" y="139780"/>
                </a:lnTo>
                <a:lnTo>
                  <a:pt x="123713" y="135282"/>
                </a:lnTo>
                <a:cubicBezTo>
                  <a:pt x="123713" y="132355"/>
                  <a:pt x="123713" y="132355"/>
                  <a:pt x="123713" y="132355"/>
                </a:cubicBezTo>
                <a:cubicBezTo>
                  <a:pt x="123713" y="132048"/>
                  <a:pt x="123713" y="132048"/>
                  <a:pt x="123713" y="132048"/>
                </a:cubicBezTo>
                <a:cubicBezTo>
                  <a:pt x="124021" y="132048"/>
                  <a:pt x="124021" y="132048"/>
                  <a:pt x="124021" y="132048"/>
                </a:cubicBezTo>
                <a:cubicBezTo>
                  <a:pt x="125252" y="132048"/>
                  <a:pt x="125252" y="132048"/>
                  <a:pt x="125252" y="132048"/>
                </a:cubicBezTo>
                <a:cubicBezTo>
                  <a:pt x="125560" y="132048"/>
                  <a:pt x="125560" y="132048"/>
                  <a:pt x="125867" y="131742"/>
                </a:cubicBezTo>
                <a:cubicBezTo>
                  <a:pt x="125867" y="131742"/>
                  <a:pt x="125867" y="131435"/>
                  <a:pt x="125867" y="131435"/>
                </a:cubicBezTo>
                <a:cubicBezTo>
                  <a:pt x="125867" y="131128"/>
                  <a:pt x="125867" y="130822"/>
                  <a:pt x="125867" y="130822"/>
                </a:cubicBezTo>
                <a:cubicBezTo>
                  <a:pt x="125560" y="130822"/>
                  <a:pt x="125560" y="130515"/>
                  <a:pt x="125252" y="130515"/>
                </a:cubicBezTo>
                <a:cubicBezTo>
                  <a:pt x="113865" y="130515"/>
                  <a:pt x="113865" y="130515"/>
                  <a:pt x="113865" y="130515"/>
                </a:cubicBezTo>
                <a:close/>
                <a:moveTo>
                  <a:pt x="98809" y="130515"/>
                </a:moveTo>
                <a:cubicBezTo>
                  <a:pt x="98501" y="130515"/>
                  <a:pt x="98501" y="130822"/>
                  <a:pt x="98193" y="130822"/>
                </a:cubicBezTo>
                <a:cubicBezTo>
                  <a:pt x="98193" y="130822"/>
                  <a:pt x="98193" y="131128"/>
                  <a:pt x="98193" y="131435"/>
                </a:cubicBezTo>
                <a:cubicBezTo>
                  <a:pt x="98193" y="131435"/>
                  <a:pt x="98193" y="131742"/>
                  <a:pt x="98193" y="131742"/>
                </a:cubicBezTo>
                <a:cubicBezTo>
                  <a:pt x="98501" y="132048"/>
                  <a:pt x="98501" y="132048"/>
                  <a:pt x="98809" y="132048"/>
                </a:cubicBezTo>
                <a:cubicBezTo>
                  <a:pt x="100040" y="132048"/>
                  <a:pt x="100040" y="132048"/>
                  <a:pt x="100040" y="132048"/>
                </a:cubicBezTo>
                <a:cubicBezTo>
                  <a:pt x="100347" y="132048"/>
                  <a:pt x="100347" y="132048"/>
                  <a:pt x="100347" y="132048"/>
                </a:cubicBezTo>
                <a:cubicBezTo>
                  <a:pt x="100347" y="132355"/>
                  <a:pt x="100347" y="132355"/>
                  <a:pt x="100347" y="132355"/>
                </a:cubicBezTo>
                <a:lnTo>
                  <a:pt x="100347" y="139780"/>
                </a:lnTo>
                <a:lnTo>
                  <a:pt x="101771" y="139780"/>
                </a:lnTo>
                <a:lnTo>
                  <a:pt x="101846" y="139780"/>
                </a:lnTo>
                <a:lnTo>
                  <a:pt x="101846" y="134193"/>
                </a:lnTo>
                <a:cubicBezTo>
                  <a:pt x="101846" y="133886"/>
                  <a:pt x="102190" y="133580"/>
                  <a:pt x="102190" y="133580"/>
                </a:cubicBezTo>
                <a:cubicBezTo>
                  <a:pt x="102534" y="133580"/>
                  <a:pt x="102879" y="133886"/>
                  <a:pt x="102879" y="134193"/>
                </a:cubicBezTo>
                <a:lnTo>
                  <a:pt x="102879" y="139780"/>
                </a:lnTo>
                <a:lnTo>
                  <a:pt x="108349" y="139780"/>
                </a:lnTo>
                <a:lnTo>
                  <a:pt x="108349" y="135282"/>
                </a:lnTo>
                <a:cubicBezTo>
                  <a:pt x="108349" y="132355"/>
                  <a:pt x="108349" y="132355"/>
                  <a:pt x="108349" y="132355"/>
                </a:cubicBezTo>
                <a:cubicBezTo>
                  <a:pt x="108349" y="132048"/>
                  <a:pt x="108349" y="132048"/>
                  <a:pt x="108349" y="132048"/>
                </a:cubicBezTo>
                <a:cubicBezTo>
                  <a:pt x="108965" y="132048"/>
                  <a:pt x="108965" y="132048"/>
                  <a:pt x="108965" y="132048"/>
                </a:cubicBezTo>
                <a:cubicBezTo>
                  <a:pt x="109888" y="132048"/>
                  <a:pt x="109888" y="132048"/>
                  <a:pt x="109888" y="132048"/>
                </a:cubicBezTo>
                <a:cubicBezTo>
                  <a:pt x="110196" y="132048"/>
                  <a:pt x="110504" y="132048"/>
                  <a:pt x="110504" y="131742"/>
                </a:cubicBezTo>
                <a:cubicBezTo>
                  <a:pt x="110504" y="131742"/>
                  <a:pt x="110811" y="131435"/>
                  <a:pt x="110811" y="131435"/>
                </a:cubicBezTo>
                <a:cubicBezTo>
                  <a:pt x="110811" y="131128"/>
                  <a:pt x="110504" y="130822"/>
                  <a:pt x="110504" y="130822"/>
                </a:cubicBezTo>
                <a:cubicBezTo>
                  <a:pt x="110504" y="130822"/>
                  <a:pt x="110196" y="130515"/>
                  <a:pt x="109888" y="130515"/>
                </a:cubicBezTo>
                <a:cubicBezTo>
                  <a:pt x="98809" y="130515"/>
                  <a:pt x="98809" y="130515"/>
                  <a:pt x="98809" y="130515"/>
                </a:cubicBezTo>
                <a:close/>
                <a:moveTo>
                  <a:pt x="83458" y="130515"/>
                </a:moveTo>
                <a:cubicBezTo>
                  <a:pt x="83458" y="130515"/>
                  <a:pt x="83150" y="130822"/>
                  <a:pt x="83150" y="130822"/>
                </a:cubicBezTo>
                <a:cubicBezTo>
                  <a:pt x="82842" y="130822"/>
                  <a:pt x="82842" y="131128"/>
                  <a:pt x="82842" y="131435"/>
                </a:cubicBezTo>
                <a:cubicBezTo>
                  <a:pt x="82842" y="131435"/>
                  <a:pt x="82842" y="131742"/>
                  <a:pt x="83150" y="131742"/>
                </a:cubicBezTo>
                <a:cubicBezTo>
                  <a:pt x="83150" y="132048"/>
                  <a:pt x="83458" y="132048"/>
                  <a:pt x="83458" y="132048"/>
                </a:cubicBezTo>
                <a:cubicBezTo>
                  <a:pt x="84689" y="132048"/>
                  <a:pt x="84689" y="132048"/>
                  <a:pt x="84689" y="132048"/>
                </a:cubicBezTo>
                <a:cubicBezTo>
                  <a:pt x="85304" y="132048"/>
                  <a:pt x="85304" y="132048"/>
                  <a:pt x="85304" y="132048"/>
                </a:cubicBezTo>
                <a:cubicBezTo>
                  <a:pt x="85304" y="132355"/>
                  <a:pt x="85304" y="132355"/>
                  <a:pt x="85304" y="132355"/>
                </a:cubicBezTo>
                <a:lnTo>
                  <a:pt x="85304" y="139780"/>
                </a:lnTo>
                <a:lnTo>
                  <a:pt x="86938" y="139780"/>
                </a:lnTo>
                <a:lnTo>
                  <a:pt x="86938" y="134193"/>
                </a:lnTo>
                <a:cubicBezTo>
                  <a:pt x="86938" y="133886"/>
                  <a:pt x="86938" y="133580"/>
                  <a:pt x="87233" y="133580"/>
                </a:cubicBezTo>
                <a:cubicBezTo>
                  <a:pt x="87233" y="133580"/>
                  <a:pt x="87528" y="133886"/>
                  <a:pt x="87528" y="134193"/>
                </a:cubicBezTo>
                <a:lnTo>
                  <a:pt x="87528" y="139780"/>
                </a:lnTo>
                <a:lnTo>
                  <a:pt x="93306" y="139780"/>
                </a:lnTo>
                <a:lnTo>
                  <a:pt x="93306" y="135282"/>
                </a:lnTo>
                <a:cubicBezTo>
                  <a:pt x="93306" y="132355"/>
                  <a:pt x="93306" y="132355"/>
                  <a:pt x="93306" y="132355"/>
                </a:cubicBezTo>
                <a:cubicBezTo>
                  <a:pt x="93306" y="132048"/>
                  <a:pt x="93306" y="132048"/>
                  <a:pt x="93306" y="132048"/>
                </a:cubicBezTo>
                <a:cubicBezTo>
                  <a:pt x="93614" y="132048"/>
                  <a:pt x="93614" y="132048"/>
                  <a:pt x="93614" y="132048"/>
                </a:cubicBezTo>
                <a:cubicBezTo>
                  <a:pt x="94845" y="132048"/>
                  <a:pt x="94845" y="132048"/>
                  <a:pt x="94845" y="132048"/>
                </a:cubicBezTo>
                <a:cubicBezTo>
                  <a:pt x="95153" y="132048"/>
                  <a:pt x="95153" y="132048"/>
                  <a:pt x="95460" y="131742"/>
                </a:cubicBezTo>
                <a:cubicBezTo>
                  <a:pt x="95460" y="131742"/>
                  <a:pt x="95460" y="131435"/>
                  <a:pt x="95460" y="131435"/>
                </a:cubicBezTo>
                <a:cubicBezTo>
                  <a:pt x="95460" y="131128"/>
                  <a:pt x="95460" y="130822"/>
                  <a:pt x="95460" y="130822"/>
                </a:cubicBezTo>
                <a:cubicBezTo>
                  <a:pt x="95153" y="130822"/>
                  <a:pt x="95153" y="130515"/>
                  <a:pt x="94845" y="130515"/>
                </a:cubicBezTo>
                <a:cubicBezTo>
                  <a:pt x="83458" y="130515"/>
                  <a:pt x="83458" y="130515"/>
                  <a:pt x="83458" y="130515"/>
                </a:cubicBezTo>
                <a:close/>
                <a:moveTo>
                  <a:pt x="68403" y="130515"/>
                </a:moveTo>
                <a:cubicBezTo>
                  <a:pt x="68095" y="130515"/>
                  <a:pt x="68095" y="130822"/>
                  <a:pt x="67787" y="130822"/>
                </a:cubicBezTo>
                <a:cubicBezTo>
                  <a:pt x="67787" y="130822"/>
                  <a:pt x="67787" y="131128"/>
                  <a:pt x="67787" y="131435"/>
                </a:cubicBezTo>
                <a:cubicBezTo>
                  <a:pt x="67787" y="131435"/>
                  <a:pt x="67787" y="131742"/>
                  <a:pt x="67787" y="131742"/>
                </a:cubicBezTo>
                <a:cubicBezTo>
                  <a:pt x="68095" y="132048"/>
                  <a:pt x="68095" y="132048"/>
                  <a:pt x="68403" y="132048"/>
                </a:cubicBezTo>
                <a:cubicBezTo>
                  <a:pt x="69634" y="132048"/>
                  <a:pt x="69634" y="132048"/>
                  <a:pt x="69634" y="132048"/>
                </a:cubicBezTo>
                <a:cubicBezTo>
                  <a:pt x="69941" y="132048"/>
                  <a:pt x="69941" y="132048"/>
                  <a:pt x="69941" y="132048"/>
                </a:cubicBezTo>
                <a:cubicBezTo>
                  <a:pt x="69941" y="132355"/>
                  <a:pt x="69941" y="132355"/>
                  <a:pt x="69941" y="132355"/>
                </a:cubicBezTo>
                <a:lnTo>
                  <a:pt x="69941" y="139780"/>
                </a:lnTo>
                <a:lnTo>
                  <a:pt x="71587" y="139780"/>
                </a:lnTo>
                <a:lnTo>
                  <a:pt x="71587" y="134193"/>
                </a:lnTo>
                <a:cubicBezTo>
                  <a:pt x="71587" y="133886"/>
                  <a:pt x="71882" y="133580"/>
                  <a:pt x="71882" y="133580"/>
                </a:cubicBezTo>
                <a:cubicBezTo>
                  <a:pt x="72177" y="133580"/>
                  <a:pt x="72473" y="133886"/>
                  <a:pt x="72473" y="134193"/>
                </a:cubicBezTo>
                <a:lnTo>
                  <a:pt x="72473" y="139780"/>
                </a:lnTo>
                <a:lnTo>
                  <a:pt x="77943" y="139780"/>
                </a:lnTo>
                <a:lnTo>
                  <a:pt x="77943" y="135282"/>
                </a:lnTo>
                <a:cubicBezTo>
                  <a:pt x="77943" y="132355"/>
                  <a:pt x="77943" y="132355"/>
                  <a:pt x="77943" y="132355"/>
                </a:cubicBezTo>
                <a:cubicBezTo>
                  <a:pt x="77943" y="132048"/>
                  <a:pt x="77943" y="132048"/>
                  <a:pt x="77943" y="132048"/>
                </a:cubicBezTo>
                <a:cubicBezTo>
                  <a:pt x="78559" y="132048"/>
                  <a:pt x="78559" y="132048"/>
                  <a:pt x="78559" y="132048"/>
                </a:cubicBezTo>
                <a:cubicBezTo>
                  <a:pt x="79482" y="132048"/>
                  <a:pt x="79482" y="132048"/>
                  <a:pt x="79482" y="132048"/>
                </a:cubicBezTo>
                <a:cubicBezTo>
                  <a:pt x="79790" y="132048"/>
                  <a:pt x="80098" y="132048"/>
                  <a:pt x="80098" y="131742"/>
                </a:cubicBezTo>
                <a:cubicBezTo>
                  <a:pt x="80098" y="131742"/>
                  <a:pt x="80405" y="131435"/>
                  <a:pt x="80405" y="131435"/>
                </a:cubicBezTo>
                <a:cubicBezTo>
                  <a:pt x="80405" y="131128"/>
                  <a:pt x="80098" y="130822"/>
                  <a:pt x="80098" y="130822"/>
                </a:cubicBezTo>
                <a:cubicBezTo>
                  <a:pt x="80098" y="130822"/>
                  <a:pt x="79790" y="130515"/>
                  <a:pt x="79482" y="130515"/>
                </a:cubicBezTo>
                <a:cubicBezTo>
                  <a:pt x="68403" y="130515"/>
                  <a:pt x="68403" y="130515"/>
                  <a:pt x="68403" y="130515"/>
                </a:cubicBezTo>
                <a:close/>
                <a:moveTo>
                  <a:pt x="68403" y="129595"/>
                </a:moveTo>
                <a:cubicBezTo>
                  <a:pt x="79482" y="129595"/>
                  <a:pt x="79482" y="129595"/>
                  <a:pt x="79482" y="129595"/>
                </a:cubicBezTo>
                <a:cubicBezTo>
                  <a:pt x="80098" y="129595"/>
                  <a:pt x="80405" y="129902"/>
                  <a:pt x="80713" y="130208"/>
                </a:cubicBezTo>
                <a:cubicBezTo>
                  <a:pt x="81021" y="130515"/>
                  <a:pt x="81329" y="130822"/>
                  <a:pt x="81329" y="131435"/>
                </a:cubicBezTo>
                <a:cubicBezTo>
                  <a:pt x="81329" y="131742"/>
                  <a:pt x="81021" y="132048"/>
                  <a:pt x="80713" y="132355"/>
                </a:cubicBezTo>
                <a:cubicBezTo>
                  <a:pt x="80405" y="132662"/>
                  <a:pt x="80098" y="132968"/>
                  <a:pt x="79482" y="132968"/>
                </a:cubicBezTo>
                <a:cubicBezTo>
                  <a:pt x="78867" y="132968"/>
                  <a:pt x="78867" y="132968"/>
                  <a:pt x="78867" y="132968"/>
                </a:cubicBezTo>
                <a:lnTo>
                  <a:pt x="78867" y="139780"/>
                </a:lnTo>
                <a:lnTo>
                  <a:pt x="84073" y="139780"/>
                </a:lnTo>
                <a:lnTo>
                  <a:pt x="84073" y="133826"/>
                </a:lnTo>
                <a:cubicBezTo>
                  <a:pt x="84073" y="132968"/>
                  <a:pt x="84073" y="132968"/>
                  <a:pt x="84073" y="132968"/>
                </a:cubicBezTo>
                <a:cubicBezTo>
                  <a:pt x="83458" y="132968"/>
                  <a:pt x="83458" y="132968"/>
                  <a:pt x="83458" y="132968"/>
                </a:cubicBezTo>
                <a:cubicBezTo>
                  <a:pt x="83150" y="132968"/>
                  <a:pt x="82842" y="132662"/>
                  <a:pt x="82534" y="132355"/>
                </a:cubicBezTo>
                <a:cubicBezTo>
                  <a:pt x="82227" y="132048"/>
                  <a:pt x="81919" y="131742"/>
                  <a:pt x="81919" y="131435"/>
                </a:cubicBezTo>
                <a:cubicBezTo>
                  <a:pt x="81919" y="130822"/>
                  <a:pt x="82227" y="130515"/>
                  <a:pt x="82534" y="130208"/>
                </a:cubicBezTo>
                <a:cubicBezTo>
                  <a:pt x="82842" y="129902"/>
                  <a:pt x="83150" y="129595"/>
                  <a:pt x="83458" y="129595"/>
                </a:cubicBezTo>
                <a:cubicBezTo>
                  <a:pt x="94845" y="129595"/>
                  <a:pt x="94845" y="129595"/>
                  <a:pt x="94845" y="129595"/>
                </a:cubicBezTo>
                <a:cubicBezTo>
                  <a:pt x="95153" y="129595"/>
                  <a:pt x="95768" y="129902"/>
                  <a:pt x="96076" y="130208"/>
                </a:cubicBezTo>
                <a:cubicBezTo>
                  <a:pt x="96384" y="130515"/>
                  <a:pt x="96384" y="130822"/>
                  <a:pt x="96384" y="131435"/>
                </a:cubicBezTo>
                <a:cubicBezTo>
                  <a:pt x="96384" y="131742"/>
                  <a:pt x="96384" y="132048"/>
                  <a:pt x="96076" y="132355"/>
                </a:cubicBezTo>
                <a:cubicBezTo>
                  <a:pt x="95768" y="132662"/>
                  <a:pt x="95153" y="132968"/>
                  <a:pt x="94845" y="132968"/>
                </a:cubicBezTo>
                <a:cubicBezTo>
                  <a:pt x="94229" y="132968"/>
                  <a:pt x="94229" y="132968"/>
                  <a:pt x="94229" y="132968"/>
                </a:cubicBezTo>
                <a:lnTo>
                  <a:pt x="94229" y="139780"/>
                </a:lnTo>
                <a:lnTo>
                  <a:pt x="99424" y="139780"/>
                </a:lnTo>
                <a:lnTo>
                  <a:pt x="99424" y="133826"/>
                </a:lnTo>
                <a:cubicBezTo>
                  <a:pt x="99424" y="132968"/>
                  <a:pt x="99424" y="132968"/>
                  <a:pt x="99424" y="132968"/>
                </a:cubicBezTo>
                <a:cubicBezTo>
                  <a:pt x="98809" y="132968"/>
                  <a:pt x="98809" y="132968"/>
                  <a:pt x="98809" y="132968"/>
                </a:cubicBezTo>
                <a:cubicBezTo>
                  <a:pt x="98193" y="132968"/>
                  <a:pt x="97885" y="132662"/>
                  <a:pt x="97578" y="132355"/>
                </a:cubicBezTo>
                <a:cubicBezTo>
                  <a:pt x="97270" y="132048"/>
                  <a:pt x="97270" y="131742"/>
                  <a:pt x="97270" y="131435"/>
                </a:cubicBezTo>
                <a:cubicBezTo>
                  <a:pt x="97270" y="130822"/>
                  <a:pt x="97270" y="130515"/>
                  <a:pt x="97578" y="130208"/>
                </a:cubicBezTo>
                <a:cubicBezTo>
                  <a:pt x="97885" y="129902"/>
                  <a:pt x="98193" y="129595"/>
                  <a:pt x="98809" y="129595"/>
                </a:cubicBezTo>
                <a:cubicBezTo>
                  <a:pt x="109888" y="129595"/>
                  <a:pt x="109888" y="129595"/>
                  <a:pt x="109888" y="129595"/>
                </a:cubicBezTo>
                <a:cubicBezTo>
                  <a:pt x="110504" y="129595"/>
                  <a:pt x="110811" y="129902"/>
                  <a:pt x="111119" y="130208"/>
                </a:cubicBezTo>
                <a:cubicBezTo>
                  <a:pt x="111427" y="130515"/>
                  <a:pt x="111735" y="130822"/>
                  <a:pt x="111735" y="131435"/>
                </a:cubicBezTo>
                <a:cubicBezTo>
                  <a:pt x="111735" y="131742"/>
                  <a:pt x="111427" y="132048"/>
                  <a:pt x="111119" y="132355"/>
                </a:cubicBezTo>
                <a:cubicBezTo>
                  <a:pt x="110811" y="132662"/>
                  <a:pt x="110504" y="132968"/>
                  <a:pt x="109888" y="132968"/>
                </a:cubicBezTo>
                <a:cubicBezTo>
                  <a:pt x="109273" y="132968"/>
                  <a:pt x="109273" y="132968"/>
                  <a:pt x="109273" y="132968"/>
                </a:cubicBezTo>
                <a:lnTo>
                  <a:pt x="109273" y="139780"/>
                </a:lnTo>
                <a:lnTo>
                  <a:pt x="114480" y="139780"/>
                </a:lnTo>
                <a:lnTo>
                  <a:pt x="114480" y="133826"/>
                </a:lnTo>
                <a:cubicBezTo>
                  <a:pt x="114480" y="132968"/>
                  <a:pt x="114480" y="132968"/>
                  <a:pt x="114480" y="132968"/>
                </a:cubicBezTo>
                <a:cubicBezTo>
                  <a:pt x="113865" y="132968"/>
                  <a:pt x="113865" y="132968"/>
                  <a:pt x="113865" y="132968"/>
                </a:cubicBezTo>
                <a:cubicBezTo>
                  <a:pt x="113557" y="132968"/>
                  <a:pt x="113249" y="132662"/>
                  <a:pt x="112941" y="132355"/>
                </a:cubicBezTo>
                <a:cubicBezTo>
                  <a:pt x="112634" y="132048"/>
                  <a:pt x="112326" y="131742"/>
                  <a:pt x="112326" y="131435"/>
                </a:cubicBezTo>
                <a:cubicBezTo>
                  <a:pt x="112326" y="130822"/>
                  <a:pt x="112634" y="130515"/>
                  <a:pt x="112941" y="130208"/>
                </a:cubicBezTo>
                <a:cubicBezTo>
                  <a:pt x="113249" y="129902"/>
                  <a:pt x="113557" y="129595"/>
                  <a:pt x="113865" y="129595"/>
                </a:cubicBezTo>
                <a:cubicBezTo>
                  <a:pt x="125252" y="129595"/>
                  <a:pt x="125252" y="129595"/>
                  <a:pt x="125252" y="129595"/>
                </a:cubicBezTo>
                <a:cubicBezTo>
                  <a:pt x="125560" y="129595"/>
                  <a:pt x="126175" y="129902"/>
                  <a:pt x="126483" y="130208"/>
                </a:cubicBezTo>
                <a:cubicBezTo>
                  <a:pt x="126791" y="130515"/>
                  <a:pt x="126791" y="130822"/>
                  <a:pt x="126791" y="131435"/>
                </a:cubicBezTo>
                <a:cubicBezTo>
                  <a:pt x="126791" y="131742"/>
                  <a:pt x="126791" y="132048"/>
                  <a:pt x="126483" y="132355"/>
                </a:cubicBezTo>
                <a:cubicBezTo>
                  <a:pt x="126175" y="132662"/>
                  <a:pt x="125560" y="132968"/>
                  <a:pt x="125252" y="132968"/>
                </a:cubicBezTo>
                <a:cubicBezTo>
                  <a:pt x="124636" y="132968"/>
                  <a:pt x="124636" y="132968"/>
                  <a:pt x="124636" y="132968"/>
                </a:cubicBezTo>
                <a:lnTo>
                  <a:pt x="124636" y="139780"/>
                </a:lnTo>
                <a:lnTo>
                  <a:pt x="126684" y="139780"/>
                </a:lnTo>
                <a:cubicBezTo>
                  <a:pt x="127642" y="139780"/>
                  <a:pt x="127642" y="139780"/>
                  <a:pt x="127642" y="139780"/>
                </a:cubicBezTo>
                <a:cubicBezTo>
                  <a:pt x="128255" y="139780"/>
                  <a:pt x="128562" y="140096"/>
                  <a:pt x="128562" y="140729"/>
                </a:cubicBezTo>
                <a:cubicBezTo>
                  <a:pt x="128562" y="141361"/>
                  <a:pt x="128255" y="141994"/>
                  <a:pt x="127642" y="141994"/>
                </a:cubicBezTo>
                <a:lnTo>
                  <a:pt x="124636" y="141994"/>
                </a:lnTo>
                <a:lnTo>
                  <a:pt x="124636" y="164704"/>
                </a:lnTo>
                <a:cubicBezTo>
                  <a:pt x="124636" y="187862"/>
                  <a:pt x="124636" y="187862"/>
                  <a:pt x="124636" y="187862"/>
                </a:cubicBezTo>
                <a:cubicBezTo>
                  <a:pt x="124636" y="189089"/>
                  <a:pt x="124021" y="190316"/>
                  <a:pt x="123098" y="191236"/>
                </a:cubicBezTo>
                <a:cubicBezTo>
                  <a:pt x="122174" y="192156"/>
                  <a:pt x="120943" y="192769"/>
                  <a:pt x="119712" y="192769"/>
                </a:cubicBezTo>
                <a:cubicBezTo>
                  <a:pt x="118173" y="192769"/>
                  <a:pt x="116942" y="192156"/>
                  <a:pt x="116019" y="191236"/>
                </a:cubicBezTo>
                <a:cubicBezTo>
                  <a:pt x="115096" y="190316"/>
                  <a:pt x="114480" y="189089"/>
                  <a:pt x="114480" y="187862"/>
                </a:cubicBezTo>
                <a:cubicBezTo>
                  <a:pt x="114480" y="174139"/>
                  <a:pt x="114480" y="163846"/>
                  <a:pt x="114480" y="156127"/>
                </a:cubicBezTo>
                <a:lnTo>
                  <a:pt x="114480" y="141994"/>
                </a:lnTo>
                <a:lnTo>
                  <a:pt x="109273" y="141994"/>
                </a:lnTo>
                <a:lnTo>
                  <a:pt x="109273" y="164704"/>
                </a:lnTo>
                <a:cubicBezTo>
                  <a:pt x="109273" y="187862"/>
                  <a:pt x="109273" y="187862"/>
                  <a:pt x="109273" y="187862"/>
                </a:cubicBezTo>
                <a:cubicBezTo>
                  <a:pt x="109273" y="189089"/>
                  <a:pt x="108965" y="190316"/>
                  <a:pt x="108042" y="191236"/>
                </a:cubicBezTo>
                <a:cubicBezTo>
                  <a:pt x="107118" y="192156"/>
                  <a:pt x="105887" y="192769"/>
                  <a:pt x="104348" y="192769"/>
                </a:cubicBezTo>
                <a:cubicBezTo>
                  <a:pt x="103117" y="192769"/>
                  <a:pt x="101886" y="192156"/>
                  <a:pt x="100963" y="191236"/>
                </a:cubicBezTo>
                <a:cubicBezTo>
                  <a:pt x="100040" y="190316"/>
                  <a:pt x="99424" y="189089"/>
                  <a:pt x="99424" y="187862"/>
                </a:cubicBezTo>
                <a:cubicBezTo>
                  <a:pt x="99424" y="174139"/>
                  <a:pt x="99424" y="163846"/>
                  <a:pt x="99424" y="156127"/>
                </a:cubicBezTo>
                <a:lnTo>
                  <a:pt x="99424" y="141994"/>
                </a:lnTo>
                <a:lnTo>
                  <a:pt x="94229" y="141994"/>
                </a:lnTo>
                <a:lnTo>
                  <a:pt x="94229" y="164704"/>
                </a:lnTo>
                <a:cubicBezTo>
                  <a:pt x="94229" y="187862"/>
                  <a:pt x="94229" y="187862"/>
                  <a:pt x="94229" y="187862"/>
                </a:cubicBezTo>
                <a:cubicBezTo>
                  <a:pt x="94229" y="189089"/>
                  <a:pt x="93614" y="190316"/>
                  <a:pt x="92691" y="191236"/>
                </a:cubicBezTo>
                <a:cubicBezTo>
                  <a:pt x="91767" y="192156"/>
                  <a:pt x="90536" y="192769"/>
                  <a:pt x="89305" y="192769"/>
                </a:cubicBezTo>
                <a:cubicBezTo>
                  <a:pt x="87766" y="192769"/>
                  <a:pt x="86535" y="192156"/>
                  <a:pt x="85612" y="191236"/>
                </a:cubicBezTo>
                <a:cubicBezTo>
                  <a:pt x="84689" y="190316"/>
                  <a:pt x="84073" y="189089"/>
                  <a:pt x="84073" y="187862"/>
                </a:cubicBezTo>
                <a:cubicBezTo>
                  <a:pt x="84073" y="174139"/>
                  <a:pt x="84073" y="163846"/>
                  <a:pt x="84073" y="156127"/>
                </a:cubicBezTo>
                <a:lnTo>
                  <a:pt x="84073" y="141994"/>
                </a:lnTo>
                <a:lnTo>
                  <a:pt x="78867" y="141994"/>
                </a:lnTo>
                <a:lnTo>
                  <a:pt x="78867" y="164704"/>
                </a:lnTo>
                <a:cubicBezTo>
                  <a:pt x="78867" y="187862"/>
                  <a:pt x="78867" y="187862"/>
                  <a:pt x="78867" y="187862"/>
                </a:cubicBezTo>
                <a:cubicBezTo>
                  <a:pt x="78867" y="189089"/>
                  <a:pt x="78559" y="190316"/>
                  <a:pt x="77636" y="191236"/>
                </a:cubicBezTo>
                <a:cubicBezTo>
                  <a:pt x="76712" y="192156"/>
                  <a:pt x="75481" y="192769"/>
                  <a:pt x="73942" y="192769"/>
                </a:cubicBezTo>
                <a:cubicBezTo>
                  <a:pt x="72711" y="192769"/>
                  <a:pt x="71480" y="192156"/>
                  <a:pt x="70557" y="191236"/>
                </a:cubicBezTo>
                <a:cubicBezTo>
                  <a:pt x="69634" y="190316"/>
                  <a:pt x="69018" y="189089"/>
                  <a:pt x="69018" y="187862"/>
                </a:cubicBezTo>
                <a:cubicBezTo>
                  <a:pt x="69018" y="174139"/>
                  <a:pt x="69018" y="163846"/>
                  <a:pt x="69018" y="156127"/>
                </a:cubicBezTo>
                <a:lnTo>
                  <a:pt x="69018" y="141994"/>
                </a:lnTo>
                <a:lnTo>
                  <a:pt x="67277" y="141994"/>
                </a:lnTo>
                <a:cubicBezTo>
                  <a:pt x="66319" y="141994"/>
                  <a:pt x="66319" y="141994"/>
                  <a:pt x="66319" y="141994"/>
                </a:cubicBezTo>
                <a:cubicBezTo>
                  <a:pt x="65706" y="141994"/>
                  <a:pt x="65093" y="141361"/>
                  <a:pt x="65093" y="140729"/>
                </a:cubicBezTo>
                <a:cubicBezTo>
                  <a:pt x="65093" y="140096"/>
                  <a:pt x="65706" y="139780"/>
                  <a:pt x="66319" y="139780"/>
                </a:cubicBezTo>
                <a:lnTo>
                  <a:pt x="69018" y="139780"/>
                </a:lnTo>
                <a:lnTo>
                  <a:pt x="69018" y="133826"/>
                </a:lnTo>
                <a:cubicBezTo>
                  <a:pt x="69018" y="132968"/>
                  <a:pt x="69018" y="132968"/>
                  <a:pt x="69018" y="132968"/>
                </a:cubicBezTo>
                <a:cubicBezTo>
                  <a:pt x="68403" y="132968"/>
                  <a:pt x="68403" y="132968"/>
                  <a:pt x="68403" y="132968"/>
                </a:cubicBezTo>
                <a:cubicBezTo>
                  <a:pt x="68095" y="132968"/>
                  <a:pt x="67479" y="132662"/>
                  <a:pt x="67172" y="132355"/>
                </a:cubicBezTo>
                <a:cubicBezTo>
                  <a:pt x="66864" y="132048"/>
                  <a:pt x="66864" y="131742"/>
                  <a:pt x="66864" y="131435"/>
                </a:cubicBezTo>
                <a:cubicBezTo>
                  <a:pt x="66864" y="130822"/>
                  <a:pt x="66864" y="130515"/>
                  <a:pt x="67172" y="130208"/>
                </a:cubicBezTo>
                <a:cubicBezTo>
                  <a:pt x="67479" y="129902"/>
                  <a:pt x="68095" y="129595"/>
                  <a:pt x="68403" y="129595"/>
                </a:cubicBezTo>
                <a:close/>
                <a:moveTo>
                  <a:pt x="374154" y="129311"/>
                </a:moveTo>
                <a:cubicBezTo>
                  <a:pt x="375381" y="129005"/>
                  <a:pt x="376916" y="129005"/>
                  <a:pt x="378143" y="129311"/>
                </a:cubicBezTo>
                <a:cubicBezTo>
                  <a:pt x="379371" y="129617"/>
                  <a:pt x="380291" y="130230"/>
                  <a:pt x="381212" y="131455"/>
                </a:cubicBezTo>
                <a:cubicBezTo>
                  <a:pt x="382132" y="132680"/>
                  <a:pt x="382439" y="134825"/>
                  <a:pt x="381826" y="137581"/>
                </a:cubicBezTo>
                <a:cubicBezTo>
                  <a:pt x="381212" y="139419"/>
                  <a:pt x="379984" y="140644"/>
                  <a:pt x="378757" y="141870"/>
                </a:cubicBezTo>
                <a:cubicBezTo>
                  <a:pt x="376609" y="144014"/>
                  <a:pt x="373847" y="146464"/>
                  <a:pt x="374154" y="153815"/>
                </a:cubicBezTo>
                <a:cubicBezTo>
                  <a:pt x="374154" y="160248"/>
                  <a:pt x="372006" y="162392"/>
                  <a:pt x="368323" y="165455"/>
                </a:cubicBezTo>
                <a:cubicBezTo>
                  <a:pt x="367710" y="166067"/>
                  <a:pt x="367096" y="166680"/>
                  <a:pt x="366482" y="167292"/>
                </a:cubicBezTo>
                <a:cubicBezTo>
                  <a:pt x="366482" y="169743"/>
                  <a:pt x="366482" y="169743"/>
                  <a:pt x="366482" y="169743"/>
                </a:cubicBezTo>
                <a:cubicBezTo>
                  <a:pt x="290072" y="169743"/>
                  <a:pt x="290072" y="169743"/>
                  <a:pt x="290072" y="169743"/>
                </a:cubicBezTo>
                <a:cubicBezTo>
                  <a:pt x="290072" y="165148"/>
                  <a:pt x="290072" y="165148"/>
                  <a:pt x="290072" y="165148"/>
                </a:cubicBezTo>
                <a:cubicBezTo>
                  <a:pt x="286082" y="165148"/>
                  <a:pt x="281786" y="164229"/>
                  <a:pt x="278411" y="162392"/>
                </a:cubicBezTo>
                <a:cubicBezTo>
                  <a:pt x="275342" y="160248"/>
                  <a:pt x="273194" y="157491"/>
                  <a:pt x="272273" y="152896"/>
                </a:cubicBezTo>
                <a:cubicBezTo>
                  <a:pt x="271966" y="151059"/>
                  <a:pt x="271659" y="149527"/>
                  <a:pt x="271353" y="147996"/>
                </a:cubicBezTo>
                <a:cubicBezTo>
                  <a:pt x="270432" y="144626"/>
                  <a:pt x="269818" y="142482"/>
                  <a:pt x="271659" y="138194"/>
                </a:cubicBezTo>
                <a:cubicBezTo>
                  <a:pt x="274421" y="131762"/>
                  <a:pt x="281172" y="133293"/>
                  <a:pt x="286696" y="134212"/>
                </a:cubicBezTo>
                <a:cubicBezTo>
                  <a:pt x="287310" y="134212"/>
                  <a:pt x="287924" y="134518"/>
                  <a:pt x="288537" y="134518"/>
                </a:cubicBezTo>
                <a:cubicBezTo>
                  <a:pt x="290072" y="134825"/>
                  <a:pt x="290072" y="134825"/>
                  <a:pt x="290072" y="134825"/>
                </a:cubicBezTo>
                <a:cubicBezTo>
                  <a:pt x="290072" y="131149"/>
                  <a:pt x="290072" y="131149"/>
                  <a:pt x="290072" y="131149"/>
                </a:cubicBezTo>
                <a:cubicBezTo>
                  <a:pt x="366482" y="131149"/>
                  <a:pt x="366482" y="131149"/>
                  <a:pt x="366482" y="131149"/>
                </a:cubicBezTo>
                <a:lnTo>
                  <a:pt x="366482" y="133906"/>
                </a:lnTo>
                <a:cubicBezTo>
                  <a:pt x="368630" y="131455"/>
                  <a:pt x="371699" y="129924"/>
                  <a:pt x="374154" y="129311"/>
                </a:cubicBezTo>
                <a:close/>
                <a:moveTo>
                  <a:pt x="254747" y="126563"/>
                </a:moveTo>
                <a:cubicBezTo>
                  <a:pt x="253217" y="126563"/>
                  <a:pt x="251687" y="127176"/>
                  <a:pt x="250464" y="128402"/>
                </a:cubicBezTo>
                <a:cubicBezTo>
                  <a:pt x="249240" y="129321"/>
                  <a:pt x="248628" y="131160"/>
                  <a:pt x="248628" y="132692"/>
                </a:cubicBezTo>
                <a:cubicBezTo>
                  <a:pt x="248628" y="146177"/>
                  <a:pt x="248628" y="146177"/>
                  <a:pt x="248628" y="146177"/>
                </a:cubicBezTo>
                <a:cubicBezTo>
                  <a:pt x="262090" y="146177"/>
                  <a:pt x="262090" y="146177"/>
                  <a:pt x="262090" y="146177"/>
                </a:cubicBezTo>
                <a:cubicBezTo>
                  <a:pt x="262090" y="132692"/>
                  <a:pt x="262090" y="132692"/>
                  <a:pt x="262090" y="132692"/>
                </a:cubicBezTo>
                <a:cubicBezTo>
                  <a:pt x="262090" y="131160"/>
                  <a:pt x="261172" y="129321"/>
                  <a:pt x="259948" y="128402"/>
                </a:cubicBezTo>
                <a:cubicBezTo>
                  <a:pt x="259030" y="127176"/>
                  <a:pt x="257500" y="126563"/>
                  <a:pt x="255665" y="126563"/>
                </a:cubicBezTo>
                <a:cubicBezTo>
                  <a:pt x="254747" y="126563"/>
                  <a:pt x="254747" y="126563"/>
                  <a:pt x="254747" y="126563"/>
                </a:cubicBezTo>
                <a:close/>
                <a:moveTo>
                  <a:pt x="254747" y="124724"/>
                </a:moveTo>
                <a:cubicBezTo>
                  <a:pt x="255665" y="124724"/>
                  <a:pt x="255665" y="124724"/>
                  <a:pt x="255665" y="124724"/>
                </a:cubicBezTo>
                <a:cubicBezTo>
                  <a:pt x="257806" y="124724"/>
                  <a:pt x="259948" y="125643"/>
                  <a:pt x="261172" y="127176"/>
                </a:cubicBezTo>
                <a:cubicBezTo>
                  <a:pt x="262701" y="128708"/>
                  <a:pt x="263619" y="130547"/>
                  <a:pt x="263619" y="132692"/>
                </a:cubicBezTo>
                <a:cubicBezTo>
                  <a:pt x="263619" y="146177"/>
                  <a:pt x="263619" y="146177"/>
                  <a:pt x="263619" y="146177"/>
                </a:cubicBezTo>
                <a:cubicBezTo>
                  <a:pt x="263619" y="146790"/>
                  <a:pt x="263619" y="146790"/>
                  <a:pt x="263619" y="146790"/>
                </a:cubicBezTo>
                <a:lnTo>
                  <a:pt x="263619" y="147710"/>
                </a:lnTo>
                <a:cubicBezTo>
                  <a:pt x="263619" y="160888"/>
                  <a:pt x="263619" y="160888"/>
                  <a:pt x="263619" y="160888"/>
                </a:cubicBezTo>
                <a:cubicBezTo>
                  <a:pt x="263619" y="163034"/>
                  <a:pt x="262701" y="165179"/>
                  <a:pt x="261172" y="166712"/>
                </a:cubicBezTo>
                <a:cubicBezTo>
                  <a:pt x="259948" y="167937"/>
                  <a:pt x="257806" y="168857"/>
                  <a:pt x="255665" y="168857"/>
                </a:cubicBezTo>
                <a:cubicBezTo>
                  <a:pt x="254747" y="168857"/>
                  <a:pt x="254747" y="168857"/>
                  <a:pt x="254747" y="168857"/>
                </a:cubicBezTo>
                <a:cubicBezTo>
                  <a:pt x="252605" y="168857"/>
                  <a:pt x="250770" y="167937"/>
                  <a:pt x="249240" y="166712"/>
                </a:cubicBezTo>
                <a:cubicBezTo>
                  <a:pt x="247710" y="165179"/>
                  <a:pt x="246792" y="163034"/>
                  <a:pt x="246792" y="160888"/>
                </a:cubicBezTo>
                <a:cubicBezTo>
                  <a:pt x="246792" y="146790"/>
                  <a:pt x="246792" y="146790"/>
                  <a:pt x="246792" y="146790"/>
                </a:cubicBezTo>
                <a:cubicBezTo>
                  <a:pt x="246792" y="146177"/>
                  <a:pt x="246792" y="146177"/>
                  <a:pt x="246792" y="146177"/>
                </a:cubicBezTo>
                <a:cubicBezTo>
                  <a:pt x="246792" y="132692"/>
                  <a:pt x="246792" y="132692"/>
                  <a:pt x="246792" y="132692"/>
                </a:cubicBezTo>
                <a:cubicBezTo>
                  <a:pt x="246792" y="130547"/>
                  <a:pt x="247710" y="128708"/>
                  <a:pt x="249240" y="127176"/>
                </a:cubicBezTo>
                <a:cubicBezTo>
                  <a:pt x="250770" y="125643"/>
                  <a:pt x="252605" y="124724"/>
                  <a:pt x="254747" y="124724"/>
                </a:cubicBezTo>
                <a:close/>
                <a:moveTo>
                  <a:pt x="147006" y="120795"/>
                </a:moveTo>
                <a:cubicBezTo>
                  <a:pt x="146393" y="121408"/>
                  <a:pt x="145780" y="122020"/>
                  <a:pt x="145167" y="122632"/>
                </a:cubicBezTo>
                <a:cubicBezTo>
                  <a:pt x="142100" y="126000"/>
                  <a:pt x="139033" y="128755"/>
                  <a:pt x="136887" y="132123"/>
                </a:cubicBezTo>
                <a:cubicBezTo>
                  <a:pt x="157126" y="132123"/>
                  <a:pt x="157126" y="132123"/>
                  <a:pt x="157126" y="132123"/>
                </a:cubicBezTo>
                <a:cubicBezTo>
                  <a:pt x="154979" y="128755"/>
                  <a:pt x="151913" y="126000"/>
                  <a:pt x="148846" y="122632"/>
                </a:cubicBezTo>
                <a:cubicBezTo>
                  <a:pt x="148233" y="122020"/>
                  <a:pt x="147620" y="121408"/>
                  <a:pt x="147006" y="120795"/>
                </a:cubicBezTo>
                <a:close/>
                <a:moveTo>
                  <a:pt x="298653" y="118937"/>
                </a:moveTo>
                <a:cubicBezTo>
                  <a:pt x="298345" y="118937"/>
                  <a:pt x="298345" y="119243"/>
                  <a:pt x="298345" y="119549"/>
                </a:cubicBezTo>
                <a:cubicBezTo>
                  <a:pt x="298345" y="119549"/>
                  <a:pt x="298345" y="119855"/>
                  <a:pt x="298653" y="119855"/>
                </a:cubicBezTo>
                <a:lnTo>
                  <a:pt x="307888" y="119855"/>
                </a:lnTo>
                <a:cubicBezTo>
                  <a:pt x="307888" y="119855"/>
                  <a:pt x="308196" y="119549"/>
                  <a:pt x="308196" y="119549"/>
                </a:cubicBezTo>
                <a:cubicBezTo>
                  <a:pt x="308196" y="119243"/>
                  <a:pt x="307888" y="118937"/>
                  <a:pt x="307888" y="118937"/>
                </a:cubicBezTo>
                <a:cubicBezTo>
                  <a:pt x="307888" y="118937"/>
                  <a:pt x="307888" y="118937"/>
                  <a:pt x="298653" y="118937"/>
                </a:cubicBezTo>
                <a:close/>
                <a:moveTo>
                  <a:pt x="295267" y="116182"/>
                </a:moveTo>
                <a:cubicBezTo>
                  <a:pt x="294959" y="116182"/>
                  <a:pt x="294959" y="116488"/>
                  <a:pt x="294959" y="116488"/>
                </a:cubicBezTo>
                <a:cubicBezTo>
                  <a:pt x="294959" y="116794"/>
                  <a:pt x="294959" y="117100"/>
                  <a:pt x="295267" y="117100"/>
                </a:cubicBezTo>
                <a:cubicBezTo>
                  <a:pt x="295267" y="117100"/>
                  <a:pt x="295267" y="117100"/>
                  <a:pt x="311274" y="117100"/>
                </a:cubicBezTo>
                <a:cubicBezTo>
                  <a:pt x="311274" y="117100"/>
                  <a:pt x="311582" y="116794"/>
                  <a:pt x="311582" y="116488"/>
                </a:cubicBezTo>
                <a:cubicBezTo>
                  <a:pt x="311582" y="116488"/>
                  <a:pt x="311274" y="116182"/>
                  <a:pt x="311274" y="116182"/>
                </a:cubicBezTo>
                <a:cubicBezTo>
                  <a:pt x="311274" y="116182"/>
                  <a:pt x="311274" y="116182"/>
                  <a:pt x="295267" y="116182"/>
                </a:cubicBezTo>
                <a:close/>
                <a:moveTo>
                  <a:pt x="298653" y="113427"/>
                </a:moveTo>
                <a:cubicBezTo>
                  <a:pt x="298345" y="113427"/>
                  <a:pt x="298345" y="113427"/>
                  <a:pt x="298345" y="113733"/>
                </a:cubicBezTo>
                <a:cubicBezTo>
                  <a:pt x="298345" y="114039"/>
                  <a:pt x="298345" y="114039"/>
                  <a:pt x="298653" y="114039"/>
                </a:cubicBezTo>
                <a:cubicBezTo>
                  <a:pt x="298653" y="114039"/>
                  <a:pt x="298653" y="114039"/>
                  <a:pt x="307888" y="114039"/>
                </a:cubicBezTo>
                <a:cubicBezTo>
                  <a:pt x="307888" y="114039"/>
                  <a:pt x="308196" y="114039"/>
                  <a:pt x="308196" y="113733"/>
                </a:cubicBezTo>
                <a:cubicBezTo>
                  <a:pt x="308196" y="113427"/>
                  <a:pt x="307888" y="113427"/>
                  <a:pt x="307888" y="113427"/>
                </a:cubicBezTo>
                <a:cubicBezTo>
                  <a:pt x="307888" y="113427"/>
                  <a:pt x="307888" y="113427"/>
                  <a:pt x="298653" y="113427"/>
                </a:cubicBezTo>
                <a:close/>
                <a:moveTo>
                  <a:pt x="298653" y="110672"/>
                </a:moveTo>
                <a:cubicBezTo>
                  <a:pt x="298345" y="110672"/>
                  <a:pt x="298345" y="110672"/>
                  <a:pt x="298345" y="110978"/>
                </a:cubicBezTo>
                <a:cubicBezTo>
                  <a:pt x="298345" y="110978"/>
                  <a:pt x="298345" y="111285"/>
                  <a:pt x="298653" y="111285"/>
                </a:cubicBezTo>
                <a:cubicBezTo>
                  <a:pt x="298653" y="111285"/>
                  <a:pt x="298653" y="111285"/>
                  <a:pt x="307888" y="111285"/>
                </a:cubicBezTo>
                <a:cubicBezTo>
                  <a:pt x="307888" y="111285"/>
                  <a:pt x="308196" y="110978"/>
                  <a:pt x="308196" y="110978"/>
                </a:cubicBezTo>
                <a:cubicBezTo>
                  <a:pt x="308196" y="110672"/>
                  <a:pt x="307888" y="110672"/>
                  <a:pt x="307888" y="110672"/>
                </a:cubicBezTo>
                <a:cubicBezTo>
                  <a:pt x="307888" y="110672"/>
                  <a:pt x="307888" y="110672"/>
                  <a:pt x="298653" y="110672"/>
                </a:cubicBezTo>
                <a:close/>
                <a:moveTo>
                  <a:pt x="298653" y="107612"/>
                </a:moveTo>
                <a:cubicBezTo>
                  <a:pt x="298345" y="107612"/>
                  <a:pt x="298345" y="107918"/>
                  <a:pt x="298345" y="107918"/>
                </a:cubicBezTo>
                <a:cubicBezTo>
                  <a:pt x="298345" y="108224"/>
                  <a:pt x="298345" y="108224"/>
                  <a:pt x="298653" y="108224"/>
                </a:cubicBezTo>
                <a:cubicBezTo>
                  <a:pt x="298653" y="108224"/>
                  <a:pt x="298653" y="108224"/>
                  <a:pt x="307888" y="108224"/>
                </a:cubicBezTo>
                <a:cubicBezTo>
                  <a:pt x="307888" y="108224"/>
                  <a:pt x="308196" y="108224"/>
                  <a:pt x="308196" y="107918"/>
                </a:cubicBezTo>
                <a:cubicBezTo>
                  <a:pt x="308196" y="107918"/>
                  <a:pt x="307888" y="107612"/>
                  <a:pt x="307888" y="107612"/>
                </a:cubicBezTo>
                <a:cubicBezTo>
                  <a:pt x="307888" y="107612"/>
                  <a:pt x="307888" y="107612"/>
                  <a:pt x="298653" y="107612"/>
                </a:cubicBezTo>
                <a:close/>
                <a:moveTo>
                  <a:pt x="141793" y="107324"/>
                </a:moveTo>
                <a:cubicBezTo>
                  <a:pt x="143633" y="109468"/>
                  <a:pt x="145167" y="111611"/>
                  <a:pt x="147006" y="113754"/>
                </a:cubicBezTo>
                <a:cubicBezTo>
                  <a:pt x="148846" y="111611"/>
                  <a:pt x="150686" y="109468"/>
                  <a:pt x="152219" y="107324"/>
                </a:cubicBezTo>
                <a:cubicBezTo>
                  <a:pt x="141793" y="107324"/>
                  <a:pt x="141793" y="107324"/>
                  <a:pt x="141793" y="107324"/>
                </a:cubicBezTo>
                <a:close/>
                <a:moveTo>
                  <a:pt x="178060" y="106382"/>
                </a:moveTo>
                <a:cubicBezTo>
                  <a:pt x="179901" y="103322"/>
                  <a:pt x="187268" y="108524"/>
                  <a:pt x="189417" y="109747"/>
                </a:cubicBezTo>
                <a:cubicBezTo>
                  <a:pt x="205072" y="118927"/>
                  <a:pt x="218271" y="118927"/>
                  <a:pt x="234540" y="122904"/>
                </a:cubicBezTo>
                <a:cubicBezTo>
                  <a:pt x="234540" y="122904"/>
                  <a:pt x="234540" y="122904"/>
                  <a:pt x="229322" y="143405"/>
                </a:cubicBezTo>
                <a:cubicBezTo>
                  <a:pt x="221955" y="141263"/>
                  <a:pt x="211825" y="137591"/>
                  <a:pt x="205072" y="137591"/>
                </a:cubicBezTo>
                <a:cubicBezTo>
                  <a:pt x="200775" y="140039"/>
                  <a:pt x="182357" y="145241"/>
                  <a:pt x="182050" y="140651"/>
                </a:cubicBezTo>
                <a:cubicBezTo>
                  <a:pt x="181743" y="136062"/>
                  <a:pt x="190031" y="135144"/>
                  <a:pt x="193101" y="134838"/>
                </a:cubicBezTo>
                <a:cubicBezTo>
                  <a:pt x="188189" y="132696"/>
                  <a:pt x="182050" y="131166"/>
                  <a:pt x="176525" y="130554"/>
                </a:cubicBezTo>
                <a:cubicBezTo>
                  <a:pt x="175604" y="130554"/>
                  <a:pt x="174683" y="130554"/>
                  <a:pt x="174069" y="130554"/>
                </a:cubicBezTo>
                <a:cubicBezTo>
                  <a:pt x="170999" y="130248"/>
                  <a:pt x="166702" y="129942"/>
                  <a:pt x="166702" y="126882"/>
                </a:cubicBezTo>
                <a:cubicBezTo>
                  <a:pt x="167009" y="124434"/>
                  <a:pt x="171920" y="124740"/>
                  <a:pt x="176525" y="125046"/>
                </a:cubicBezTo>
                <a:cubicBezTo>
                  <a:pt x="179594" y="125658"/>
                  <a:pt x="182357" y="125964"/>
                  <a:pt x="183892" y="125964"/>
                </a:cubicBezTo>
                <a:cubicBezTo>
                  <a:pt x="181129" y="125046"/>
                  <a:pt x="178980" y="124128"/>
                  <a:pt x="176525" y="123210"/>
                </a:cubicBezTo>
                <a:cubicBezTo>
                  <a:pt x="174069" y="122598"/>
                  <a:pt x="171613" y="121987"/>
                  <a:pt x="169158" y="121069"/>
                </a:cubicBezTo>
                <a:cubicBezTo>
                  <a:pt x="167316" y="120457"/>
                  <a:pt x="166088" y="119845"/>
                  <a:pt x="165781" y="118927"/>
                </a:cubicBezTo>
                <a:cubicBezTo>
                  <a:pt x="165167" y="117703"/>
                  <a:pt x="165781" y="116173"/>
                  <a:pt x="168237" y="116173"/>
                </a:cubicBezTo>
                <a:cubicBezTo>
                  <a:pt x="170386" y="116479"/>
                  <a:pt x="173455" y="117397"/>
                  <a:pt x="176525" y="118009"/>
                </a:cubicBezTo>
                <a:cubicBezTo>
                  <a:pt x="179901" y="118927"/>
                  <a:pt x="182971" y="119845"/>
                  <a:pt x="184813" y="119539"/>
                </a:cubicBezTo>
                <a:cubicBezTo>
                  <a:pt x="182664" y="118621"/>
                  <a:pt x="179594" y="117703"/>
                  <a:pt x="176525" y="116785"/>
                </a:cubicBezTo>
                <a:cubicBezTo>
                  <a:pt x="174376" y="116173"/>
                  <a:pt x="172227" y="115561"/>
                  <a:pt x="171306" y="114949"/>
                </a:cubicBezTo>
                <a:cubicBezTo>
                  <a:pt x="168544" y="113419"/>
                  <a:pt x="168544" y="110971"/>
                  <a:pt x="171920" y="110971"/>
                </a:cubicBezTo>
                <a:cubicBezTo>
                  <a:pt x="173148" y="110971"/>
                  <a:pt x="174683" y="111277"/>
                  <a:pt x="176525" y="111583"/>
                </a:cubicBezTo>
                <a:cubicBezTo>
                  <a:pt x="180208" y="112501"/>
                  <a:pt x="184506" y="114031"/>
                  <a:pt x="187882" y="114949"/>
                </a:cubicBezTo>
                <a:cubicBezTo>
                  <a:pt x="185427" y="113113"/>
                  <a:pt x="176832" y="108524"/>
                  <a:pt x="178060" y="106382"/>
                </a:cubicBezTo>
                <a:close/>
                <a:moveTo>
                  <a:pt x="295267" y="104551"/>
                </a:moveTo>
                <a:cubicBezTo>
                  <a:pt x="294959" y="104551"/>
                  <a:pt x="294959" y="104551"/>
                  <a:pt x="294959" y="104857"/>
                </a:cubicBezTo>
                <a:cubicBezTo>
                  <a:pt x="294959" y="104857"/>
                  <a:pt x="294959" y="105163"/>
                  <a:pt x="295267" y="105163"/>
                </a:cubicBezTo>
                <a:cubicBezTo>
                  <a:pt x="295267" y="105163"/>
                  <a:pt x="295267" y="105163"/>
                  <a:pt x="311274" y="105163"/>
                </a:cubicBezTo>
                <a:cubicBezTo>
                  <a:pt x="311274" y="105163"/>
                  <a:pt x="311582" y="104857"/>
                  <a:pt x="311582" y="104857"/>
                </a:cubicBezTo>
                <a:cubicBezTo>
                  <a:pt x="311582" y="104551"/>
                  <a:pt x="311274" y="104551"/>
                  <a:pt x="311274" y="104551"/>
                </a:cubicBezTo>
                <a:cubicBezTo>
                  <a:pt x="311274" y="104551"/>
                  <a:pt x="311274" y="104551"/>
                  <a:pt x="295267" y="104551"/>
                </a:cubicBezTo>
                <a:close/>
                <a:moveTo>
                  <a:pt x="298653" y="101490"/>
                </a:moveTo>
                <a:cubicBezTo>
                  <a:pt x="298345" y="101490"/>
                  <a:pt x="298345" y="101490"/>
                  <a:pt x="298345" y="101796"/>
                </a:cubicBezTo>
                <a:cubicBezTo>
                  <a:pt x="298345" y="102102"/>
                  <a:pt x="298345" y="102102"/>
                  <a:pt x="298653" y="102102"/>
                </a:cubicBezTo>
                <a:cubicBezTo>
                  <a:pt x="298653" y="102102"/>
                  <a:pt x="298653" y="102102"/>
                  <a:pt x="307888" y="102102"/>
                </a:cubicBezTo>
                <a:cubicBezTo>
                  <a:pt x="307888" y="102102"/>
                  <a:pt x="308196" y="102102"/>
                  <a:pt x="308196" y="101796"/>
                </a:cubicBezTo>
                <a:cubicBezTo>
                  <a:pt x="308196" y="101490"/>
                  <a:pt x="307888" y="101490"/>
                  <a:pt x="307888" y="101490"/>
                </a:cubicBezTo>
                <a:cubicBezTo>
                  <a:pt x="307888" y="101490"/>
                  <a:pt x="307888" y="101490"/>
                  <a:pt x="298653" y="101490"/>
                </a:cubicBezTo>
                <a:close/>
                <a:moveTo>
                  <a:pt x="137807" y="99364"/>
                </a:moveTo>
                <a:cubicBezTo>
                  <a:pt x="138114" y="100283"/>
                  <a:pt x="138420" y="101201"/>
                  <a:pt x="138727" y="101814"/>
                </a:cubicBezTo>
                <a:cubicBezTo>
                  <a:pt x="155286" y="101814"/>
                  <a:pt x="155286" y="101814"/>
                  <a:pt x="155286" y="101814"/>
                </a:cubicBezTo>
                <a:cubicBezTo>
                  <a:pt x="155593" y="101201"/>
                  <a:pt x="155899" y="100283"/>
                  <a:pt x="156206" y="99364"/>
                </a:cubicBezTo>
                <a:cubicBezTo>
                  <a:pt x="137807" y="99364"/>
                  <a:pt x="137807" y="99364"/>
                  <a:pt x="137807" y="99364"/>
                </a:cubicBezTo>
                <a:close/>
                <a:moveTo>
                  <a:pt x="298653" y="98735"/>
                </a:moveTo>
                <a:cubicBezTo>
                  <a:pt x="298345" y="98735"/>
                  <a:pt x="298345" y="98735"/>
                  <a:pt x="298345" y="99041"/>
                </a:cubicBezTo>
                <a:cubicBezTo>
                  <a:pt x="298345" y="99041"/>
                  <a:pt x="298345" y="99347"/>
                  <a:pt x="298653" y="99347"/>
                </a:cubicBezTo>
                <a:cubicBezTo>
                  <a:pt x="298653" y="99347"/>
                  <a:pt x="298653" y="99347"/>
                  <a:pt x="307888" y="99347"/>
                </a:cubicBezTo>
                <a:cubicBezTo>
                  <a:pt x="307888" y="99347"/>
                  <a:pt x="308196" y="99041"/>
                  <a:pt x="308196" y="99041"/>
                </a:cubicBezTo>
                <a:cubicBezTo>
                  <a:pt x="308196" y="98735"/>
                  <a:pt x="307888" y="98735"/>
                  <a:pt x="307888" y="98735"/>
                </a:cubicBezTo>
                <a:cubicBezTo>
                  <a:pt x="307888" y="98735"/>
                  <a:pt x="307888" y="98735"/>
                  <a:pt x="298653" y="98735"/>
                </a:cubicBezTo>
                <a:close/>
                <a:moveTo>
                  <a:pt x="298653" y="95675"/>
                </a:moveTo>
                <a:cubicBezTo>
                  <a:pt x="298345" y="95675"/>
                  <a:pt x="298345" y="95675"/>
                  <a:pt x="298345" y="95981"/>
                </a:cubicBezTo>
                <a:cubicBezTo>
                  <a:pt x="298345" y="96287"/>
                  <a:pt x="298345" y="96287"/>
                  <a:pt x="298653" y="96287"/>
                </a:cubicBezTo>
                <a:cubicBezTo>
                  <a:pt x="298653" y="96287"/>
                  <a:pt x="298653" y="96287"/>
                  <a:pt x="307888" y="96287"/>
                </a:cubicBezTo>
                <a:cubicBezTo>
                  <a:pt x="307888" y="96287"/>
                  <a:pt x="308196" y="96287"/>
                  <a:pt x="308196" y="95981"/>
                </a:cubicBezTo>
                <a:cubicBezTo>
                  <a:pt x="308196" y="95675"/>
                  <a:pt x="307888" y="95675"/>
                  <a:pt x="307888" y="95675"/>
                </a:cubicBezTo>
                <a:cubicBezTo>
                  <a:pt x="307888" y="95675"/>
                  <a:pt x="307888" y="95675"/>
                  <a:pt x="298653" y="95675"/>
                </a:cubicBezTo>
                <a:close/>
                <a:moveTo>
                  <a:pt x="295267" y="92614"/>
                </a:moveTo>
                <a:cubicBezTo>
                  <a:pt x="294959" y="92614"/>
                  <a:pt x="294959" y="92920"/>
                  <a:pt x="294959" y="92920"/>
                </a:cubicBezTo>
                <a:cubicBezTo>
                  <a:pt x="294959" y="93226"/>
                  <a:pt x="294959" y="93226"/>
                  <a:pt x="295267" y="93226"/>
                </a:cubicBezTo>
                <a:cubicBezTo>
                  <a:pt x="295267" y="93226"/>
                  <a:pt x="295267" y="93226"/>
                  <a:pt x="311274" y="93226"/>
                </a:cubicBezTo>
                <a:cubicBezTo>
                  <a:pt x="311274" y="93226"/>
                  <a:pt x="311582" y="93226"/>
                  <a:pt x="311582" y="92920"/>
                </a:cubicBezTo>
                <a:cubicBezTo>
                  <a:pt x="311582" y="92920"/>
                  <a:pt x="311274" y="92614"/>
                  <a:pt x="311274" y="92614"/>
                </a:cubicBezTo>
                <a:cubicBezTo>
                  <a:pt x="311274" y="92614"/>
                  <a:pt x="311274" y="92614"/>
                  <a:pt x="295267" y="92614"/>
                </a:cubicBezTo>
                <a:close/>
                <a:moveTo>
                  <a:pt x="298653" y="89553"/>
                </a:moveTo>
                <a:cubicBezTo>
                  <a:pt x="298345" y="89553"/>
                  <a:pt x="298345" y="89859"/>
                  <a:pt x="298345" y="89859"/>
                </a:cubicBezTo>
                <a:cubicBezTo>
                  <a:pt x="298345" y="90165"/>
                  <a:pt x="298345" y="90165"/>
                  <a:pt x="298653" y="90165"/>
                </a:cubicBezTo>
                <a:cubicBezTo>
                  <a:pt x="298653" y="90165"/>
                  <a:pt x="298653" y="90165"/>
                  <a:pt x="307888" y="90165"/>
                </a:cubicBezTo>
                <a:cubicBezTo>
                  <a:pt x="307888" y="90165"/>
                  <a:pt x="308196" y="90165"/>
                  <a:pt x="308196" y="89859"/>
                </a:cubicBezTo>
                <a:cubicBezTo>
                  <a:pt x="308196" y="89859"/>
                  <a:pt x="307888" y="89553"/>
                  <a:pt x="307888" y="89553"/>
                </a:cubicBezTo>
                <a:cubicBezTo>
                  <a:pt x="307888" y="89553"/>
                  <a:pt x="307888" y="89553"/>
                  <a:pt x="298653" y="89553"/>
                </a:cubicBezTo>
                <a:close/>
                <a:moveTo>
                  <a:pt x="298653" y="86798"/>
                </a:moveTo>
                <a:cubicBezTo>
                  <a:pt x="298345" y="86798"/>
                  <a:pt x="298345" y="86798"/>
                  <a:pt x="298345" y="87104"/>
                </a:cubicBezTo>
                <a:cubicBezTo>
                  <a:pt x="298345" y="87410"/>
                  <a:pt x="298345" y="87410"/>
                  <a:pt x="298653" y="87410"/>
                </a:cubicBezTo>
                <a:cubicBezTo>
                  <a:pt x="298653" y="87410"/>
                  <a:pt x="298653" y="87410"/>
                  <a:pt x="307888" y="87410"/>
                </a:cubicBezTo>
                <a:cubicBezTo>
                  <a:pt x="307888" y="87410"/>
                  <a:pt x="308196" y="87410"/>
                  <a:pt x="308196" y="87104"/>
                </a:cubicBezTo>
                <a:cubicBezTo>
                  <a:pt x="308196" y="86798"/>
                  <a:pt x="307888" y="86798"/>
                  <a:pt x="307888" y="86798"/>
                </a:cubicBezTo>
                <a:cubicBezTo>
                  <a:pt x="307888" y="86798"/>
                  <a:pt x="307888" y="86798"/>
                  <a:pt x="298653" y="86798"/>
                </a:cubicBezTo>
                <a:close/>
                <a:moveTo>
                  <a:pt x="132594" y="86200"/>
                </a:moveTo>
                <a:cubicBezTo>
                  <a:pt x="133820" y="86200"/>
                  <a:pt x="135047" y="87118"/>
                  <a:pt x="135354" y="88649"/>
                </a:cubicBezTo>
                <a:cubicBezTo>
                  <a:pt x="135354" y="90486"/>
                  <a:pt x="135660" y="92323"/>
                  <a:pt x="136274" y="94160"/>
                </a:cubicBezTo>
                <a:cubicBezTo>
                  <a:pt x="158046" y="94160"/>
                  <a:pt x="158046" y="94160"/>
                  <a:pt x="158046" y="94160"/>
                </a:cubicBezTo>
                <a:cubicBezTo>
                  <a:pt x="158353" y="92323"/>
                  <a:pt x="158659" y="90486"/>
                  <a:pt x="158659" y="88649"/>
                </a:cubicBezTo>
                <a:cubicBezTo>
                  <a:pt x="158966" y="87118"/>
                  <a:pt x="160192" y="86200"/>
                  <a:pt x="161419" y="86200"/>
                </a:cubicBezTo>
                <a:cubicBezTo>
                  <a:pt x="162952" y="86506"/>
                  <a:pt x="163872" y="87424"/>
                  <a:pt x="163872" y="88955"/>
                </a:cubicBezTo>
                <a:cubicBezTo>
                  <a:pt x="162646" y="102120"/>
                  <a:pt x="156819" y="110386"/>
                  <a:pt x="150380" y="117428"/>
                </a:cubicBezTo>
                <a:cubicBezTo>
                  <a:pt x="150993" y="118040"/>
                  <a:pt x="151606" y="118652"/>
                  <a:pt x="152219" y="119264"/>
                </a:cubicBezTo>
                <a:cubicBezTo>
                  <a:pt x="159886" y="126918"/>
                  <a:pt x="166939" y="133654"/>
                  <a:pt x="165712" y="145900"/>
                </a:cubicBezTo>
                <a:cubicBezTo>
                  <a:pt x="165099" y="154472"/>
                  <a:pt x="158659" y="159677"/>
                  <a:pt x="151606" y="165494"/>
                </a:cubicBezTo>
                <a:cubicBezTo>
                  <a:pt x="150993" y="165800"/>
                  <a:pt x="150993" y="165800"/>
                  <a:pt x="150993" y="165800"/>
                </a:cubicBezTo>
                <a:cubicBezTo>
                  <a:pt x="158353" y="172535"/>
                  <a:pt x="165405" y="180801"/>
                  <a:pt x="166019" y="194884"/>
                </a:cubicBezTo>
                <a:cubicBezTo>
                  <a:pt x="166019" y="196415"/>
                  <a:pt x="164792" y="197640"/>
                  <a:pt x="163566" y="197640"/>
                </a:cubicBezTo>
                <a:cubicBezTo>
                  <a:pt x="162032" y="197640"/>
                  <a:pt x="161112" y="196415"/>
                  <a:pt x="161112" y="195191"/>
                </a:cubicBezTo>
                <a:cubicBezTo>
                  <a:pt x="160806" y="192741"/>
                  <a:pt x="160499" y="190904"/>
                  <a:pt x="160192" y="188761"/>
                </a:cubicBezTo>
                <a:cubicBezTo>
                  <a:pt x="133820" y="188761"/>
                  <a:pt x="133820" y="188761"/>
                  <a:pt x="133820" y="188761"/>
                </a:cubicBezTo>
                <a:cubicBezTo>
                  <a:pt x="133514" y="190904"/>
                  <a:pt x="133207" y="192741"/>
                  <a:pt x="133207" y="195191"/>
                </a:cubicBezTo>
                <a:cubicBezTo>
                  <a:pt x="132900" y="196415"/>
                  <a:pt x="131981" y="197640"/>
                  <a:pt x="130447" y="197640"/>
                </a:cubicBezTo>
                <a:cubicBezTo>
                  <a:pt x="129221" y="197640"/>
                  <a:pt x="127994" y="196415"/>
                  <a:pt x="127994" y="194884"/>
                </a:cubicBezTo>
                <a:cubicBezTo>
                  <a:pt x="128607" y="180801"/>
                  <a:pt x="135660" y="172535"/>
                  <a:pt x="143020" y="165800"/>
                </a:cubicBezTo>
                <a:cubicBezTo>
                  <a:pt x="142713" y="165494"/>
                  <a:pt x="142713" y="165494"/>
                  <a:pt x="142713" y="165494"/>
                </a:cubicBezTo>
                <a:cubicBezTo>
                  <a:pt x="135354" y="159677"/>
                  <a:pt x="128914" y="154472"/>
                  <a:pt x="128301" y="145900"/>
                </a:cubicBezTo>
                <a:cubicBezTo>
                  <a:pt x="127381" y="133654"/>
                  <a:pt x="134127" y="126918"/>
                  <a:pt x="141793" y="119264"/>
                </a:cubicBezTo>
                <a:cubicBezTo>
                  <a:pt x="142407" y="118652"/>
                  <a:pt x="143020" y="118040"/>
                  <a:pt x="143633" y="117428"/>
                </a:cubicBezTo>
                <a:cubicBezTo>
                  <a:pt x="137194" y="110386"/>
                  <a:pt x="131367" y="102120"/>
                  <a:pt x="130447" y="88955"/>
                </a:cubicBezTo>
                <a:cubicBezTo>
                  <a:pt x="130141" y="87424"/>
                  <a:pt x="131367" y="86506"/>
                  <a:pt x="132594" y="86200"/>
                </a:cubicBezTo>
                <a:close/>
                <a:moveTo>
                  <a:pt x="298653" y="83737"/>
                </a:moveTo>
                <a:cubicBezTo>
                  <a:pt x="298345" y="83737"/>
                  <a:pt x="298345" y="84044"/>
                  <a:pt x="298345" y="84044"/>
                </a:cubicBezTo>
                <a:cubicBezTo>
                  <a:pt x="298345" y="84350"/>
                  <a:pt x="298345" y="84656"/>
                  <a:pt x="298653" y="84656"/>
                </a:cubicBezTo>
                <a:cubicBezTo>
                  <a:pt x="298653" y="84656"/>
                  <a:pt x="298653" y="84656"/>
                  <a:pt x="307888" y="84656"/>
                </a:cubicBezTo>
                <a:cubicBezTo>
                  <a:pt x="307888" y="84656"/>
                  <a:pt x="308196" y="84350"/>
                  <a:pt x="308196" y="84044"/>
                </a:cubicBezTo>
                <a:cubicBezTo>
                  <a:pt x="308196" y="84044"/>
                  <a:pt x="307888" y="83737"/>
                  <a:pt x="307888" y="83737"/>
                </a:cubicBezTo>
                <a:cubicBezTo>
                  <a:pt x="307888" y="83737"/>
                  <a:pt x="307888" y="83737"/>
                  <a:pt x="298653" y="83737"/>
                </a:cubicBezTo>
                <a:close/>
                <a:moveTo>
                  <a:pt x="295267" y="80064"/>
                </a:moveTo>
                <a:cubicBezTo>
                  <a:pt x="294959" y="80064"/>
                  <a:pt x="294959" y="80371"/>
                  <a:pt x="294959" y="80371"/>
                </a:cubicBezTo>
                <a:cubicBezTo>
                  <a:pt x="294959" y="80677"/>
                  <a:pt x="294959" y="80677"/>
                  <a:pt x="295267" y="80677"/>
                </a:cubicBezTo>
                <a:cubicBezTo>
                  <a:pt x="295267" y="80677"/>
                  <a:pt x="295267" y="80677"/>
                  <a:pt x="311274" y="80677"/>
                </a:cubicBezTo>
                <a:cubicBezTo>
                  <a:pt x="311274" y="80677"/>
                  <a:pt x="311582" y="80677"/>
                  <a:pt x="311582" y="80371"/>
                </a:cubicBezTo>
                <a:cubicBezTo>
                  <a:pt x="311582" y="80371"/>
                  <a:pt x="311274" y="80064"/>
                  <a:pt x="311274" y="80064"/>
                </a:cubicBezTo>
                <a:cubicBezTo>
                  <a:pt x="311274" y="80064"/>
                  <a:pt x="311274" y="80064"/>
                  <a:pt x="295267" y="80064"/>
                </a:cubicBezTo>
                <a:close/>
                <a:moveTo>
                  <a:pt x="287264" y="69964"/>
                </a:moveTo>
                <a:cubicBezTo>
                  <a:pt x="287264" y="69964"/>
                  <a:pt x="287264" y="69964"/>
                  <a:pt x="318969" y="69964"/>
                </a:cubicBezTo>
                <a:cubicBezTo>
                  <a:pt x="318969" y="69964"/>
                  <a:pt x="318969" y="69964"/>
                  <a:pt x="316199" y="125364"/>
                </a:cubicBezTo>
                <a:cubicBezTo>
                  <a:pt x="316199" y="126895"/>
                  <a:pt x="314968" y="128119"/>
                  <a:pt x="313428" y="128119"/>
                </a:cubicBezTo>
                <a:cubicBezTo>
                  <a:pt x="313428" y="128119"/>
                  <a:pt x="313428" y="128119"/>
                  <a:pt x="295267" y="128119"/>
                </a:cubicBezTo>
                <a:cubicBezTo>
                  <a:pt x="293728" y="128119"/>
                  <a:pt x="292497" y="126895"/>
                  <a:pt x="292497" y="125364"/>
                </a:cubicBezTo>
                <a:cubicBezTo>
                  <a:pt x="292497" y="125364"/>
                  <a:pt x="292497" y="125364"/>
                  <a:pt x="287264" y="77616"/>
                </a:cubicBezTo>
                <a:cubicBezTo>
                  <a:pt x="287264" y="77004"/>
                  <a:pt x="286956" y="76392"/>
                  <a:pt x="286648" y="76085"/>
                </a:cubicBezTo>
                <a:cubicBezTo>
                  <a:pt x="286648" y="76085"/>
                  <a:pt x="286648" y="76085"/>
                  <a:pt x="282954" y="72106"/>
                </a:cubicBezTo>
                <a:cubicBezTo>
                  <a:pt x="282954" y="72106"/>
                  <a:pt x="282954" y="72106"/>
                  <a:pt x="286032" y="70270"/>
                </a:cubicBezTo>
                <a:cubicBezTo>
                  <a:pt x="286340" y="69964"/>
                  <a:pt x="286648" y="69964"/>
                  <a:pt x="287264" y="69964"/>
                </a:cubicBezTo>
                <a:close/>
                <a:moveTo>
                  <a:pt x="255380" y="65240"/>
                </a:moveTo>
                <a:lnTo>
                  <a:pt x="257966" y="78161"/>
                </a:lnTo>
                <a:lnTo>
                  <a:pt x="267989" y="76321"/>
                </a:lnTo>
                <a:cubicBezTo>
                  <a:pt x="272293" y="76321"/>
                  <a:pt x="275982" y="80610"/>
                  <a:pt x="277826" y="85511"/>
                </a:cubicBezTo>
                <a:cubicBezTo>
                  <a:pt x="280593" y="91331"/>
                  <a:pt x="280286" y="96233"/>
                  <a:pt x="278749" y="100521"/>
                </a:cubicBezTo>
                <a:cubicBezTo>
                  <a:pt x="277519" y="104197"/>
                  <a:pt x="275674" y="107873"/>
                  <a:pt x="273215" y="111549"/>
                </a:cubicBezTo>
                <a:cubicBezTo>
                  <a:pt x="271370" y="114612"/>
                  <a:pt x="268911" y="117676"/>
                  <a:pt x="265529" y="118901"/>
                </a:cubicBezTo>
                <a:cubicBezTo>
                  <a:pt x="260918" y="120739"/>
                  <a:pt x="259688" y="117676"/>
                  <a:pt x="256614" y="117676"/>
                </a:cubicBezTo>
                <a:cubicBezTo>
                  <a:pt x="254462" y="117676"/>
                  <a:pt x="252925" y="119514"/>
                  <a:pt x="249851" y="119514"/>
                </a:cubicBezTo>
                <a:cubicBezTo>
                  <a:pt x="248928" y="119514"/>
                  <a:pt x="248006" y="119207"/>
                  <a:pt x="247084" y="118901"/>
                </a:cubicBezTo>
                <a:cubicBezTo>
                  <a:pt x="244009" y="117676"/>
                  <a:pt x="241550" y="114612"/>
                  <a:pt x="239398" y="111549"/>
                </a:cubicBezTo>
                <a:cubicBezTo>
                  <a:pt x="237246" y="107873"/>
                  <a:pt x="235402" y="104197"/>
                  <a:pt x="234172" y="100521"/>
                </a:cubicBezTo>
                <a:cubicBezTo>
                  <a:pt x="232635" y="96233"/>
                  <a:pt x="232327" y="91331"/>
                  <a:pt x="234787" y="85511"/>
                </a:cubicBezTo>
                <a:cubicBezTo>
                  <a:pt x="236939" y="80610"/>
                  <a:pt x="240628" y="76321"/>
                  <a:pt x="244932" y="76321"/>
                </a:cubicBezTo>
                <a:lnTo>
                  <a:pt x="255401" y="78295"/>
                </a:lnTo>
                <a:lnTo>
                  <a:pt x="251367" y="66782"/>
                </a:lnTo>
                <a:cubicBezTo>
                  <a:pt x="252602" y="66473"/>
                  <a:pt x="254145" y="65857"/>
                  <a:pt x="255380" y="65240"/>
                </a:cubicBezTo>
                <a:close/>
                <a:moveTo>
                  <a:pt x="214319" y="61698"/>
                </a:moveTo>
                <a:lnTo>
                  <a:pt x="216090" y="61698"/>
                </a:lnTo>
                <a:lnTo>
                  <a:pt x="216385" y="69669"/>
                </a:lnTo>
                <a:lnTo>
                  <a:pt x="216737" y="69669"/>
                </a:lnTo>
                <a:lnTo>
                  <a:pt x="219402" y="79115"/>
                </a:lnTo>
                <a:lnTo>
                  <a:pt x="220644" y="79115"/>
                </a:lnTo>
                <a:cubicBezTo>
                  <a:pt x="220950" y="79115"/>
                  <a:pt x="221256" y="79410"/>
                  <a:pt x="221256" y="79705"/>
                </a:cubicBezTo>
                <a:cubicBezTo>
                  <a:pt x="221256" y="80296"/>
                  <a:pt x="221256" y="80296"/>
                  <a:pt x="221256" y="80296"/>
                </a:cubicBezTo>
                <a:cubicBezTo>
                  <a:pt x="221256" y="80591"/>
                  <a:pt x="220950" y="80886"/>
                  <a:pt x="220644" y="80886"/>
                </a:cubicBezTo>
                <a:lnTo>
                  <a:pt x="220735" y="80886"/>
                </a:lnTo>
                <a:cubicBezTo>
                  <a:pt x="221348" y="80886"/>
                  <a:pt x="221961" y="80886"/>
                  <a:pt x="221961" y="81501"/>
                </a:cubicBezTo>
                <a:cubicBezTo>
                  <a:pt x="222268" y="85804"/>
                  <a:pt x="223187" y="88263"/>
                  <a:pt x="224414" y="91645"/>
                </a:cubicBezTo>
                <a:cubicBezTo>
                  <a:pt x="225333" y="93796"/>
                  <a:pt x="225640" y="94411"/>
                  <a:pt x="225947" y="96563"/>
                </a:cubicBezTo>
                <a:cubicBezTo>
                  <a:pt x="226866" y="102096"/>
                  <a:pt x="226253" y="112240"/>
                  <a:pt x="220122" y="114392"/>
                </a:cubicBezTo>
                <a:cubicBezTo>
                  <a:pt x="220122" y="114392"/>
                  <a:pt x="220122" y="114392"/>
                  <a:pt x="215523" y="114392"/>
                </a:cubicBezTo>
                <a:cubicBezTo>
                  <a:pt x="215523" y="114392"/>
                  <a:pt x="215523" y="114392"/>
                  <a:pt x="215217" y="114392"/>
                </a:cubicBezTo>
                <a:cubicBezTo>
                  <a:pt x="215217" y="114392"/>
                  <a:pt x="215217" y="114392"/>
                  <a:pt x="214910" y="114392"/>
                </a:cubicBezTo>
                <a:cubicBezTo>
                  <a:pt x="214910" y="114392"/>
                  <a:pt x="214910" y="114392"/>
                  <a:pt x="214604" y="114392"/>
                </a:cubicBezTo>
                <a:cubicBezTo>
                  <a:pt x="214604" y="114392"/>
                  <a:pt x="214604" y="114392"/>
                  <a:pt x="209699" y="114392"/>
                </a:cubicBezTo>
                <a:cubicBezTo>
                  <a:pt x="203874" y="112240"/>
                  <a:pt x="202954" y="102096"/>
                  <a:pt x="204181" y="96563"/>
                </a:cubicBezTo>
                <a:cubicBezTo>
                  <a:pt x="204487" y="94411"/>
                  <a:pt x="204794" y="93796"/>
                  <a:pt x="205713" y="91645"/>
                </a:cubicBezTo>
                <a:cubicBezTo>
                  <a:pt x="206940" y="88263"/>
                  <a:pt x="207859" y="85804"/>
                  <a:pt x="208166" y="81501"/>
                </a:cubicBezTo>
                <a:cubicBezTo>
                  <a:pt x="208166" y="80886"/>
                  <a:pt x="208472" y="80886"/>
                  <a:pt x="209392" y="80886"/>
                </a:cubicBezTo>
                <a:lnTo>
                  <a:pt x="209016" y="80886"/>
                </a:lnTo>
                <a:cubicBezTo>
                  <a:pt x="208710" y="80886"/>
                  <a:pt x="208710" y="80591"/>
                  <a:pt x="208710" y="80296"/>
                </a:cubicBezTo>
                <a:cubicBezTo>
                  <a:pt x="208710" y="79705"/>
                  <a:pt x="208710" y="79705"/>
                  <a:pt x="208710" y="79705"/>
                </a:cubicBezTo>
                <a:cubicBezTo>
                  <a:pt x="208710" y="79410"/>
                  <a:pt x="208710" y="79115"/>
                  <a:pt x="209016" y="79115"/>
                </a:cubicBezTo>
                <a:lnTo>
                  <a:pt x="210713" y="79115"/>
                </a:lnTo>
                <a:lnTo>
                  <a:pt x="213378" y="69669"/>
                </a:lnTo>
                <a:lnTo>
                  <a:pt x="213581" y="69669"/>
                </a:lnTo>
                <a:close/>
                <a:moveTo>
                  <a:pt x="274767" y="42296"/>
                </a:moveTo>
                <a:cubicBezTo>
                  <a:pt x="274767" y="42296"/>
                  <a:pt x="274767" y="42296"/>
                  <a:pt x="281214" y="42296"/>
                </a:cubicBezTo>
                <a:cubicBezTo>
                  <a:pt x="281214" y="42296"/>
                  <a:pt x="281214" y="42296"/>
                  <a:pt x="281214" y="48733"/>
                </a:cubicBezTo>
                <a:cubicBezTo>
                  <a:pt x="281214" y="49652"/>
                  <a:pt x="280907" y="50265"/>
                  <a:pt x="280293" y="50878"/>
                </a:cubicBezTo>
                <a:cubicBezTo>
                  <a:pt x="279986" y="51491"/>
                  <a:pt x="279065" y="51798"/>
                  <a:pt x="278144" y="51798"/>
                </a:cubicBezTo>
                <a:cubicBezTo>
                  <a:pt x="278144" y="51798"/>
                  <a:pt x="278144" y="51798"/>
                  <a:pt x="277837" y="51798"/>
                </a:cubicBezTo>
                <a:cubicBezTo>
                  <a:pt x="276916" y="51798"/>
                  <a:pt x="276302" y="51491"/>
                  <a:pt x="275688" y="50878"/>
                </a:cubicBezTo>
                <a:cubicBezTo>
                  <a:pt x="275074" y="50265"/>
                  <a:pt x="274767" y="49652"/>
                  <a:pt x="274767" y="48733"/>
                </a:cubicBezTo>
                <a:cubicBezTo>
                  <a:pt x="274767" y="48733"/>
                  <a:pt x="274767" y="48733"/>
                  <a:pt x="274767" y="42296"/>
                </a:cubicBezTo>
                <a:close/>
                <a:moveTo>
                  <a:pt x="261259" y="42296"/>
                </a:moveTo>
                <a:cubicBezTo>
                  <a:pt x="261259" y="42296"/>
                  <a:pt x="261259" y="42296"/>
                  <a:pt x="268013" y="42296"/>
                </a:cubicBezTo>
                <a:cubicBezTo>
                  <a:pt x="268013" y="42296"/>
                  <a:pt x="268013" y="42296"/>
                  <a:pt x="268013" y="48733"/>
                </a:cubicBezTo>
                <a:cubicBezTo>
                  <a:pt x="268013" y="49652"/>
                  <a:pt x="267706" y="50265"/>
                  <a:pt x="267092" y="50878"/>
                </a:cubicBezTo>
                <a:cubicBezTo>
                  <a:pt x="266478" y="51491"/>
                  <a:pt x="265864" y="51798"/>
                  <a:pt x="264943" y="51798"/>
                </a:cubicBezTo>
                <a:cubicBezTo>
                  <a:pt x="264943" y="51798"/>
                  <a:pt x="264943" y="51798"/>
                  <a:pt x="264636" y="51798"/>
                </a:cubicBezTo>
                <a:cubicBezTo>
                  <a:pt x="263715" y="51798"/>
                  <a:pt x="262794" y="51491"/>
                  <a:pt x="262180" y="50878"/>
                </a:cubicBezTo>
                <a:cubicBezTo>
                  <a:pt x="261873" y="50265"/>
                  <a:pt x="261259" y="49652"/>
                  <a:pt x="261259" y="48733"/>
                </a:cubicBezTo>
                <a:cubicBezTo>
                  <a:pt x="261259" y="48733"/>
                  <a:pt x="261259" y="48733"/>
                  <a:pt x="261259" y="42296"/>
                </a:cubicBezTo>
                <a:close/>
                <a:moveTo>
                  <a:pt x="248058" y="42296"/>
                </a:moveTo>
                <a:cubicBezTo>
                  <a:pt x="248058" y="42296"/>
                  <a:pt x="248058" y="42296"/>
                  <a:pt x="254505" y="42296"/>
                </a:cubicBezTo>
                <a:cubicBezTo>
                  <a:pt x="254505" y="42296"/>
                  <a:pt x="254505" y="42296"/>
                  <a:pt x="254505" y="48733"/>
                </a:cubicBezTo>
                <a:cubicBezTo>
                  <a:pt x="254505" y="49652"/>
                  <a:pt x="254198" y="50265"/>
                  <a:pt x="253584" y="50878"/>
                </a:cubicBezTo>
                <a:cubicBezTo>
                  <a:pt x="253277" y="51491"/>
                  <a:pt x="252356" y="51798"/>
                  <a:pt x="251435" y="51798"/>
                </a:cubicBezTo>
                <a:cubicBezTo>
                  <a:pt x="251435" y="51798"/>
                  <a:pt x="251435" y="51798"/>
                  <a:pt x="251128" y="51798"/>
                </a:cubicBezTo>
                <a:cubicBezTo>
                  <a:pt x="250207" y="51798"/>
                  <a:pt x="249593" y="51491"/>
                  <a:pt x="248979" y="50878"/>
                </a:cubicBezTo>
                <a:cubicBezTo>
                  <a:pt x="248365" y="50265"/>
                  <a:pt x="248058" y="49652"/>
                  <a:pt x="248058" y="48733"/>
                </a:cubicBezTo>
                <a:cubicBezTo>
                  <a:pt x="248058" y="48733"/>
                  <a:pt x="248058" y="48733"/>
                  <a:pt x="248058" y="42296"/>
                </a:cubicBezTo>
                <a:close/>
                <a:moveTo>
                  <a:pt x="234858" y="42296"/>
                </a:moveTo>
                <a:cubicBezTo>
                  <a:pt x="234858" y="42296"/>
                  <a:pt x="234858" y="42296"/>
                  <a:pt x="241305" y="42296"/>
                </a:cubicBezTo>
                <a:cubicBezTo>
                  <a:pt x="241305" y="42296"/>
                  <a:pt x="241305" y="42296"/>
                  <a:pt x="241305" y="48733"/>
                </a:cubicBezTo>
                <a:cubicBezTo>
                  <a:pt x="241305" y="49652"/>
                  <a:pt x="240998" y="50572"/>
                  <a:pt x="240384" y="50878"/>
                </a:cubicBezTo>
                <a:cubicBezTo>
                  <a:pt x="239770" y="51491"/>
                  <a:pt x="239156" y="51798"/>
                  <a:pt x="238235" y="51798"/>
                </a:cubicBezTo>
                <a:cubicBezTo>
                  <a:pt x="238235" y="51798"/>
                  <a:pt x="238235" y="51798"/>
                  <a:pt x="237928" y="51798"/>
                </a:cubicBezTo>
                <a:cubicBezTo>
                  <a:pt x="237007" y="51798"/>
                  <a:pt x="236086" y="51491"/>
                  <a:pt x="235779" y="50878"/>
                </a:cubicBezTo>
                <a:cubicBezTo>
                  <a:pt x="235165" y="50572"/>
                  <a:pt x="234858" y="49652"/>
                  <a:pt x="234858" y="48733"/>
                </a:cubicBezTo>
                <a:cubicBezTo>
                  <a:pt x="234858" y="48733"/>
                  <a:pt x="234858" y="48733"/>
                  <a:pt x="234858" y="42296"/>
                </a:cubicBezTo>
                <a:close/>
                <a:moveTo>
                  <a:pt x="221350" y="42296"/>
                </a:moveTo>
                <a:cubicBezTo>
                  <a:pt x="221350" y="42296"/>
                  <a:pt x="221350" y="42296"/>
                  <a:pt x="228104" y="42296"/>
                </a:cubicBezTo>
                <a:cubicBezTo>
                  <a:pt x="228104" y="42296"/>
                  <a:pt x="228104" y="42296"/>
                  <a:pt x="228104" y="48733"/>
                </a:cubicBezTo>
                <a:cubicBezTo>
                  <a:pt x="228104" y="49652"/>
                  <a:pt x="227490" y="50265"/>
                  <a:pt x="227183" y="50878"/>
                </a:cubicBezTo>
                <a:cubicBezTo>
                  <a:pt x="226569" y="51491"/>
                  <a:pt x="225648" y="51798"/>
                  <a:pt x="225034" y="51798"/>
                </a:cubicBezTo>
                <a:cubicBezTo>
                  <a:pt x="225034" y="51798"/>
                  <a:pt x="225034" y="51798"/>
                  <a:pt x="224420" y="51798"/>
                </a:cubicBezTo>
                <a:cubicBezTo>
                  <a:pt x="223806" y="51798"/>
                  <a:pt x="222885" y="51491"/>
                  <a:pt x="222271" y="50878"/>
                </a:cubicBezTo>
                <a:cubicBezTo>
                  <a:pt x="221657" y="50265"/>
                  <a:pt x="221350" y="49652"/>
                  <a:pt x="221350" y="48733"/>
                </a:cubicBezTo>
                <a:cubicBezTo>
                  <a:pt x="221350" y="48733"/>
                  <a:pt x="221350" y="48733"/>
                  <a:pt x="221350" y="42296"/>
                </a:cubicBezTo>
                <a:close/>
                <a:moveTo>
                  <a:pt x="166641" y="37491"/>
                </a:moveTo>
                <a:cubicBezTo>
                  <a:pt x="170335" y="37491"/>
                  <a:pt x="170335" y="37491"/>
                  <a:pt x="170335" y="37491"/>
                </a:cubicBezTo>
                <a:cubicBezTo>
                  <a:pt x="171258" y="37491"/>
                  <a:pt x="171566" y="38103"/>
                  <a:pt x="171566" y="38715"/>
                </a:cubicBezTo>
                <a:cubicBezTo>
                  <a:pt x="171566" y="46671"/>
                  <a:pt x="171566" y="46671"/>
                  <a:pt x="171566" y="46671"/>
                </a:cubicBezTo>
                <a:cubicBezTo>
                  <a:pt x="179877" y="46671"/>
                  <a:pt x="179877" y="46671"/>
                  <a:pt x="179877" y="46671"/>
                </a:cubicBezTo>
                <a:cubicBezTo>
                  <a:pt x="180493" y="46671"/>
                  <a:pt x="181108" y="47283"/>
                  <a:pt x="181108" y="48201"/>
                </a:cubicBezTo>
                <a:cubicBezTo>
                  <a:pt x="181108" y="51873"/>
                  <a:pt x="181108" y="51873"/>
                  <a:pt x="181108" y="51873"/>
                </a:cubicBezTo>
                <a:cubicBezTo>
                  <a:pt x="181108" y="52791"/>
                  <a:pt x="180493" y="53097"/>
                  <a:pt x="179877" y="53097"/>
                </a:cubicBezTo>
                <a:cubicBezTo>
                  <a:pt x="171566" y="53097"/>
                  <a:pt x="171566" y="53097"/>
                  <a:pt x="171566" y="53097"/>
                </a:cubicBezTo>
                <a:cubicBezTo>
                  <a:pt x="171566" y="61359"/>
                  <a:pt x="171566" y="61359"/>
                  <a:pt x="171566" y="61359"/>
                </a:cubicBezTo>
                <a:cubicBezTo>
                  <a:pt x="171566" y="61971"/>
                  <a:pt x="171258" y="62583"/>
                  <a:pt x="170335" y="62583"/>
                </a:cubicBezTo>
                <a:cubicBezTo>
                  <a:pt x="166641" y="62583"/>
                  <a:pt x="166641" y="62583"/>
                  <a:pt x="166641" y="62583"/>
                </a:cubicBezTo>
                <a:cubicBezTo>
                  <a:pt x="165718" y="62583"/>
                  <a:pt x="165102" y="61971"/>
                  <a:pt x="165102" y="61359"/>
                </a:cubicBezTo>
                <a:cubicBezTo>
                  <a:pt x="165102" y="53097"/>
                  <a:pt x="165102" y="53097"/>
                  <a:pt x="165102" y="53097"/>
                </a:cubicBezTo>
                <a:cubicBezTo>
                  <a:pt x="157099" y="53097"/>
                  <a:pt x="157099" y="53097"/>
                  <a:pt x="157099" y="53097"/>
                </a:cubicBezTo>
                <a:cubicBezTo>
                  <a:pt x="156483" y="53097"/>
                  <a:pt x="155868" y="52791"/>
                  <a:pt x="155868" y="51873"/>
                </a:cubicBezTo>
                <a:cubicBezTo>
                  <a:pt x="155868" y="48201"/>
                  <a:pt x="155868" y="48201"/>
                  <a:pt x="155868" y="48201"/>
                </a:cubicBezTo>
                <a:cubicBezTo>
                  <a:pt x="155868" y="47283"/>
                  <a:pt x="156483" y="46671"/>
                  <a:pt x="157099" y="46671"/>
                </a:cubicBezTo>
                <a:cubicBezTo>
                  <a:pt x="165102" y="46671"/>
                  <a:pt x="165102" y="46671"/>
                  <a:pt x="165102" y="46671"/>
                </a:cubicBezTo>
                <a:cubicBezTo>
                  <a:pt x="165102" y="38715"/>
                  <a:pt x="165102" y="38715"/>
                  <a:pt x="165102" y="38715"/>
                </a:cubicBezTo>
                <a:cubicBezTo>
                  <a:pt x="165102" y="38103"/>
                  <a:pt x="165718" y="37491"/>
                  <a:pt x="166641" y="37491"/>
                </a:cubicBezTo>
                <a:close/>
                <a:moveTo>
                  <a:pt x="168563" y="32257"/>
                </a:moveTo>
                <a:cubicBezTo>
                  <a:pt x="158747" y="32257"/>
                  <a:pt x="150771" y="40215"/>
                  <a:pt x="150771" y="50010"/>
                </a:cubicBezTo>
                <a:cubicBezTo>
                  <a:pt x="150771" y="59805"/>
                  <a:pt x="158747" y="68069"/>
                  <a:pt x="168563" y="68069"/>
                </a:cubicBezTo>
                <a:cubicBezTo>
                  <a:pt x="178378" y="68069"/>
                  <a:pt x="186354" y="59805"/>
                  <a:pt x="186354" y="50010"/>
                </a:cubicBezTo>
                <a:cubicBezTo>
                  <a:pt x="186354" y="40215"/>
                  <a:pt x="178378" y="32257"/>
                  <a:pt x="168563" y="32257"/>
                </a:cubicBezTo>
                <a:close/>
                <a:moveTo>
                  <a:pt x="277837" y="30956"/>
                </a:moveTo>
                <a:cubicBezTo>
                  <a:pt x="276609" y="30956"/>
                  <a:pt x="275688" y="31569"/>
                  <a:pt x="275074" y="32182"/>
                </a:cubicBezTo>
                <a:cubicBezTo>
                  <a:pt x="274460" y="32795"/>
                  <a:pt x="273846" y="33715"/>
                  <a:pt x="273846" y="34941"/>
                </a:cubicBezTo>
                <a:cubicBezTo>
                  <a:pt x="273846" y="41377"/>
                  <a:pt x="273846" y="41377"/>
                  <a:pt x="273846" y="41377"/>
                </a:cubicBezTo>
                <a:cubicBezTo>
                  <a:pt x="273846" y="41990"/>
                  <a:pt x="273846" y="41990"/>
                  <a:pt x="273846" y="41990"/>
                </a:cubicBezTo>
                <a:lnTo>
                  <a:pt x="273846" y="42296"/>
                </a:lnTo>
                <a:cubicBezTo>
                  <a:pt x="273846" y="48733"/>
                  <a:pt x="273846" y="48733"/>
                  <a:pt x="273846" y="48733"/>
                </a:cubicBezTo>
                <a:cubicBezTo>
                  <a:pt x="273846" y="49959"/>
                  <a:pt x="274460" y="50878"/>
                  <a:pt x="275074" y="51491"/>
                </a:cubicBezTo>
                <a:cubicBezTo>
                  <a:pt x="275688" y="52104"/>
                  <a:pt x="276609" y="52717"/>
                  <a:pt x="277837" y="52717"/>
                </a:cubicBezTo>
                <a:cubicBezTo>
                  <a:pt x="278144" y="52717"/>
                  <a:pt x="278144" y="52717"/>
                  <a:pt x="278144" y="52717"/>
                </a:cubicBezTo>
                <a:cubicBezTo>
                  <a:pt x="279372" y="52717"/>
                  <a:pt x="280293" y="52104"/>
                  <a:pt x="280907" y="51491"/>
                </a:cubicBezTo>
                <a:cubicBezTo>
                  <a:pt x="281827" y="50878"/>
                  <a:pt x="282134" y="49959"/>
                  <a:pt x="282134" y="48733"/>
                </a:cubicBezTo>
                <a:cubicBezTo>
                  <a:pt x="282134" y="42296"/>
                  <a:pt x="282134" y="42296"/>
                  <a:pt x="282134" y="42296"/>
                </a:cubicBezTo>
                <a:cubicBezTo>
                  <a:pt x="282134" y="41990"/>
                  <a:pt x="282134" y="41990"/>
                  <a:pt x="282134" y="41990"/>
                </a:cubicBezTo>
                <a:cubicBezTo>
                  <a:pt x="282134" y="41377"/>
                  <a:pt x="282134" y="41377"/>
                  <a:pt x="282134" y="41377"/>
                </a:cubicBezTo>
                <a:cubicBezTo>
                  <a:pt x="282134" y="34941"/>
                  <a:pt x="282134" y="34941"/>
                  <a:pt x="282134" y="34941"/>
                </a:cubicBezTo>
                <a:cubicBezTo>
                  <a:pt x="282134" y="33715"/>
                  <a:pt x="281827" y="32795"/>
                  <a:pt x="280907" y="32182"/>
                </a:cubicBezTo>
                <a:cubicBezTo>
                  <a:pt x="280293" y="31569"/>
                  <a:pt x="279372" y="30956"/>
                  <a:pt x="278144" y="30956"/>
                </a:cubicBezTo>
                <a:cubicBezTo>
                  <a:pt x="277837" y="30956"/>
                  <a:pt x="277837" y="30956"/>
                  <a:pt x="277837" y="30956"/>
                </a:cubicBezTo>
                <a:close/>
                <a:moveTo>
                  <a:pt x="264636" y="30956"/>
                </a:moveTo>
                <a:cubicBezTo>
                  <a:pt x="263408" y="30956"/>
                  <a:pt x="262487" y="31569"/>
                  <a:pt x="261566" y="32182"/>
                </a:cubicBezTo>
                <a:cubicBezTo>
                  <a:pt x="260952" y="32795"/>
                  <a:pt x="260645" y="33715"/>
                  <a:pt x="260645" y="34941"/>
                </a:cubicBezTo>
                <a:cubicBezTo>
                  <a:pt x="260645" y="41377"/>
                  <a:pt x="260645" y="41377"/>
                  <a:pt x="260645" y="41377"/>
                </a:cubicBezTo>
                <a:cubicBezTo>
                  <a:pt x="260645" y="41990"/>
                  <a:pt x="260645" y="41990"/>
                  <a:pt x="260645" y="41990"/>
                </a:cubicBezTo>
                <a:cubicBezTo>
                  <a:pt x="260645" y="42296"/>
                  <a:pt x="260645" y="42296"/>
                  <a:pt x="260645" y="42296"/>
                </a:cubicBezTo>
                <a:cubicBezTo>
                  <a:pt x="260645" y="48733"/>
                  <a:pt x="260645" y="48733"/>
                  <a:pt x="260645" y="48733"/>
                </a:cubicBezTo>
                <a:cubicBezTo>
                  <a:pt x="260645" y="49959"/>
                  <a:pt x="260952" y="50878"/>
                  <a:pt x="261566" y="51491"/>
                </a:cubicBezTo>
                <a:cubicBezTo>
                  <a:pt x="262487" y="52104"/>
                  <a:pt x="263408" y="52717"/>
                  <a:pt x="264636" y="52717"/>
                </a:cubicBezTo>
                <a:cubicBezTo>
                  <a:pt x="264943" y="52717"/>
                  <a:pt x="264943" y="52717"/>
                  <a:pt x="264943" y="52717"/>
                </a:cubicBezTo>
                <a:cubicBezTo>
                  <a:pt x="265864" y="52717"/>
                  <a:pt x="266785" y="52104"/>
                  <a:pt x="267706" y="51491"/>
                </a:cubicBezTo>
                <a:cubicBezTo>
                  <a:pt x="268320" y="50878"/>
                  <a:pt x="268934" y="49959"/>
                  <a:pt x="268934" y="48733"/>
                </a:cubicBezTo>
                <a:cubicBezTo>
                  <a:pt x="268934" y="42296"/>
                  <a:pt x="268934" y="42296"/>
                  <a:pt x="268934" y="42296"/>
                </a:cubicBezTo>
                <a:cubicBezTo>
                  <a:pt x="268934" y="41990"/>
                  <a:pt x="268934" y="41990"/>
                  <a:pt x="268934" y="41990"/>
                </a:cubicBezTo>
                <a:cubicBezTo>
                  <a:pt x="268934" y="41377"/>
                  <a:pt x="268934" y="41377"/>
                  <a:pt x="268934" y="41377"/>
                </a:cubicBezTo>
                <a:cubicBezTo>
                  <a:pt x="268934" y="34941"/>
                  <a:pt x="268934" y="34941"/>
                  <a:pt x="268934" y="34941"/>
                </a:cubicBezTo>
                <a:cubicBezTo>
                  <a:pt x="268934" y="33715"/>
                  <a:pt x="268320" y="32795"/>
                  <a:pt x="267706" y="32182"/>
                </a:cubicBezTo>
                <a:cubicBezTo>
                  <a:pt x="266785" y="31569"/>
                  <a:pt x="265864" y="30956"/>
                  <a:pt x="264943" y="30956"/>
                </a:cubicBezTo>
                <a:cubicBezTo>
                  <a:pt x="264636" y="30956"/>
                  <a:pt x="264636" y="30956"/>
                  <a:pt x="264636" y="30956"/>
                </a:cubicBezTo>
                <a:close/>
                <a:moveTo>
                  <a:pt x="251128" y="30956"/>
                </a:moveTo>
                <a:cubicBezTo>
                  <a:pt x="249900" y="30956"/>
                  <a:pt x="248979" y="31569"/>
                  <a:pt x="248365" y="32182"/>
                </a:cubicBezTo>
                <a:cubicBezTo>
                  <a:pt x="247751" y="32795"/>
                  <a:pt x="247137" y="33715"/>
                  <a:pt x="247137" y="34941"/>
                </a:cubicBezTo>
                <a:cubicBezTo>
                  <a:pt x="247137" y="41377"/>
                  <a:pt x="247137" y="41377"/>
                  <a:pt x="247137" y="41377"/>
                </a:cubicBezTo>
                <a:cubicBezTo>
                  <a:pt x="247137" y="41990"/>
                  <a:pt x="247137" y="41990"/>
                  <a:pt x="247137" y="41990"/>
                </a:cubicBezTo>
                <a:cubicBezTo>
                  <a:pt x="247137" y="42296"/>
                  <a:pt x="247137" y="42296"/>
                  <a:pt x="247137" y="42296"/>
                </a:cubicBezTo>
                <a:cubicBezTo>
                  <a:pt x="247137" y="48733"/>
                  <a:pt x="247137" y="48733"/>
                  <a:pt x="247137" y="48733"/>
                </a:cubicBezTo>
                <a:cubicBezTo>
                  <a:pt x="247137" y="49959"/>
                  <a:pt x="247751" y="50878"/>
                  <a:pt x="248365" y="51491"/>
                </a:cubicBezTo>
                <a:cubicBezTo>
                  <a:pt x="248979" y="52104"/>
                  <a:pt x="249900" y="52717"/>
                  <a:pt x="251128" y="52717"/>
                </a:cubicBezTo>
                <a:cubicBezTo>
                  <a:pt x="251435" y="52717"/>
                  <a:pt x="251435" y="52717"/>
                  <a:pt x="251435" y="52717"/>
                </a:cubicBezTo>
                <a:cubicBezTo>
                  <a:pt x="252663" y="52717"/>
                  <a:pt x="253584" y="52104"/>
                  <a:pt x="254198" y="51491"/>
                </a:cubicBezTo>
                <a:cubicBezTo>
                  <a:pt x="255119" y="50878"/>
                  <a:pt x="255426" y="49959"/>
                  <a:pt x="255426" y="48733"/>
                </a:cubicBezTo>
                <a:cubicBezTo>
                  <a:pt x="255426" y="42296"/>
                  <a:pt x="255426" y="42296"/>
                  <a:pt x="255426" y="42296"/>
                </a:cubicBezTo>
                <a:cubicBezTo>
                  <a:pt x="255426" y="41990"/>
                  <a:pt x="255426" y="41990"/>
                  <a:pt x="255426" y="41990"/>
                </a:cubicBezTo>
                <a:cubicBezTo>
                  <a:pt x="255426" y="41377"/>
                  <a:pt x="255426" y="41377"/>
                  <a:pt x="255426" y="41377"/>
                </a:cubicBezTo>
                <a:cubicBezTo>
                  <a:pt x="255426" y="34941"/>
                  <a:pt x="255426" y="34941"/>
                  <a:pt x="255426" y="34941"/>
                </a:cubicBezTo>
                <a:cubicBezTo>
                  <a:pt x="255426" y="33715"/>
                  <a:pt x="255119" y="32795"/>
                  <a:pt x="254198" y="32182"/>
                </a:cubicBezTo>
                <a:cubicBezTo>
                  <a:pt x="253584" y="31569"/>
                  <a:pt x="252663" y="30956"/>
                  <a:pt x="251435" y="30956"/>
                </a:cubicBezTo>
                <a:cubicBezTo>
                  <a:pt x="251128" y="30956"/>
                  <a:pt x="251128" y="30956"/>
                  <a:pt x="251128" y="30956"/>
                </a:cubicBezTo>
                <a:close/>
                <a:moveTo>
                  <a:pt x="237928" y="30956"/>
                </a:moveTo>
                <a:cubicBezTo>
                  <a:pt x="236700" y="30956"/>
                  <a:pt x="235779" y="31569"/>
                  <a:pt x="235165" y="32182"/>
                </a:cubicBezTo>
                <a:cubicBezTo>
                  <a:pt x="234244" y="32795"/>
                  <a:pt x="233937" y="34021"/>
                  <a:pt x="233937" y="34941"/>
                </a:cubicBezTo>
                <a:cubicBezTo>
                  <a:pt x="233937" y="41377"/>
                  <a:pt x="233937" y="41377"/>
                  <a:pt x="233937" y="41377"/>
                </a:cubicBezTo>
                <a:cubicBezTo>
                  <a:pt x="233937" y="41990"/>
                  <a:pt x="233937" y="41990"/>
                  <a:pt x="233937" y="41990"/>
                </a:cubicBezTo>
                <a:cubicBezTo>
                  <a:pt x="233937" y="42296"/>
                  <a:pt x="233937" y="42296"/>
                  <a:pt x="233937" y="42296"/>
                </a:cubicBezTo>
                <a:cubicBezTo>
                  <a:pt x="233937" y="48733"/>
                  <a:pt x="233937" y="48733"/>
                  <a:pt x="233937" y="48733"/>
                </a:cubicBezTo>
                <a:cubicBezTo>
                  <a:pt x="233937" y="49959"/>
                  <a:pt x="234244" y="50878"/>
                  <a:pt x="235165" y="51491"/>
                </a:cubicBezTo>
                <a:cubicBezTo>
                  <a:pt x="235779" y="52411"/>
                  <a:pt x="236700" y="52717"/>
                  <a:pt x="237928" y="52717"/>
                </a:cubicBezTo>
                <a:cubicBezTo>
                  <a:pt x="238235" y="52717"/>
                  <a:pt x="238235" y="52717"/>
                  <a:pt x="238235" y="52717"/>
                </a:cubicBezTo>
                <a:cubicBezTo>
                  <a:pt x="239156" y="52717"/>
                  <a:pt x="240384" y="52411"/>
                  <a:pt x="240998" y="51491"/>
                </a:cubicBezTo>
                <a:cubicBezTo>
                  <a:pt x="241611" y="50878"/>
                  <a:pt x="242225" y="49959"/>
                  <a:pt x="242225" y="48733"/>
                </a:cubicBezTo>
                <a:cubicBezTo>
                  <a:pt x="242225" y="42296"/>
                  <a:pt x="242225" y="42296"/>
                  <a:pt x="242225" y="42296"/>
                </a:cubicBezTo>
                <a:cubicBezTo>
                  <a:pt x="242225" y="41990"/>
                  <a:pt x="242225" y="41990"/>
                  <a:pt x="242225" y="41990"/>
                </a:cubicBezTo>
                <a:cubicBezTo>
                  <a:pt x="242225" y="41377"/>
                  <a:pt x="242225" y="41377"/>
                  <a:pt x="242225" y="41377"/>
                </a:cubicBezTo>
                <a:cubicBezTo>
                  <a:pt x="242225" y="34941"/>
                  <a:pt x="242225" y="34941"/>
                  <a:pt x="242225" y="34941"/>
                </a:cubicBezTo>
                <a:cubicBezTo>
                  <a:pt x="242225" y="34021"/>
                  <a:pt x="241611" y="32795"/>
                  <a:pt x="240998" y="32182"/>
                </a:cubicBezTo>
                <a:cubicBezTo>
                  <a:pt x="240384" y="31569"/>
                  <a:pt x="239156" y="30956"/>
                  <a:pt x="238235" y="30956"/>
                </a:cubicBezTo>
                <a:cubicBezTo>
                  <a:pt x="237928" y="30956"/>
                  <a:pt x="237928" y="30956"/>
                  <a:pt x="237928" y="30956"/>
                </a:cubicBezTo>
                <a:close/>
                <a:moveTo>
                  <a:pt x="224420" y="30956"/>
                </a:moveTo>
                <a:cubicBezTo>
                  <a:pt x="223499" y="30956"/>
                  <a:pt x="222578" y="31569"/>
                  <a:pt x="221657" y="32182"/>
                </a:cubicBezTo>
                <a:cubicBezTo>
                  <a:pt x="221043" y="32795"/>
                  <a:pt x="220736" y="33715"/>
                  <a:pt x="220736" y="34941"/>
                </a:cubicBezTo>
                <a:cubicBezTo>
                  <a:pt x="220736" y="41377"/>
                  <a:pt x="220736" y="41377"/>
                  <a:pt x="220736" y="41377"/>
                </a:cubicBezTo>
                <a:cubicBezTo>
                  <a:pt x="220736" y="41990"/>
                  <a:pt x="220736" y="41990"/>
                  <a:pt x="220736" y="41990"/>
                </a:cubicBezTo>
                <a:cubicBezTo>
                  <a:pt x="220736" y="42296"/>
                  <a:pt x="220736" y="42296"/>
                  <a:pt x="220736" y="42296"/>
                </a:cubicBezTo>
                <a:cubicBezTo>
                  <a:pt x="220736" y="48733"/>
                  <a:pt x="220736" y="48733"/>
                  <a:pt x="220736" y="48733"/>
                </a:cubicBezTo>
                <a:cubicBezTo>
                  <a:pt x="220736" y="49959"/>
                  <a:pt x="221043" y="50878"/>
                  <a:pt x="221657" y="51491"/>
                </a:cubicBezTo>
                <a:cubicBezTo>
                  <a:pt x="222578" y="52104"/>
                  <a:pt x="223499" y="52717"/>
                  <a:pt x="224420" y="52717"/>
                </a:cubicBezTo>
                <a:cubicBezTo>
                  <a:pt x="225034" y="52717"/>
                  <a:pt x="225034" y="52717"/>
                  <a:pt x="225034" y="52717"/>
                </a:cubicBezTo>
                <a:cubicBezTo>
                  <a:pt x="225955" y="52717"/>
                  <a:pt x="226876" y="52104"/>
                  <a:pt x="227797" y="51491"/>
                </a:cubicBezTo>
                <a:cubicBezTo>
                  <a:pt x="228411" y="50878"/>
                  <a:pt x="228718" y="49959"/>
                  <a:pt x="228718" y="48733"/>
                </a:cubicBezTo>
                <a:cubicBezTo>
                  <a:pt x="228718" y="42296"/>
                  <a:pt x="228718" y="42296"/>
                  <a:pt x="228718" y="42296"/>
                </a:cubicBezTo>
                <a:cubicBezTo>
                  <a:pt x="228718" y="41990"/>
                  <a:pt x="228718" y="41990"/>
                  <a:pt x="228718" y="41990"/>
                </a:cubicBezTo>
                <a:cubicBezTo>
                  <a:pt x="228718" y="41377"/>
                  <a:pt x="228718" y="41377"/>
                  <a:pt x="228718" y="41377"/>
                </a:cubicBezTo>
                <a:cubicBezTo>
                  <a:pt x="228718" y="34941"/>
                  <a:pt x="228718" y="34941"/>
                  <a:pt x="228718" y="34941"/>
                </a:cubicBezTo>
                <a:cubicBezTo>
                  <a:pt x="228718" y="33715"/>
                  <a:pt x="228411" y="32795"/>
                  <a:pt x="227797" y="32182"/>
                </a:cubicBezTo>
                <a:cubicBezTo>
                  <a:pt x="226876" y="31569"/>
                  <a:pt x="225955" y="30956"/>
                  <a:pt x="225034" y="30956"/>
                </a:cubicBezTo>
                <a:cubicBezTo>
                  <a:pt x="224420" y="30956"/>
                  <a:pt x="224420" y="30956"/>
                  <a:pt x="224420" y="30956"/>
                </a:cubicBezTo>
                <a:close/>
                <a:moveTo>
                  <a:pt x="220429" y="27278"/>
                </a:moveTo>
                <a:cubicBezTo>
                  <a:pt x="219815" y="27278"/>
                  <a:pt x="219508" y="27585"/>
                  <a:pt x="219508" y="28198"/>
                </a:cubicBezTo>
                <a:cubicBezTo>
                  <a:pt x="219508" y="28504"/>
                  <a:pt x="219815" y="28811"/>
                  <a:pt x="220429" y="28811"/>
                </a:cubicBezTo>
                <a:cubicBezTo>
                  <a:pt x="282748" y="28811"/>
                  <a:pt x="282748" y="28811"/>
                  <a:pt x="282748" y="28811"/>
                </a:cubicBezTo>
                <a:cubicBezTo>
                  <a:pt x="283362" y="28811"/>
                  <a:pt x="283669" y="28504"/>
                  <a:pt x="283669" y="28198"/>
                </a:cubicBezTo>
                <a:cubicBezTo>
                  <a:pt x="283669" y="27585"/>
                  <a:pt x="283362" y="27278"/>
                  <a:pt x="282748" y="27278"/>
                </a:cubicBezTo>
                <a:cubicBezTo>
                  <a:pt x="220429" y="27278"/>
                  <a:pt x="220429" y="27278"/>
                  <a:pt x="220429" y="27278"/>
                </a:cubicBezTo>
                <a:close/>
                <a:moveTo>
                  <a:pt x="148931" y="22462"/>
                </a:moveTo>
                <a:cubicBezTo>
                  <a:pt x="148931" y="22462"/>
                  <a:pt x="148931" y="22462"/>
                  <a:pt x="188501" y="22462"/>
                </a:cubicBezTo>
                <a:cubicBezTo>
                  <a:pt x="188501" y="22462"/>
                  <a:pt x="188501" y="22462"/>
                  <a:pt x="201997" y="38379"/>
                </a:cubicBezTo>
                <a:cubicBezTo>
                  <a:pt x="201997" y="38379"/>
                  <a:pt x="201997" y="38379"/>
                  <a:pt x="201997" y="63172"/>
                </a:cubicBezTo>
                <a:cubicBezTo>
                  <a:pt x="201997" y="63172"/>
                  <a:pt x="201997" y="63172"/>
                  <a:pt x="188194" y="79088"/>
                </a:cubicBezTo>
                <a:cubicBezTo>
                  <a:pt x="188194" y="79088"/>
                  <a:pt x="188194" y="79088"/>
                  <a:pt x="148624" y="79088"/>
                </a:cubicBezTo>
                <a:cubicBezTo>
                  <a:pt x="148624" y="79088"/>
                  <a:pt x="148624" y="79088"/>
                  <a:pt x="135128" y="62866"/>
                </a:cubicBezTo>
                <a:cubicBezTo>
                  <a:pt x="135128" y="62866"/>
                  <a:pt x="135128" y="62866"/>
                  <a:pt x="135128" y="38073"/>
                </a:cubicBezTo>
                <a:cubicBezTo>
                  <a:pt x="135128" y="38073"/>
                  <a:pt x="135128" y="38073"/>
                  <a:pt x="148931" y="22462"/>
                </a:cubicBezTo>
                <a:close/>
                <a:moveTo>
                  <a:pt x="148318" y="20932"/>
                </a:moveTo>
                <a:cubicBezTo>
                  <a:pt x="133594" y="37767"/>
                  <a:pt x="133594" y="37767"/>
                  <a:pt x="133594" y="37767"/>
                </a:cubicBezTo>
                <a:cubicBezTo>
                  <a:pt x="133594" y="63478"/>
                  <a:pt x="133594" y="63478"/>
                  <a:pt x="133594" y="63478"/>
                </a:cubicBezTo>
                <a:cubicBezTo>
                  <a:pt x="148011" y="80313"/>
                  <a:pt x="148011" y="80313"/>
                  <a:pt x="148011" y="80313"/>
                </a:cubicBezTo>
                <a:cubicBezTo>
                  <a:pt x="188807" y="80313"/>
                  <a:pt x="188807" y="80313"/>
                  <a:pt x="188807" y="80313"/>
                </a:cubicBezTo>
                <a:cubicBezTo>
                  <a:pt x="203531" y="63478"/>
                  <a:pt x="203531" y="63478"/>
                  <a:pt x="203531" y="63478"/>
                </a:cubicBezTo>
                <a:cubicBezTo>
                  <a:pt x="203531" y="37767"/>
                  <a:pt x="203531" y="37767"/>
                  <a:pt x="203531" y="37767"/>
                </a:cubicBezTo>
                <a:cubicBezTo>
                  <a:pt x="189114" y="20932"/>
                  <a:pt x="189114" y="20932"/>
                  <a:pt x="189114" y="20932"/>
                </a:cubicBezTo>
                <a:lnTo>
                  <a:pt x="188807" y="20932"/>
                </a:lnTo>
                <a:cubicBezTo>
                  <a:pt x="148318" y="20932"/>
                  <a:pt x="148318" y="20932"/>
                  <a:pt x="148318" y="20932"/>
                </a:cubicBezTo>
                <a:close/>
                <a:moveTo>
                  <a:pt x="274767" y="14712"/>
                </a:moveTo>
                <a:cubicBezTo>
                  <a:pt x="274767" y="14712"/>
                  <a:pt x="274767" y="14712"/>
                  <a:pt x="281214" y="14712"/>
                </a:cubicBezTo>
                <a:cubicBezTo>
                  <a:pt x="281214" y="14712"/>
                  <a:pt x="281214" y="14712"/>
                  <a:pt x="281214" y="21148"/>
                </a:cubicBezTo>
                <a:cubicBezTo>
                  <a:pt x="281214" y="22068"/>
                  <a:pt x="280907" y="22681"/>
                  <a:pt x="280293" y="23294"/>
                </a:cubicBezTo>
                <a:cubicBezTo>
                  <a:pt x="279986" y="23907"/>
                  <a:pt x="279065" y="24213"/>
                  <a:pt x="278144" y="24213"/>
                </a:cubicBezTo>
                <a:cubicBezTo>
                  <a:pt x="278144" y="24213"/>
                  <a:pt x="278144" y="24213"/>
                  <a:pt x="277837" y="24213"/>
                </a:cubicBezTo>
                <a:cubicBezTo>
                  <a:pt x="276916" y="24213"/>
                  <a:pt x="276302" y="23907"/>
                  <a:pt x="275688" y="23294"/>
                </a:cubicBezTo>
                <a:cubicBezTo>
                  <a:pt x="275074" y="22681"/>
                  <a:pt x="274767" y="22068"/>
                  <a:pt x="274767" y="21148"/>
                </a:cubicBezTo>
                <a:cubicBezTo>
                  <a:pt x="274767" y="21148"/>
                  <a:pt x="274767" y="21148"/>
                  <a:pt x="274767" y="14712"/>
                </a:cubicBezTo>
                <a:close/>
                <a:moveTo>
                  <a:pt x="261259" y="14712"/>
                </a:moveTo>
                <a:cubicBezTo>
                  <a:pt x="261259" y="14712"/>
                  <a:pt x="261259" y="14712"/>
                  <a:pt x="268013" y="14712"/>
                </a:cubicBezTo>
                <a:cubicBezTo>
                  <a:pt x="268013" y="14712"/>
                  <a:pt x="268013" y="14712"/>
                  <a:pt x="268013" y="21148"/>
                </a:cubicBezTo>
                <a:cubicBezTo>
                  <a:pt x="268013" y="22068"/>
                  <a:pt x="267706" y="22681"/>
                  <a:pt x="267092" y="23294"/>
                </a:cubicBezTo>
                <a:cubicBezTo>
                  <a:pt x="266478" y="23907"/>
                  <a:pt x="265864" y="24213"/>
                  <a:pt x="264943" y="24213"/>
                </a:cubicBezTo>
                <a:cubicBezTo>
                  <a:pt x="264943" y="24213"/>
                  <a:pt x="264943" y="24213"/>
                  <a:pt x="264636" y="24213"/>
                </a:cubicBezTo>
                <a:cubicBezTo>
                  <a:pt x="263715" y="24213"/>
                  <a:pt x="262794" y="23907"/>
                  <a:pt x="262180" y="23294"/>
                </a:cubicBezTo>
                <a:cubicBezTo>
                  <a:pt x="261873" y="22681"/>
                  <a:pt x="261259" y="22068"/>
                  <a:pt x="261259" y="21148"/>
                </a:cubicBezTo>
                <a:cubicBezTo>
                  <a:pt x="261259" y="21148"/>
                  <a:pt x="261259" y="21148"/>
                  <a:pt x="261259" y="14712"/>
                </a:cubicBezTo>
                <a:close/>
                <a:moveTo>
                  <a:pt x="248058" y="14712"/>
                </a:moveTo>
                <a:cubicBezTo>
                  <a:pt x="248058" y="14712"/>
                  <a:pt x="248058" y="14712"/>
                  <a:pt x="254505" y="14712"/>
                </a:cubicBezTo>
                <a:cubicBezTo>
                  <a:pt x="254505" y="14712"/>
                  <a:pt x="254505" y="14712"/>
                  <a:pt x="254505" y="21148"/>
                </a:cubicBezTo>
                <a:cubicBezTo>
                  <a:pt x="254505" y="22068"/>
                  <a:pt x="254198" y="22681"/>
                  <a:pt x="253584" y="23294"/>
                </a:cubicBezTo>
                <a:cubicBezTo>
                  <a:pt x="253277" y="23907"/>
                  <a:pt x="252356" y="24213"/>
                  <a:pt x="251435" y="24213"/>
                </a:cubicBezTo>
                <a:cubicBezTo>
                  <a:pt x="251435" y="24213"/>
                  <a:pt x="251435" y="24213"/>
                  <a:pt x="251128" y="24213"/>
                </a:cubicBezTo>
                <a:cubicBezTo>
                  <a:pt x="250207" y="24213"/>
                  <a:pt x="249593" y="23907"/>
                  <a:pt x="248979" y="23294"/>
                </a:cubicBezTo>
                <a:cubicBezTo>
                  <a:pt x="248365" y="22681"/>
                  <a:pt x="248058" y="22068"/>
                  <a:pt x="248058" y="21148"/>
                </a:cubicBezTo>
                <a:cubicBezTo>
                  <a:pt x="248058" y="21148"/>
                  <a:pt x="248058" y="21148"/>
                  <a:pt x="248058" y="14712"/>
                </a:cubicBezTo>
                <a:close/>
                <a:moveTo>
                  <a:pt x="234858" y="14712"/>
                </a:moveTo>
                <a:cubicBezTo>
                  <a:pt x="234858" y="14712"/>
                  <a:pt x="234858" y="14712"/>
                  <a:pt x="241305" y="14712"/>
                </a:cubicBezTo>
                <a:cubicBezTo>
                  <a:pt x="241305" y="14712"/>
                  <a:pt x="241305" y="14712"/>
                  <a:pt x="241305" y="21148"/>
                </a:cubicBezTo>
                <a:cubicBezTo>
                  <a:pt x="241305" y="22068"/>
                  <a:pt x="240998" y="22987"/>
                  <a:pt x="240384" y="23294"/>
                </a:cubicBezTo>
                <a:cubicBezTo>
                  <a:pt x="239770" y="23907"/>
                  <a:pt x="239156" y="24213"/>
                  <a:pt x="238235" y="24213"/>
                </a:cubicBezTo>
                <a:cubicBezTo>
                  <a:pt x="238235" y="24213"/>
                  <a:pt x="238235" y="24213"/>
                  <a:pt x="237928" y="24213"/>
                </a:cubicBezTo>
                <a:cubicBezTo>
                  <a:pt x="237007" y="24213"/>
                  <a:pt x="236086" y="23907"/>
                  <a:pt x="235779" y="23294"/>
                </a:cubicBezTo>
                <a:cubicBezTo>
                  <a:pt x="235165" y="22987"/>
                  <a:pt x="234858" y="22068"/>
                  <a:pt x="234858" y="21148"/>
                </a:cubicBezTo>
                <a:cubicBezTo>
                  <a:pt x="234858" y="21148"/>
                  <a:pt x="234858" y="21148"/>
                  <a:pt x="234858" y="14712"/>
                </a:cubicBezTo>
                <a:close/>
                <a:moveTo>
                  <a:pt x="221350" y="14712"/>
                </a:moveTo>
                <a:cubicBezTo>
                  <a:pt x="221350" y="14712"/>
                  <a:pt x="221350" y="14712"/>
                  <a:pt x="228104" y="14712"/>
                </a:cubicBezTo>
                <a:cubicBezTo>
                  <a:pt x="228104" y="14712"/>
                  <a:pt x="228104" y="14712"/>
                  <a:pt x="228104" y="21148"/>
                </a:cubicBezTo>
                <a:cubicBezTo>
                  <a:pt x="228104" y="22068"/>
                  <a:pt x="227490" y="22681"/>
                  <a:pt x="227183" y="23294"/>
                </a:cubicBezTo>
                <a:cubicBezTo>
                  <a:pt x="226569" y="23907"/>
                  <a:pt x="225648" y="24213"/>
                  <a:pt x="225034" y="24213"/>
                </a:cubicBezTo>
                <a:cubicBezTo>
                  <a:pt x="225034" y="24213"/>
                  <a:pt x="225034" y="24213"/>
                  <a:pt x="224420" y="24213"/>
                </a:cubicBezTo>
                <a:cubicBezTo>
                  <a:pt x="223806" y="24213"/>
                  <a:pt x="222885" y="23907"/>
                  <a:pt x="222271" y="23294"/>
                </a:cubicBezTo>
                <a:cubicBezTo>
                  <a:pt x="221657" y="22681"/>
                  <a:pt x="221350" y="22068"/>
                  <a:pt x="221350" y="21148"/>
                </a:cubicBezTo>
                <a:cubicBezTo>
                  <a:pt x="221350" y="21148"/>
                  <a:pt x="221350" y="21148"/>
                  <a:pt x="221350" y="14712"/>
                </a:cubicBezTo>
                <a:close/>
                <a:moveTo>
                  <a:pt x="159590" y="5899"/>
                </a:moveTo>
                <a:cubicBezTo>
                  <a:pt x="158362" y="5899"/>
                  <a:pt x="157442" y="6510"/>
                  <a:pt x="156521" y="7121"/>
                </a:cubicBezTo>
                <a:cubicBezTo>
                  <a:pt x="155601" y="8037"/>
                  <a:pt x="155294" y="9564"/>
                  <a:pt x="155294" y="10785"/>
                </a:cubicBezTo>
                <a:lnTo>
                  <a:pt x="155294" y="17565"/>
                </a:lnTo>
                <a:lnTo>
                  <a:pt x="163671" y="17565"/>
                </a:lnTo>
                <a:lnTo>
                  <a:pt x="163249" y="16925"/>
                </a:lnTo>
                <a:cubicBezTo>
                  <a:pt x="163249" y="15991"/>
                  <a:pt x="163249" y="15991"/>
                  <a:pt x="163249" y="15991"/>
                </a:cubicBezTo>
                <a:cubicBezTo>
                  <a:pt x="163249" y="15367"/>
                  <a:pt x="163557" y="15056"/>
                  <a:pt x="163865" y="15056"/>
                </a:cubicBezTo>
                <a:cubicBezTo>
                  <a:pt x="172805" y="15056"/>
                  <a:pt x="172805" y="15056"/>
                  <a:pt x="172805" y="15056"/>
                </a:cubicBezTo>
                <a:cubicBezTo>
                  <a:pt x="173421" y="15056"/>
                  <a:pt x="173729" y="15367"/>
                  <a:pt x="173729" y="15991"/>
                </a:cubicBezTo>
                <a:cubicBezTo>
                  <a:pt x="173729" y="16925"/>
                  <a:pt x="173729" y="16925"/>
                  <a:pt x="173729" y="16925"/>
                </a:cubicBezTo>
                <a:lnTo>
                  <a:pt x="173097" y="17565"/>
                </a:lnTo>
                <a:lnTo>
                  <a:pt x="181684" y="17565"/>
                </a:lnTo>
                <a:lnTo>
                  <a:pt x="181684" y="12389"/>
                </a:lnTo>
                <a:cubicBezTo>
                  <a:pt x="181684" y="11396"/>
                  <a:pt x="181684" y="11396"/>
                  <a:pt x="181684" y="11396"/>
                </a:cubicBezTo>
                <a:cubicBezTo>
                  <a:pt x="181684" y="9869"/>
                  <a:pt x="181070" y="8342"/>
                  <a:pt x="180150" y="7426"/>
                </a:cubicBezTo>
                <a:cubicBezTo>
                  <a:pt x="179536" y="6510"/>
                  <a:pt x="178309" y="5899"/>
                  <a:pt x="176774" y="5899"/>
                </a:cubicBezTo>
                <a:cubicBezTo>
                  <a:pt x="159590" y="5899"/>
                  <a:pt x="159590" y="5899"/>
                  <a:pt x="159590" y="5899"/>
                </a:cubicBezTo>
                <a:close/>
                <a:moveTo>
                  <a:pt x="277837" y="3371"/>
                </a:moveTo>
                <a:cubicBezTo>
                  <a:pt x="276609" y="3371"/>
                  <a:pt x="275688" y="3984"/>
                  <a:pt x="275074" y="4597"/>
                </a:cubicBezTo>
                <a:cubicBezTo>
                  <a:pt x="274460" y="5210"/>
                  <a:pt x="273846" y="6130"/>
                  <a:pt x="273846" y="7356"/>
                </a:cubicBezTo>
                <a:cubicBezTo>
                  <a:pt x="273846" y="13792"/>
                  <a:pt x="273846" y="13792"/>
                  <a:pt x="273846" y="13792"/>
                </a:cubicBezTo>
                <a:cubicBezTo>
                  <a:pt x="273846" y="14405"/>
                  <a:pt x="273846" y="14405"/>
                  <a:pt x="273846" y="14405"/>
                </a:cubicBezTo>
                <a:cubicBezTo>
                  <a:pt x="273846" y="14712"/>
                  <a:pt x="273846" y="14712"/>
                  <a:pt x="273846" y="14712"/>
                </a:cubicBezTo>
                <a:cubicBezTo>
                  <a:pt x="273846" y="21148"/>
                  <a:pt x="273846" y="21148"/>
                  <a:pt x="273846" y="21148"/>
                </a:cubicBezTo>
                <a:cubicBezTo>
                  <a:pt x="273846" y="22374"/>
                  <a:pt x="274460" y="23294"/>
                  <a:pt x="275074" y="23907"/>
                </a:cubicBezTo>
                <a:cubicBezTo>
                  <a:pt x="275688" y="24520"/>
                  <a:pt x="276609" y="25133"/>
                  <a:pt x="277837" y="25133"/>
                </a:cubicBezTo>
                <a:cubicBezTo>
                  <a:pt x="278144" y="25133"/>
                  <a:pt x="278144" y="25133"/>
                  <a:pt x="278144" y="25133"/>
                </a:cubicBezTo>
                <a:cubicBezTo>
                  <a:pt x="279372" y="25133"/>
                  <a:pt x="280293" y="24520"/>
                  <a:pt x="280907" y="23907"/>
                </a:cubicBezTo>
                <a:cubicBezTo>
                  <a:pt x="281827" y="23294"/>
                  <a:pt x="282134" y="22374"/>
                  <a:pt x="282134" y="21148"/>
                </a:cubicBezTo>
                <a:cubicBezTo>
                  <a:pt x="282134" y="14712"/>
                  <a:pt x="282134" y="14712"/>
                  <a:pt x="282134" y="14712"/>
                </a:cubicBezTo>
                <a:cubicBezTo>
                  <a:pt x="282134" y="14405"/>
                  <a:pt x="282134" y="14405"/>
                  <a:pt x="282134" y="14405"/>
                </a:cubicBezTo>
                <a:cubicBezTo>
                  <a:pt x="282134" y="13792"/>
                  <a:pt x="282134" y="13792"/>
                  <a:pt x="282134" y="13792"/>
                </a:cubicBezTo>
                <a:cubicBezTo>
                  <a:pt x="282134" y="7356"/>
                  <a:pt x="282134" y="7356"/>
                  <a:pt x="282134" y="7356"/>
                </a:cubicBezTo>
                <a:cubicBezTo>
                  <a:pt x="282134" y="6130"/>
                  <a:pt x="281827" y="5210"/>
                  <a:pt x="280907" y="4597"/>
                </a:cubicBezTo>
                <a:cubicBezTo>
                  <a:pt x="280293" y="3984"/>
                  <a:pt x="279372" y="3371"/>
                  <a:pt x="278144" y="3371"/>
                </a:cubicBezTo>
                <a:cubicBezTo>
                  <a:pt x="277837" y="3371"/>
                  <a:pt x="277837" y="3371"/>
                  <a:pt x="277837" y="3371"/>
                </a:cubicBezTo>
                <a:close/>
                <a:moveTo>
                  <a:pt x="264636" y="3371"/>
                </a:moveTo>
                <a:cubicBezTo>
                  <a:pt x="263408" y="3371"/>
                  <a:pt x="262487" y="3984"/>
                  <a:pt x="261566" y="4597"/>
                </a:cubicBezTo>
                <a:cubicBezTo>
                  <a:pt x="260952" y="5210"/>
                  <a:pt x="260645" y="6130"/>
                  <a:pt x="260645" y="7356"/>
                </a:cubicBezTo>
                <a:cubicBezTo>
                  <a:pt x="260645" y="13792"/>
                  <a:pt x="260645" y="13792"/>
                  <a:pt x="260645" y="13792"/>
                </a:cubicBezTo>
                <a:cubicBezTo>
                  <a:pt x="260645" y="14405"/>
                  <a:pt x="260645" y="14405"/>
                  <a:pt x="260645" y="14405"/>
                </a:cubicBezTo>
                <a:cubicBezTo>
                  <a:pt x="260645" y="14712"/>
                  <a:pt x="260645" y="14712"/>
                  <a:pt x="260645" y="14712"/>
                </a:cubicBezTo>
                <a:cubicBezTo>
                  <a:pt x="260645" y="21148"/>
                  <a:pt x="260645" y="21148"/>
                  <a:pt x="260645" y="21148"/>
                </a:cubicBezTo>
                <a:cubicBezTo>
                  <a:pt x="260645" y="22374"/>
                  <a:pt x="260952" y="23294"/>
                  <a:pt x="261566" y="23907"/>
                </a:cubicBezTo>
                <a:cubicBezTo>
                  <a:pt x="262487" y="24520"/>
                  <a:pt x="263408" y="25133"/>
                  <a:pt x="264636" y="25133"/>
                </a:cubicBezTo>
                <a:cubicBezTo>
                  <a:pt x="264943" y="25133"/>
                  <a:pt x="264943" y="25133"/>
                  <a:pt x="264943" y="25133"/>
                </a:cubicBezTo>
                <a:cubicBezTo>
                  <a:pt x="265864" y="25133"/>
                  <a:pt x="266785" y="24520"/>
                  <a:pt x="267706" y="23907"/>
                </a:cubicBezTo>
                <a:cubicBezTo>
                  <a:pt x="268320" y="23294"/>
                  <a:pt x="268934" y="22374"/>
                  <a:pt x="268934" y="21148"/>
                </a:cubicBezTo>
                <a:cubicBezTo>
                  <a:pt x="268934" y="14712"/>
                  <a:pt x="268934" y="14712"/>
                  <a:pt x="268934" y="14712"/>
                </a:cubicBezTo>
                <a:cubicBezTo>
                  <a:pt x="268934" y="14405"/>
                  <a:pt x="268934" y="14405"/>
                  <a:pt x="268934" y="14405"/>
                </a:cubicBezTo>
                <a:cubicBezTo>
                  <a:pt x="268934" y="13792"/>
                  <a:pt x="268934" y="13792"/>
                  <a:pt x="268934" y="13792"/>
                </a:cubicBezTo>
                <a:cubicBezTo>
                  <a:pt x="268934" y="7356"/>
                  <a:pt x="268934" y="7356"/>
                  <a:pt x="268934" y="7356"/>
                </a:cubicBezTo>
                <a:cubicBezTo>
                  <a:pt x="268934" y="6130"/>
                  <a:pt x="268320" y="5210"/>
                  <a:pt x="267706" y="4597"/>
                </a:cubicBezTo>
                <a:cubicBezTo>
                  <a:pt x="266785" y="3984"/>
                  <a:pt x="265864" y="3371"/>
                  <a:pt x="264943" y="3371"/>
                </a:cubicBezTo>
                <a:cubicBezTo>
                  <a:pt x="264636" y="3371"/>
                  <a:pt x="264636" y="3371"/>
                  <a:pt x="264636" y="3371"/>
                </a:cubicBezTo>
                <a:close/>
                <a:moveTo>
                  <a:pt x="251128" y="3371"/>
                </a:moveTo>
                <a:cubicBezTo>
                  <a:pt x="249900" y="3371"/>
                  <a:pt x="248979" y="3984"/>
                  <a:pt x="248365" y="4597"/>
                </a:cubicBezTo>
                <a:cubicBezTo>
                  <a:pt x="247751" y="5210"/>
                  <a:pt x="247137" y="6130"/>
                  <a:pt x="247137" y="7356"/>
                </a:cubicBezTo>
                <a:cubicBezTo>
                  <a:pt x="247137" y="13792"/>
                  <a:pt x="247137" y="13792"/>
                  <a:pt x="247137" y="13792"/>
                </a:cubicBezTo>
                <a:cubicBezTo>
                  <a:pt x="247137" y="14405"/>
                  <a:pt x="247137" y="14405"/>
                  <a:pt x="247137" y="14405"/>
                </a:cubicBezTo>
                <a:cubicBezTo>
                  <a:pt x="247137" y="14712"/>
                  <a:pt x="247137" y="14712"/>
                  <a:pt x="247137" y="14712"/>
                </a:cubicBezTo>
                <a:cubicBezTo>
                  <a:pt x="247137" y="21148"/>
                  <a:pt x="247137" y="21148"/>
                  <a:pt x="247137" y="21148"/>
                </a:cubicBezTo>
                <a:cubicBezTo>
                  <a:pt x="247137" y="22374"/>
                  <a:pt x="247751" y="23294"/>
                  <a:pt x="248365" y="23907"/>
                </a:cubicBezTo>
                <a:cubicBezTo>
                  <a:pt x="248979" y="24520"/>
                  <a:pt x="249900" y="25133"/>
                  <a:pt x="251128" y="25133"/>
                </a:cubicBezTo>
                <a:cubicBezTo>
                  <a:pt x="251435" y="25133"/>
                  <a:pt x="251435" y="25133"/>
                  <a:pt x="251435" y="25133"/>
                </a:cubicBezTo>
                <a:cubicBezTo>
                  <a:pt x="252663" y="25133"/>
                  <a:pt x="253584" y="24520"/>
                  <a:pt x="254198" y="23907"/>
                </a:cubicBezTo>
                <a:cubicBezTo>
                  <a:pt x="255119" y="23294"/>
                  <a:pt x="255426" y="22374"/>
                  <a:pt x="255426" y="21148"/>
                </a:cubicBezTo>
                <a:cubicBezTo>
                  <a:pt x="255426" y="14712"/>
                  <a:pt x="255426" y="14712"/>
                  <a:pt x="255426" y="14712"/>
                </a:cubicBezTo>
                <a:cubicBezTo>
                  <a:pt x="255426" y="14405"/>
                  <a:pt x="255426" y="14405"/>
                  <a:pt x="255426" y="14405"/>
                </a:cubicBezTo>
                <a:cubicBezTo>
                  <a:pt x="255426" y="13792"/>
                  <a:pt x="255426" y="13792"/>
                  <a:pt x="255426" y="13792"/>
                </a:cubicBezTo>
                <a:cubicBezTo>
                  <a:pt x="255426" y="7356"/>
                  <a:pt x="255426" y="7356"/>
                  <a:pt x="255426" y="7356"/>
                </a:cubicBezTo>
                <a:cubicBezTo>
                  <a:pt x="255426" y="6130"/>
                  <a:pt x="255119" y="5210"/>
                  <a:pt x="254198" y="4597"/>
                </a:cubicBezTo>
                <a:cubicBezTo>
                  <a:pt x="253584" y="3984"/>
                  <a:pt x="252663" y="3371"/>
                  <a:pt x="251435" y="3371"/>
                </a:cubicBezTo>
                <a:cubicBezTo>
                  <a:pt x="251128" y="3371"/>
                  <a:pt x="251128" y="3371"/>
                  <a:pt x="251128" y="3371"/>
                </a:cubicBezTo>
                <a:close/>
                <a:moveTo>
                  <a:pt x="237928" y="3371"/>
                </a:moveTo>
                <a:cubicBezTo>
                  <a:pt x="236700" y="3371"/>
                  <a:pt x="235779" y="3984"/>
                  <a:pt x="235165" y="4597"/>
                </a:cubicBezTo>
                <a:cubicBezTo>
                  <a:pt x="234244" y="5210"/>
                  <a:pt x="233937" y="6436"/>
                  <a:pt x="233937" y="7356"/>
                </a:cubicBezTo>
                <a:cubicBezTo>
                  <a:pt x="233937" y="13792"/>
                  <a:pt x="233937" y="13792"/>
                  <a:pt x="233937" y="13792"/>
                </a:cubicBezTo>
                <a:cubicBezTo>
                  <a:pt x="233937" y="14405"/>
                  <a:pt x="233937" y="14405"/>
                  <a:pt x="233937" y="14405"/>
                </a:cubicBezTo>
                <a:cubicBezTo>
                  <a:pt x="233937" y="14712"/>
                  <a:pt x="233937" y="14712"/>
                  <a:pt x="233937" y="14712"/>
                </a:cubicBezTo>
                <a:cubicBezTo>
                  <a:pt x="233937" y="21148"/>
                  <a:pt x="233937" y="21148"/>
                  <a:pt x="233937" y="21148"/>
                </a:cubicBezTo>
                <a:cubicBezTo>
                  <a:pt x="233937" y="22374"/>
                  <a:pt x="234244" y="23294"/>
                  <a:pt x="235165" y="23907"/>
                </a:cubicBezTo>
                <a:cubicBezTo>
                  <a:pt x="235779" y="24826"/>
                  <a:pt x="236700" y="25133"/>
                  <a:pt x="237928" y="25133"/>
                </a:cubicBezTo>
                <a:cubicBezTo>
                  <a:pt x="238235" y="25133"/>
                  <a:pt x="238235" y="25133"/>
                  <a:pt x="238235" y="25133"/>
                </a:cubicBezTo>
                <a:cubicBezTo>
                  <a:pt x="239156" y="25133"/>
                  <a:pt x="240384" y="24826"/>
                  <a:pt x="240998" y="23907"/>
                </a:cubicBezTo>
                <a:cubicBezTo>
                  <a:pt x="241611" y="23294"/>
                  <a:pt x="242225" y="22374"/>
                  <a:pt x="242225" y="21148"/>
                </a:cubicBezTo>
                <a:cubicBezTo>
                  <a:pt x="242225" y="14712"/>
                  <a:pt x="242225" y="14712"/>
                  <a:pt x="242225" y="14712"/>
                </a:cubicBezTo>
                <a:cubicBezTo>
                  <a:pt x="242225" y="14405"/>
                  <a:pt x="242225" y="14405"/>
                  <a:pt x="242225" y="14405"/>
                </a:cubicBezTo>
                <a:cubicBezTo>
                  <a:pt x="242225" y="13792"/>
                  <a:pt x="242225" y="13792"/>
                  <a:pt x="242225" y="13792"/>
                </a:cubicBezTo>
                <a:cubicBezTo>
                  <a:pt x="242225" y="7356"/>
                  <a:pt x="242225" y="7356"/>
                  <a:pt x="242225" y="7356"/>
                </a:cubicBezTo>
                <a:cubicBezTo>
                  <a:pt x="242225" y="6436"/>
                  <a:pt x="241611" y="5210"/>
                  <a:pt x="240998" y="4597"/>
                </a:cubicBezTo>
                <a:cubicBezTo>
                  <a:pt x="240384" y="3984"/>
                  <a:pt x="239156" y="3371"/>
                  <a:pt x="238235" y="3371"/>
                </a:cubicBezTo>
                <a:cubicBezTo>
                  <a:pt x="237928" y="3371"/>
                  <a:pt x="237928" y="3371"/>
                  <a:pt x="237928" y="3371"/>
                </a:cubicBezTo>
                <a:close/>
                <a:moveTo>
                  <a:pt x="224420" y="3371"/>
                </a:moveTo>
                <a:cubicBezTo>
                  <a:pt x="223499" y="3371"/>
                  <a:pt x="222578" y="3984"/>
                  <a:pt x="221657" y="4597"/>
                </a:cubicBezTo>
                <a:cubicBezTo>
                  <a:pt x="221043" y="5210"/>
                  <a:pt x="220736" y="6130"/>
                  <a:pt x="220736" y="7356"/>
                </a:cubicBezTo>
                <a:cubicBezTo>
                  <a:pt x="220736" y="13792"/>
                  <a:pt x="220736" y="13792"/>
                  <a:pt x="220736" y="13792"/>
                </a:cubicBezTo>
                <a:cubicBezTo>
                  <a:pt x="220736" y="14405"/>
                  <a:pt x="220736" y="14405"/>
                  <a:pt x="220736" y="14405"/>
                </a:cubicBezTo>
                <a:cubicBezTo>
                  <a:pt x="220736" y="14712"/>
                  <a:pt x="220736" y="14712"/>
                  <a:pt x="220736" y="14712"/>
                </a:cubicBezTo>
                <a:cubicBezTo>
                  <a:pt x="220736" y="21148"/>
                  <a:pt x="220736" y="21148"/>
                  <a:pt x="220736" y="21148"/>
                </a:cubicBezTo>
                <a:cubicBezTo>
                  <a:pt x="220736" y="22374"/>
                  <a:pt x="221043" y="23294"/>
                  <a:pt x="221657" y="23907"/>
                </a:cubicBezTo>
                <a:cubicBezTo>
                  <a:pt x="222578" y="24520"/>
                  <a:pt x="223499" y="25133"/>
                  <a:pt x="224420" y="25133"/>
                </a:cubicBezTo>
                <a:cubicBezTo>
                  <a:pt x="225034" y="25133"/>
                  <a:pt x="225034" y="25133"/>
                  <a:pt x="225034" y="25133"/>
                </a:cubicBezTo>
                <a:cubicBezTo>
                  <a:pt x="225955" y="25133"/>
                  <a:pt x="226876" y="24520"/>
                  <a:pt x="227797" y="23907"/>
                </a:cubicBezTo>
                <a:cubicBezTo>
                  <a:pt x="228411" y="23294"/>
                  <a:pt x="228718" y="22374"/>
                  <a:pt x="228718" y="21148"/>
                </a:cubicBezTo>
                <a:cubicBezTo>
                  <a:pt x="228718" y="14712"/>
                  <a:pt x="228718" y="14712"/>
                  <a:pt x="228718" y="14712"/>
                </a:cubicBezTo>
                <a:cubicBezTo>
                  <a:pt x="228718" y="14405"/>
                  <a:pt x="228718" y="14405"/>
                  <a:pt x="228718" y="14405"/>
                </a:cubicBezTo>
                <a:cubicBezTo>
                  <a:pt x="228718" y="13792"/>
                  <a:pt x="228718" y="13792"/>
                  <a:pt x="228718" y="13792"/>
                </a:cubicBezTo>
                <a:cubicBezTo>
                  <a:pt x="228718" y="7356"/>
                  <a:pt x="228718" y="7356"/>
                  <a:pt x="228718" y="7356"/>
                </a:cubicBezTo>
                <a:cubicBezTo>
                  <a:pt x="228718" y="6130"/>
                  <a:pt x="228411" y="5210"/>
                  <a:pt x="227797" y="4597"/>
                </a:cubicBezTo>
                <a:cubicBezTo>
                  <a:pt x="226876" y="3984"/>
                  <a:pt x="225955" y="3371"/>
                  <a:pt x="225034" y="3371"/>
                </a:cubicBezTo>
                <a:cubicBezTo>
                  <a:pt x="224420" y="3371"/>
                  <a:pt x="224420" y="3371"/>
                  <a:pt x="224420" y="3371"/>
                </a:cubicBezTo>
                <a:close/>
                <a:moveTo>
                  <a:pt x="294376" y="1624"/>
                </a:moveTo>
                <a:cubicBezTo>
                  <a:pt x="315815" y="1624"/>
                  <a:pt x="315815" y="1624"/>
                  <a:pt x="315815" y="1624"/>
                </a:cubicBezTo>
                <a:cubicBezTo>
                  <a:pt x="316734" y="1624"/>
                  <a:pt x="317346" y="2236"/>
                  <a:pt x="317346" y="3154"/>
                </a:cubicBezTo>
                <a:cubicBezTo>
                  <a:pt x="317346" y="4071"/>
                  <a:pt x="317346" y="4071"/>
                  <a:pt x="317346" y="4071"/>
                </a:cubicBezTo>
                <a:cubicBezTo>
                  <a:pt x="317346" y="4989"/>
                  <a:pt x="316734" y="5601"/>
                  <a:pt x="315815" y="5601"/>
                </a:cubicBezTo>
                <a:cubicBezTo>
                  <a:pt x="312446" y="5601"/>
                  <a:pt x="312446" y="5601"/>
                  <a:pt x="312446" y="5601"/>
                </a:cubicBezTo>
                <a:cubicBezTo>
                  <a:pt x="312446" y="18451"/>
                  <a:pt x="312446" y="18451"/>
                  <a:pt x="312446" y="18451"/>
                </a:cubicBezTo>
                <a:lnTo>
                  <a:pt x="310998" y="18451"/>
                </a:lnTo>
                <a:lnTo>
                  <a:pt x="310998" y="24925"/>
                </a:lnTo>
                <a:cubicBezTo>
                  <a:pt x="310998" y="26040"/>
                  <a:pt x="310998" y="26040"/>
                  <a:pt x="310998" y="26040"/>
                </a:cubicBezTo>
                <a:cubicBezTo>
                  <a:pt x="310998" y="26962"/>
                  <a:pt x="310384" y="27885"/>
                  <a:pt x="309770" y="28807"/>
                </a:cubicBezTo>
                <a:cubicBezTo>
                  <a:pt x="307005" y="31882"/>
                  <a:pt x="307005" y="31882"/>
                  <a:pt x="307005" y="31882"/>
                </a:cubicBezTo>
                <a:cubicBezTo>
                  <a:pt x="306391" y="32497"/>
                  <a:pt x="306084" y="32805"/>
                  <a:pt x="306084" y="33727"/>
                </a:cubicBezTo>
                <a:cubicBezTo>
                  <a:pt x="306084" y="34650"/>
                  <a:pt x="306391" y="34957"/>
                  <a:pt x="307005" y="35572"/>
                </a:cubicBezTo>
                <a:cubicBezTo>
                  <a:pt x="309770" y="38648"/>
                  <a:pt x="309770" y="38648"/>
                  <a:pt x="309770" y="38648"/>
                </a:cubicBezTo>
                <a:cubicBezTo>
                  <a:pt x="310384" y="39570"/>
                  <a:pt x="310998" y="40493"/>
                  <a:pt x="310998" y="41415"/>
                </a:cubicBezTo>
                <a:lnTo>
                  <a:pt x="310998" y="48709"/>
                </a:lnTo>
                <a:lnTo>
                  <a:pt x="312446" y="48709"/>
                </a:lnTo>
                <a:cubicBezTo>
                  <a:pt x="312446" y="61362"/>
                  <a:pt x="312446" y="61362"/>
                  <a:pt x="312446" y="61362"/>
                </a:cubicBezTo>
                <a:cubicBezTo>
                  <a:pt x="315815" y="61362"/>
                  <a:pt x="315815" y="61362"/>
                  <a:pt x="315815" y="61362"/>
                </a:cubicBezTo>
                <a:cubicBezTo>
                  <a:pt x="316734" y="61362"/>
                  <a:pt x="317346" y="61979"/>
                  <a:pt x="317346" y="62905"/>
                </a:cubicBezTo>
                <a:cubicBezTo>
                  <a:pt x="317346" y="63831"/>
                  <a:pt x="317346" y="63831"/>
                  <a:pt x="317346" y="63831"/>
                </a:cubicBezTo>
                <a:cubicBezTo>
                  <a:pt x="317346" y="64757"/>
                  <a:pt x="316734" y="65683"/>
                  <a:pt x="315815" y="65683"/>
                </a:cubicBezTo>
                <a:cubicBezTo>
                  <a:pt x="294376" y="65683"/>
                  <a:pt x="294376" y="65683"/>
                  <a:pt x="294376" y="65683"/>
                </a:cubicBezTo>
                <a:cubicBezTo>
                  <a:pt x="293457" y="65683"/>
                  <a:pt x="292844" y="64757"/>
                  <a:pt x="292844" y="63831"/>
                </a:cubicBezTo>
                <a:cubicBezTo>
                  <a:pt x="292844" y="62905"/>
                  <a:pt x="292844" y="62905"/>
                  <a:pt x="292844" y="62905"/>
                </a:cubicBezTo>
                <a:cubicBezTo>
                  <a:pt x="292844" y="61979"/>
                  <a:pt x="293457" y="61362"/>
                  <a:pt x="294376" y="61362"/>
                </a:cubicBezTo>
                <a:cubicBezTo>
                  <a:pt x="297745" y="61362"/>
                  <a:pt x="297745" y="61362"/>
                  <a:pt x="297745" y="61362"/>
                </a:cubicBezTo>
                <a:cubicBezTo>
                  <a:pt x="297745" y="48709"/>
                  <a:pt x="297745" y="48709"/>
                  <a:pt x="297745" y="48709"/>
                </a:cubicBezTo>
                <a:lnTo>
                  <a:pt x="299633" y="48709"/>
                </a:lnTo>
                <a:lnTo>
                  <a:pt x="299633" y="42530"/>
                </a:lnTo>
                <a:cubicBezTo>
                  <a:pt x="299633" y="41415"/>
                  <a:pt x="299633" y="41415"/>
                  <a:pt x="299633" y="41415"/>
                </a:cubicBezTo>
                <a:cubicBezTo>
                  <a:pt x="299633" y="40493"/>
                  <a:pt x="299940" y="39570"/>
                  <a:pt x="300555" y="38648"/>
                </a:cubicBezTo>
                <a:cubicBezTo>
                  <a:pt x="303319" y="35572"/>
                  <a:pt x="303319" y="35572"/>
                  <a:pt x="303319" y="35572"/>
                </a:cubicBezTo>
                <a:cubicBezTo>
                  <a:pt x="303934" y="34957"/>
                  <a:pt x="304241" y="34650"/>
                  <a:pt x="304241" y="33727"/>
                </a:cubicBezTo>
                <a:cubicBezTo>
                  <a:pt x="304241" y="32805"/>
                  <a:pt x="303934" y="32497"/>
                  <a:pt x="303319" y="31882"/>
                </a:cubicBezTo>
                <a:cubicBezTo>
                  <a:pt x="300555" y="28807"/>
                  <a:pt x="300555" y="28807"/>
                  <a:pt x="300555" y="28807"/>
                </a:cubicBezTo>
                <a:cubicBezTo>
                  <a:pt x="299940" y="27885"/>
                  <a:pt x="299633" y="26962"/>
                  <a:pt x="299633" y="26040"/>
                </a:cubicBezTo>
                <a:lnTo>
                  <a:pt x="299633" y="18451"/>
                </a:lnTo>
                <a:lnTo>
                  <a:pt x="299582" y="18451"/>
                </a:lnTo>
                <a:cubicBezTo>
                  <a:pt x="297745" y="18451"/>
                  <a:pt x="297745" y="18451"/>
                  <a:pt x="297745" y="18451"/>
                </a:cubicBezTo>
                <a:cubicBezTo>
                  <a:pt x="297745" y="5601"/>
                  <a:pt x="297745" y="5601"/>
                  <a:pt x="297745" y="5601"/>
                </a:cubicBezTo>
                <a:cubicBezTo>
                  <a:pt x="294376" y="5601"/>
                  <a:pt x="294376" y="5601"/>
                  <a:pt x="294376" y="5601"/>
                </a:cubicBezTo>
                <a:cubicBezTo>
                  <a:pt x="293457" y="5601"/>
                  <a:pt x="292844" y="4989"/>
                  <a:pt x="292844" y="4071"/>
                </a:cubicBezTo>
                <a:cubicBezTo>
                  <a:pt x="292844" y="3154"/>
                  <a:pt x="292844" y="3154"/>
                  <a:pt x="292844" y="3154"/>
                </a:cubicBezTo>
                <a:cubicBezTo>
                  <a:pt x="292844" y="2236"/>
                  <a:pt x="293457" y="1624"/>
                  <a:pt x="294376" y="1624"/>
                </a:cubicBezTo>
                <a:close/>
                <a:moveTo>
                  <a:pt x="159590" y="1624"/>
                </a:moveTo>
                <a:cubicBezTo>
                  <a:pt x="176774" y="1624"/>
                  <a:pt x="176774" y="1624"/>
                  <a:pt x="176774" y="1624"/>
                </a:cubicBezTo>
                <a:cubicBezTo>
                  <a:pt x="179536" y="1624"/>
                  <a:pt x="181684" y="2845"/>
                  <a:pt x="183525" y="4372"/>
                </a:cubicBezTo>
                <a:cubicBezTo>
                  <a:pt x="185060" y="6205"/>
                  <a:pt x="185980" y="8648"/>
                  <a:pt x="185980" y="11396"/>
                </a:cubicBezTo>
                <a:lnTo>
                  <a:pt x="185980" y="17565"/>
                </a:lnTo>
                <a:lnTo>
                  <a:pt x="190849" y="17565"/>
                </a:lnTo>
                <a:cubicBezTo>
                  <a:pt x="191568" y="17565"/>
                  <a:pt x="191568" y="17565"/>
                  <a:pt x="191568" y="17565"/>
                </a:cubicBezTo>
                <a:cubicBezTo>
                  <a:pt x="207825" y="36236"/>
                  <a:pt x="207825" y="36236"/>
                  <a:pt x="207825" y="36236"/>
                </a:cubicBezTo>
                <a:cubicBezTo>
                  <a:pt x="207825" y="65315"/>
                  <a:pt x="207825" y="65315"/>
                  <a:pt x="207825" y="65315"/>
                </a:cubicBezTo>
                <a:cubicBezTo>
                  <a:pt x="191568" y="83986"/>
                  <a:pt x="191568" y="83986"/>
                  <a:pt x="191568" y="83986"/>
                </a:cubicBezTo>
                <a:lnTo>
                  <a:pt x="188860" y="83986"/>
                </a:lnTo>
                <a:lnTo>
                  <a:pt x="189079" y="84318"/>
                </a:lnTo>
                <a:cubicBezTo>
                  <a:pt x="189079" y="86163"/>
                  <a:pt x="189079" y="86163"/>
                  <a:pt x="189079" y="86163"/>
                </a:cubicBezTo>
                <a:cubicBezTo>
                  <a:pt x="189079" y="86778"/>
                  <a:pt x="188775" y="87086"/>
                  <a:pt x="188470" y="87086"/>
                </a:cubicBezTo>
                <a:cubicBezTo>
                  <a:pt x="185122" y="87086"/>
                  <a:pt x="185122" y="87086"/>
                  <a:pt x="185122" y="87086"/>
                </a:cubicBezTo>
                <a:cubicBezTo>
                  <a:pt x="184513" y="87086"/>
                  <a:pt x="184208" y="86778"/>
                  <a:pt x="184208" y="86163"/>
                </a:cubicBezTo>
                <a:cubicBezTo>
                  <a:pt x="184208" y="84318"/>
                  <a:pt x="184208" y="84318"/>
                  <a:pt x="184208" y="84318"/>
                </a:cubicBezTo>
                <a:lnTo>
                  <a:pt x="184538" y="83986"/>
                </a:lnTo>
                <a:lnTo>
                  <a:pt x="164968" y="83986"/>
                </a:lnTo>
                <a:lnTo>
                  <a:pt x="152579" y="83986"/>
                </a:lnTo>
                <a:lnTo>
                  <a:pt x="152917" y="84318"/>
                </a:lnTo>
                <a:cubicBezTo>
                  <a:pt x="152917" y="86163"/>
                  <a:pt x="152917" y="86163"/>
                  <a:pt x="152917" y="86163"/>
                </a:cubicBezTo>
                <a:cubicBezTo>
                  <a:pt x="152917" y="86778"/>
                  <a:pt x="152604" y="87086"/>
                  <a:pt x="151979" y="87086"/>
                </a:cubicBezTo>
                <a:cubicBezTo>
                  <a:pt x="148541" y="87086"/>
                  <a:pt x="148541" y="87086"/>
                  <a:pt x="148541" y="87086"/>
                </a:cubicBezTo>
                <a:cubicBezTo>
                  <a:pt x="147915" y="87086"/>
                  <a:pt x="147603" y="86778"/>
                  <a:pt x="147603" y="86163"/>
                </a:cubicBezTo>
                <a:cubicBezTo>
                  <a:pt x="147603" y="84318"/>
                  <a:pt x="147603" y="84318"/>
                  <a:pt x="147603" y="84318"/>
                </a:cubicBezTo>
                <a:lnTo>
                  <a:pt x="147941" y="83986"/>
                </a:lnTo>
                <a:lnTo>
                  <a:pt x="146276" y="83986"/>
                </a:lnTo>
                <a:cubicBezTo>
                  <a:pt x="145557" y="83986"/>
                  <a:pt x="145557" y="83986"/>
                  <a:pt x="145557" y="83986"/>
                </a:cubicBezTo>
                <a:cubicBezTo>
                  <a:pt x="129300" y="65008"/>
                  <a:pt x="129300" y="65008"/>
                  <a:pt x="129300" y="65008"/>
                </a:cubicBezTo>
                <a:cubicBezTo>
                  <a:pt x="129300" y="35930"/>
                  <a:pt x="129300" y="35930"/>
                  <a:pt x="129300" y="35930"/>
                </a:cubicBezTo>
                <a:cubicBezTo>
                  <a:pt x="145557" y="17565"/>
                  <a:pt x="145557" y="17565"/>
                  <a:pt x="145557" y="17565"/>
                </a:cubicBezTo>
                <a:lnTo>
                  <a:pt x="150998" y="17565"/>
                </a:lnTo>
                <a:lnTo>
                  <a:pt x="150998" y="11854"/>
                </a:lnTo>
                <a:cubicBezTo>
                  <a:pt x="150998" y="10785"/>
                  <a:pt x="150998" y="10785"/>
                  <a:pt x="150998" y="10785"/>
                </a:cubicBezTo>
                <a:cubicBezTo>
                  <a:pt x="150998" y="8342"/>
                  <a:pt x="151918" y="6205"/>
                  <a:pt x="153453" y="4372"/>
                </a:cubicBezTo>
                <a:cubicBezTo>
                  <a:pt x="154987" y="2540"/>
                  <a:pt x="157135" y="1624"/>
                  <a:pt x="159590" y="1624"/>
                </a:cubicBezTo>
                <a:close/>
                <a:moveTo>
                  <a:pt x="216438" y="0"/>
                </a:moveTo>
                <a:cubicBezTo>
                  <a:pt x="286739" y="0"/>
                  <a:pt x="286739" y="0"/>
                  <a:pt x="286739" y="0"/>
                </a:cubicBezTo>
                <a:cubicBezTo>
                  <a:pt x="289502" y="0"/>
                  <a:pt x="291958" y="2145"/>
                  <a:pt x="291958" y="4904"/>
                </a:cubicBezTo>
                <a:cubicBezTo>
                  <a:pt x="291958" y="51185"/>
                  <a:pt x="291958" y="51185"/>
                  <a:pt x="291958" y="51185"/>
                </a:cubicBezTo>
                <a:cubicBezTo>
                  <a:pt x="291958" y="53943"/>
                  <a:pt x="289502" y="56089"/>
                  <a:pt x="286739" y="56089"/>
                </a:cubicBezTo>
                <a:cubicBezTo>
                  <a:pt x="216438" y="56089"/>
                  <a:pt x="216438" y="56089"/>
                  <a:pt x="216438" y="56089"/>
                </a:cubicBezTo>
                <a:cubicBezTo>
                  <a:pt x="213675" y="56089"/>
                  <a:pt x="211219" y="53943"/>
                  <a:pt x="211219" y="51185"/>
                </a:cubicBezTo>
                <a:cubicBezTo>
                  <a:pt x="211219" y="4904"/>
                  <a:pt x="211219" y="4904"/>
                  <a:pt x="211219" y="4904"/>
                </a:cubicBezTo>
                <a:cubicBezTo>
                  <a:pt x="211219" y="2145"/>
                  <a:pt x="213675" y="0"/>
                  <a:pt x="21643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/>
          <a:p>
            <a:pPr algn="ctr"/>
            <a:endParaRPr/>
          </a:p>
        </p:txBody>
      </p:sp>
      <p:sp>
        <p:nvSpPr>
          <p:cNvPr id="30" name="任意多边形 297">
            <a:extLst>
              <a:ext uri="{FF2B5EF4-FFF2-40B4-BE49-F238E27FC236}">
                <a16:creationId xmlns:a16="http://schemas.microsoft.com/office/drawing/2014/main" id="{E8FC83A4-4004-4DEC-8981-63E1797A942D}"/>
              </a:ext>
            </a:extLst>
          </p:cNvPr>
          <p:cNvSpPr/>
          <p:nvPr/>
        </p:nvSpPr>
        <p:spPr bwMode="auto">
          <a:xfrm>
            <a:off x="4838590" y="2621192"/>
            <a:ext cx="447236" cy="448122"/>
          </a:xfrm>
          <a:custGeom>
            <a:avLst/>
            <a:gdLst>
              <a:gd name="connsiteX0" fmla="*/ 155052 w 447236"/>
              <a:gd name="connsiteY0" fmla="*/ 428506 h 448122"/>
              <a:gd name="connsiteX1" fmla="*/ 153825 w 447236"/>
              <a:gd name="connsiteY1" fmla="*/ 430038 h 448122"/>
              <a:gd name="connsiteX2" fmla="*/ 153825 w 447236"/>
              <a:gd name="connsiteY2" fmla="*/ 433716 h 448122"/>
              <a:gd name="connsiteX3" fmla="*/ 155052 w 447236"/>
              <a:gd name="connsiteY3" fmla="*/ 434942 h 448122"/>
              <a:gd name="connsiteX4" fmla="*/ 161189 w 447236"/>
              <a:gd name="connsiteY4" fmla="*/ 434942 h 448122"/>
              <a:gd name="connsiteX5" fmla="*/ 162417 w 447236"/>
              <a:gd name="connsiteY5" fmla="*/ 433716 h 448122"/>
              <a:gd name="connsiteX6" fmla="*/ 162417 w 447236"/>
              <a:gd name="connsiteY6" fmla="*/ 430038 h 448122"/>
              <a:gd name="connsiteX7" fmla="*/ 161189 w 447236"/>
              <a:gd name="connsiteY7" fmla="*/ 428506 h 448122"/>
              <a:gd name="connsiteX8" fmla="*/ 155052 w 447236"/>
              <a:gd name="connsiteY8" fmla="*/ 428506 h 448122"/>
              <a:gd name="connsiteX9" fmla="*/ 144312 w 447236"/>
              <a:gd name="connsiteY9" fmla="*/ 428506 h 448122"/>
              <a:gd name="connsiteX10" fmla="*/ 143085 w 447236"/>
              <a:gd name="connsiteY10" fmla="*/ 430038 h 448122"/>
              <a:gd name="connsiteX11" fmla="*/ 143085 w 447236"/>
              <a:gd name="connsiteY11" fmla="*/ 433716 h 448122"/>
              <a:gd name="connsiteX12" fmla="*/ 144312 w 447236"/>
              <a:gd name="connsiteY12" fmla="*/ 434942 h 448122"/>
              <a:gd name="connsiteX13" fmla="*/ 150449 w 447236"/>
              <a:gd name="connsiteY13" fmla="*/ 434942 h 448122"/>
              <a:gd name="connsiteX14" fmla="*/ 151677 w 447236"/>
              <a:gd name="connsiteY14" fmla="*/ 433716 h 448122"/>
              <a:gd name="connsiteX15" fmla="*/ 151677 w 447236"/>
              <a:gd name="connsiteY15" fmla="*/ 430038 h 448122"/>
              <a:gd name="connsiteX16" fmla="*/ 150449 w 447236"/>
              <a:gd name="connsiteY16" fmla="*/ 428506 h 448122"/>
              <a:gd name="connsiteX17" fmla="*/ 144312 w 447236"/>
              <a:gd name="connsiteY17" fmla="*/ 428506 h 448122"/>
              <a:gd name="connsiteX18" fmla="*/ 133572 w 447236"/>
              <a:gd name="connsiteY18" fmla="*/ 428506 h 448122"/>
              <a:gd name="connsiteX19" fmla="*/ 132345 w 447236"/>
              <a:gd name="connsiteY19" fmla="*/ 430038 h 448122"/>
              <a:gd name="connsiteX20" fmla="*/ 132345 w 447236"/>
              <a:gd name="connsiteY20" fmla="*/ 433716 h 448122"/>
              <a:gd name="connsiteX21" fmla="*/ 133572 w 447236"/>
              <a:gd name="connsiteY21" fmla="*/ 434942 h 448122"/>
              <a:gd name="connsiteX22" fmla="*/ 139709 w 447236"/>
              <a:gd name="connsiteY22" fmla="*/ 434942 h 448122"/>
              <a:gd name="connsiteX23" fmla="*/ 140937 w 447236"/>
              <a:gd name="connsiteY23" fmla="*/ 433716 h 448122"/>
              <a:gd name="connsiteX24" fmla="*/ 140937 w 447236"/>
              <a:gd name="connsiteY24" fmla="*/ 430038 h 448122"/>
              <a:gd name="connsiteX25" fmla="*/ 139709 w 447236"/>
              <a:gd name="connsiteY25" fmla="*/ 428506 h 448122"/>
              <a:gd name="connsiteX26" fmla="*/ 133572 w 447236"/>
              <a:gd name="connsiteY26" fmla="*/ 428506 h 448122"/>
              <a:gd name="connsiteX27" fmla="*/ 213492 w 447236"/>
              <a:gd name="connsiteY27" fmla="*/ 421388 h 448122"/>
              <a:gd name="connsiteX28" fmla="*/ 213946 w 447236"/>
              <a:gd name="connsiteY28" fmla="*/ 422000 h 448122"/>
              <a:gd name="connsiteX29" fmla="*/ 214253 w 447236"/>
              <a:gd name="connsiteY29" fmla="*/ 422307 h 448122"/>
              <a:gd name="connsiteX30" fmla="*/ 213024 w 447236"/>
              <a:gd name="connsiteY30" fmla="*/ 423838 h 448122"/>
              <a:gd name="connsiteX31" fmla="*/ 212533 w 447236"/>
              <a:gd name="connsiteY31" fmla="*/ 423674 h 448122"/>
              <a:gd name="connsiteX32" fmla="*/ 234451 w 447236"/>
              <a:gd name="connsiteY32" fmla="*/ 420576 h 448122"/>
              <a:gd name="connsiteX33" fmla="*/ 234389 w 447236"/>
              <a:gd name="connsiteY33" fmla="*/ 425298 h 448122"/>
              <a:gd name="connsiteX34" fmla="*/ 234499 w 447236"/>
              <a:gd name="connsiteY34" fmla="*/ 425160 h 448122"/>
              <a:gd name="connsiteX35" fmla="*/ 235113 w 447236"/>
              <a:gd name="connsiteY35" fmla="*/ 421484 h 448122"/>
              <a:gd name="connsiteX36" fmla="*/ 234806 w 447236"/>
              <a:gd name="connsiteY36" fmla="*/ 420871 h 448122"/>
              <a:gd name="connsiteX37" fmla="*/ 232056 w 447236"/>
              <a:gd name="connsiteY37" fmla="*/ 420445 h 448122"/>
              <a:gd name="connsiteX38" fmla="*/ 231459 w 447236"/>
              <a:gd name="connsiteY38" fmla="*/ 420871 h 448122"/>
              <a:gd name="connsiteX39" fmla="*/ 231152 w 447236"/>
              <a:gd name="connsiteY39" fmla="*/ 421484 h 448122"/>
              <a:gd name="connsiteX40" fmla="*/ 232073 w 447236"/>
              <a:gd name="connsiteY40" fmla="*/ 425160 h 448122"/>
              <a:gd name="connsiteX41" fmla="*/ 232141 w 447236"/>
              <a:gd name="connsiteY41" fmla="*/ 425248 h 448122"/>
              <a:gd name="connsiteX42" fmla="*/ 170985 w 447236"/>
              <a:gd name="connsiteY42" fmla="*/ 417599 h 448122"/>
              <a:gd name="connsiteX43" fmla="*/ 171995 w 447236"/>
              <a:gd name="connsiteY43" fmla="*/ 420044 h 448122"/>
              <a:gd name="connsiteX44" fmla="*/ 171262 w 447236"/>
              <a:gd name="connsiteY44" fmla="*/ 420775 h 448122"/>
              <a:gd name="connsiteX45" fmla="*/ 170954 w 447236"/>
              <a:gd name="connsiteY45" fmla="*/ 421082 h 448122"/>
              <a:gd name="connsiteX46" fmla="*/ 169726 w 447236"/>
              <a:gd name="connsiteY46" fmla="*/ 418938 h 448122"/>
              <a:gd name="connsiteX47" fmla="*/ 155052 w 447236"/>
              <a:gd name="connsiteY47" fmla="*/ 416859 h 448122"/>
              <a:gd name="connsiteX48" fmla="*/ 153825 w 447236"/>
              <a:gd name="connsiteY48" fmla="*/ 418085 h 448122"/>
              <a:gd name="connsiteX49" fmla="*/ 153825 w 447236"/>
              <a:gd name="connsiteY49" fmla="*/ 422069 h 448122"/>
              <a:gd name="connsiteX50" fmla="*/ 155052 w 447236"/>
              <a:gd name="connsiteY50" fmla="*/ 423295 h 448122"/>
              <a:gd name="connsiteX51" fmla="*/ 161189 w 447236"/>
              <a:gd name="connsiteY51" fmla="*/ 423295 h 448122"/>
              <a:gd name="connsiteX52" fmla="*/ 162417 w 447236"/>
              <a:gd name="connsiteY52" fmla="*/ 422069 h 448122"/>
              <a:gd name="connsiteX53" fmla="*/ 162417 w 447236"/>
              <a:gd name="connsiteY53" fmla="*/ 418085 h 448122"/>
              <a:gd name="connsiteX54" fmla="*/ 161189 w 447236"/>
              <a:gd name="connsiteY54" fmla="*/ 416859 h 448122"/>
              <a:gd name="connsiteX55" fmla="*/ 155052 w 447236"/>
              <a:gd name="connsiteY55" fmla="*/ 416859 h 448122"/>
              <a:gd name="connsiteX56" fmla="*/ 144312 w 447236"/>
              <a:gd name="connsiteY56" fmla="*/ 416859 h 448122"/>
              <a:gd name="connsiteX57" fmla="*/ 143085 w 447236"/>
              <a:gd name="connsiteY57" fmla="*/ 418085 h 448122"/>
              <a:gd name="connsiteX58" fmla="*/ 143085 w 447236"/>
              <a:gd name="connsiteY58" fmla="*/ 422069 h 448122"/>
              <a:gd name="connsiteX59" fmla="*/ 144312 w 447236"/>
              <a:gd name="connsiteY59" fmla="*/ 423295 h 448122"/>
              <a:gd name="connsiteX60" fmla="*/ 150449 w 447236"/>
              <a:gd name="connsiteY60" fmla="*/ 423295 h 448122"/>
              <a:gd name="connsiteX61" fmla="*/ 151677 w 447236"/>
              <a:gd name="connsiteY61" fmla="*/ 422069 h 448122"/>
              <a:gd name="connsiteX62" fmla="*/ 151677 w 447236"/>
              <a:gd name="connsiteY62" fmla="*/ 418085 h 448122"/>
              <a:gd name="connsiteX63" fmla="*/ 150449 w 447236"/>
              <a:gd name="connsiteY63" fmla="*/ 416859 h 448122"/>
              <a:gd name="connsiteX64" fmla="*/ 144312 w 447236"/>
              <a:gd name="connsiteY64" fmla="*/ 416859 h 448122"/>
              <a:gd name="connsiteX65" fmla="*/ 133572 w 447236"/>
              <a:gd name="connsiteY65" fmla="*/ 416859 h 448122"/>
              <a:gd name="connsiteX66" fmla="*/ 132345 w 447236"/>
              <a:gd name="connsiteY66" fmla="*/ 418085 h 448122"/>
              <a:gd name="connsiteX67" fmla="*/ 132345 w 447236"/>
              <a:gd name="connsiteY67" fmla="*/ 422069 h 448122"/>
              <a:gd name="connsiteX68" fmla="*/ 133572 w 447236"/>
              <a:gd name="connsiteY68" fmla="*/ 423295 h 448122"/>
              <a:gd name="connsiteX69" fmla="*/ 139709 w 447236"/>
              <a:gd name="connsiteY69" fmla="*/ 423295 h 448122"/>
              <a:gd name="connsiteX70" fmla="*/ 140937 w 447236"/>
              <a:gd name="connsiteY70" fmla="*/ 422069 h 448122"/>
              <a:gd name="connsiteX71" fmla="*/ 140937 w 447236"/>
              <a:gd name="connsiteY71" fmla="*/ 418085 h 448122"/>
              <a:gd name="connsiteX72" fmla="*/ 139709 w 447236"/>
              <a:gd name="connsiteY72" fmla="*/ 416859 h 448122"/>
              <a:gd name="connsiteX73" fmla="*/ 133572 w 447236"/>
              <a:gd name="connsiteY73" fmla="*/ 416859 h 448122"/>
              <a:gd name="connsiteX74" fmla="*/ 287340 w 447236"/>
              <a:gd name="connsiteY74" fmla="*/ 416486 h 448122"/>
              <a:gd name="connsiteX75" fmla="*/ 283658 w 447236"/>
              <a:gd name="connsiteY75" fmla="*/ 420164 h 448122"/>
              <a:gd name="connsiteX76" fmla="*/ 287340 w 447236"/>
              <a:gd name="connsiteY76" fmla="*/ 423842 h 448122"/>
              <a:gd name="connsiteX77" fmla="*/ 291023 w 447236"/>
              <a:gd name="connsiteY77" fmla="*/ 420164 h 448122"/>
              <a:gd name="connsiteX78" fmla="*/ 287340 w 447236"/>
              <a:gd name="connsiteY78" fmla="*/ 416486 h 448122"/>
              <a:gd name="connsiteX79" fmla="*/ 231869 w 447236"/>
              <a:gd name="connsiteY79" fmla="*/ 409869 h 448122"/>
              <a:gd name="connsiteX80" fmla="*/ 229587 w 447236"/>
              <a:gd name="connsiteY80" fmla="*/ 411067 h 448122"/>
              <a:gd name="connsiteX81" fmla="*/ 229587 w 447236"/>
              <a:gd name="connsiteY81" fmla="*/ 413212 h 448122"/>
              <a:gd name="connsiteX82" fmla="*/ 231962 w 447236"/>
              <a:gd name="connsiteY82" fmla="*/ 415108 h 448122"/>
              <a:gd name="connsiteX83" fmla="*/ 234594 w 447236"/>
              <a:gd name="connsiteY83" fmla="*/ 409812 h 448122"/>
              <a:gd name="connsiteX84" fmla="*/ 234524 w 447236"/>
              <a:gd name="connsiteY84" fmla="*/ 415123 h 448122"/>
              <a:gd name="connsiteX85" fmla="*/ 236678 w 447236"/>
              <a:gd name="connsiteY85" fmla="*/ 413212 h 448122"/>
              <a:gd name="connsiteX86" fmla="*/ 236985 w 447236"/>
              <a:gd name="connsiteY86" fmla="*/ 411067 h 448122"/>
              <a:gd name="connsiteX87" fmla="*/ 155052 w 447236"/>
              <a:gd name="connsiteY87" fmla="*/ 405211 h 448122"/>
              <a:gd name="connsiteX88" fmla="*/ 153825 w 447236"/>
              <a:gd name="connsiteY88" fmla="*/ 406437 h 448122"/>
              <a:gd name="connsiteX89" fmla="*/ 153825 w 447236"/>
              <a:gd name="connsiteY89" fmla="*/ 410116 h 448122"/>
              <a:gd name="connsiteX90" fmla="*/ 155052 w 447236"/>
              <a:gd name="connsiteY90" fmla="*/ 411648 h 448122"/>
              <a:gd name="connsiteX91" fmla="*/ 161189 w 447236"/>
              <a:gd name="connsiteY91" fmla="*/ 411648 h 448122"/>
              <a:gd name="connsiteX92" fmla="*/ 162417 w 447236"/>
              <a:gd name="connsiteY92" fmla="*/ 410116 h 448122"/>
              <a:gd name="connsiteX93" fmla="*/ 162417 w 447236"/>
              <a:gd name="connsiteY93" fmla="*/ 406437 h 448122"/>
              <a:gd name="connsiteX94" fmla="*/ 161189 w 447236"/>
              <a:gd name="connsiteY94" fmla="*/ 405211 h 448122"/>
              <a:gd name="connsiteX95" fmla="*/ 155052 w 447236"/>
              <a:gd name="connsiteY95" fmla="*/ 405211 h 448122"/>
              <a:gd name="connsiteX96" fmla="*/ 144312 w 447236"/>
              <a:gd name="connsiteY96" fmla="*/ 405211 h 448122"/>
              <a:gd name="connsiteX97" fmla="*/ 143085 w 447236"/>
              <a:gd name="connsiteY97" fmla="*/ 406437 h 448122"/>
              <a:gd name="connsiteX98" fmla="*/ 143085 w 447236"/>
              <a:gd name="connsiteY98" fmla="*/ 410116 h 448122"/>
              <a:gd name="connsiteX99" fmla="*/ 144312 w 447236"/>
              <a:gd name="connsiteY99" fmla="*/ 411648 h 448122"/>
              <a:gd name="connsiteX100" fmla="*/ 150449 w 447236"/>
              <a:gd name="connsiteY100" fmla="*/ 411648 h 448122"/>
              <a:gd name="connsiteX101" fmla="*/ 151677 w 447236"/>
              <a:gd name="connsiteY101" fmla="*/ 410116 h 448122"/>
              <a:gd name="connsiteX102" fmla="*/ 151677 w 447236"/>
              <a:gd name="connsiteY102" fmla="*/ 406437 h 448122"/>
              <a:gd name="connsiteX103" fmla="*/ 150449 w 447236"/>
              <a:gd name="connsiteY103" fmla="*/ 405211 h 448122"/>
              <a:gd name="connsiteX104" fmla="*/ 144312 w 447236"/>
              <a:gd name="connsiteY104" fmla="*/ 405211 h 448122"/>
              <a:gd name="connsiteX105" fmla="*/ 133572 w 447236"/>
              <a:gd name="connsiteY105" fmla="*/ 405211 h 448122"/>
              <a:gd name="connsiteX106" fmla="*/ 132345 w 447236"/>
              <a:gd name="connsiteY106" fmla="*/ 406437 h 448122"/>
              <a:gd name="connsiteX107" fmla="*/ 132345 w 447236"/>
              <a:gd name="connsiteY107" fmla="*/ 410116 h 448122"/>
              <a:gd name="connsiteX108" fmla="*/ 133572 w 447236"/>
              <a:gd name="connsiteY108" fmla="*/ 411648 h 448122"/>
              <a:gd name="connsiteX109" fmla="*/ 139709 w 447236"/>
              <a:gd name="connsiteY109" fmla="*/ 411648 h 448122"/>
              <a:gd name="connsiteX110" fmla="*/ 140937 w 447236"/>
              <a:gd name="connsiteY110" fmla="*/ 410116 h 448122"/>
              <a:gd name="connsiteX111" fmla="*/ 140937 w 447236"/>
              <a:gd name="connsiteY111" fmla="*/ 406437 h 448122"/>
              <a:gd name="connsiteX112" fmla="*/ 139709 w 447236"/>
              <a:gd name="connsiteY112" fmla="*/ 405211 h 448122"/>
              <a:gd name="connsiteX113" fmla="*/ 133572 w 447236"/>
              <a:gd name="connsiteY113" fmla="*/ 405211 h 448122"/>
              <a:gd name="connsiteX114" fmla="*/ 186886 w 447236"/>
              <a:gd name="connsiteY114" fmla="*/ 398533 h 448122"/>
              <a:gd name="connsiteX115" fmla="*/ 186935 w 447236"/>
              <a:gd name="connsiteY115" fmla="*/ 398568 h 448122"/>
              <a:gd name="connsiteX116" fmla="*/ 189341 w 447236"/>
              <a:gd name="connsiteY116" fmla="*/ 428431 h 448122"/>
              <a:gd name="connsiteX117" fmla="*/ 189686 w 447236"/>
              <a:gd name="connsiteY117" fmla="*/ 432719 h 448122"/>
              <a:gd name="connsiteX118" fmla="*/ 191222 w 447236"/>
              <a:gd name="connsiteY118" fmla="*/ 433943 h 448122"/>
              <a:gd name="connsiteX119" fmla="*/ 192143 w 447236"/>
              <a:gd name="connsiteY119" fmla="*/ 433025 h 448122"/>
              <a:gd name="connsiteX120" fmla="*/ 197670 w 447236"/>
              <a:gd name="connsiteY120" fmla="*/ 418019 h 448122"/>
              <a:gd name="connsiteX121" fmla="*/ 200741 w 447236"/>
              <a:gd name="connsiteY121" fmla="*/ 425981 h 448122"/>
              <a:gd name="connsiteX122" fmla="*/ 202584 w 447236"/>
              <a:gd name="connsiteY122" fmla="*/ 426900 h 448122"/>
              <a:gd name="connsiteX123" fmla="*/ 203198 w 447236"/>
              <a:gd name="connsiteY123" fmla="*/ 426288 h 448122"/>
              <a:gd name="connsiteX124" fmla="*/ 208111 w 447236"/>
              <a:gd name="connsiteY124" fmla="*/ 418019 h 448122"/>
              <a:gd name="connsiteX125" fmla="*/ 212103 w 447236"/>
              <a:gd name="connsiteY125" fmla="*/ 423531 h 448122"/>
              <a:gd name="connsiteX126" fmla="*/ 212533 w 447236"/>
              <a:gd name="connsiteY126" fmla="*/ 423674 h 448122"/>
              <a:gd name="connsiteX127" fmla="*/ 211374 w 447236"/>
              <a:gd name="connsiteY127" fmla="*/ 426441 h 448122"/>
              <a:gd name="connsiteX128" fmla="*/ 193064 w 447236"/>
              <a:gd name="connsiteY128" fmla="*/ 446499 h 448122"/>
              <a:gd name="connsiteX129" fmla="*/ 174639 w 447236"/>
              <a:gd name="connsiteY129" fmla="*/ 426441 h 448122"/>
              <a:gd name="connsiteX130" fmla="*/ 171995 w 447236"/>
              <a:gd name="connsiteY130" fmla="*/ 420044 h 448122"/>
              <a:gd name="connsiteX131" fmla="*/ 174639 w 447236"/>
              <a:gd name="connsiteY131" fmla="*/ 417407 h 448122"/>
              <a:gd name="connsiteX132" fmla="*/ 176482 w 447236"/>
              <a:gd name="connsiteY132" fmla="*/ 423225 h 448122"/>
              <a:gd name="connsiteX133" fmla="*/ 178017 w 447236"/>
              <a:gd name="connsiteY133" fmla="*/ 423838 h 448122"/>
              <a:gd name="connsiteX134" fmla="*/ 178939 w 447236"/>
              <a:gd name="connsiteY134" fmla="*/ 423225 h 448122"/>
              <a:gd name="connsiteX135" fmla="*/ 185925 w 447236"/>
              <a:gd name="connsiteY135" fmla="*/ 401521 h 448122"/>
              <a:gd name="connsiteX136" fmla="*/ 231662 w 447236"/>
              <a:gd name="connsiteY136" fmla="*/ 398173 h 448122"/>
              <a:gd name="connsiteX137" fmla="*/ 231459 w 447236"/>
              <a:gd name="connsiteY137" fmla="*/ 398200 h 448122"/>
              <a:gd name="connsiteX138" fmla="*/ 228273 w 447236"/>
              <a:gd name="connsiteY138" fmla="*/ 400881 h 448122"/>
              <a:gd name="connsiteX139" fmla="*/ 231766 w 447236"/>
              <a:gd name="connsiteY139" fmla="*/ 404021 h 448122"/>
              <a:gd name="connsiteX140" fmla="*/ 234748 w 447236"/>
              <a:gd name="connsiteY140" fmla="*/ 398152 h 448122"/>
              <a:gd name="connsiteX141" fmla="*/ 234670 w 447236"/>
              <a:gd name="connsiteY141" fmla="*/ 404089 h 448122"/>
              <a:gd name="connsiteX142" fmla="*/ 234806 w 447236"/>
              <a:gd name="connsiteY142" fmla="*/ 404021 h 448122"/>
              <a:gd name="connsiteX143" fmla="*/ 235113 w 447236"/>
              <a:gd name="connsiteY143" fmla="*/ 398200 h 448122"/>
              <a:gd name="connsiteX144" fmla="*/ 185694 w 447236"/>
              <a:gd name="connsiteY144" fmla="*/ 394439 h 448122"/>
              <a:gd name="connsiteX145" fmla="*/ 189379 w 447236"/>
              <a:gd name="connsiteY145" fmla="*/ 397195 h 448122"/>
              <a:gd name="connsiteX146" fmla="*/ 189659 w 447236"/>
              <a:gd name="connsiteY146" fmla="*/ 400544 h 448122"/>
              <a:gd name="connsiteX147" fmla="*/ 186935 w 447236"/>
              <a:gd name="connsiteY147" fmla="*/ 398568 h 448122"/>
              <a:gd name="connsiteX148" fmla="*/ 186923 w 447236"/>
              <a:gd name="connsiteY148" fmla="*/ 398420 h 448122"/>
              <a:gd name="connsiteX149" fmla="*/ 186886 w 447236"/>
              <a:gd name="connsiteY149" fmla="*/ 398533 h 448122"/>
              <a:gd name="connsiteX150" fmla="*/ 184834 w 447236"/>
              <a:gd name="connsiteY150" fmla="*/ 397045 h 448122"/>
              <a:gd name="connsiteX151" fmla="*/ 155052 w 447236"/>
              <a:gd name="connsiteY151" fmla="*/ 393564 h 448122"/>
              <a:gd name="connsiteX152" fmla="*/ 153825 w 447236"/>
              <a:gd name="connsiteY152" fmla="*/ 394790 h 448122"/>
              <a:gd name="connsiteX153" fmla="*/ 153825 w 447236"/>
              <a:gd name="connsiteY153" fmla="*/ 398468 h 448122"/>
              <a:gd name="connsiteX154" fmla="*/ 155052 w 447236"/>
              <a:gd name="connsiteY154" fmla="*/ 399694 h 448122"/>
              <a:gd name="connsiteX155" fmla="*/ 161189 w 447236"/>
              <a:gd name="connsiteY155" fmla="*/ 399694 h 448122"/>
              <a:gd name="connsiteX156" fmla="*/ 162417 w 447236"/>
              <a:gd name="connsiteY156" fmla="*/ 398468 h 448122"/>
              <a:gd name="connsiteX157" fmla="*/ 162417 w 447236"/>
              <a:gd name="connsiteY157" fmla="*/ 394790 h 448122"/>
              <a:gd name="connsiteX158" fmla="*/ 161189 w 447236"/>
              <a:gd name="connsiteY158" fmla="*/ 393564 h 448122"/>
              <a:gd name="connsiteX159" fmla="*/ 155052 w 447236"/>
              <a:gd name="connsiteY159" fmla="*/ 393564 h 448122"/>
              <a:gd name="connsiteX160" fmla="*/ 144312 w 447236"/>
              <a:gd name="connsiteY160" fmla="*/ 393564 h 448122"/>
              <a:gd name="connsiteX161" fmla="*/ 143085 w 447236"/>
              <a:gd name="connsiteY161" fmla="*/ 394790 h 448122"/>
              <a:gd name="connsiteX162" fmla="*/ 143085 w 447236"/>
              <a:gd name="connsiteY162" fmla="*/ 398468 h 448122"/>
              <a:gd name="connsiteX163" fmla="*/ 144312 w 447236"/>
              <a:gd name="connsiteY163" fmla="*/ 399694 h 448122"/>
              <a:gd name="connsiteX164" fmla="*/ 150449 w 447236"/>
              <a:gd name="connsiteY164" fmla="*/ 399694 h 448122"/>
              <a:gd name="connsiteX165" fmla="*/ 151677 w 447236"/>
              <a:gd name="connsiteY165" fmla="*/ 398468 h 448122"/>
              <a:gd name="connsiteX166" fmla="*/ 151677 w 447236"/>
              <a:gd name="connsiteY166" fmla="*/ 394790 h 448122"/>
              <a:gd name="connsiteX167" fmla="*/ 150449 w 447236"/>
              <a:gd name="connsiteY167" fmla="*/ 393564 h 448122"/>
              <a:gd name="connsiteX168" fmla="*/ 144312 w 447236"/>
              <a:gd name="connsiteY168" fmla="*/ 393564 h 448122"/>
              <a:gd name="connsiteX169" fmla="*/ 133572 w 447236"/>
              <a:gd name="connsiteY169" fmla="*/ 393564 h 448122"/>
              <a:gd name="connsiteX170" fmla="*/ 132345 w 447236"/>
              <a:gd name="connsiteY170" fmla="*/ 394790 h 448122"/>
              <a:gd name="connsiteX171" fmla="*/ 132345 w 447236"/>
              <a:gd name="connsiteY171" fmla="*/ 398468 h 448122"/>
              <a:gd name="connsiteX172" fmla="*/ 133572 w 447236"/>
              <a:gd name="connsiteY172" fmla="*/ 399694 h 448122"/>
              <a:gd name="connsiteX173" fmla="*/ 139709 w 447236"/>
              <a:gd name="connsiteY173" fmla="*/ 399694 h 448122"/>
              <a:gd name="connsiteX174" fmla="*/ 140937 w 447236"/>
              <a:gd name="connsiteY174" fmla="*/ 398468 h 448122"/>
              <a:gd name="connsiteX175" fmla="*/ 140937 w 447236"/>
              <a:gd name="connsiteY175" fmla="*/ 394790 h 448122"/>
              <a:gd name="connsiteX176" fmla="*/ 139709 w 447236"/>
              <a:gd name="connsiteY176" fmla="*/ 393564 h 448122"/>
              <a:gd name="connsiteX177" fmla="*/ 206269 w 447236"/>
              <a:gd name="connsiteY177" fmla="*/ 393214 h 448122"/>
              <a:gd name="connsiteX178" fmla="*/ 219780 w 447236"/>
              <a:gd name="connsiteY178" fmla="*/ 406382 h 448122"/>
              <a:gd name="connsiteX179" fmla="*/ 213492 w 447236"/>
              <a:gd name="connsiteY179" fmla="*/ 421388 h 448122"/>
              <a:gd name="connsiteX180" fmla="*/ 209378 w 447236"/>
              <a:gd name="connsiteY180" fmla="*/ 415837 h 448122"/>
              <a:gd name="connsiteX181" fmla="*/ 208725 w 447236"/>
              <a:gd name="connsiteY181" fmla="*/ 414957 h 448122"/>
              <a:gd name="connsiteX182" fmla="*/ 208418 w 447236"/>
              <a:gd name="connsiteY182" fmla="*/ 414651 h 448122"/>
              <a:gd name="connsiteX183" fmla="*/ 206883 w 447236"/>
              <a:gd name="connsiteY183" fmla="*/ 415263 h 448122"/>
              <a:gd name="connsiteX184" fmla="*/ 202277 w 447236"/>
              <a:gd name="connsiteY184" fmla="*/ 422919 h 448122"/>
              <a:gd name="connsiteX185" fmla="*/ 198592 w 447236"/>
              <a:gd name="connsiteY185" fmla="*/ 413732 h 448122"/>
              <a:gd name="connsiteX186" fmla="*/ 197978 w 447236"/>
              <a:gd name="connsiteY186" fmla="*/ 413119 h 448122"/>
              <a:gd name="connsiteX187" fmla="*/ 196442 w 447236"/>
              <a:gd name="connsiteY187" fmla="*/ 414038 h 448122"/>
              <a:gd name="connsiteX188" fmla="*/ 191836 w 447236"/>
              <a:gd name="connsiteY188" fmla="*/ 426594 h 448122"/>
              <a:gd name="connsiteX189" fmla="*/ 189686 w 447236"/>
              <a:gd name="connsiteY189" fmla="*/ 400870 h 448122"/>
              <a:gd name="connsiteX190" fmla="*/ 189659 w 447236"/>
              <a:gd name="connsiteY190" fmla="*/ 400544 h 448122"/>
              <a:gd name="connsiteX191" fmla="*/ 193064 w 447236"/>
              <a:gd name="connsiteY191" fmla="*/ 403014 h 448122"/>
              <a:gd name="connsiteX192" fmla="*/ 206269 w 447236"/>
              <a:gd name="connsiteY192" fmla="*/ 393214 h 448122"/>
              <a:gd name="connsiteX193" fmla="*/ 179553 w 447236"/>
              <a:gd name="connsiteY193" fmla="*/ 393214 h 448122"/>
              <a:gd name="connsiteX194" fmla="*/ 184834 w 447236"/>
              <a:gd name="connsiteY194" fmla="*/ 397045 h 448122"/>
              <a:gd name="connsiteX195" fmla="*/ 178708 w 447236"/>
              <a:gd name="connsiteY195" fmla="*/ 415608 h 448122"/>
              <a:gd name="connsiteX196" fmla="*/ 177710 w 447236"/>
              <a:gd name="connsiteY196" fmla="*/ 418632 h 448122"/>
              <a:gd name="connsiteX197" fmla="*/ 176175 w 447236"/>
              <a:gd name="connsiteY197" fmla="*/ 414651 h 448122"/>
              <a:gd name="connsiteX198" fmla="*/ 175868 w 447236"/>
              <a:gd name="connsiteY198" fmla="*/ 414038 h 448122"/>
              <a:gd name="connsiteX199" fmla="*/ 174332 w 447236"/>
              <a:gd name="connsiteY199" fmla="*/ 414038 h 448122"/>
              <a:gd name="connsiteX200" fmla="*/ 170985 w 447236"/>
              <a:gd name="connsiteY200" fmla="*/ 417599 h 448122"/>
              <a:gd name="connsiteX201" fmla="*/ 166348 w 447236"/>
              <a:gd name="connsiteY201" fmla="*/ 406382 h 448122"/>
              <a:gd name="connsiteX202" fmla="*/ 179553 w 447236"/>
              <a:gd name="connsiteY202" fmla="*/ 393214 h 448122"/>
              <a:gd name="connsiteX203" fmla="*/ 237599 w 447236"/>
              <a:gd name="connsiteY203" fmla="*/ 389009 h 448122"/>
              <a:gd name="connsiteX204" fmla="*/ 238765 w 447236"/>
              <a:gd name="connsiteY204" fmla="*/ 389009 h 448122"/>
              <a:gd name="connsiteX205" fmla="*/ 238520 w 447236"/>
              <a:gd name="connsiteY205" fmla="*/ 389315 h 448122"/>
              <a:gd name="connsiteX206" fmla="*/ 237599 w 447236"/>
              <a:gd name="connsiteY206" fmla="*/ 389009 h 448122"/>
              <a:gd name="connsiteX207" fmla="*/ 228700 w 447236"/>
              <a:gd name="connsiteY207" fmla="*/ 388854 h 448122"/>
              <a:gd name="connsiteX208" fmla="*/ 228973 w 447236"/>
              <a:gd name="connsiteY208" fmla="*/ 389009 h 448122"/>
              <a:gd name="connsiteX209" fmla="*/ 228052 w 447236"/>
              <a:gd name="connsiteY209" fmla="*/ 389315 h 448122"/>
              <a:gd name="connsiteX210" fmla="*/ 227806 w 447236"/>
              <a:gd name="connsiteY210" fmla="*/ 389009 h 448122"/>
              <a:gd name="connsiteX211" fmla="*/ 228666 w 447236"/>
              <a:gd name="connsiteY211" fmla="*/ 389009 h 448122"/>
              <a:gd name="connsiteX212" fmla="*/ 240669 w 447236"/>
              <a:gd name="connsiteY212" fmla="*/ 385333 h 448122"/>
              <a:gd name="connsiteX213" fmla="*/ 239441 w 447236"/>
              <a:gd name="connsiteY213" fmla="*/ 385639 h 448122"/>
              <a:gd name="connsiteX214" fmla="*/ 238827 w 447236"/>
              <a:gd name="connsiteY214" fmla="*/ 386252 h 448122"/>
              <a:gd name="connsiteX215" fmla="*/ 240055 w 447236"/>
              <a:gd name="connsiteY215" fmla="*/ 386252 h 448122"/>
              <a:gd name="connsiteX216" fmla="*/ 240669 w 447236"/>
              <a:gd name="connsiteY216" fmla="*/ 385333 h 448122"/>
              <a:gd name="connsiteX217" fmla="*/ 225903 w 447236"/>
              <a:gd name="connsiteY217" fmla="*/ 385333 h 448122"/>
              <a:gd name="connsiteX218" fmla="*/ 226517 w 447236"/>
              <a:gd name="connsiteY218" fmla="*/ 386252 h 448122"/>
              <a:gd name="connsiteX219" fmla="*/ 227438 w 447236"/>
              <a:gd name="connsiteY219" fmla="*/ 386252 h 448122"/>
              <a:gd name="connsiteX220" fmla="*/ 226824 w 447236"/>
              <a:gd name="connsiteY220" fmla="*/ 385639 h 448122"/>
              <a:gd name="connsiteX221" fmla="*/ 225903 w 447236"/>
              <a:gd name="connsiteY221" fmla="*/ 385333 h 448122"/>
              <a:gd name="connsiteX222" fmla="*/ 242746 w 447236"/>
              <a:gd name="connsiteY222" fmla="*/ 365317 h 448122"/>
              <a:gd name="connsiteX223" fmla="*/ 244894 w 447236"/>
              <a:gd name="connsiteY223" fmla="*/ 365623 h 448122"/>
              <a:gd name="connsiteX224" fmla="*/ 249191 w 447236"/>
              <a:gd name="connsiteY224" fmla="*/ 367153 h 448122"/>
              <a:gd name="connsiteX225" fmla="*/ 257478 w 447236"/>
              <a:gd name="connsiteY225" fmla="*/ 368376 h 448122"/>
              <a:gd name="connsiteX226" fmla="*/ 275279 w 447236"/>
              <a:gd name="connsiteY226" fmla="*/ 368376 h 448122"/>
              <a:gd name="connsiteX227" fmla="*/ 264230 w 447236"/>
              <a:gd name="connsiteY227" fmla="*/ 372660 h 448122"/>
              <a:gd name="connsiteX228" fmla="*/ 263002 w 447236"/>
              <a:gd name="connsiteY228" fmla="*/ 375413 h 448122"/>
              <a:gd name="connsiteX229" fmla="*/ 258399 w 447236"/>
              <a:gd name="connsiteY229" fmla="*/ 375719 h 448122"/>
              <a:gd name="connsiteX230" fmla="*/ 255022 w 447236"/>
              <a:gd name="connsiteY230" fmla="*/ 379390 h 448122"/>
              <a:gd name="connsiteX231" fmla="*/ 253795 w 447236"/>
              <a:gd name="connsiteY231" fmla="*/ 379390 h 448122"/>
              <a:gd name="connsiteX232" fmla="*/ 251953 w 447236"/>
              <a:gd name="connsiteY232" fmla="*/ 379084 h 448122"/>
              <a:gd name="connsiteX233" fmla="*/ 249805 w 447236"/>
              <a:gd name="connsiteY233" fmla="*/ 378167 h 448122"/>
              <a:gd name="connsiteX234" fmla="*/ 248270 w 447236"/>
              <a:gd name="connsiteY234" fmla="*/ 380920 h 448122"/>
              <a:gd name="connsiteX235" fmla="*/ 244587 w 447236"/>
              <a:gd name="connsiteY235" fmla="*/ 380614 h 448122"/>
              <a:gd name="connsiteX236" fmla="*/ 243666 w 447236"/>
              <a:gd name="connsiteY236" fmla="*/ 381532 h 448122"/>
              <a:gd name="connsiteX237" fmla="*/ 238142 w 447236"/>
              <a:gd name="connsiteY237" fmla="*/ 380920 h 448122"/>
              <a:gd name="connsiteX238" fmla="*/ 236607 w 447236"/>
              <a:gd name="connsiteY238" fmla="*/ 380614 h 448122"/>
              <a:gd name="connsiteX239" fmla="*/ 236607 w 447236"/>
              <a:gd name="connsiteY239" fmla="*/ 369600 h 448122"/>
              <a:gd name="connsiteX240" fmla="*/ 239676 w 447236"/>
              <a:gd name="connsiteY240" fmla="*/ 368376 h 448122"/>
              <a:gd name="connsiteX241" fmla="*/ 240904 w 447236"/>
              <a:gd name="connsiteY241" fmla="*/ 365929 h 448122"/>
              <a:gd name="connsiteX242" fmla="*/ 242746 w 447236"/>
              <a:gd name="connsiteY242" fmla="*/ 365317 h 448122"/>
              <a:gd name="connsiteX243" fmla="*/ 223839 w 447236"/>
              <a:gd name="connsiteY243" fmla="*/ 365317 h 448122"/>
              <a:gd name="connsiteX244" fmla="*/ 225373 w 447236"/>
              <a:gd name="connsiteY244" fmla="*/ 365929 h 448122"/>
              <a:gd name="connsiteX245" fmla="*/ 226908 w 447236"/>
              <a:gd name="connsiteY245" fmla="*/ 368376 h 448122"/>
              <a:gd name="connsiteX246" fmla="*/ 229670 w 447236"/>
              <a:gd name="connsiteY246" fmla="*/ 369600 h 448122"/>
              <a:gd name="connsiteX247" fmla="*/ 229670 w 447236"/>
              <a:gd name="connsiteY247" fmla="*/ 380614 h 448122"/>
              <a:gd name="connsiteX248" fmla="*/ 228136 w 447236"/>
              <a:gd name="connsiteY248" fmla="*/ 380920 h 448122"/>
              <a:gd name="connsiteX249" fmla="*/ 222918 w 447236"/>
              <a:gd name="connsiteY249" fmla="*/ 381532 h 448122"/>
              <a:gd name="connsiteX250" fmla="*/ 221997 w 447236"/>
              <a:gd name="connsiteY250" fmla="*/ 380614 h 448122"/>
              <a:gd name="connsiteX251" fmla="*/ 218314 w 447236"/>
              <a:gd name="connsiteY251" fmla="*/ 380920 h 448122"/>
              <a:gd name="connsiteX252" fmla="*/ 216473 w 447236"/>
              <a:gd name="connsiteY252" fmla="*/ 378167 h 448122"/>
              <a:gd name="connsiteX253" fmla="*/ 214631 w 447236"/>
              <a:gd name="connsiteY253" fmla="*/ 379084 h 448122"/>
              <a:gd name="connsiteX254" fmla="*/ 212790 w 447236"/>
              <a:gd name="connsiteY254" fmla="*/ 379390 h 448122"/>
              <a:gd name="connsiteX255" fmla="*/ 211255 w 447236"/>
              <a:gd name="connsiteY255" fmla="*/ 379390 h 448122"/>
              <a:gd name="connsiteX256" fmla="*/ 208186 w 447236"/>
              <a:gd name="connsiteY256" fmla="*/ 375719 h 448122"/>
              <a:gd name="connsiteX257" fmla="*/ 203275 w 447236"/>
              <a:gd name="connsiteY257" fmla="*/ 375413 h 448122"/>
              <a:gd name="connsiteX258" fmla="*/ 202047 w 447236"/>
              <a:gd name="connsiteY258" fmla="*/ 372660 h 448122"/>
              <a:gd name="connsiteX259" fmla="*/ 190998 w 447236"/>
              <a:gd name="connsiteY259" fmla="*/ 368376 h 448122"/>
              <a:gd name="connsiteX260" fmla="*/ 208800 w 447236"/>
              <a:gd name="connsiteY260" fmla="*/ 368376 h 448122"/>
              <a:gd name="connsiteX261" fmla="*/ 217087 w 447236"/>
              <a:gd name="connsiteY261" fmla="*/ 367153 h 448122"/>
              <a:gd name="connsiteX262" fmla="*/ 221383 w 447236"/>
              <a:gd name="connsiteY262" fmla="*/ 365623 h 448122"/>
              <a:gd name="connsiteX263" fmla="*/ 223839 w 447236"/>
              <a:gd name="connsiteY263" fmla="*/ 365317 h 448122"/>
              <a:gd name="connsiteX264" fmla="*/ 147381 w 447236"/>
              <a:gd name="connsiteY264" fmla="*/ 360155 h 448122"/>
              <a:gd name="connsiteX265" fmla="*/ 155052 w 447236"/>
              <a:gd name="connsiteY265" fmla="*/ 363220 h 448122"/>
              <a:gd name="connsiteX266" fmla="*/ 158428 w 447236"/>
              <a:gd name="connsiteY266" fmla="*/ 371189 h 448122"/>
              <a:gd name="connsiteX267" fmla="*/ 155052 w 447236"/>
              <a:gd name="connsiteY267" fmla="*/ 378852 h 448122"/>
              <a:gd name="connsiteX268" fmla="*/ 147381 w 447236"/>
              <a:gd name="connsiteY268" fmla="*/ 381917 h 448122"/>
              <a:gd name="connsiteX269" fmla="*/ 139709 w 447236"/>
              <a:gd name="connsiteY269" fmla="*/ 378852 h 448122"/>
              <a:gd name="connsiteX270" fmla="*/ 136334 w 447236"/>
              <a:gd name="connsiteY270" fmla="*/ 371189 h 448122"/>
              <a:gd name="connsiteX271" fmla="*/ 139709 w 447236"/>
              <a:gd name="connsiteY271" fmla="*/ 363220 h 448122"/>
              <a:gd name="connsiteX272" fmla="*/ 147381 w 447236"/>
              <a:gd name="connsiteY272" fmla="*/ 360155 h 448122"/>
              <a:gd name="connsiteX273" fmla="*/ 233293 w 447236"/>
              <a:gd name="connsiteY273" fmla="*/ 358970 h 448122"/>
              <a:gd name="connsiteX274" fmla="*/ 237935 w 447236"/>
              <a:gd name="connsiteY274" fmla="*/ 363561 h 448122"/>
              <a:gd name="connsiteX275" fmla="*/ 235150 w 447236"/>
              <a:gd name="connsiteY275" fmla="*/ 367845 h 448122"/>
              <a:gd name="connsiteX276" fmla="*/ 234823 w 447236"/>
              <a:gd name="connsiteY276" fmla="*/ 392548 h 448122"/>
              <a:gd name="connsiteX277" fmla="*/ 244967 w 447236"/>
              <a:gd name="connsiteY277" fmla="*/ 390235 h 448122"/>
              <a:gd name="connsiteX278" fmla="*/ 245581 w 447236"/>
              <a:gd name="connsiteY278" fmla="*/ 387784 h 448122"/>
              <a:gd name="connsiteX279" fmla="*/ 244353 w 447236"/>
              <a:gd name="connsiteY279" fmla="*/ 387171 h 448122"/>
              <a:gd name="connsiteX280" fmla="*/ 241590 w 447236"/>
              <a:gd name="connsiteY280" fmla="*/ 389009 h 448122"/>
              <a:gd name="connsiteX281" fmla="*/ 238765 w 447236"/>
              <a:gd name="connsiteY281" fmla="*/ 389009 h 448122"/>
              <a:gd name="connsiteX282" fmla="*/ 239748 w 447236"/>
              <a:gd name="connsiteY282" fmla="*/ 387784 h 448122"/>
              <a:gd name="connsiteX283" fmla="*/ 237599 w 447236"/>
              <a:gd name="connsiteY283" fmla="*/ 389009 h 448122"/>
              <a:gd name="connsiteX284" fmla="*/ 237292 w 447236"/>
              <a:gd name="connsiteY284" fmla="*/ 386252 h 448122"/>
              <a:gd name="connsiteX285" fmla="*/ 239134 w 447236"/>
              <a:gd name="connsiteY285" fmla="*/ 383801 h 448122"/>
              <a:gd name="connsiteX286" fmla="*/ 240976 w 447236"/>
              <a:gd name="connsiteY286" fmla="*/ 383188 h 448122"/>
              <a:gd name="connsiteX287" fmla="*/ 248037 w 447236"/>
              <a:gd name="connsiteY287" fmla="*/ 384414 h 448122"/>
              <a:gd name="connsiteX288" fmla="*/ 249879 w 447236"/>
              <a:gd name="connsiteY288" fmla="*/ 388703 h 448122"/>
              <a:gd name="connsiteX289" fmla="*/ 248344 w 447236"/>
              <a:gd name="connsiteY289" fmla="*/ 392379 h 448122"/>
              <a:gd name="connsiteX290" fmla="*/ 241319 w 447236"/>
              <a:gd name="connsiteY290" fmla="*/ 396399 h 448122"/>
              <a:gd name="connsiteX291" fmla="*/ 242481 w 447236"/>
              <a:gd name="connsiteY291" fmla="*/ 404327 h 448122"/>
              <a:gd name="connsiteX292" fmla="*/ 237578 w 447236"/>
              <a:gd name="connsiteY292" fmla="*/ 406880 h 448122"/>
              <a:gd name="connsiteX293" fmla="*/ 240055 w 447236"/>
              <a:gd name="connsiteY293" fmla="*/ 408004 h 448122"/>
              <a:gd name="connsiteX294" fmla="*/ 241590 w 447236"/>
              <a:gd name="connsiteY294" fmla="*/ 415356 h 448122"/>
              <a:gd name="connsiteX295" fmla="*/ 237906 w 447236"/>
              <a:gd name="connsiteY295" fmla="*/ 418114 h 448122"/>
              <a:gd name="connsiteX296" fmla="*/ 235841 w 447236"/>
              <a:gd name="connsiteY296" fmla="*/ 418702 h 448122"/>
              <a:gd name="connsiteX297" fmla="*/ 239718 w 447236"/>
              <a:gd name="connsiteY297" fmla="*/ 422403 h 448122"/>
              <a:gd name="connsiteX298" fmla="*/ 235034 w 447236"/>
              <a:gd name="connsiteY298" fmla="*/ 429001 h 448122"/>
              <a:gd name="connsiteX299" fmla="*/ 236678 w 447236"/>
              <a:gd name="connsiteY299" fmla="*/ 431134 h 448122"/>
              <a:gd name="connsiteX300" fmla="*/ 240362 w 447236"/>
              <a:gd name="connsiteY300" fmla="*/ 435270 h 448122"/>
              <a:gd name="connsiteX301" fmla="*/ 237906 w 447236"/>
              <a:gd name="connsiteY301" fmla="*/ 434657 h 448122"/>
              <a:gd name="connsiteX302" fmla="*/ 234303 w 447236"/>
              <a:gd name="connsiteY302" fmla="*/ 431781 h 448122"/>
              <a:gd name="connsiteX303" fmla="*/ 234236 w 447236"/>
              <a:gd name="connsiteY303" fmla="*/ 436834 h 448122"/>
              <a:gd name="connsiteX304" fmla="*/ 234221 w 447236"/>
              <a:gd name="connsiteY304" fmla="*/ 437929 h 448122"/>
              <a:gd name="connsiteX305" fmla="*/ 232365 w 447236"/>
              <a:gd name="connsiteY305" fmla="*/ 437929 h 448122"/>
              <a:gd name="connsiteX306" fmla="*/ 232252 w 447236"/>
              <a:gd name="connsiteY306" fmla="*/ 431549 h 448122"/>
              <a:gd name="connsiteX307" fmla="*/ 228359 w 447236"/>
              <a:gd name="connsiteY307" fmla="*/ 434657 h 448122"/>
              <a:gd name="connsiteX308" fmla="*/ 225903 w 447236"/>
              <a:gd name="connsiteY308" fmla="*/ 435270 h 448122"/>
              <a:gd name="connsiteX309" fmla="*/ 229740 w 447236"/>
              <a:gd name="connsiteY309" fmla="*/ 431134 h 448122"/>
              <a:gd name="connsiteX310" fmla="*/ 231343 w 447236"/>
              <a:gd name="connsiteY310" fmla="*/ 429122 h 448122"/>
              <a:gd name="connsiteX311" fmla="*/ 226853 w 447236"/>
              <a:gd name="connsiteY311" fmla="*/ 422403 h 448122"/>
              <a:gd name="connsiteX312" fmla="*/ 230695 w 447236"/>
              <a:gd name="connsiteY312" fmla="*/ 418735 h 448122"/>
              <a:gd name="connsiteX313" fmla="*/ 228359 w 447236"/>
              <a:gd name="connsiteY313" fmla="*/ 418114 h 448122"/>
              <a:gd name="connsiteX314" fmla="*/ 224982 w 447236"/>
              <a:gd name="connsiteY314" fmla="*/ 415356 h 448122"/>
              <a:gd name="connsiteX315" fmla="*/ 226517 w 447236"/>
              <a:gd name="connsiteY315" fmla="*/ 408004 h 448122"/>
              <a:gd name="connsiteX316" fmla="*/ 228945 w 447236"/>
              <a:gd name="connsiteY316" fmla="*/ 406902 h 448122"/>
              <a:gd name="connsiteX317" fmla="*/ 223783 w 447236"/>
              <a:gd name="connsiteY317" fmla="*/ 404327 h 448122"/>
              <a:gd name="connsiteX318" fmla="*/ 225066 w 447236"/>
              <a:gd name="connsiteY318" fmla="*/ 396349 h 448122"/>
              <a:gd name="connsiteX319" fmla="*/ 218227 w 447236"/>
              <a:gd name="connsiteY319" fmla="*/ 392379 h 448122"/>
              <a:gd name="connsiteX320" fmla="*/ 216385 w 447236"/>
              <a:gd name="connsiteY320" fmla="*/ 388703 h 448122"/>
              <a:gd name="connsiteX321" fmla="*/ 218227 w 447236"/>
              <a:gd name="connsiteY321" fmla="*/ 384414 h 448122"/>
              <a:gd name="connsiteX322" fmla="*/ 225289 w 447236"/>
              <a:gd name="connsiteY322" fmla="*/ 383188 h 448122"/>
              <a:gd name="connsiteX323" fmla="*/ 227131 w 447236"/>
              <a:gd name="connsiteY323" fmla="*/ 383801 h 448122"/>
              <a:gd name="connsiteX324" fmla="*/ 229280 w 447236"/>
              <a:gd name="connsiteY324" fmla="*/ 386252 h 448122"/>
              <a:gd name="connsiteX325" fmla="*/ 228700 w 447236"/>
              <a:gd name="connsiteY325" fmla="*/ 388854 h 448122"/>
              <a:gd name="connsiteX326" fmla="*/ 226824 w 447236"/>
              <a:gd name="connsiteY326" fmla="*/ 387784 h 448122"/>
              <a:gd name="connsiteX327" fmla="*/ 227806 w 447236"/>
              <a:gd name="connsiteY327" fmla="*/ 389009 h 448122"/>
              <a:gd name="connsiteX328" fmla="*/ 224675 w 447236"/>
              <a:gd name="connsiteY328" fmla="*/ 389009 h 448122"/>
              <a:gd name="connsiteX329" fmla="*/ 221911 w 447236"/>
              <a:gd name="connsiteY329" fmla="*/ 387171 h 448122"/>
              <a:gd name="connsiteX330" fmla="*/ 220683 w 447236"/>
              <a:gd name="connsiteY330" fmla="*/ 387784 h 448122"/>
              <a:gd name="connsiteX331" fmla="*/ 221604 w 447236"/>
              <a:gd name="connsiteY331" fmla="*/ 390235 h 448122"/>
              <a:gd name="connsiteX332" fmla="*/ 231564 w 447236"/>
              <a:gd name="connsiteY332" fmla="*/ 392573 h 448122"/>
              <a:gd name="connsiteX333" fmla="*/ 231281 w 447236"/>
              <a:gd name="connsiteY333" fmla="*/ 376606 h 448122"/>
              <a:gd name="connsiteX334" fmla="*/ 231127 w 447236"/>
              <a:gd name="connsiteY334" fmla="*/ 367845 h 448122"/>
              <a:gd name="connsiteX335" fmla="*/ 228341 w 447236"/>
              <a:gd name="connsiteY335" fmla="*/ 363561 h 448122"/>
              <a:gd name="connsiteX336" fmla="*/ 233293 w 447236"/>
              <a:gd name="connsiteY336" fmla="*/ 358970 h 448122"/>
              <a:gd name="connsiteX337" fmla="*/ 147381 w 447236"/>
              <a:gd name="connsiteY337" fmla="*/ 358929 h 448122"/>
              <a:gd name="connsiteX338" fmla="*/ 138789 w 447236"/>
              <a:gd name="connsiteY338" fmla="*/ 362301 h 448122"/>
              <a:gd name="connsiteX339" fmla="*/ 135106 w 447236"/>
              <a:gd name="connsiteY339" fmla="*/ 371189 h 448122"/>
              <a:gd name="connsiteX340" fmla="*/ 138789 w 447236"/>
              <a:gd name="connsiteY340" fmla="*/ 379771 h 448122"/>
              <a:gd name="connsiteX341" fmla="*/ 147381 w 447236"/>
              <a:gd name="connsiteY341" fmla="*/ 383449 h 448122"/>
              <a:gd name="connsiteX342" fmla="*/ 155973 w 447236"/>
              <a:gd name="connsiteY342" fmla="*/ 379771 h 448122"/>
              <a:gd name="connsiteX343" fmla="*/ 159655 w 447236"/>
              <a:gd name="connsiteY343" fmla="*/ 371189 h 448122"/>
              <a:gd name="connsiteX344" fmla="*/ 155973 w 447236"/>
              <a:gd name="connsiteY344" fmla="*/ 362301 h 448122"/>
              <a:gd name="connsiteX345" fmla="*/ 147381 w 447236"/>
              <a:gd name="connsiteY345" fmla="*/ 358929 h 448122"/>
              <a:gd name="connsiteX346" fmla="*/ 292250 w 447236"/>
              <a:gd name="connsiteY346" fmla="*/ 353965 h 448122"/>
              <a:gd name="connsiteX347" fmla="*/ 284271 w 447236"/>
              <a:gd name="connsiteY347" fmla="*/ 361933 h 448122"/>
              <a:gd name="connsiteX348" fmla="*/ 292250 w 447236"/>
              <a:gd name="connsiteY348" fmla="*/ 369595 h 448122"/>
              <a:gd name="connsiteX349" fmla="*/ 299922 w 447236"/>
              <a:gd name="connsiteY349" fmla="*/ 361933 h 448122"/>
              <a:gd name="connsiteX350" fmla="*/ 292250 w 447236"/>
              <a:gd name="connsiteY350" fmla="*/ 353965 h 448122"/>
              <a:gd name="connsiteX351" fmla="*/ 248047 w 447236"/>
              <a:gd name="connsiteY351" fmla="*/ 347918 h 448122"/>
              <a:gd name="connsiteX352" fmla="*/ 247128 w 447236"/>
              <a:gd name="connsiteY352" fmla="*/ 348224 h 448122"/>
              <a:gd name="connsiteX353" fmla="*/ 246515 w 447236"/>
              <a:gd name="connsiteY353" fmla="*/ 349449 h 448122"/>
              <a:gd name="connsiteX354" fmla="*/ 247128 w 447236"/>
              <a:gd name="connsiteY354" fmla="*/ 350674 h 448122"/>
              <a:gd name="connsiteX355" fmla="*/ 248047 w 447236"/>
              <a:gd name="connsiteY355" fmla="*/ 350981 h 448122"/>
              <a:gd name="connsiteX356" fmla="*/ 249272 w 447236"/>
              <a:gd name="connsiteY356" fmla="*/ 350674 h 448122"/>
              <a:gd name="connsiteX357" fmla="*/ 249578 w 447236"/>
              <a:gd name="connsiteY357" fmla="*/ 349449 h 448122"/>
              <a:gd name="connsiteX358" fmla="*/ 249272 w 447236"/>
              <a:gd name="connsiteY358" fmla="*/ 348224 h 448122"/>
              <a:gd name="connsiteX359" fmla="*/ 248047 w 447236"/>
              <a:gd name="connsiteY359" fmla="*/ 347918 h 448122"/>
              <a:gd name="connsiteX360" fmla="*/ 248047 w 447236"/>
              <a:gd name="connsiteY360" fmla="*/ 343324 h 448122"/>
              <a:gd name="connsiteX361" fmla="*/ 254172 w 447236"/>
              <a:gd name="connsiteY361" fmla="*/ 349449 h 448122"/>
              <a:gd name="connsiteX362" fmla="*/ 248047 w 447236"/>
              <a:gd name="connsiteY362" fmla="*/ 355575 h 448122"/>
              <a:gd name="connsiteX363" fmla="*/ 241921 w 447236"/>
              <a:gd name="connsiteY363" fmla="*/ 349449 h 448122"/>
              <a:gd name="connsiteX364" fmla="*/ 248047 w 447236"/>
              <a:gd name="connsiteY364" fmla="*/ 343324 h 448122"/>
              <a:gd name="connsiteX365" fmla="*/ 248047 w 447236"/>
              <a:gd name="connsiteY365" fmla="*/ 342037 h 448122"/>
              <a:gd name="connsiteX366" fmla="*/ 241327 w 447236"/>
              <a:gd name="connsiteY366" fmla="*/ 344788 h 448122"/>
              <a:gd name="connsiteX367" fmla="*/ 238578 w 447236"/>
              <a:gd name="connsiteY367" fmla="*/ 351817 h 448122"/>
              <a:gd name="connsiteX368" fmla="*/ 241327 w 447236"/>
              <a:gd name="connsiteY368" fmla="*/ 358540 h 448122"/>
              <a:gd name="connsiteX369" fmla="*/ 248047 w 447236"/>
              <a:gd name="connsiteY369" fmla="*/ 361290 h 448122"/>
              <a:gd name="connsiteX370" fmla="*/ 255072 w 447236"/>
              <a:gd name="connsiteY370" fmla="*/ 358540 h 448122"/>
              <a:gd name="connsiteX371" fmla="*/ 257821 w 447236"/>
              <a:gd name="connsiteY371" fmla="*/ 351817 h 448122"/>
              <a:gd name="connsiteX372" fmla="*/ 255072 w 447236"/>
              <a:gd name="connsiteY372" fmla="*/ 344788 h 448122"/>
              <a:gd name="connsiteX373" fmla="*/ 248047 w 447236"/>
              <a:gd name="connsiteY373" fmla="*/ 342037 h 448122"/>
              <a:gd name="connsiteX374" fmla="*/ 201047 w 447236"/>
              <a:gd name="connsiteY374" fmla="*/ 341678 h 448122"/>
              <a:gd name="connsiteX375" fmla="*/ 201047 w 447236"/>
              <a:gd name="connsiteY375" fmla="*/ 344743 h 448122"/>
              <a:gd name="connsiteX376" fmla="*/ 203815 w 447236"/>
              <a:gd name="connsiteY376" fmla="*/ 344743 h 448122"/>
              <a:gd name="connsiteX377" fmla="*/ 203815 w 447236"/>
              <a:gd name="connsiteY377" fmla="*/ 341678 h 448122"/>
              <a:gd name="connsiteX378" fmla="*/ 201047 w 447236"/>
              <a:gd name="connsiteY378" fmla="*/ 341678 h 448122"/>
              <a:gd name="connsiteX379" fmla="*/ 213417 w 447236"/>
              <a:gd name="connsiteY379" fmla="*/ 338850 h 448122"/>
              <a:gd name="connsiteX380" fmla="*/ 205895 w 447236"/>
              <a:gd name="connsiteY380" fmla="*/ 346348 h 448122"/>
              <a:gd name="connsiteX381" fmla="*/ 203073 w 447236"/>
              <a:gd name="connsiteY381" fmla="*/ 349162 h 448122"/>
              <a:gd name="connsiteX382" fmla="*/ 208922 w 447236"/>
              <a:gd name="connsiteY382" fmla="*/ 355034 h 448122"/>
              <a:gd name="connsiteX383" fmla="*/ 212729 w 447236"/>
              <a:gd name="connsiteY383" fmla="*/ 358855 h 448122"/>
              <a:gd name="connsiteX384" fmla="*/ 217958 w 447236"/>
              <a:gd name="connsiteY384" fmla="*/ 360995 h 448122"/>
              <a:gd name="connsiteX385" fmla="*/ 223187 w 447236"/>
              <a:gd name="connsiteY385" fmla="*/ 358855 h 448122"/>
              <a:gd name="connsiteX386" fmla="*/ 225032 w 447236"/>
              <a:gd name="connsiteY386" fmla="*/ 353659 h 448122"/>
              <a:gd name="connsiteX387" fmla="*/ 223187 w 447236"/>
              <a:gd name="connsiteY387" fmla="*/ 348462 h 448122"/>
              <a:gd name="connsiteX388" fmla="*/ 196435 w 447236"/>
              <a:gd name="connsiteY388" fmla="*/ 337079 h 448122"/>
              <a:gd name="connsiteX389" fmla="*/ 196435 w 447236"/>
              <a:gd name="connsiteY389" fmla="*/ 340145 h 448122"/>
              <a:gd name="connsiteX390" fmla="*/ 199202 w 447236"/>
              <a:gd name="connsiteY390" fmla="*/ 340145 h 448122"/>
              <a:gd name="connsiteX391" fmla="*/ 199202 w 447236"/>
              <a:gd name="connsiteY391" fmla="*/ 337079 h 448122"/>
              <a:gd name="connsiteX392" fmla="*/ 196435 w 447236"/>
              <a:gd name="connsiteY392" fmla="*/ 337079 h 448122"/>
              <a:gd name="connsiteX393" fmla="*/ 205967 w 447236"/>
              <a:gd name="connsiteY393" fmla="*/ 336773 h 448122"/>
              <a:gd name="connsiteX394" fmla="*/ 205967 w 447236"/>
              <a:gd name="connsiteY394" fmla="*/ 339532 h 448122"/>
              <a:gd name="connsiteX395" fmla="*/ 209042 w 447236"/>
              <a:gd name="connsiteY395" fmla="*/ 339532 h 448122"/>
              <a:gd name="connsiteX396" fmla="*/ 209042 w 447236"/>
              <a:gd name="connsiteY396" fmla="*/ 336773 h 448122"/>
              <a:gd name="connsiteX397" fmla="*/ 205967 w 447236"/>
              <a:gd name="connsiteY397" fmla="*/ 336773 h 448122"/>
              <a:gd name="connsiteX398" fmla="*/ 201355 w 447236"/>
              <a:gd name="connsiteY398" fmla="*/ 332174 h 448122"/>
              <a:gd name="connsiteX399" fmla="*/ 201355 w 447236"/>
              <a:gd name="connsiteY399" fmla="*/ 334933 h 448122"/>
              <a:gd name="connsiteX400" fmla="*/ 204430 w 447236"/>
              <a:gd name="connsiteY400" fmla="*/ 334933 h 448122"/>
              <a:gd name="connsiteX401" fmla="*/ 204430 w 447236"/>
              <a:gd name="connsiteY401" fmla="*/ 332174 h 448122"/>
              <a:gd name="connsiteX402" fmla="*/ 201355 w 447236"/>
              <a:gd name="connsiteY402" fmla="*/ 332174 h 448122"/>
              <a:gd name="connsiteX403" fmla="*/ 153802 w 447236"/>
              <a:gd name="connsiteY403" fmla="*/ 323988 h 448122"/>
              <a:gd name="connsiteX404" fmla="*/ 148257 w 447236"/>
              <a:gd name="connsiteY404" fmla="*/ 332259 h 448122"/>
              <a:gd name="connsiteX405" fmla="*/ 153802 w 447236"/>
              <a:gd name="connsiteY405" fmla="*/ 340224 h 448122"/>
              <a:gd name="connsiteX406" fmla="*/ 146717 w 447236"/>
              <a:gd name="connsiteY406" fmla="*/ 332259 h 448122"/>
              <a:gd name="connsiteX407" fmla="*/ 153802 w 447236"/>
              <a:gd name="connsiteY407" fmla="*/ 323988 h 448122"/>
              <a:gd name="connsiteX408" fmla="*/ 262733 w 447236"/>
              <a:gd name="connsiteY408" fmla="*/ 321184 h 448122"/>
              <a:gd name="connsiteX409" fmla="*/ 269818 w 447236"/>
              <a:gd name="connsiteY409" fmla="*/ 326393 h 448122"/>
              <a:gd name="connsiteX410" fmla="*/ 276903 w 447236"/>
              <a:gd name="connsiteY410" fmla="*/ 321184 h 448122"/>
              <a:gd name="connsiteX411" fmla="*/ 283988 w 447236"/>
              <a:gd name="connsiteY411" fmla="*/ 328232 h 448122"/>
              <a:gd name="connsiteX412" fmla="*/ 269818 w 447236"/>
              <a:gd name="connsiteY412" fmla="*/ 349376 h 448122"/>
              <a:gd name="connsiteX413" fmla="*/ 255648 w 447236"/>
              <a:gd name="connsiteY413" fmla="*/ 328232 h 448122"/>
              <a:gd name="connsiteX414" fmla="*/ 262733 w 447236"/>
              <a:gd name="connsiteY414" fmla="*/ 321184 h 448122"/>
              <a:gd name="connsiteX415" fmla="*/ 147603 w 447236"/>
              <a:gd name="connsiteY415" fmla="*/ 320888 h 448122"/>
              <a:gd name="connsiteX416" fmla="*/ 140289 w 447236"/>
              <a:gd name="connsiteY416" fmla="*/ 332253 h 448122"/>
              <a:gd name="connsiteX417" fmla="*/ 147603 w 447236"/>
              <a:gd name="connsiteY417" fmla="*/ 343619 h 448122"/>
              <a:gd name="connsiteX418" fmla="*/ 138156 w 447236"/>
              <a:gd name="connsiteY418" fmla="*/ 332253 h 448122"/>
              <a:gd name="connsiteX419" fmla="*/ 147603 w 447236"/>
              <a:gd name="connsiteY419" fmla="*/ 320888 h 448122"/>
              <a:gd name="connsiteX420" fmla="*/ 157200 w 447236"/>
              <a:gd name="connsiteY420" fmla="*/ 320003 h 448122"/>
              <a:gd name="connsiteX421" fmla="*/ 160883 w 447236"/>
              <a:gd name="connsiteY421" fmla="*/ 320003 h 448122"/>
              <a:gd name="connsiteX422" fmla="*/ 162110 w 447236"/>
              <a:gd name="connsiteY422" fmla="*/ 321229 h 448122"/>
              <a:gd name="connsiteX423" fmla="*/ 162110 w 447236"/>
              <a:gd name="connsiteY423" fmla="*/ 351573 h 448122"/>
              <a:gd name="connsiteX424" fmla="*/ 164872 w 447236"/>
              <a:gd name="connsiteY424" fmla="*/ 356477 h 448122"/>
              <a:gd name="connsiteX425" fmla="*/ 164872 w 447236"/>
              <a:gd name="connsiteY425" fmla="*/ 444751 h 448122"/>
              <a:gd name="connsiteX426" fmla="*/ 161496 w 447236"/>
              <a:gd name="connsiteY426" fmla="*/ 448122 h 448122"/>
              <a:gd name="connsiteX427" fmla="*/ 133265 w 447236"/>
              <a:gd name="connsiteY427" fmla="*/ 448122 h 448122"/>
              <a:gd name="connsiteX428" fmla="*/ 129890 w 447236"/>
              <a:gd name="connsiteY428" fmla="*/ 444751 h 448122"/>
              <a:gd name="connsiteX429" fmla="*/ 129890 w 447236"/>
              <a:gd name="connsiteY429" fmla="*/ 357396 h 448122"/>
              <a:gd name="connsiteX430" fmla="*/ 136948 w 447236"/>
              <a:gd name="connsiteY430" fmla="*/ 350347 h 448122"/>
              <a:gd name="connsiteX431" fmla="*/ 155973 w 447236"/>
              <a:gd name="connsiteY431" fmla="*/ 350347 h 448122"/>
              <a:gd name="connsiteX432" fmla="*/ 155973 w 447236"/>
              <a:gd name="connsiteY432" fmla="*/ 321229 h 448122"/>
              <a:gd name="connsiteX433" fmla="*/ 157200 w 447236"/>
              <a:gd name="connsiteY433" fmla="*/ 320003 h 448122"/>
              <a:gd name="connsiteX434" fmla="*/ 295319 w 447236"/>
              <a:gd name="connsiteY434" fmla="*/ 317800 h 448122"/>
              <a:gd name="connsiteX435" fmla="*/ 304219 w 447236"/>
              <a:gd name="connsiteY435" fmla="*/ 320559 h 448122"/>
              <a:gd name="connsiteX436" fmla="*/ 304833 w 447236"/>
              <a:gd name="connsiteY436" fmla="*/ 321785 h 448122"/>
              <a:gd name="connsiteX437" fmla="*/ 303912 w 447236"/>
              <a:gd name="connsiteY437" fmla="*/ 323930 h 448122"/>
              <a:gd name="connsiteX438" fmla="*/ 302991 w 447236"/>
              <a:gd name="connsiteY438" fmla="*/ 324543 h 448122"/>
              <a:gd name="connsiteX439" fmla="*/ 302378 w 447236"/>
              <a:gd name="connsiteY439" fmla="*/ 324543 h 448122"/>
              <a:gd name="connsiteX440" fmla="*/ 298081 w 447236"/>
              <a:gd name="connsiteY440" fmla="*/ 338028 h 448122"/>
              <a:gd name="connsiteX441" fmla="*/ 299002 w 447236"/>
              <a:gd name="connsiteY441" fmla="*/ 338334 h 448122"/>
              <a:gd name="connsiteX442" fmla="*/ 300843 w 447236"/>
              <a:gd name="connsiteY442" fmla="*/ 341706 h 448122"/>
              <a:gd name="connsiteX443" fmla="*/ 299002 w 447236"/>
              <a:gd name="connsiteY443" fmla="*/ 347835 h 448122"/>
              <a:gd name="connsiteX444" fmla="*/ 303605 w 447236"/>
              <a:gd name="connsiteY444" fmla="*/ 350593 h 448122"/>
              <a:gd name="connsiteX445" fmla="*/ 299002 w 447236"/>
              <a:gd name="connsiteY445" fmla="*/ 425374 h 448122"/>
              <a:gd name="connsiteX446" fmla="*/ 307901 w 447236"/>
              <a:gd name="connsiteY446" fmla="*/ 440392 h 448122"/>
              <a:gd name="connsiteX447" fmla="*/ 312505 w 447236"/>
              <a:gd name="connsiteY447" fmla="*/ 440392 h 448122"/>
              <a:gd name="connsiteX448" fmla="*/ 314039 w 447236"/>
              <a:gd name="connsiteY448" fmla="*/ 441924 h 448122"/>
              <a:gd name="connsiteX449" fmla="*/ 314039 w 447236"/>
              <a:gd name="connsiteY449" fmla="*/ 444376 h 448122"/>
              <a:gd name="connsiteX450" fmla="*/ 312505 w 447236"/>
              <a:gd name="connsiteY450" fmla="*/ 445908 h 448122"/>
              <a:gd name="connsiteX451" fmla="*/ 243456 w 447236"/>
              <a:gd name="connsiteY451" fmla="*/ 445908 h 448122"/>
              <a:gd name="connsiteX452" fmla="*/ 241921 w 447236"/>
              <a:gd name="connsiteY452" fmla="*/ 444376 h 448122"/>
              <a:gd name="connsiteX453" fmla="*/ 241921 w 447236"/>
              <a:gd name="connsiteY453" fmla="*/ 441924 h 448122"/>
              <a:gd name="connsiteX454" fmla="*/ 243456 w 447236"/>
              <a:gd name="connsiteY454" fmla="*/ 440392 h 448122"/>
              <a:gd name="connsiteX455" fmla="*/ 280896 w 447236"/>
              <a:gd name="connsiteY455" fmla="*/ 440392 h 448122"/>
              <a:gd name="connsiteX456" fmla="*/ 280896 w 447236"/>
              <a:gd name="connsiteY456" fmla="*/ 432730 h 448122"/>
              <a:gd name="connsiteX457" fmla="*/ 273224 w 447236"/>
              <a:gd name="connsiteY457" fmla="*/ 429052 h 448122"/>
              <a:gd name="connsiteX458" fmla="*/ 273530 w 447236"/>
              <a:gd name="connsiteY458" fmla="*/ 428132 h 448122"/>
              <a:gd name="connsiteX459" fmla="*/ 270155 w 447236"/>
              <a:gd name="connsiteY459" fmla="*/ 427213 h 448122"/>
              <a:gd name="connsiteX460" fmla="*/ 262789 w 447236"/>
              <a:gd name="connsiteY460" fmla="*/ 427519 h 448122"/>
              <a:gd name="connsiteX461" fmla="*/ 253276 w 447236"/>
              <a:gd name="connsiteY461" fmla="*/ 421083 h 448122"/>
              <a:gd name="connsiteX462" fmla="*/ 262789 w 447236"/>
              <a:gd name="connsiteY462" fmla="*/ 418019 h 448122"/>
              <a:gd name="connsiteX463" fmla="*/ 271996 w 447236"/>
              <a:gd name="connsiteY463" fmla="*/ 424761 h 448122"/>
              <a:gd name="connsiteX464" fmla="*/ 271996 w 447236"/>
              <a:gd name="connsiteY464" fmla="*/ 425681 h 448122"/>
              <a:gd name="connsiteX465" fmla="*/ 274451 w 447236"/>
              <a:gd name="connsiteY465" fmla="*/ 426294 h 448122"/>
              <a:gd name="connsiteX466" fmla="*/ 282430 w 447236"/>
              <a:gd name="connsiteY466" fmla="*/ 408211 h 448122"/>
              <a:gd name="connsiteX467" fmla="*/ 251742 w 447236"/>
              <a:gd name="connsiteY467" fmla="*/ 400243 h 448122"/>
              <a:gd name="connsiteX468" fmla="*/ 250821 w 447236"/>
              <a:gd name="connsiteY468" fmla="*/ 398711 h 448122"/>
              <a:gd name="connsiteX469" fmla="*/ 251742 w 447236"/>
              <a:gd name="connsiteY469" fmla="*/ 395952 h 448122"/>
              <a:gd name="connsiteX470" fmla="*/ 252969 w 447236"/>
              <a:gd name="connsiteY470" fmla="*/ 395033 h 448122"/>
              <a:gd name="connsiteX471" fmla="*/ 291330 w 447236"/>
              <a:gd name="connsiteY471" fmla="*/ 405147 h 448122"/>
              <a:gd name="connsiteX472" fmla="*/ 292250 w 447236"/>
              <a:gd name="connsiteY472" fmla="*/ 406679 h 448122"/>
              <a:gd name="connsiteX473" fmla="*/ 291637 w 447236"/>
              <a:gd name="connsiteY473" fmla="*/ 408518 h 448122"/>
              <a:gd name="connsiteX474" fmla="*/ 294705 w 447236"/>
              <a:gd name="connsiteY474" fmla="*/ 408518 h 448122"/>
              <a:gd name="connsiteX475" fmla="*/ 307901 w 447236"/>
              <a:gd name="connsiteY475" fmla="*/ 388290 h 448122"/>
              <a:gd name="connsiteX476" fmla="*/ 288568 w 447236"/>
              <a:gd name="connsiteY476" fmla="*/ 380015 h 448122"/>
              <a:gd name="connsiteX477" fmla="*/ 285806 w 447236"/>
              <a:gd name="connsiteY477" fmla="*/ 389210 h 448122"/>
              <a:gd name="connsiteX478" fmla="*/ 282430 w 447236"/>
              <a:gd name="connsiteY478" fmla="*/ 391048 h 448122"/>
              <a:gd name="connsiteX479" fmla="*/ 281816 w 447236"/>
              <a:gd name="connsiteY479" fmla="*/ 390742 h 448122"/>
              <a:gd name="connsiteX480" fmla="*/ 280589 w 447236"/>
              <a:gd name="connsiteY480" fmla="*/ 394726 h 448122"/>
              <a:gd name="connsiteX481" fmla="*/ 278747 w 447236"/>
              <a:gd name="connsiteY481" fmla="*/ 395646 h 448122"/>
              <a:gd name="connsiteX482" fmla="*/ 273224 w 447236"/>
              <a:gd name="connsiteY482" fmla="*/ 393807 h 448122"/>
              <a:gd name="connsiteX483" fmla="*/ 272303 w 447236"/>
              <a:gd name="connsiteY483" fmla="*/ 391968 h 448122"/>
              <a:gd name="connsiteX484" fmla="*/ 273530 w 447236"/>
              <a:gd name="connsiteY484" fmla="*/ 387984 h 448122"/>
              <a:gd name="connsiteX485" fmla="*/ 272917 w 447236"/>
              <a:gd name="connsiteY485" fmla="*/ 387984 h 448122"/>
              <a:gd name="connsiteX486" fmla="*/ 271075 w 447236"/>
              <a:gd name="connsiteY486" fmla="*/ 384612 h 448122"/>
              <a:gd name="connsiteX487" fmla="*/ 286113 w 447236"/>
              <a:gd name="connsiteY487" fmla="*/ 337108 h 448122"/>
              <a:gd name="connsiteX488" fmla="*/ 289488 w 447236"/>
              <a:gd name="connsiteY488" fmla="*/ 335270 h 448122"/>
              <a:gd name="connsiteX489" fmla="*/ 290102 w 447236"/>
              <a:gd name="connsiteY489" fmla="*/ 335576 h 448122"/>
              <a:gd name="connsiteX490" fmla="*/ 294399 w 447236"/>
              <a:gd name="connsiteY490" fmla="*/ 321785 h 448122"/>
              <a:gd name="connsiteX491" fmla="*/ 293785 w 447236"/>
              <a:gd name="connsiteY491" fmla="*/ 321785 h 448122"/>
              <a:gd name="connsiteX492" fmla="*/ 293171 w 447236"/>
              <a:gd name="connsiteY492" fmla="*/ 320559 h 448122"/>
              <a:gd name="connsiteX493" fmla="*/ 294092 w 447236"/>
              <a:gd name="connsiteY493" fmla="*/ 318413 h 448122"/>
              <a:gd name="connsiteX494" fmla="*/ 295319 w 447236"/>
              <a:gd name="connsiteY494" fmla="*/ 317800 h 448122"/>
              <a:gd name="connsiteX495" fmla="*/ 187507 w 447236"/>
              <a:gd name="connsiteY495" fmla="*/ 316060 h 448122"/>
              <a:gd name="connsiteX496" fmla="*/ 182278 w 447236"/>
              <a:gd name="connsiteY496" fmla="*/ 318199 h 448122"/>
              <a:gd name="connsiteX497" fmla="*/ 180125 w 447236"/>
              <a:gd name="connsiteY497" fmla="*/ 323396 h 448122"/>
              <a:gd name="connsiteX498" fmla="*/ 182278 w 447236"/>
              <a:gd name="connsiteY498" fmla="*/ 328287 h 448122"/>
              <a:gd name="connsiteX499" fmla="*/ 191887 w 447236"/>
              <a:gd name="connsiteY499" fmla="*/ 337934 h 448122"/>
              <a:gd name="connsiteX500" fmla="*/ 199452 w 447236"/>
              <a:gd name="connsiteY500" fmla="*/ 330392 h 448122"/>
              <a:gd name="connsiteX501" fmla="*/ 202119 w 447236"/>
              <a:gd name="connsiteY501" fmla="*/ 327734 h 448122"/>
              <a:gd name="connsiteX502" fmla="*/ 196273 w 447236"/>
              <a:gd name="connsiteY502" fmla="*/ 321982 h 448122"/>
              <a:gd name="connsiteX503" fmla="*/ 192428 w 447236"/>
              <a:gd name="connsiteY503" fmla="*/ 318199 h 448122"/>
              <a:gd name="connsiteX504" fmla="*/ 187507 w 447236"/>
              <a:gd name="connsiteY504" fmla="*/ 316060 h 448122"/>
              <a:gd name="connsiteX505" fmla="*/ 143027 w 447236"/>
              <a:gd name="connsiteY505" fmla="*/ 315427 h 448122"/>
              <a:gd name="connsiteX506" fmla="*/ 132045 w 447236"/>
              <a:gd name="connsiteY506" fmla="*/ 332259 h 448122"/>
              <a:gd name="connsiteX507" fmla="*/ 143027 w 447236"/>
              <a:gd name="connsiteY507" fmla="*/ 348785 h 448122"/>
              <a:gd name="connsiteX508" fmla="*/ 129300 w 447236"/>
              <a:gd name="connsiteY508" fmla="*/ 332259 h 448122"/>
              <a:gd name="connsiteX509" fmla="*/ 143027 w 447236"/>
              <a:gd name="connsiteY509" fmla="*/ 315427 h 448122"/>
              <a:gd name="connsiteX510" fmla="*/ 187507 w 447236"/>
              <a:gd name="connsiteY510" fmla="*/ 314837 h 448122"/>
              <a:gd name="connsiteX511" fmla="*/ 193351 w 447236"/>
              <a:gd name="connsiteY511" fmla="*/ 317282 h 448122"/>
              <a:gd name="connsiteX512" fmla="*/ 203040 w 447236"/>
              <a:gd name="connsiteY512" fmla="*/ 326815 h 448122"/>
              <a:gd name="connsiteX513" fmla="*/ 208581 w 447236"/>
              <a:gd name="connsiteY513" fmla="*/ 321291 h 448122"/>
              <a:gd name="connsiteX514" fmla="*/ 212425 w 447236"/>
              <a:gd name="connsiteY514" fmla="*/ 317459 h 448122"/>
              <a:gd name="connsiteX515" fmla="*/ 223495 w 447236"/>
              <a:gd name="connsiteY515" fmla="*/ 317459 h 448122"/>
              <a:gd name="connsiteX516" fmla="*/ 223495 w 447236"/>
              <a:gd name="connsiteY516" fmla="*/ 328802 h 448122"/>
              <a:gd name="connsiteX517" fmla="*/ 214338 w 447236"/>
              <a:gd name="connsiteY517" fmla="*/ 337931 h 448122"/>
              <a:gd name="connsiteX518" fmla="*/ 220265 w 447236"/>
              <a:gd name="connsiteY518" fmla="*/ 343762 h 448122"/>
              <a:gd name="connsiteX519" fmla="*/ 224110 w 447236"/>
              <a:gd name="connsiteY519" fmla="*/ 347545 h 448122"/>
              <a:gd name="connsiteX520" fmla="*/ 226570 w 447236"/>
              <a:gd name="connsiteY520" fmla="*/ 353659 h 448122"/>
              <a:gd name="connsiteX521" fmla="*/ 224110 w 447236"/>
              <a:gd name="connsiteY521" fmla="*/ 359772 h 448122"/>
              <a:gd name="connsiteX522" fmla="*/ 217958 w 447236"/>
              <a:gd name="connsiteY522" fmla="*/ 362218 h 448122"/>
              <a:gd name="connsiteX523" fmla="*/ 211806 w 447236"/>
              <a:gd name="connsiteY523" fmla="*/ 359772 h 448122"/>
              <a:gd name="connsiteX524" fmla="*/ 202151 w 447236"/>
              <a:gd name="connsiteY524" fmla="*/ 350080 h 448122"/>
              <a:gd name="connsiteX525" fmla="*/ 196858 w 447236"/>
              <a:gd name="connsiteY525" fmla="*/ 355358 h 448122"/>
              <a:gd name="connsiteX526" fmla="*/ 193052 w 447236"/>
              <a:gd name="connsiteY526" fmla="*/ 359151 h 448122"/>
              <a:gd name="connsiteX527" fmla="*/ 181674 w 447236"/>
              <a:gd name="connsiteY527" fmla="*/ 359151 h 448122"/>
              <a:gd name="connsiteX528" fmla="*/ 181674 w 447236"/>
              <a:gd name="connsiteY528" fmla="*/ 348115 h 448122"/>
              <a:gd name="connsiteX529" fmla="*/ 190966 w 447236"/>
              <a:gd name="connsiteY529" fmla="*/ 338852 h 448122"/>
              <a:gd name="connsiteX530" fmla="*/ 185161 w 447236"/>
              <a:gd name="connsiteY530" fmla="*/ 333025 h 448122"/>
              <a:gd name="connsiteX531" fmla="*/ 181355 w 447236"/>
              <a:gd name="connsiteY531" fmla="*/ 329204 h 448122"/>
              <a:gd name="connsiteX532" fmla="*/ 178894 w 447236"/>
              <a:gd name="connsiteY532" fmla="*/ 323396 h 448122"/>
              <a:gd name="connsiteX533" fmla="*/ 181355 w 447236"/>
              <a:gd name="connsiteY533" fmla="*/ 317282 h 448122"/>
              <a:gd name="connsiteX534" fmla="*/ 187507 w 447236"/>
              <a:gd name="connsiteY534" fmla="*/ 314837 h 448122"/>
              <a:gd name="connsiteX535" fmla="*/ 199820 w 447236"/>
              <a:gd name="connsiteY535" fmla="*/ 314087 h 448122"/>
              <a:gd name="connsiteX536" fmla="*/ 199821 w 447236"/>
              <a:gd name="connsiteY536" fmla="*/ 314088 h 448122"/>
              <a:gd name="connsiteX537" fmla="*/ 200745 w 447236"/>
              <a:gd name="connsiteY537" fmla="*/ 314088 h 448122"/>
              <a:gd name="connsiteX538" fmla="*/ 201668 w 447236"/>
              <a:gd name="connsiteY538" fmla="*/ 314088 h 448122"/>
              <a:gd name="connsiteX539" fmla="*/ 201668 w 447236"/>
              <a:gd name="connsiteY539" fmla="*/ 314087 h 448122"/>
              <a:gd name="connsiteX540" fmla="*/ 200992 w 447236"/>
              <a:gd name="connsiteY540" fmla="*/ 313129 h 448122"/>
              <a:gd name="connsiteX541" fmla="*/ 201020 w 447236"/>
              <a:gd name="connsiteY541" fmla="*/ 313168 h 448122"/>
              <a:gd name="connsiteX542" fmla="*/ 201030 w 447236"/>
              <a:gd name="connsiteY542" fmla="*/ 313154 h 448122"/>
              <a:gd name="connsiteX543" fmla="*/ 174725 w 447236"/>
              <a:gd name="connsiteY543" fmla="*/ 312657 h 448122"/>
              <a:gd name="connsiteX544" fmla="*/ 170648 w 447236"/>
              <a:gd name="connsiteY544" fmla="*/ 314394 h 448122"/>
              <a:gd name="connsiteX545" fmla="*/ 167607 w 447236"/>
              <a:gd name="connsiteY545" fmla="*/ 313487 h 448122"/>
              <a:gd name="connsiteX546" fmla="*/ 167664 w 447236"/>
              <a:gd name="connsiteY546" fmla="*/ 313611 h 448122"/>
              <a:gd name="connsiteX547" fmla="*/ 170422 w 447236"/>
              <a:gd name="connsiteY547" fmla="*/ 314530 h 448122"/>
              <a:gd name="connsiteX548" fmla="*/ 170728 w 447236"/>
              <a:gd name="connsiteY548" fmla="*/ 314530 h 448122"/>
              <a:gd name="connsiteX549" fmla="*/ 174712 w 447236"/>
              <a:gd name="connsiteY549" fmla="*/ 312691 h 448122"/>
              <a:gd name="connsiteX550" fmla="*/ 429011 w 447236"/>
              <a:gd name="connsiteY550" fmla="*/ 310428 h 448122"/>
              <a:gd name="connsiteX551" fmla="*/ 431286 w 447236"/>
              <a:gd name="connsiteY551" fmla="*/ 315733 h 448122"/>
              <a:gd name="connsiteX552" fmla="*/ 436819 w 447236"/>
              <a:gd name="connsiteY552" fmla="*/ 318222 h 448122"/>
              <a:gd name="connsiteX553" fmla="*/ 445918 w 447236"/>
              <a:gd name="connsiteY553" fmla="*/ 310340 h 448122"/>
              <a:gd name="connsiteX554" fmla="*/ 437999 w 447236"/>
              <a:gd name="connsiteY554" fmla="*/ 318244 h 448122"/>
              <a:gd name="connsiteX555" fmla="*/ 443862 w 447236"/>
              <a:gd name="connsiteY555" fmla="*/ 315733 h 448122"/>
              <a:gd name="connsiteX556" fmla="*/ 196064 w 447236"/>
              <a:gd name="connsiteY556" fmla="*/ 304479 h 448122"/>
              <a:gd name="connsiteX557" fmla="*/ 195491 w 447236"/>
              <a:gd name="connsiteY557" fmla="*/ 305201 h 448122"/>
              <a:gd name="connsiteX558" fmla="*/ 195511 w 447236"/>
              <a:gd name="connsiteY558" fmla="*/ 305230 h 448122"/>
              <a:gd name="connsiteX559" fmla="*/ 195511 w 447236"/>
              <a:gd name="connsiteY559" fmla="*/ 305203 h 448122"/>
              <a:gd name="connsiteX560" fmla="*/ 130397 w 447236"/>
              <a:gd name="connsiteY560" fmla="*/ 303117 h 448122"/>
              <a:gd name="connsiteX561" fmla="*/ 125792 w 447236"/>
              <a:gd name="connsiteY561" fmla="*/ 307409 h 448122"/>
              <a:gd name="connsiteX562" fmla="*/ 130397 w 447236"/>
              <a:gd name="connsiteY562" fmla="*/ 312009 h 448122"/>
              <a:gd name="connsiteX563" fmla="*/ 135001 w 447236"/>
              <a:gd name="connsiteY563" fmla="*/ 307409 h 448122"/>
              <a:gd name="connsiteX564" fmla="*/ 130397 w 447236"/>
              <a:gd name="connsiteY564" fmla="*/ 303117 h 448122"/>
              <a:gd name="connsiteX565" fmla="*/ 63789 w 447236"/>
              <a:gd name="connsiteY565" fmla="*/ 303117 h 448122"/>
              <a:gd name="connsiteX566" fmla="*/ 59185 w 447236"/>
              <a:gd name="connsiteY566" fmla="*/ 307409 h 448122"/>
              <a:gd name="connsiteX567" fmla="*/ 63789 w 447236"/>
              <a:gd name="connsiteY567" fmla="*/ 312009 h 448122"/>
              <a:gd name="connsiteX568" fmla="*/ 68086 w 447236"/>
              <a:gd name="connsiteY568" fmla="*/ 307409 h 448122"/>
              <a:gd name="connsiteX569" fmla="*/ 63789 w 447236"/>
              <a:gd name="connsiteY569" fmla="*/ 303117 h 448122"/>
              <a:gd name="connsiteX570" fmla="*/ 178187 w 447236"/>
              <a:gd name="connsiteY570" fmla="*/ 302387 h 448122"/>
              <a:gd name="connsiteX571" fmla="*/ 178036 w 447236"/>
              <a:gd name="connsiteY571" fmla="*/ 302459 h 448122"/>
              <a:gd name="connsiteX572" fmla="*/ 178036 w 447236"/>
              <a:gd name="connsiteY572" fmla="*/ 303989 h 448122"/>
              <a:gd name="connsiteX573" fmla="*/ 177034 w 447236"/>
              <a:gd name="connsiteY573" fmla="*/ 306777 h 448122"/>
              <a:gd name="connsiteX574" fmla="*/ 178082 w 447236"/>
              <a:gd name="connsiteY574" fmla="*/ 304109 h 448122"/>
              <a:gd name="connsiteX575" fmla="*/ 178082 w 447236"/>
              <a:gd name="connsiteY575" fmla="*/ 302576 h 448122"/>
              <a:gd name="connsiteX576" fmla="*/ 171035 w 447236"/>
              <a:gd name="connsiteY576" fmla="*/ 298898 h 448122"/>
              <a:gd name="connsiteX577" fmla="*/ 170360 w 447236"/>
              <a:gd name="connsiteY577" fmla="*/ 299262 h 448122"/>
              <a:gd name="connsiteX578" fmla="*/ 165383 w 447236"/>
              <a:gd name="connsiteY578" fmla="*/ 305771 h 448122"/>
              <a:gd name="connsiteX579" fmla="*/ 165212 w 447236"/>
              <a:gd name="connsiteY579" fmla="*/ 306254 h 448122"/>
              <a:gd name="connsiteX580" fmla="*/ 165326 w 447236"/>
              <a:gd name="connsiteY580" fmla="*/ 305845 h 448122"/>
              <a:gd name="connsiteX581" fmla="*/ 165107 w 447236"/>
              <a:gd name="connsiteY581" fmla="*/ 306131 h 448122"/>
              <a:gd name="connsiteX582" fmla="*/ 165216 w 447236"/>
              <a:gd name="connsiteY582" fmla="*/ 306268 h 448122"/>
              <a:gd name="connsiteX583" fmla="*/ 165212 w 447236"/>
              <a:gd name="connsiteY583" fmla="*/ 306254 h 448122"/>
              <a:gd name="connsiteX584" fmla="*/ 165219 w 447236"/>
              <a:gd name="connsiteY584" fmla="*/ 306271 h 448122"/>
              <a:gd name="connsiteX585" fmla="*/ 170658 w 447236"/>
              <a:gd name="connsiteY585" fmla="*/ 313102 h 448122"/>
              <a:gd name="connsiteX586" fmla="*/ 171035 w 447236"/>
              <a:gd name="connsiteY586" fmla="*/ 313304 h 448122"/>
              <a:gd name="connsiteX587" fmla="*/ 171126 w 447236"/>
              <a:gd name="connsiteY587" fmla="*/ 313251 h 448122"/>
              <a:gd name="connsiteX588" fmla="*/ 176497 w 447236"/>
              <a:gd name="connsiteY588" fmla="*/ 306131 h 448122"/>
              <a:gd name="connsiteX589" fmla="*/ 171422 w 447236"/>
              <a:gd name="connsiteY589" fmla="*/ 299124 h 448122"/>
              <a:gd name="connsiteX590" fmla="*/ 170956 w 447236"/>
              <a:gd name="connsiteY590" fmla="*/ 298481 h 448122"/>
              <a:gd name="connsiteX591" fmla="*/ 171021 w 447236"/>
              <a:gd name="connsiteY591" fmla="*/ 298571 h 448122"/>
              <a:gd name="connsiteX592" fmla="*/ 170865 w 447236"/>
              <a:gd name="connsiteY592" fmla="*/ 298600 h 448122"/>
              <a:gd name="connsiteX593" fmla="*/ 170728 w 447236"/>
              <a:gd name="connsiteY593" fmla="*/ 298285 h 448122"/>
              <a:gd name="connsiteX594" fmla="*/ 167848 w 447236"/>
              <a:gd name="connsiteY594" fmla="*/ 299171 h 448122"/>
              <a:gd name="connsiteX595" fmla="*/ 170865 w 447236"/>
              <a:gd name="connsiteY595" fmla="*/ 298600 h 448122"/>
              <a:gd name="connsiteX596" fmla="*/ 170771 w 447236"/>
              <a:gd name="connsiteY596" fmla="*/ 298723 h 448122"/>
              <a:gd name="connsiteX597" fmla="*/ 171035 w 447236"/>
              <a:gd name="connsiteY597" fmla="*/ 298591 h 448122"/>
              <a:gd name="connsiteX598" fmla="*/ 171037 w 447236"/>
              <a:gd name="connsiteY598" fmla="*/ 298593 h 448122"/>
              <a:gd name="connsiteX599" fmla="*/ 171021 w 447236"/>
              <a:gd name="connsiteY599" fmla="*/ 298571 h 448122"/>
              <a:gd name="connsiteX600" fmla="*/ 172530 w 447236"/>
              <a:gd name="connsiteY600" fmla="*/ 298285 h 448122"/>
              <a:gd name="connsiteX601" fmla="*/ 201344 w 447236"/>
              <a:gd name="connsiteY601" fmla="*/ 297872 h 448122"/>
              <a:gd name="connsiteX602" fmla="*/ 195819 w 447236"/>
              <a:gd name="connsiteY602" fmla="*/ 305203 h 448122"/>
              <a:gd name="connsiteX603" fmla="*/ 195819 w 447236"/>
              <a:gd name="connsiteY603" fmla="*/ 305509 h 448122"/>
              <a:gd name="connsiteX604" fmla="*/ 195903 w 447236"/>
              <a:gd name="connsiteY604" fmla="*/ 305796 h 448122"/>
              <a:gd name="connsiteX605" fmla="*/ 200260 w 447236"/>
              <a:gd name="connsiteY605" fmla="*/ 312074 h 448122"/>
              <a:gd name="connsiteX606" fmla="*/ 201036 w 447236"/>
              <a:gd name="connsiteY606" fmla="*/ 313145 h 448122"/>
              <a:gd name="connsiteX607" fmla="*/ 206549 w 447236"/>
              <a:gd name="connsiteY607" fmla="*/ 305201 h 448122"/>
              <a:gd name="connsiteX608" fmla="*/ 187199 w 447236"/>
              <a:gd name="connsiteY608" fmla="*/ 297544 h 448122"/>
              <a:gd name="connsiteX609" fmla="*/ 186903 w 447236"/>
              <a:gd name="connsiteY609" fmla="*/ 297838 h 448122"/>
              <a:gd name="connsiteX610" fmla="*/ 187345 w 447236"/>
              <a:gd name="connsiteY610" fmla="*/ 297544 h 448122"/>
              <a:gd name="connsiteX611" fmla="*/ 201360 w 447236"/>
              <a:gd name="connsiteY611" fmla="*/ 296625 h 448122"/>
              <a:gd name="connsiteX612" fmla="*/ 196797 w 447236"/>
              <a:gd name="connsiteY612" fmla="*/ 297693 h 448122"/>
              <a:gd name="connsiteX613" fmla="*/ 201617 w 447236"/>
              <a:gd name="connsiteY613" fmla="*/ 296625 h 448122"/>
              <a:gd name="connsiteX614" fmla="*/ 180534 w 447236"/>
              <a:gd name="connsiteY614" fmla="*/ 294020 h 448122"/>
              <a:gd name="connsiteX615" fmla="*/ 180498 w 447236"/>
              <a:gd name="connsiteY615" fmla="*/ 294197 h 448122"/>
              <a:gd name="connsiteX616" fmla="*/ 180190 w 447236"/>
              <a:gd name="connsiteY616" fmla="*/ 295727 h 448122"/>
              <a:gd name="connsiteX617" fmla="*/ 180236 w 447236"/>
              <a:gd name="connsiteY617" fmla="*/ 295788 h 448122"/>
              <a:gd name="connsiteX618" fmla="*/ 180534 w 447236"/>
              <a:gd name="connsiteY618" fmla="*/ 294300 h 448122"/>
              <a:gd name="connsiteX619" fmla="*/ 104306 w 447236"/>
              <a:gd name="connsiteY619" fmla="*/ 292692 h 448122"/>
              <a:gd name="connsiteX620" fmla="*/ 104613 w 447236"/>
              <a:gd name="connsiteY620" fmla="*/ 292692 h 448122"/>
              <a:gd name="connsiteX621" fmla="*/ 105227 w 447236"/>
              <a:gd name="connsiteY621" fmla="*/ 292692 h 448122"/>
              <a:gd name="connsiteX622" fmla="*/ 105534 w 447236"/>
              <a:gd name="connsiteY622" fmla="*/ 292692 h 448122"/>
              <a:gd name="connsiteX623" fmla="*/ 105534 w 447236"/>
              <a:gd name="connsiteY623" fmla="*/ 292999 h 448122"/>
              <a:gd name="connsiteX624" fmla="*/ 105534 w 447236"/>
              <a:gd name="connsiteY624" fmla="*/ 293305 h 448122"/>
              <a:gd name="connsiteX625" fmla="*/ 105227 w 447236"/>
              <a:gd name="connsiteY625" fmla="*/ 293612 h 448122"/>
              <a:gd name="connsiteX626" fmla="*/ 104920 w 447236"/>
              <a:gd name="connsiteY626" fmla="*/ 293612 h 448122"/>
              <a:gd name="connsiteX627" fmla="*/ 104306 w 447236"/>
              <a:gd name="connsiteY627" fmla="*/ 293612 h 448122"/>
              <a:gd name="connsiteX628" fmla="*/ 104306 w 447236"/>
              <a:gd name="connsiteY628" fmla="*/ 293305 h 448122"/>
              <a:gd name="connsiteX629" fmla="*/ 104306 w 447236"/>
              <a:gd name="connsiteY629" fmla="*/ 292999 h 448122"/>
              <a:gd name="connsiteX630" fmla="*/ 104306 w 447236"/>
              <a:gd name="connsiteY630" fmla="*/ 292692 h 448122"/>
              <a:gd name="connsiteX631" fmla="*/ 117812 w 447236"/>
              <a:gd name="connsiteY631" fmla="*/ 291159 h 448122"/>
              <a:gd name="connsiteX632" fmla="*/ 117812 w 447236"/>
              <a:gd name="connsiteY632" fmla="*/ 291772 h 448122"/>
              <a:gd name="connsiteX633" fmla="*/ 117812 w 447236"/>
              <a:gd name="connsiteY633" fmla="*/ 292692 h 448122"/>
              <a:gd name="connsiteX634" fmla="*/ 117198 w 447236"/>
              <a:gd name="connsiteY634" fmla="*/ 292692 h 448122"/>
              <a:gd name="connsiteX635" fmla="*/ 117505 w 447236"/>
              <a:gd name="connsiteY635" fmla="*/ 291772 h 448122"/>
              <a:gd name="connsiteX636" fmla="*/ 117812 w 447236"/>
              <a:gd name="connsiteY636" fmla="*/ 291159 h 448122"/>
              <a:gd name="connsiteX637" fmla="*/ 95098 w 447236"/>
              <a:gd name="connsiteY637" fmla="*/ 291159 h 448122"/>
              <a:gd name="connsiteX638" fmla="*/ 95405 w 447236"/>
              <a:gd name="connsiteY638" fmla="*/ 291159 h 448122"/>
              <a:gd name="connsiteX639" fmla="*/ 95405 w 447236"/>
              <a:gd name="connsiteY639" fmla="*/ 291772 h 448122"/>
              <a:gd name="connsiteX640" fmla="*/ 95405 w 447236"/>
              <a:gd name="connsiteY640" fmla="*/ 292692 h 448122"/>
              <a:gd name="connsiteX641" fmla="*/ 95098 w 447236"/>
              <a:gd name="connsiteY641" fmla="*/ 292692 h 448122"/>
              <a:gd name="connsiteX642" fmla="*/ 94791 w 447236"/>
              <a:gd name="connsiteY642" fmla="*/ 292692 h 448122"/>
              <a:gd name="connsiteX643" fmla="*/ 94484 w 447236"/>
              <a:gd name="connsiteY643" fmla="*/ 292692 h 448122"/>
              <a:gd name="connsiteX644" fmla="*/ 94791 w 447236"/>
              <a:gd name="connsiteY644" fmla="*/ 291772 h 448122"/>
              <a:gd name="connsiteX645" fmla="*/ 95098 w 447236"/>
              <a:gd name="connsiteY645" fmla="*/ 291159 h 448122"/>
              <a:gd name="connsiteX646" fmla="*/ 104613 w 447236"/>
              <a:gd name="connsiteY646" fmla="*/ 290546 h 448122"/>
              <a:gd name="connsiteX647" fmla="*/ 104920 w 447236"/>
              <a:gd name="connsiteY647" fmla="*/ 290546 h 448122"/>
              <a:gd name="connsiteX648" fmla="*/ 105534 w 447236"/>
              <a:gd name="connsiteY648" fmla="*/ 290546 h 448122"/>
              <a:gd name="connsiteX649" fmla="*/ 105841 w 447236"/>
              <a:gd name="connsiteY649" fmla="*/ 290852 h 448122"/>
              <a:gd name="connsiteX650" fmla="*/ 105841 w 447236"/>
              <a:gd name="connsiteY650" fmla="*/ 291466 h 448122"/>
              <a:gd name="connsiteX651" fmla="*/ 105227 w 447236"/>
              <a:gd name="connsiteY651" fmla="*/ 291466 h 448122"/>
              <a:gd name="connsiteX652" fmla="*/ 104613 w 447236"/>
              <a:gd name="connsiteY652" fmla="*/ 291466 h 448122"/>
              <a:gd name="connsiteX653" fmla="*/ 104613 w 447236"/>
              <a:gd name="connsiteY653" fmla="*/ 291159 h 448122"/>
              <a:gd name="connsiteX654" fmla="*/ 104613 w 447236"/>
              <a:gd name="connsiteY654" fmla="*/ 290852 h 448122"/>
              <a:gd name="connsiteX655" fmla="*/ 104613 w 447236"/>
              <a:gd name="connsiteY655" fmla="*/ 290546 h 448122"/>
              <a:gd name="connsiteX656" fmla="*/ 129476 w 447236"/>
              <a:gd name="connsiteY656" fmla="*/ 289626 h 448122"/>
              <a:gd name="connsiteX657" fmla="*/ 129476 w 447236"/>
              <a:gd name="connsiteY657" fmla="*/ 289932 h 448122"/>
              <a:gd name="connsiteX658" fmla="*/ 128555 w 447236"/>
              <a:gd name="connsiteY658" fmla="*/ 294532 h 448122"/>
              <a:gd name="connsiteX659" fmla="*/ 128862 w 447236"/>
              <a:gd name="connsiteY659" fmla="*/ 294532 h 448122"/>
              <a:gd name="connsiteX660" fmla="*/ 131624 w 447236"/>
              <a:gd name="connsiteY660" fmla="*/ 294532 h 448122"/>
              <a:gd name="connsiteX661" fmla="*/ 131931 w 447236"/>
              <a:gd name="connsiteY661" fmla="*/ 294532 h 448122"/>
              <a:gd name="connsiteX662" fmla="*/ 131931 w 447236"/>
              <a:gd name="connsiteY662" fmla="*/ 293918 h 448122"/>
              <a:gd name="connsiteX663" fmla="*/ 131931 w 447236"/>
              <a:gd name="connsiteY663" fmla="*/ 293612 h 448122"/>
              <a:gd name="connsiteX664" fmla="*/ 130090 w 447236"/>
              <a:gd name="connsiteY664" fmla="*/ 293612 h 448122"/>
              <a:gd name="connsiteX665" fmla="*/ 129783 w 447236"/>
              <a:gd name="connsiteY665" fmla="*/ 293612 h 448122"/>
              <a:gd name="connsiteX666" fmla="*/ 129783 w 447236"/>
              <a:gd name="connsiteY666" fmla="*/ 293305 h 448122"/>
              <a:gd name="connsiteX667" fmla="*/ 130090 w 447236"/>
              <a:gd name="connsiteY667" fmla="*/ 292692 h 448122"/>
              <a:gd name="connsiteX668" fmla="*/ 131624 w 447236"/>
              <a:gd name="connsiteY668" fmla="*/ 292692 h 448122"/>
              <a:gd name="connsiteX669" fmla="*/ 131931 w 447236"/>
              <a:gd name="connsiteY669" fmla="*/ 292385 h 448122"/>
              <a:gd name="connsiteX670" fmla="*/ 131931 w 447236"/>
              <a:gd name="connsiteY670" fmla="*/ 291772 h 448122"/>
              <a:gd name="connsiteX671" fmla="*/ 131624 w 447236"/>
              <a:gd name="connsiteY671" fmla="*/ 291466 h 448122"/>
              <a:gd name="connsiteX672" fmla="*/ 130397 w 447236"/>
              <a:gd name="connsiteY672" fmla="*/ 291466 h 448122"/>
              <a:gd name="connsiteX673" fmla="*/ 130397 w 447236"/>
              <a:gd name="connsiteY673" fmla="*/ 291159 h 448122"/>
              <a:gd name="connsiteX674" fmla="*/ 130397 w 447236"/>
              <a:gd name="connsiteY674" fmla="*/ 290852 h 448122"/>
              <a:gd name="connsiteX675" fmla="*/ 130397 w 447236"/>
              <a:gd name="connsiteY675" fmla="*/ 290546 h 448122"/>
              <a:gd name="connsiteX676" fmla="*/ 130703 w 447236"/>
              <a:gd name="connsiteY676" fmla="*/ 290546 h 448122"/>
              <a:gd name="connsiteX677" fmla="*/ 132238 w 447236"/>
              <a:gd name="connsiteY677" fmla="*/ 290546 h 448122"/>
              <a:gd name="connsiteX678" fmla="*/ 132545 w 447236"/>
              <a:gd name="connsiteY678" fmla="*/ 290546 h 448122"/>
              <a:gd name="connsiteX679" fmla="*/ 132545 w 447236"/>
              <a:gd name="connsiteY679" fmla="*/ 289932 h 448122"/>
              <a:gd name="connsiteX680" fmla="*/ 132238 w 447236"/>
              <a:gd name="connsiteY680" fmla="*/ 289626 h 448122"/>
              <a:gd name="connsiteX681" fmla="*/ 129783 w 447236"/>
              <a:gd name="connsiteY681" fmla="*/ 289626 h 448122"/>
              <a:gd name="connsiteX682" fmla="*/ 129476 w 447236"/>
              <a:gd name="connsiteY682" fmla="*/ 289626 h 448122"/>
              <a:gd name="connsiteX683" fmla="*/ 126099 w 447236"/>
              <a:gd name="connsiteY683" fmla="*/ 289626 h 448122"/>
              <a:gd name="connsiteX684" fmla="*/ 125485 w 447236"/>
              <a:gd name="connsiteY684" fmla="*/ 289932 h 448122"/>
              <a:gd name="connsiteX685" fmla="*/ 125178 w 447236"/>
              <a:gd name="connsiteY685" fmla="*/ 290546 h 448122"/>
              <a:gd name="connsiteX686" fmla="*/ 125178 w 447236"/>
              <a:gd name="connsiteY686" fmla="*/ 291159 h 448122"/>
              <a:gd name="connsiteX687" fmla="*/ 124565 w 447236"/>
              <a:gd name="connsiteY687" fmla="*/ 292999 h 448122"/>
              <a:gd name="connsiteX688" fmla="*/ 124565 w 447236"/>
              <a:gd name="connsiteY688" fmla="*/ 293612 h 448122"/>
              <a:gd name="connsiteX689" fmla="*/ 124872 w 447236"/>
              <a:gd name="connsiteY689" fmla="*/ 294225 h 448122"/>
              <a:gd name="connsiteX690" fmla="*/ 125485 w 447236"/>
              <a:gd name="connsiteY690" fmla="*/ 294532 h 448122"/>
              <a:gd name="connsiteX691" fmla="*/ 126099 w 447236"/>
              <a:gd name="connsiteY691" fmla="*/ 294532 h 448122"/>
              <a:gd name="connsiteX692" fmla="*/ 127020 w 447236"/>
              <a:gd name="connsiteY692" fmla="*/ 294532 h 448122"/>
              <a:gd name="connsiteX693" fmla="*/ 127941 w 447236"/>
              <a:gd name="connsiteY693" fmla="*/ 294225 h 448122"/>
              <a:gd name="connsiteX694" fmla="*/ 127941 w 447236"/>
              <a:gd name="connsiteY694" fmla="*/ 293918 h 448122"/>
              <a:gd name="connsiteX695" fmla="*/ 127327 w 447236"/>
              <a:gd name="connsiteY695" fmla="*/ 293305 h 448122"/>
              <a:gd name="connsiteX696" fmla="*/ 127020 w 447236"/>
              <a:gd name="connsiteY696" fmla="*/ 293305 h 448122"/>
              <a:gd name="connsiteX697" fmla="*/ 126713 w 447236"/>
              <a:gd name="connsiteY697" fmla="*/ 293612 h 448122"/>
              <a:gd name="connsiteX698" fmla="*/ 126406 w 447236"/>
              <a:gd name="connsiteY698" fmla="*/ 293612 h 448122"/>
              <a:gd name="connsiteX699" fmla="*/ 126099 w 447236"/>
              <a:gd name="connsiteY699" fmla="*/ 293612 h 448122"/>
              <a:gd name="connsiteX700" fmla="*/ 125792 w 447236"/>
              <a:gd name="connsiteY700" fmla="*/ 293305 h 448122"/>
              <a:gd name="connsiteX701" fmla="*/ 125792 w 447236"/>
              <a:gd name="connsiteY701" fmla="*/ 292999 h 448122"/>
              <a:gd name="connsiteX702" fmla="*/ 126099 w 447236"/>
              <a:gd name="connsiteY702" fmla="*/ 291159 h 448122"/>
              <a:gd name="connsiteX703" fmla="*/ 126406 w 447236"/>
              <a:gd name="connsiteY703" fmla="*/ 290852 h 448122"/>
              <a:gd name="connsiteX704" fmla="*/ 126406 w 447236"/>
              <a:gd name="connsiteY704" fmla="*/ 290546 h 448122"/>
              <a:gd name="connsiteX705" fmla="*/ 126713 w 447236"/>
              <a:gd name="connsiteY705" fmla="*/ 290546 h 448122"/>
              <a:gd name="connsiteX706" fmla="*/ 127020 w 447236"/>
              <a:gd name="connsiteY706" fmla="*/ 290546 h 448122"/>
              <a:gd name="connsiteX707" fmla="*/ 127634 w 447236"/>
              <a:gd name="connsiteY707" fmla="*/ 290852 h 448122"/>
              <a:gd name="connsiteX708" fmla="*/ 127941 w 447236"/>
              <a:gd name="connsiteY708" fmla="*/ 290852 h 448122"/>
              <a:gd name="connsiteX709" fmla="*/ 128248 w 447236"/>
              <a:gd name="connsiteY709" fmla="*/ 290546 h 448122"/>
              <a:gd name="connsiteX710" fmla="*/ 128248 w 447236"/>
              <a:gd name="connsiteY710" fmla="*/ 290239 h 448122"/>
              <a:gd name="connsiteX711" fmla="*/ 127634 w 447236"/>
              <a:gd name="connsiteY711" fmla="*/ 289626 h 448122"/>
              <a:gd name="connsiteX712" fmla="*/ 127020 w 447236"/>
              <a:gd name="connsiteY712" fmla="*/ 289626 h 448122"/>
              <a:gd name="connsiteX713" fmla="*/ 126099 w 447236"/>
              <a:gd name="connsiteY713" fmla="*/ 289626 h 448122"/>
              <a:gd name="connsiteX714" fmla="*/ 120881 w 447236"/>
              <a:gd name="connsiteY714" fmla="*/ 289626 h 448122"/>
              <a:gd name="connsiteX715" fmla="*/ 120574 w 447236"/>
              <a:gd name="connsiteY715" fmla="*/ 289932 h 448122"/>
              <a:gd name="connsiteX716" fmla="*/ 119653 w 447236"/>
              <a:gd name="connsiteY716" fmla="*/ 294532 h 448122"/>
              <a:gd name="connsiteX717" fmla="*/ 119960 w 447236"/>
              <a:gd name="connsiteY717" fmla="*/ 294532 h 448122"/>
              <a:gd name="connsiteX718" fmla="*/ 120574 w 447236"/>
              <a:gd name="connsiteY718" fmla="*/ 294532 h 448122"/>
              <a:gd name="connsiteX719" fmla="*/ 120881 w 447236"/>
              <a:gd name="connsiteY719" fmla="*/ 294532 h 448122"/>
              <a:gd name="connsiteX720" fmla="*/ 121495 w 447236"/>
              <a:gd name="connsiteY720" fmla="*/ 292079 h 448122"/>
              <a:gd name="connsiteX721" fmla="*/ 122416 w 447236"/>
              <a:gd name="connsiteY721" fmla="*/ 294532 h 448122"/>
              <a:gd name="connsiteX722" fmla="*/ 122723 w 447236"/>
              <a:gd name="connsiteY722" fmla="*/ 294532 h 448122"/>
              <a:gd name="connsiteX723" fmla="*/ 123337 w 447236"/>
              <a:gd name="connsiteY723" fmla="*/ 294532 h 448122"/>
              <a:gd name="connsiteX724" fmla="*/ 124258 w 447236"/>
              <a:gd name="connsiteY724" fmla="*/ 289932 h 448122"/>
              <a:gd name="connsiteX725" fmla="*/ 124258 w 447236"/>
              <a:gd name="connsiteY725" fmla="*/ 289626 h 448122"/>
              <a:gd name="connsiteX726" fmla="*/ 123337 w 447236"/>
              <a:gd name="connsiteY726" fmla="*/ 289626 h 448122"/>
              <a:gd name="connsiteX727" fmla="*/ 123337 w 447236"/>
              <a:gd name="connsiteY727" fmla="*/ 289932 h 448122"/>
              <a:gd name="connsiteX728" fmla="*/ 122723 w 447236"/>
              <a:gd name="connsiteY728" fmla="*/ 292385 h 448122"/>
              <a:gd name="connsiteX729" fmla="*/ 121802 w 447236"/>
              <a:gd name="connsiteY729" fmla="*/ 289932 h 448122"/>
              <a:gd name="connsiteX730" fmla="*/ 121495 w 447236"/>
              <a:gd name="connsiteY730" fmla="*/ 289626 h 448122"/>
              <a:gd name="connsiteX731" fmla="*/ 120881 w 447236"/>
              <a:gd name="connsiteY731" fmla="*/ 289626 h 448122"/>
              <a:gd name="connsiteX732" fmla="*/ 117198 w 447236"/>
              <a:gd name="connsiteY732" fmla="*/ 289626 h 448122"/>
              <a:gd name="connsiteX733" fmla="*/ 115356 w 447236"/>
              <a:gd name="connsiteY733" fmla="*/ 294532 h 448122"/>
              <a:gd name="connsiteX734" fmla="*/ 116277 w 447236"/>
              <a:gd name="connsiteY734" fmla="*/ 294532 h 448122"/>
              <a:gd name="connsiteX735" fmla="*/ 116584 w 447236"/>
              <a:gd name="connsiteY735" fmla="*/ 294532 h 448122"/>
              <a:gd name="connsiteX736" fmla="*/ 116584 w 447236"/>
              <a:gd name="connsiteY736" fmla="*/ 293918 h 448122"/>
              <a:gd name="connsiteX737" fmla="*/ 116891 w 447236"/>
              <a:gd name="connsiteY737" fmla="*/ 293612 h 448122"/>
              <a:gd name="connsiteX738" fmla="*/ 117812 w 447236"/>
              <a:gd name="connsiteY738" fmla="*/ 293612 h 448122"/>
              <a:gd name="connsiteX739" fmla="*/ 118119 w 447236"/>
              <a:gd name="connsiteY739" fmla="*/ 293918 h 448122"/>
              <a:gd name="connsiteX740" fmla="*/ 118119 w 447236"/>
              <a:gd name="connsiteY740" fmla="*/ 294532 h 448122"/>
              <a:gd name="connsiteX741" fmla="*/ 119040 w 447236"/>
              <a:gd name="connsiteY741" fmla="*/ 294532 h 448122"/>
              <a:gd name="connsiteX742" fmla="*/ 119040 w 447236"/>
              <a:gd name="connsiteY742" fmla="*/ 289626 h 448122"/>
              <a:gd name="connsiteX743" fmla="*/ 118733 w 447236"/>
              <a:gd name="connsiteY743" fmla="*/ 289626 h 448122"/>
              <a:gd name="connsiteX744" fmla="*/ 117505 w 447236"/>
              <a:gd name="connsiteY744" fmla="*/ 289626 h 448122"/>
              <a:gd name="connsiteX745" fmla="*/ 117198 w 447236"/>
              <a:gd name="connsiteY745" fmla="*/ 289626 h 448122"/>
              <a:gd name="connsiteX746" fmla="*/ 112901 w 447236"/>
              <a:gd name="connsiteY746" fmla="*/ 289626 h 448122"/>
              <a:gd name="connsiteX747" fmla="*/ 112901 w 447236"/>
              <a:gd name="connsiteY747" fmla="*/ 289932 h 448122"/>
              <a:gd name="connsiteX748" fmla="*/ 111980 w 447236"/>
              <a:gd name="connsiteY748" fmla="*/ 294532 h 448122"/>
              <a:gd name="connsiteX749" fmla="*/ 114742 w 447236"/>
              <a:gd name="connsiteY749" fmla="*/ 294532 h 448122"/>
              <a:gd name="connsiteX750" fmla="*/ 115049 w 447236"/>
              <a:gd name="connsiteY750" fmla="*/ 294532 h 448122"/>
              <a:gd name="connsiteX751" fmla="*/ 115356 w 447236"/>
              <a:gd name="connsiteY751" fmla="*/ 293918 h 448122"/>
              <a:gd name="connsiteX752" fmla="*/ 115049 w 447236"/>
              <a:gd name="connsiteY752" fmla="*/ 293612 h 448122"/>
              <a:gd name="connsiteX753" fmla="*/ 113515 w 447236"/>
              <a:gd name="connsiteY753" fmla="*/ 293612 h 448122"/>
              <a:gd name="connsiteX754" fmla="*/ 113208 w 447236"/>
              <a:gd name="connsiteY754" fmla="*/ 293612 h 448122"/>
              <a:gd name="connsiteX755" fmla="*/ 113208 w 447236"/>
              <a:gd name="connsiteY755" fmla="*/ 293305 h 448122"/>
              <a:gd name="connsiteX756" fmla="*/ 113821 w 447236"/>
              <a:gd name="connsiteY756" fmla="*/ 289932 h 448122"/>
              <a:gd name="connsiteX757" fmla="*/ 113821 w 447236"/>
              <a:gd name="connsiteY757" fmla="*/ 289626 h 448122"/>
              <a:gd name="connsiteX758" fmla="*/ 112901 w 447236"/>
              <a:gd name="connsiteY758" fmla="*/ 289626 h 448122"/>
              <a:gd name="connsiteX759" fmla="*/ 108296 w 447236"/>
              <a:gd name="connsiteY759" fmla="*/ 289626 h 448122"/>
              <a:gd name="connsiteX760" fmla="*/ 108296 w 447236"/>
              <a:gd name="connsiteY760" fmla="*/ 289932 h 448122"/>
              <a:gd name="connsiteX761" fmla="*/ 107683 w 447236"/>
              <a:gd name="connsiteY761" fmla="*/ 292999 h 448122"/>
              <a:gd name="connsiteX762" fmla="*/ 107683 w 447236"/>
              <a:gd name="connsiteY762" fmla="*/ 293612 h 448122"/>
              <a:gd name="connsiteX763" fmla="*/ 107989 w 447236"/>
              <a:gd name="connsiteY763" fmla="*/ 294225 h 448122"/>
              <a:gd name="connsiteX764" fmla="*/ 108296 w 447236"/>
              <a:gd name="connsiteY764" fmla="*/ 294532 h 448122"/>
              <a:gd name="connsiteX765" fmla="*/ 109217 w 447236"/>
              <a:gd name="connsiteY765" fmla="*/ 294532 h 448122"/>
              <a:gd name="connsiteX766" fmla="*/ 110138 w 447236"/>
              <a:gd name="connsiteY766" fmla="*/ 294532 h 448122"/>
              <a:gd name="connsiteX767" fmla="*/ 110445 w 447236"/>
              <a:gd name="connsiteY767" fmla="*/ 294225 h 448122"/>
              <a:gd name="connsiteX768" fmla="*/ 111059 w 447236"/>
              <a:gd name="connsiteY768" fmla="*/ 293612 h 448122"/>
              <a:gd name="connsiteX769" fmla="*/ 111059 w 447236"/>
              <a:gd name="connsiteY769" fmla="*/ 292999 h 448122"/>
              <a:gd name="connsiteX770" fmla="*/ 111673 w 447236"/>
              <a:gd name="connsiteY770" fmla="*/ 289932 h 448122"/>
              <a:gd name="connsiteX771" fmla="*/ 111673 w 447236"/>
              <a:gd name="connsiteY771" fmla="*/ 289626 h 448122"/>
              <a:gd name="connsiteX772" fmla="*/ 110752 w 447236"/>
              <a:gd name="connsiteY772" fmla="*/ 289626 h 448122"/>
              <a:gd name="connsiteX773" fmla="*/ 110445 w 447236"/>
              <a:gd name="connsiteY773" fmla="*/ 289932 h 448122"/>
              <a:gd name="connsiteX774" fmla="*/ 109831 w 447236"/>
              <a:gd name="connsiteY774" fmla="*/ 292999 h 448122"/>
              <a:gd name="connsiteX775" fmla="*/ 109831 w 447236"/>
              <a:gd name="connsiteY775" fmla="*/ 293612 h 448122"/>
              <a:gd name="connsiteX776" fmla="*/ 109217 w 447236"/>
              <a:gd name="connsiteY776" fmla="*/ 293612 h 448122"/>
              <a:gd name="connsiteX777" fmla="*/ 108910 w 447236"/>
              <a:gd name="connsiteY777" fmla="*/ 293612 h 448122"/>
              <a:gd name="connsiteX778" fmla="*/ 108603 w 447236"/>
              <a:gd name="connsiteY778" fmla="*/ 292999 h 448122"/>
              <a:gd name="connsiteX779" fmla="*/ 109217 w 447236"/>
              <a:gd name="connsiteY779" fmla="*/ 289932 h 448122"/>
              <a:gd name="connsiteX780" fmla="*/ 109217 w 447236"/>
              <a:gd name="connsiteY780" fmla="*/ 289626 h 448122"/>
              <a:gd name="connsiteX781" fmla="*/ 108296 w 447236"/>
              <a:gd name="connsiteY781" fmla="*/ 289626 h 448122"/>
              <a:gd name="connsiteX782" fmla="*/ 103692 w 447236"/>
              <a:gd name="connsiteY782" fmla="*/ 289626 h 448122"/>
              <a:gd name="connsiteX783" fmla="*/ 103692 w 447236"/>
              <a:gd name="connsiteY783" fmla="*/ 289932 h 448122"/>
              <a:gd name="connsiteX784" fmla="*/ 102771 w 447236"/>
              <a:gd name="connsiteY784" fmla="*/ 294532 h 448122"/>
              <a:gd name="connsiteX785" fmla="*/ 103078 w 447236"/>
              <a:gd name="connsiteY785" fmla="*/ 294532 h 448122"/>
              <a:gd name="connsiteX786" fmla="*/ 105227 w 447236"/>
              <a:gd name="connsiteY786" fmla="*/ 294532 h 448122"/>
              <a:gd name="connsiteX787" fmla="*/ 105841 w 447236"/>
              <a:gd name="connsiteY787" fmla="*/ 294532 h 448122"/>
              <a:gd name="connsiteX788" fmla="*/ 106148 w 447236"/>
              <a:gd name="connsiteY788" fmla="*/ 294225 h 448122"/>
              <a:gd name="connsiteX789" fmla="*/ 106762 w 447236"/>
              <a:gd name="connsiteY789" fmla="*/ 293612 h 448122"/>
              <a:gd name="connsiteX790" fmla="*/ 106762 w 447236"/>
              <a:gd name="connsiteY790" fmla="*/ 292999 h 448122"/>
              <a:gd name="connsiteX791" fmla="*/ 106762 w 447236"/>
              <a:gd name="connsiteY791" fmla="*/ 292385 h 448122"/>
              <a:gd name="connsiteX792" fmla="*/ 106148 w 447236"/>
              <a:gd name="connsiteY792" fmla="*/ 292079 h 448122"/>
              <a:gd name="connsiteX793" fmla="*/ 106762 w 447236"/>
              <a:gd name="connsiteY793" fmla="*/ 291772 h 448122"/>
              <a:gd name="connsiteX794" fmla="*/ 106762 w 447236"/>
              <a:gd name="connsiteY794" fmla="*/ 291466 h 448122"/>
              <a:gd name="connsiteX795" fmla="*/ 107069 w 447236"/>
              <a:gd name="connsiteY795" fmla="*/ 291159 h 448122"/>
              <a:gd name="connsiteX796" fmla="*/ 107069 w 447236"/>
              <a:gd name="connsiteY796" fmla="*/ 290852 h 448122"/>
              <a:gd name="connsiteX797" fmla="*/ 106762 w 447236"/>
              <a:gd name="connsiteY797" fmla="*/ 289932 h 448122"/>
              <a:gd name="connsiteX798" fmla="*/ 105534 w 447236"/>
              <a:gd name="connsiteY798" fmla="*/ 289626 h 448122"/>
              <a:gd name="connsiteX799" fmla="*/ 103999 w 447236"/>
              <a:gd name="connsiteY799" fmla="*/ 289626 h 448122"/>
              <a:gd name="connsiteX800" fmla="*/ 103692 w 447236"/>
              <a:gd name="connsiteY800" fmla="*/ 289626 h 448122"/>
              <a:gd name="connsiteX801" fmla="*/ 98167 w 447236"/>
              <a:gd name="connsiteY801" fmla="*/ 289626 h 448122"/>
              <a:gd name="connsiteX802" fmla="*/ 98167 w 447236"/>
              <a:gd name="connsiteY802" fmla="*/ 289932 h 448122"/>
              <a:gd name="connsiteX803" fmla="*/ 97553 w 447236"/>
              <a:gd name="connsiteY803" fmla="*/ 292079 h 448122"/>
              <a:gd name="connsiteX804" fmla="*/ 97246 w 447236"/>
              <a:gd name="connsiteY804" fmla="*/ 294532 h 448122"/>
              <a:gd name="connsiteX805" fmla="*/ 98167 w 447236"/>
              <a:gd name="connsiteY805" fmla="*/ 294532 h 448122"/>
              <a:gd name="connsiteX806" fmla="*/ 98474 w 447236"/>
              <a:gd name="connsiteY806" fmla="*/ 293612 h 448122"/>
              <a:gd name="connsiteX807" fmla="*/ 98781 w 447236"/>
              <a:gd name="connsiteY807" fmla="*/ 292385 h 448122"/>
              <a:gd name="connsiteX808" fmla="*/ 98781 w 447236"/>
              <a:gd name="connsiteY808" fmla="*/ 293305 h 448122"/>
              <a:gd name="connsiteX809" fmla="*/ 99088 w 447236"/>
              <a:gd name="connsiteY809" fmla="*/ 294225 h 448122"/>
              <a:gd name="connsiteX810" fmla="*/ 99088 w 447236"/>
              <a:gd name="connsiteY810" fmla="*/ 294532 h 448122"/>
              <a:gd name="connsiteX811" fmla="*/ 99395 w 447236"/>
              <a:gd name="connsiteY811" fmla="*/ 294532 h 448122"/>
              <a:gd name="connsiteX812" fmla="*/ 99702 w 447236"/>
              <a:gd name="connsiteY812" fmla="*/ 294532 h 448122"/>
              <a:gd name="connsiteX813" fmla="*/ 100009 w 447236"/>
              <a:gd name="connsiteY813" fmla="*/ 294225 h 448122"/>
              <a:gd name="connsiteX814" fmla="*/ 100623 w 447236"/>
              <a:gd name="connsiteY814" fmla="*/ 293305 h 448122"/>
              <a:gd name="connsiteX815" fmla="*/ 100930 w 447236"/>
              <a:gd name="connsiteY815" fmla="*/ 292385 h 448122"/>
              <a:gd name="connsiteX816" fmla="*/ 101237 w 447236"/>
              <a:gd name="connsiteY816" fmla="*/ 292385 h 448122"/>
              <a:gd name="connsiteX817" fmla="*/ 100930 w 447236"/>
              <a:gd name="connsiteY817" fmla="*/ 293305 h 448122"/>
              <a:gd name="connsiteX818" fmla="*/ 100623 w 447236"/>
              <a:gd name="connsiteY818" fmla="*/ 294532 h 448122"/>
              <a:gd name="connsiteX819" fmla="*/ 100930 w 447236"/>
              <a:gd name="connsiteY819" fmla="*/ 294532 h 448122"/>
              <a:gd name="connsiteX820" fmla="*/ 101544 w 447236"/>
              <a:gd name="connsiteY820" fmla="*/ 294532 h 448122"/>
              <a:gd name="connsiteX821" fmla="*/ 101851 w 447236"/>
              <a:gd name="connsiteY821" fmla="*/ 294532 h 448122"/>
              <a:gd name="connsiteX822" fmla="*/ 102771 w 447236"/>
              <a:gd name="connsiteY822" fmla="*/ 289932 h 448122"/>
              <a:gd name="connsiteX823" fmla="*/ 102771 w 447236"/>
              <a:gd name="connsiteY823" fmla="*/ 289626 h 448122"/>
              <a:gd name="connsiteX824" fmla="*/ 102464 w 447236"/>
              <a:gd name="connsiteY824" fmla="*/ 289626 h 448122"/>
              <a:gd name="connsiteX825" fmla="*/ 101851 w 447236"/>
              <a:gd name="connsiteY825" fmla="*/ 289626 h 448122"/>
              <a:gd name="connsiteX826" fmla="*/ 101544 w 447236"/>
              <a:gd name="connsiteY826" fmla="*/ 289626 h 448122"/>
              <a:gd name="connsiteX827" fmla="*/ 101544 w 447236"/>
              <a:gd name="connsiteY827" fmla="*/ 289932 h 448122"/>
              <a:gd name="connsiteX828" fmla="*/ 100623 w 447236"/>
              <a:gd name="connsiteY828" fmla="*/ 291466 h 448122"/>
              <a:gd name="connsiteX829" fmla="*/ 100316 w 447236"/>
              <a:gd name="connsiteY829" fmla="*/ 292079 h 448122"/>
              <a:gd name="connsiteX830" fmla="*/ 99702 w 447236"/>
              <a:gd name="connsiteY830" fmla="*/ 292692 h 448122"/>
              <a:gd name="connsiteX831" fmla="*/ 99395 w 447236"/>
              <a:gd name="connsiteY831" fmla="*/ 291466 h 448122"/>
              <a:gd name="connsiteX832" fmla="*/ 99088 w 447236"/>
              <a:gd name="connsiteY832" fmla="*/ 289932 h 448122"/>
              <a:gd name="connsiteX833" fmla="*/ 99088 w 447236"/>
              <a:gd name="connsiteY833" fmla="*/ 289626 h 448122"/>
              <a:gd name="connsiteX834" fmla="*/ 98781 w 447236"/>
              <a:gd name="connsiteY834" fmla="*/ 289626 h 448122"/>
              <a:gd name="connsiteX835" fmla="*/ 98167 w 447236"/>
              <a:gd name="connsiteY835" fmla="*/ 289626 h 448122"/>
              <a:gd name="connsiteX836" fmla="*/ 94791 w 447236"/>
              <a:gd name="connsiteY836" fmla="*/ 289626 h 448122"/>
              <a:gd name="connsiteX837" fmla="*/ 92642 w 447236"/>
              <a:gd name="connsiteY837" fmla="*/ 294532 h 448122"/>
              <a:gd name="connsiteX838" fmla="*/ 92949 w 447236"/>
              <a:gd name="connsiteY838" fmla="*/ 294532 h 448122"/>
              <a:gd name="connsiteX839" fmla="*/ 93563 w 447236"/>
              <a:gd name="connsiteY839" fmla="*/ 294532 h 448122"/>
              <a:gd name="connsiteX840" fmla="*/ 93870 w 447236"/>
              <a:gd name="connsiteY840" fmla="*/ 294532 h 448122"/>
              <a:gd name="connsiteX841" fmla="*/ 94177 w 447236"/>
              <a:gd name="connsiteY841" fmla="*/ 293918 h 448122"/>
              <a:gd name="connsiteX842" fmla="*/ 94177 w 447236"/>
              <a:gd name="connsiteY842" fmla="*/ 293612 h 448122"/>
              <a:gd name="connsiteX843" fmla="*/ 95098 w 447236"/>
              <a:gd name="connsiteY843" fmla="*/ 293612 h 448122"/>
              <a:gd name="connsiteX844" fmla="*/ 95405 w 447236"/>
              <a:gd name="connsiteY844" fmla="*/ 293612 h 448122"/>
              <a:gd name="connsiteX845" fmla="*/ 95405 w 447236"/>
              <a:gd name="connsiteY845" fmla="*/ 293918 h 448122"/>
              <a:gd name="connsiteX846" fmla="*/ 95405 w 447236"/>
              <a:gd name="connsiteY846" fmla="*/ 294532 h 448122"/>
              <a:gd name="connsiteX847" fmla="*/ 95712 w 447236"/>
              <a:gd name="connsiteY847" fmla="*/ 294532 h 448122"/>
              <a:gd name="connsiteX848" fmla="*/ 96326 w 447236"/>
              <a:gd name="connsiteY848" fmla="*/ 294532 h 448122"/>
              <a:gd name="connsiteX849" fmla="*/ 96632 w 447236"/>
              <a:gd name="connsiteY849" fmla="*/ 294532 h 448122"/>
              <a:gd name="connsiteX850" fmla="*/ 96326 w 447236"/>
              <a:gd name="connsiteY850" fmla="*/ 289626 h 448122"/>
              <a:gd name="connsiteX851" fmla="*/ 96019 w 447236"/>
              <a:gd name="connsiteY851" fmla="*/ 289626 h 448122"/>
              <a:gd name="connsiteX852" fmla="*/ 95098 w 447236"/>
              <a:gd name="connsiteY852" fmla="*/ 289626 h 448122"/>
              <a:gd name="connsiteX853" fmla="*/ 94791 w 447236"/>
              <a:gd name="connsiteY853" fmla="*/ 289626 h 448122"/>
              <a:gd name="connsiteX854" fmla="*/ 191034 w 447236"/>
              <a:gd name="connsiteY854" fmla="*/ 283383 h 448122"/>
              <a:gd name="connsiteX855" fmla="*/ 192828 w 447236"/>
              <a:gd name="connsiteY855" fmla="*/ 292905 h 448122"/>
              <a:gd name="connsiteX856" fmla="*/ 192432 w 447236"/>
              <a:gd name="connsiteY856" fmla="*/ 291723 h 448122"/>
              <a:gd name="connsiteX857" fmla="*/ 191466 w 447236"/>
              <a:gd name="connsiteY857" fmla="*/ 286111 h 448122"/>
              <a:gd name="connsiteX858" fmla="*/ 289502 w 447236"/>
              <a:gd name="connsiteY858" fmla="*/ 279549 h 448122"/>
              <a:gd name="connsiteX859" fmla="*/ 289196 w 447236"/>
              <a:gd name="connsiteY859" fmla="*/ 279855 h 448122"/>
              <a:gd name="connsiteX860" fmla="*/ 289502 w 447236"/>
              <a:gd name="connsiteY860" fmla="*/ 280162 h 448122"/>
              <a:gd name="connsiteX861" fmla="*/ 295301 w 447236"/>
              <a:gd name="connsiteY861" fmla="*/ 280162 h 448122"/>
              <a:gd name="connsiteX862" fmla="*/ 295911 w 447236"/>
              <a:gd name="connsiteY862" fmla="*/ 279855 h 448122"/>
              <a:gd name="connsiteX863" fmla="*/ 295301 w 447236"/>
              <a:gd name="connsiteY863" fmla="*/ 279549 h 448122"/>
              <a:gd name="connsiteX864" fmla="*/ 289502 w 447236"/>
              <a:gd name="connsiteY864" fmla="*/ 279549 h 448122"/>
              <a:gd name="connsiteX865" fmla="*/ 190141 w 447236"/>
              <a:gd name="connsiteY865" fmla="*/ 277736 h 448122"/>
              <a:gd name="connsiteX866" fmla="*/ 191034 w 447236"/>
              <a:gd name="connsiteY866" fmla="*/ 283383 h 448122"/>
              <a:gd name="connsiteX867" fmla="*/ 190585 w 447236"/>
              <a:gd name="connsiteY867" fmla="*/ 280999 h 448122"/>
              <a:gd name="connsiteX868" fmla="*/ 289502 w 447236"/>
              <a:gd name="connsiteY868" fmla="*/ 275870 h 448122"/>
              <a:gd name="connsiteX869" fmla="*/ 289196 w 447236"/>
              <a:gd name="connsiteY869" fmla="*/ 276177 h 448122"/>
              <a:gd name="connsiteX870" fmla="*/ 289502 w 447236"/>
              <a:gd name="connsiteY870" fmla="*/ 276790 h 448122"/>
              <a:gd name="connsiteX871" fmla="*/ 295301 w 447236"/>
              <a:gd name="connsiteY871" fmla="*/ 276790 h 448122"/>
              <a:gd name="connsiteX872" fmla="*/ 295911 w 447236"/>
              <a:gd name="connsiteY872" fmla="*/ 276177 h 448122"/>
              <a:gd name="connsiteX873" fmla="*/ 295301 w 447236"/>
              <a:gd name="connsiteY873" fmla="*/ 275870 h 448122"/>
              <a:gd name="connsiteX874" fmla="*/ 289502 w 447236"/>
              <a:gd name="connsiteY874" fmla="*/ 275870 h 448122"/>
              <a:gd name="connsiteX875" fmla="*/ 371594 w 447236"/>
              <a:gd name="connsiteY875" fmla="*/ 274689 h 448122"/>
              <a:gd name="connsiteX876" fmla="*/ 376166 w 447236"/>
              <a:gd name="connsiteY876" fmla="*/ 282575 h 448122"/>
              <a:gd name="connsiteX877" fmla="*/ 380738 w 447236"/>
              <a:gd name="connsiteY877" fmla="*/ 274689 h 448122"/>
              <a:gd name="connsiteX878" fmla="*/ 289502 w 447236"/>
              <a:gd name="connsiteY878" fmla="*/ 272498 h 448122"/>
              <a:gd name="connsiteX879" fmla="*/ 289196 w 447236"/>
              <a:gd name="connsiteY879" fmla="*/ 272804 h 448122"/>
              <a:gd name="connsiteX880" fmla="*/ 289502 w 447236"/>
              <a:gd name="connsiteY880" fmla="*/ 273111 h 448122"/>
              <a:gd name="connsiteX881" fmla="*/ 295301 w 447236"/>
              <a:gd name="connsiteY881" fmla="*/ 273111 h 448122"/>
              <a:gd name="connsiteX882" fmla="*/ 295911 w 447236"/>
              <a:gd name="connsiteY882" fmla="*/ 272804 h 448122"/>
              <a:gd name="connsiteX883" fmla="*/ 295301 w 447236"/>
              <a:gd name="connsiteY883" fmla="*/ 272498 h 448122"/>
              <a:gd name="connsiteX884" fmla="*/ 289502 w 447236"/>
              <a:gd name="connsiteY884" fmla="*/ 272498 h 448122"/>
              <a:gd name="connsiteX885" fmla="*/ 289502 w 447236"/>
              <a:gd name="connsiteY885" fmla="*/ 269126 h 448122"/>
              <a:gd name="connsiteX886" fmla="*/ 289196 w 447236"/>
              <a:gd name="connsiteY886" fmla="*/ 269432 h 448122"/>
              <a:gd name="connsiteX887" fmla="*/ 289502 w 447236"/>
              <a:gd name="connsiteY887" fmla="*/ 269739 h 448122"/>
              <a:gd name="connsiteX888" fmla="*/ 295301 w 447236"/>
              <a:gd name="connsiteY888" fmla="*/ 269739 h 448122"/>
              <a:gd name="connsiteX889" fmla="*/ 295911 w 447236"/>
              <a:gd name="connsiteY889" fmla="*/ 269432 h 448122"/>
              <a:gd name="connsiteX890" fmla="*/ 295301 w 447236"/>
              <a:gd name="connsiteY890" fmla="*/ 269126 h 448122"/>
              <a:gd name="connsiteX891" fmla="*/ 289502 w 447236"/>
              <a:gd name="connsiteY891" fmla="*/ 269126 h 448122"/>
              <a:gd name="connsiteX892" fmla="*/ 2454 w 447236"/>
              <a:gd name="connsiteY892" fmla="*/ 269052 h 448122"/>
              <a:gd name="connsiteX893" fmla="*/ 1227 w 447236"/>
              <a:gd name="connsiteY893" fmla="*/ 270278 h 448122"/>
              <a:gd name="connsiteX894" fmla="*/ 1227 w 447236"/>
              <a:gd name="connsiteY894" fmla="*/ 294794 h 448122"/>
              <a:gd name="connsiteX895" fmla="*/ 2454 w 447236"/>
              <a:gd name="connsiteY895" fmla="*/ 296326 h 448122"/>
              <a:gd name="connsiteX896" fmla="*/ 36512 w 447236"/>
              <a:gd name="connsiteY896" fmla="*/ 296326 h 448122"/>
              <a:gd name="connsiteX897" fmla="*/ 37739 w 447236"/>
              <a:gd name="connsiteY897" fmla="*/ 294794 h 448122"/>
              <a:gd name="connsiteX898" fmla="*/ 37739 w 447236"/>
              <a:gd name="connsiteY898" fmla="*/ 270278 h 448122"/>
              <a:gd name="connsiteX899" fmla="*/ 36512 w 447236"/>
              <a:gd name="connsiteY899" fmla="*/ 269052 h 448122"/>
              <a:gd name="connsiteX900" fmla="*/ 133830 w 447236"/>
              <a:gd name="connsiteY900" fmla="*/ 267309 h 448122"/>
              <a:gd name="connsiteX901" fmla="*/ 135988 w 447236"/>
              <a:gd name="connsiteY901" fmla="*/ 267309 h 448122"/>
              <a:gd name="connsiteX902" fmla="*/ 136605 w 447236"/>
              <a:gd name="connsiteY902" fmla="*/ 267919 h 448122"/>
              <a:gd name="connsiteX903" fmla="*/ 136605 w 447236"/>
              <a:gd name="connsiteY903" fmla="*/ 272193 h 448122"/>
              <a:gd name="connsiteX904" fmla="*/ 140922 w 447236"/>
              <a:gd name="connsiteY904" fmla="*/ 272193 h 448122"/>
              <a:gd name="connsiteX905" fmla="*/ 141847 w 447236"/>
              <a:gd name="connsiteY905" fmla="*/ 273109 h 448122"/>
              <a:gd name="connsiteX906" fmla="*/ 141847 w 447236"/>
              <a:gd name="connsiteY906" fmla="*/ 274941 h 448122"/>
              <a:gd name="connsiteX907" fmla="*/ 140922 w 447236"/>
              <a:gd name="connsiteY907" fmla="*/ 275857 h 448122"/>
              <a:gd name="connsiteX908" fmla="*/ 136605 w 447236"/>
              <a:gd name="connsiteY908" fmla="*/ 275857 h 448122"/>
              <a:gd name="connsiteX909" fmla="*/ 136605 w 447236"/>
              <a:gd name="connsiteY909" fmla="*/ 280130 h 448122"/>
              <a:gd name="connsiteX910" fmla="*/ 135988 w 447236"/>
              <a:gd name="connsiteY910" fmla="*/ 280741 h 448122"/>
              <a:gd name="connsiteX911" fmla="*/ 133830 w 447236"/>
              <a:gd name="connsiteY911" fmla="*/ 280741 h 448122"/>
              <a:gd name="connsiteX912" fmla="*/ 133213 w 447236"/>
              <a:gd name="connsiteY912" fmla="*/ 280130 h 448122"/>
              <a:gd name="connsiteX913" fmla="*/ 133213 w 447236"/>
              <a:gd name="connsiteY913" fmla="*/ 275857 h 448122"/>
              <a:gd name="connsiteX914" fmla="*/ 128588 w 447236"/>
              <a:gd name="connsiteY914" fmla="*/ 275857 h 448122"/>
              <a:gd name="connsiteX915" fmla="*/ 127972 w 447236"/>
              <a:gd name="connsiteY915" fmla="*/ 274941 h 448122"/>
              <a:gd name="connsiteX916" fmla="*/ 127972 w 447236"/>
              <a:gd name="connsiteY916" fmla="*/ 273109 h 448122"/>
              <a:gd name="connsiteX917" fmla="*/ 128588 w 447236"/>
              <a:gd name="connsiteY917" fmla="*/ 272193 h 448122"/>
              <a:gd name="connsiteX918" fmla="*/ 133213 w 447236"/>
              <a:gd name="connsiteY918" fmla="*/ 272193 h 448122"/>
              <a:gd name="connsiteX919" fmla="*/ 133213 w 447236"/>
              <a:gd name="connsiteY919" fmla="*/ 267919 h 448122"/>
              <a:gd name="connsiteX920" fmla="*/ 133830 w 447236"/>
              <a:gd name="connsiteY920" fmla="*/ 267309 h 448122"/>
              <a:gd name="connsiteX921" fmla="*/ 289502 w 447236"/>
              <a:gd name="connsiteY921" fmla="*/ 265447 h 448122"/>
              <a:gd name="connsiteX922" fmla="*/ 289196 w 447236"/>
              <a:gd name="connsiteY922" fmla="*/ 266060 h 448122"/>
              <a:gd name="connsiteX923" fmla="*/ 289502 w 447236"/>
              <a:gd name="connsiteY923" fmla="*/ 266367 h 448122"/>
              <a:gd name="connsiteX924" fmla="*/ 295301 w 447236"/>
              <a:gd name="connsiteY924" fmla="*/ 266367 h 448122"/>
              <a:gd name="connsiteX925" fmla="*/ 295911 w 447236"/>
              <a:gd name="connsiteY925" fmla="*/ 266060 h 448122"/>
              <a:gd name="connsiteX926" fmla="*/ 295301 w 447236"/>
              <a:gd name="connsiteY926" fmla="*/ 265447 h 448122"/>
              <a:gd name="connsiteX927" fmla="*/ 289502 w 447236"/>
              <a:gd name="connsiteY927" fmla="*/ 265447 h 448122"/>
              <a:gd name="connsiteX928" fmla="*/ 366202 w 447236"/>
              <a:gd name="connsiteY928" fmla="*/ 265390 h 448122"/>
              <a:gd name="connsiteX929" fmla="*/ 366203 w 447236"/>
              <a:gd name="connsiteY929" fmla="*/ 265390 h 448122"/>
              <a:gd name="connsiteX930" fmla="*/ 386128 w 447236"/>
              <a:gd name="connsiteY930" fmla="*/ 265390 h 448122"/>
              <a:gd name="connsiteX931" fmla="*/ 386117 w 447236"/>
              <a:gd name="connsiteY931" fmla="*/ 265410 h 448122"/>
              <a:gd name="connsiteX932" fmla="*/ 386129 w 447236"/>
              <a:gd name="connsiteY932" fmla="*/ 265390 h 448122"/>
              <a:gd name="connsiteX933" fmla="*/ 394099 w 447236"/>
              <a:gd name="connsiteY933" fmla="*/ 269670 h 448122"/>
              <a:gd name="connsiteX934" fmla="*/ 381431 w 447236"/>
              <a:gd name="connsiteY934" fmla="*/ 291656 h 448122"/>
              <a:gd name="connsiteX935" fmla="*/ 394099 w 447236"/>
              <a:gd name="connsiteY935" fmla="*/ 313508 h 448122"/>
              <a:gd name="connsiteX936" fmla="*/ 386129 w 447236"/>
              <a:gd name="connsiteY936" fmla="*/ 318084 h 448122"/>
              <a:gd name="connsiteX937" fmla="*/ 376166 w 447236"/>
              <a:gd name="connsiteY937" fmla="*/ 300793 h 448122"/>
              <a:gd name="connsiteX938" fmla="*/ 366203 w 447236"/>
              <a:gd name="connsiteY938" fmla="*/ 318084 h 448122"/>
              <a:gd name="connsiteX939" fmla="*/ 358232 w 447236"/>
              <a:gd name="connsiteY939" fmla="*/ 313508 h 448122"/>
              <a:gd name="connsiteX940" fmla="*/ 370901 w 447236"/>
              <a:gd name="connsiteY940" fmla="*/ 291656 h 448122"/>
              <a:gd name="connsiteX941" fmla="*/ 358232 w 447236"/>
              <a:gd name="connsiteY941" fmla="*/ 269670 h 448122"/>
              <a:gd name="connsiteX942" fmla="*/ 366202 w 447236"/>
              <a:gd name="connsiteY942" fmla="*/ 265390 h 448122"/>
              <a:gd name="connsiteX943" fmla="*/ 255242 w 447236"/>
              <a:gd name="connsiteY943" fmla="*/ 265156 h 448122"/>
              <a:gd name="connsiteX944" fmla="*/ 256863 w 447236"/>
              <a:gd name="connsiteY944" fmla="*/ 277787 h 448122"/>
              <a:gd name="connsiteX945" fmla="*/ 257817 w 447236"/>
              <a:gd name="connsiteY945" fmla="*/ 278581 h 448122"/>
              <a:gd name="connsiteX946" fmla="*/ 257817 w 447236"/>
              <a:gd name="connsiteY946" fmla="*/ 282866 h 448122"/>
              <a:gd name="connsiteX947" fmla="*/ 256936 w 447236"/>
              <a:gd name="connsiteY947" fmla="*/ 294959 h 448122"/>
              <a:gd name="connsiteX948" fmla="*/ 246556 w 447236"/>
              <a:gd name="connsiteY948" fmla="*/ 300804 h 448122"/>
              <a:gd name="connsiteX949" fmla="*/ 247394 w 447236"/>
              <a:gd name="connsiteY949" fmla="*/ 304703 h 448122"/>
              <a:gd name="connsiteX950" fmla="*/ 247702 w 447236"/>
              <a:gd name="connsiteY950" fmla="*/ 305317 h 448122"/>
              <a:gd name="connsiteX951" fmla="*/ 251699 w 447236"/>
              <a:gd name="connsiteY951" fmla="*/ 311142 h 448122"/>
              <a:gd name="connsiteX952" fmla="*/ 252929 w 447236"/>
              <a:gd name="connsiteY952" fmla="*/ 312062 h 448122"/>
              <a:gd name="connsiteX953" fmla="*/ 259694 w 447236"/>
              <a:gd name="connsiteY953" fmla="*/ 314208 h 448122"/>
              <a:gd name="connsiteX954" fmla="*/ 267075 w 447236"/>
              <a:gd name="connsiteY954" fmla="*/ 312982 h 448122"/>
              <a:gd name="connsiteX955" fmla="*/ 272917 w 447236"/>
              <a:gd name="connsiteY955" fmla="*/ 308383 h 448122"/>
              <a:gd name="connsiteX956" fmla="*/ 277837 w 447236"/>
              <a:gd name="connsiteY956" fmla="*/ 296119 h 448122"/>
              <a:gd name="connsiteX957" fmla="*/ 273840 w 447236"/>
              <a:gd name="connsiteY957" fmla="*/ 282321 h 448122"/>
              <a:gd name="connsiteX958" fmla="*/ 268920 w 447236"/>
              <a:gd name="connsiteY958" fmla="*/ 275883 h 448122"/>
              <a:gd name="connsiteX959" fmla="*/ 266578 w 447236"/>
              <a:gd name="connsiteY959" fmla="*/ 273771 h 448122"/>
              <a:gd name="connsiteX960" fmla="*/ 264553 w 447236"/>
              <a:gd name="connsiteY960" fmla="*/ 279826 h 448122"/>
              <a:gd name="connsiteX961" fmla="*/ 267936 w 447236"/>
              <a:gd name="connsiteY961" fmla="*/ 291471 h 448122"/>
              <a:gd name="connsiteX962" fmla="*/ 270830 w 447236"/>
              <a:gd name="connsiteY962" fmla="*/ 295509 h 448122"/>
              <a:gd name="connsiteX963" fmla="*/ 271949 w 447236"/>
              <a:gd name="connsiteY963" fmla="*/ 295509 h 448122"/>
              <a:gd name="connsiteX964" fmla="*/ 274680 w 447236"/>
              <a:gd name="connsiteY964" fmla="*/ 298842 h 448122"/>
              <a:gd name="connsiteX965" fmla="*/ 274376 w 447236"/>
              <a:gd name="connsiteY965" fmla="*/ 299751 h 448122"/>
              <a:gd name="connsiteX966" fmla="*/ 273770 w 447236"/>
              <a:gd name="connsiteY966" fmla="*/ 300660 h 448122"/>
              <a:gd name="connsiteX967" fmla="*/ 272556 w 447236"/>
              <a:gd name="connsiteY967" fmla="*/ 300357 h 448122"/>
              <a:gd name="connsiteX968" fmla="*/ 269826 w 447236"/>
              <a:gd name="connsiteY968" fmla="*/ 297327 h 448122"/>
              <a:gd name="connsiteX969" fmla="*/ 269826 w 447236"/>
              <a:gd name="connsiteY969" fmla="*/ 296115 h 448122"/>
              <a:gd name="connsiteX970" fmla="*/ 270080 w 447236"/>
              <a:gd name="connsiteY970" fmla="*/ 295945 h 448122"/>
              <a:gd name="connsiteX971" fmla="*/ 267013 w 447236"/>
              <a:gd name="connsiteY971" fmla="*/ 291778 h 448122"/>
              <a:gd name="connsiteX972" fmla="*/ 263323 w 447236"/>
              <a:gd name="connsiteY972" fmla="*/ 279826 h 448122"/>
              <a:gd name="connsiteX973" fmla="*/ 265779 w 447236"/>
              <a:gd name="connsiteY973" fmla="*/ 273049 h 448122"/>
              <a:gd name="connsiteX974" fmla="*/ 262462 w 447236"/>
              <a:gd name="connsiteY974" fmla="*/ 270057 h 448122"/>
              <a:gd name="connsiteX975" fmla="*/ 258464 w 447236"/>
              <a:gd name="connsiteY975" fmla="*/ 266991 h 448122"/>
              <a:gd name="connsiteX976" fmla="*/ 134694 w 447236"/>
              <a:gd name="connsiteY976" fmla="*/ 264484 h 448122"/>
              <a:gd name="connsiteX977" fmla="*/ 125178 w 447236"/>
              <a:gd name="connsiteY977" fmla="*/ 273989 h 448122"/>
              <a:gd name="connsiteX978" fmla="*/ 134694 w 447236"/>
              <a:gd name="connsiteY978" fmla="*/ 283800 h 448122"/>
              <a:gd name="connsiteX979" fmla="*/ 144516 w 447236"/>
              <a:gd name="connsiteY979" fmla="*/ 273989 h 448122"/>
              <a:gd name="connsiteX980" fmla="*/ 134694 w 447236"/>
              <a:gd name="connsiteY980" fmla="*/ 264484 h 448122"/>
              <a:gd name="connsiteX981" fmla="*/ 75146 w 447236"/>
              <a:gd name="connsiteY981" fmla="*/ 264484 h 448122"/>
              <a:gd name="connsiteX982" fmla="*/ 71770 w 447236"/>
              <a:gd name="connsiteY982" fmla="*/ 265403 h 448122"/>
              <a:gd name="connsiteX983" fmla="*/ 57036 w 447236"/>
              <a:gd name="connsiteY983" fmla="*/ 280121 h 448122"/>
              <a:gd name="connsiteX984" fmla="*/ 56423 w 447236"/>
              <a:gd name="connsiteY984" fmla="*/ 281347 h 448122"/>
              <a:gd name="connsiteX985" fmla="*/ 56423 w 447236"/>
              <a:gd name="connsiteY985" fmla="*/ 281961 h 448122"/>
              <a:gd name="connsiteX986" fmla="*/ 56423 w 447236"/>
              <a:gd name="connsiteY986" fmla="*/ 282267 h 448122"/>
              <a:gd name="connsiteX987" fmla="*/ 60413 w 447236"/>
              <a:gd name="connsiteY987" fmla="*/ 283494 h 448122"/>
              <a:gd name="connsiteX988" fmla="*/ 77295 w 447236"/>
              <a:gd name="connsiteY988" fmla="*/ 283494 h 448122"/>
              <a:gd name="connsiteX989" fmla="*/ 77295 w 447236"/>
              <a:gd name="connsiteY989" fmla="*/ 264484 h 448122"/>
              <a:gd name="connsiteX990" fmla="*/ 75146 w 447236"/>
              <a:gd name="connsiteY990" fmla="*/ 264484 h 448122"/>
              <a:gd name="connsiteX991" fmla="*/ 84969 w 447236"/>
              <a:gd name="connsiteY991" fmla="*/ 263870 h 448122"/>
              <a:gd name="connsiteX992" fmla="*/ 83434 w 447236"/>
              <a:gd name="connsiteY992" fmla="*/ 265403 h 448122"/>
              <a:gd name="connsiteX993" fmla="*/ 83434 w 447236"/>
              <a:gd name="connsiteY993" fmla="*/ 281961 h 448122"/>
              <a:gd name="connsiteX994" fmla="*/ 84969 w 447236"/>
              <a:gd name="connsiteY994" fmla="*/ 283494 h 448122"/>
              <a:gd name="connsiteX995" fmla="*/ 112594 w 447236"/>
              <a:gd name="connsiteY995" fmla="*/ 283494 h 448122"/>
              <a:gd name="connsiteX996" fmla="*/ 114128 w 447236"/>
              <a:gd name="connsiteY996" fmla="*/ 281961 h 448122"/>
              <a:gd name="connsiteX997" fmla="*/ 114128 w 447236"/>
              <a:gd name="connsiteY997" fmla="*/ 265403 h 448122"/>
              <a:gd name="connsiteX998" fmla="*/ 112594 w 447236"/>
              <a:gd name="connsiteY998" fmla="*/ 263870 h 448122"/>
              <a:gd name="connsiteX999" fmla="*/ 84969 w 447236"/>
              <a:gd name="connsiteY999" fmla="*/ 263870 h 448122"/>
              <a:gd name="connsiteX1000" fmla="*/ 245549 w 447236"/>
              <a:gd name="connsiteY1000" fmla="*/ 262392 h 448122"/>
              <a:gd name="connsiteX1001" fmla="*/ 237862 w 447236"/>
              <a:gd name="connsiteY1001" fmla="*/ 263006 h 448122"/>
              <a:gd name="connsiteX1002" fmla="*/ 236595 w 447236"/>
              <a:gd name="connsiteY1002" fmla="*/ 263848 h 448122"/>
              <a:gd name="connsiteX1003" fmla="*/ 236421 w 447236"/>
              <a:gd name="connsiteY1003" fmla="*/ 264568 h 448122"/>
              <a:gd name="connsiteX1004" fmla="*/ 234660 w 447236"/>
              <a:gd name="connsiteY1004" fmla="*/ 278095 h 448122"/>
              <a:gd name="connsiteX1005" fmla="*/ 235146 w 447236"/>
              <a:gd name="connsiteY1005" fmla="*/ 278581 h 448122"/>
              <a:gd name="connsiteX1006" fmla="*/ 235146 w 447236"/>
              <a:gd name="connsiteY1006" fmla="*/ 283173 h 448122"/>
              <a:gd name="connsiteX1007" fmla="*/ 235836 w 447236"/>
              <a:gd name="connsiteY1007" fmla="*/ 293122 h 448122"/>
              <a:gd name="connsiteX1008" fmla="*/ 244951 w 447236"/>
              <a:gd name="connsiteY1008" fmla="*/ 298298 h 448122"/>
              <a:gd name="connsiteX1009" fmla="*/ 253947 w 447236"/>
              <a:gd name="connsiteY1009" fmla="*/ 293122 h 448122"/>
              <a:gd name="connsiteX1010" fmla="*/ 254751 w 447236"/>
              <a:gd name="connsiteY1010" fmla="*/ 283173 h 448122"/>
              <a:gd name="connsiteX1011" fmla="*/ 254445 w 447236"/>
              <a:gd name="connsiteY1011" fmla="*/ 278581 h 448122"/>
              <a:gd name="connsiteX1012" fmla="*/ 255583 w 447236"/>
              <a:gd name="connsiteY1012" fmla="*/ 277444 h 448122"/>
              <a:gd name="connsiteX1013" fmla="*/ 253895 w 447236"/>
              <a:gd name="connsiteY1013" fmla="*/ 264568 h 448122"/>
              <a:gd name="connsiteX1014" fmla="*/ 253868 w 447236"/>
              <a:gd name="connsiteY1014" fmla="*/ 264466 h 448122"/>
              <a:gd name="connsiteX1015" fmla="*/ 289502 w 447236"/>
              <a:gd name="connsiteY1015" fmla="*/ 262075 h 448122"/>
              <a:gd name="connsiteX1016" fmla="*/ 289196 w 447236"/>
              <a:gd name="connsiteY1016" fmla="*/ 262381 h 448122"/>
              <a:gd name="connsiteX1017" fmla="*/ 289502 w 447236"/>
              <a:gd name="connsiteY1017" fmla="*/ 262688 h 448122"/>
              <a:gd name="connsiteX1018" fmla="*/ 295301 w 447236"/>
              <a:gd name="connsiteY1018" fmla="*/ 262688 h 448122"/>
              <a:gd name="connsiteX1019" fmla="*/ 295911 w 447236"/>
              <a:gd name="connsiteY1019" fmla="*/ 262381 h 448122"/>
              <a:gd name="connsiteX1020" fmla="*/ 295301 w 447236"/>
              <a:gd name="connsiteY1020" fmla="*/ 262075 h 448122"/>
              <a:gd name="connsiteX1021" fmla="*/ 289502 w 447236"/>
              <a:gd name="connsiteY1021" fmla="*/ 262075 h 448122"/>
              <a:gd name="connsiteX1022" fmla="*/ 187888 w 447236"/>
              <a:gd name="connsiteY1022" fmla="*/ 261809 h 448122"/>
              <a:gd name="connsiteX1023" fmla="*/ 186980 w 447236"/>
              <a:gd name="connsiteY1023" fmla="*/ 262458 h 448122"/>
              <a:gd name="connsiteX1024" fmla="*/ 187958 w 447236"/>
              <a:gd name="connsiteY1024" fmla="*/ 261809 h 448122"/>
              <a:gd name="connsiteX1025" fmla="*/ 156502 w 447236"/>
              <a:gd name="connsiteY1025" fmla="*/ 260519 h 448122"/>
              <a:gd name="connsiteX1026" fmla="*/ 156502 w 447236"/>
              <a:gd name="connsiteY1026" fmla="*/ 267870 h 448122"/>
              <a:gd name="connsiteX1027" fmla="*/ 157421 w 447236"/>
              <a:gd name="connsiteY1027" fmla="*/ 280734 h 448122"/>
              <a:gd name="connsiteX1028" fmla="*/ 157727 w 447236"/>
              <a:gd name="connsiteY1028" fmla="*/ 284104 h 448122"/>
              <a:gd name="connsiteX1029" fmla="*/ 158645 w 447236"/>
              <a:gd name="connsiteY1029" fmla="*/ 294211 h 448122"/>
              <a:gd name="connsiteX1030" fmla="*/ 158952 w 447236"/>
              <a:gd name="connsiteY1030" fmla="*/ 296662 h 448122"/>
              <a:gd name="connsiteX1031" fmla="*/ 159564 w 447236"/>
              <a:gd name="connsiteY1031" fmla="*/ 300950 h 448122"/>
              <a:gd name="connsiteX1032" fmla="*/ 160176 w 447236"/>
              <a:gd name="connsiteY1032" fmla="*/ 296662 h 448122"/>
              <a:gd name="connsiteX1033" fmla="*/ 160176 w 447236"/>
              <a:gd name="connsiteY1033" fmla="*/ 294211 h 448122"/>
              <a:gd name="connsiteX1034" fmla="*/ 161401 w 447236"/>
              <a:gd name="connsiteY1034" fmla="*/ 284104 h 448122"/>
              <a:gd name="connsiteX1035" fmla="*/ 161707 w 447236"/>
              <a:gd name="connsiteY1035" fmla="*/ 280734 h 448122"/>
              <a:gd name="connsiteX1036" fmla="*/ 162319 w 447236"/>
              <a:gd name="connsiteY1036" fmla="*/ 267870 h 448122"/>
              <a:gd name="connsiteX1037" fmla="*/ 162625 w 447236"/>
              <a:gd name="connsiteY1037" fmla="*/ 260519 h 448122"/>
              <a:gd name="connsiteX1038" fmla="*/ 162319 w 447236"/>
              <a:gd name="connsiteY1038" fmla="*/ 289004 h 448122"/>
              <a:gd name="connsiteX1039" fmla="*/ 161707 w 447236"/>
              <a:gd name="connsiteY1039" fmla="*/ 295436 h 448122"/>
              <a:gd name="connsiteX1040" fmla="*/ 161401 w 447236"/>
              <a:gd name="connsiteY1040" fmla="*/ 296968 h 448122"/>
              <a:gd name="connsiteX1041" fmla="*/ 161095 w 447236"/>
              <a:gd name="connsiteY1041" fmla="*/ 297581 h 448122"/>
              <a:gd name="connsiteX1042" fmla="*/ 160176 w 447236"/>
              <a:gd name="connsiteY1042" fmla="*/ 308301 h 448122"/>
              <a:gd name="connsiteX1043" fmla="*/ 159564 w 447236"/>
              <a:gd name="connsiteY1043" fmla="*/ 313508 h 448122"/>
              <a:gd name="connsiteX1044" fmla="*/ 158952 w 447236"/>
              <a:gd name="connsiteY1044" fmla="*/ 308301 h 448122"/>
              <a:gd name="connsiteX1045" fmla="*/ 158033 w 447236"/>
              <a:gd name="connsiteY1045" fmla="*/ 297581 h 448122"/>
              <a:gd name="connsiteX1046" fmla="*/ 157421 w 447236"/>
              <a:gd name="connsiteY1046" fmla="*/ 296968 h 448122"/>
              <a:gd name="connsiteX1047" fmla="*/ 157421 w 447236"/>
              <a:gd name="connsiteY1047" fmla="*/ 295436 h 448122"/>
              <a:gd name="connsiteX1048" fmla="*/ 156808 w 447236"/>
              <a:gd name="connsiteY1048" fmla="*/ 289004 h 448122"/>
              <a:gd name="connsiteX1049" fmla="*/ 156502 w 447236"/>
              <a:gd name="connsiteY1049" fmla="*/ 260519 h 448122"/>
              <a:gd name="connsiteX1050" fmla="*/ 289502 w 447236"/>
              <a:gd name="connsiteY1050" fmla="*/ 258396 h 448122"/>
              <a:gd name="connsiteX1051" fmla="*/ 289196 w 447236"/>
              <a:gd name="connsiteY1051" fmla="*/ 258703 h 448122"/>
              <a:gd name="connsiteX1052" fmla="*/ 289502 w 447236"/>
              <a:gd name="connsiteY1052" fmla="*/ 259316 h 448122"/>
              <a:gd name="connsiteX1053" fmla="*/ 295301 w 447236"/>
              <a:gd name="connsiteY1053" fmla="*/ 259316 h 448122"/>
              <a:gd name="connsiteX1054" fmla="*/ 295911 w 447236"/>
              <a:gd name="connsiteY1054" fmla="*/ 258703 h 448122"/>
              <a:gd name="connsiteX1055" fmla="*/ 295301 w 447236"/>
              <a:gd name="connsiteY1055" fmla="*/ 258396 h 448122"/>
              <a:gd name="connsiteX1056" fmla="*/ 289502 w 447236"/>
              <a:gd name="connsiteY1056" fmla="*/ 258396 h 448122"/>
              <a:gd name="connsiteX1057" fmla="*/ 289502 w 447236"/>
              <a:gd name="connsiteY1057" fmla="*/ 255024 h 448122"/>
              <a:gd name="connsiteX1058" fmla="*/ 289196 w 447236"/>
              <a:gd name="connsiteY1058" fmla="*/ 255330 h 448122"/>
              <a:gd name="connsiteX1059" fmla="*/ 289502 w 447236"/>
              <a:gd name="connsiteY1059" fmla="*/ 255637 h 448122"/>
              <a:gd name="connsiteX1060" fmla="*/ 295301 w 447236"/>
              <a:gd name="connsiteY1060" fmla="*/ 255637 h 448122"/>
              <a:gd name="connsiteX1061" fmla="*/ 295911 w 447236"/>
              <a:gd name="connsiteY1061" fmla="*/ 255330 h 448122"/>
              <a:gd name="connsiteX1062" fmla="*/ 295301 w 447236"/>
              <a:gd name="connsiteY1062" fmla="*/ 255024 h 448122"/>
              <a:gd name="connsiteX1063" fmla="*/ 289502 w 447236"/>
              <a:gd name="connsiteY1063" fmla="*/ 255024 h 448122"/>
              <a:gd name="connsiteX1064" fmla="*/ 84355 w 447236"/>
              <a:gd name="connsiteY1064" fmla="*/ 253139 h 448122"/>
              <a:gd name="connsiteX1065" fmla="*/ 88038 w 447236"/>
              <a:gd name="connsiteY1065" fmla="*/ 253139 h 448122"/>
              <a:gd name="connsiteX1066" fmla="*/ 91721 w 447236"/>
              <a:gd name="connsiteY1066" fmla="*/ 256818 h 448122"/>
              <a:gd name="connsiteX1067" fmla="*/ 91721 w 447236"/>
              <a:gd name="connsiteY1067" fmla="*/ 259271 h 448122"/>
              <a:gd name="connsiteX1068" fmla="*/ 146665 w 447236"/>
              <a:gd name="connsiteY1068" fmla="*/ 259271 h 448122"/>
              <a:gd name="connsiteX1069" fmla="*/ 151883 w 447236"/>
              <a:gd name="connsiteY1069" fmla="*/ 264484 h 448122"/>
              <a:gd name="connsiteX1070" fmla="*/ 151883 w 447236"/>
              <a:gd name="connsiteY1070" fmla="*/ 302197 h 448122"/>
              <a:gd name="connsiteX1071" fmla="*/ 146665 w 447236"/>
              <a:gd name="connsiteY1071" fmla="*/ 307409 h 448122"/>
              <a:gd name="connsiteX1072" fmla="*/ 139298 w 447236"/>
              <a:gd name="connsiteY1072" fmla="*/ 307409 h 448122"/>
              <a:gd name="connsiteX1073" fmla="*/ 130397 w 447236"/>
              <a:gd name="connsiteY1073" fmla="*/ 316608 h 448122"/>
              <a:gd name="connsiteX1074" fmla="*/ 121495 w 447236"/>
              <a:gd name="connsiteY1074" fmla="*/ 307409 h 448122"/>
              <a:gd name="connsiteX1075" fmla="*/ 80364 w 447236"/>
              <a:gd name="connsiteY1075" fmla="*/ 307409 h 448122"/>
              <a:gd name="connsiteX1076" fmla="*/ 72691 w 447236"/>
              <a:gd name="connsiteY1076" fmla="*/ 307409 h 448122"/>
              <a:gd name="connsiteX1077" fmla="*/ 63789 w 447236"/>
              <a:gd name="connsiteY1077" fmla="*/ 316608 h 448122"/>
              <a:gd name="connsiteX1078" fmla="*/ 54581 w 447236"/>
              <a:gd name="connsiteY1078" fmla="*/ 307409 h 448122"/>
              <a:gd name="connsiteX1079" fmla="*/ 50898 w 447236"/>
              <a:gd name="connsiteY1079" fmla="*/ 307409 h 448122"/>
              <a:gd name="connsiteX1080" fmla="*/ 43838 w 447236"/>
              <a:gd name="connsiteY1080" fmla="*/ 302197 h 448122"/>
              <a:gd name="connsiteX1081" fmla="*/ 43838 w 447236"/>
              <a:gd name="connsiteY1081" fmla="*/ 301277 h 448122"/>
              <a:gd name="connsiteX1082" fmla="*/ 43838 w 447236"/>
              <a:gd name="connsiteY1082" fmla="*/ 291466 h 448122"/>
              <a:gd name="connsiteX1083" fmla="*/ 45372 w 447236"/>
              <a:gd name="connsiteY1083" fmla="*/ 288399 h 448122"/>
              <a:gd name="connsiteX1084" fmla="*/ 70849 w 447236"/>
              <a:gd name="connsiteY1084" fmla="*/ 261417 h 448122"/>
              <a:gd name="connsiteX1085" fmla="*/ 76374 w 447236"/>
              <a:gd name="connsiteY1085" fmla="*/ 259271 h 448122"/>
              <a:gd name="connsiteX1086" fmla="*/ 80364 w 447236"/>
              <a:gd name="connsiteY1086" fmla="*/ 259271 h 448122"/>
              <a:gd name="connsiteX1087" fmla="*/ 80671 w 447236"/>
              <a:gd name="connsiteY1087" fmla="*/ 259271 h 448122"/>
              <a:gd name="connsiteX1088" fmla="*/ 80671 w 447236"/>
              <a:gd name="connsiteY1088" fmla="*/ 256818 h 448122"/>
              <a:gd name="connsiteX1089" fmla="*/ 84355 w 447236"/>
              <a:gd name="connsiteY1089" fmla="*/ 253139 h 448122"/>
              <a:gd name="connsiteX1090" fmla="*/ 337952 w 447236"/>
              <a:gd name="connsiteY1090" fmla="*/ 252548 h 448122"/>
              <a:gd name="connsiteX1091" fmla="*/ 340407 w 447236"/>
              <a:gd name="connsiteY1091" fmla="*/ 252548 h 448122"/>
              <a:gd name="connsiteX1092" fmla="*/ 341021 w 447236"/>
              <a:gd name="connsiteY1092" fmla="*/ 253773 h 448122"/>
              <a:gd name="connsiteX1093" fmla="*/ 342555 w 447236"/>
              <a:gd name="connsiteY1093" fmla="*/ 275213 h 448122"/>
              <a:gd name="connsiteX1094" fmla="*/ 347466 w 447236"/>
              <a:gd name="connsiteY1094" fmla="*/ 281952 h 448122"/>
              <a:gd name="connsiteX1095" fmla="*/ 358822 w 447236"/>
              <a:gd name="connsiteY1095" fmla="*/ 299410 h 448122"/>
              <a:gd name="connsiteX1096" fmla="*/ 348387 w 447236"/>
              <a:gd name="connsiteY1096" fmla="*/ 316869 h 448122"/>
              <a:gd name="connsiteX1097" fmla="*/ 344090 w 447236"/>
              <a:gd name="connsiteY1097" fmla="*/ 317788 h 448122"/>
              <a:gd name="connsiteX1098" fmla="*/ 335189 w 447236"/>
              <a:gd name="connsiteY1098" fmla="*/ 317788 h 448122"/>
              <a:gd name="connsiteX1099" fmla="*/ 330892 w 447236"/>
              <a:gd name="connsiteY1099" fmla="*/ 316869 h 448122"/>
              <a:gd name="connsiteX1100" fmla="*/ 320150 w 447236"/>
              <a:gd name="connsiteY1100" fmla="*/ 299410 h 448122"/>
              <a:gd name="connsiteX1101" fmla="*/ 331199 w 447236"/>
              <a:gd name="connsiteY1101" fmla="*/ 282258 h 448122"/>
              <a:gd name="connsiteX1102" fmla="*/ 335803 w 447236"/>
              <a:gd name="connsiteY1102" fmla="*/ 275520 h 448122"/>
              <a:gd name="connsiteX1103" fmla="*/ 337338 w 447236"/>
              <a:gd name="connsiteY1103" fmla="*/ 253773 h 448122"/>
              <a:gd name="connsiteX1104" fmla="*/ 337952 w 447236"/>
              <a:gd name="connsiteY1104" fmla="*/ 252548 h 448122"/>
              <a:gd name="connsiteX1105" fmla="*/ 289502 w 447236"/>
              <a:gd name="connsiteY1105" fmla="*/ 251039 h 448122"/>
              <a:gd name="connsiteX1106" fmla="*/ 289196 w 447236"/>
              <a:gd name="connsiteY1106" fmla="*/ 251652 h 448122"/>
              <a:gd name="connsiteX1107" fmla="*/ 289502 w 447236"/>
              <a:gd name="connsiteY1107" fmla="*/ 251958 h 448122"/>
              <a:gd name="connsiteX1108" fmla="*/ 295301 w 447236"/>
              <a:gd name="connsiteY1108" fmla="*/ 251958 h 448122"/>
              <a:gd name="connsiteX1109" fmla="*/ 295911 w 447236"/>
              <a:gd name="connsiteY1109" fmla="*/ 251652 h 448122"/>
              <a:gd name="connsiteX1110" fmla="*/ 295301 w 447236"/>
              <a:gd name="connsiteY1110" fmla="*/ 251039 h 448122"/>
              <a:gd name="connsiteX1111" fmla="*/ 289502 w 447236"/>
              <a:gd name="connsiteY1111" fmla="*/ 251039 h 448122"/>
              <a:gd name="connsiteX1112" fmla="*/ 187885 w 447236"/>
              <a:gd name="connsiteY1112" fmla="*/ 250936 h 448122"/>
              <a:gd name="connsiteX1113" fmla="*/ 187885 w 447236"/>
              <a:gd name="connsiteY1113" fmla="*/ 261504 h 448122"/>
              <a:gd name="connsiteX1114" fmla="*/ 187888 w 447236"/>
              <a:gd name="connsiteY1114" fmla="*/ 261503 h 448122"/>
              <a:gd name="connsiteX1115" fmla="*/ 187888 w 447236"/>
              <a:gd name="connsiteY1115" fmla="*/ 251081 h 448122"/>
              <a:gd name="connsiteX1116" fmla="*/ 185683 w 447236"/>
              <a:gd name="connsiteY1116" fmla="*/ 250402 h 448122"/>
              <a:gd name="connsiteX1117" fmla="*/ 185684 w 447236"/>
              <a:gd name="connsiteY1117" fmla="*/ 250433 h 448122"/>
              <a:gd name="connsiteX1118" fmla="*/ 185684 w 447236"/>
              <a:gd name="connsiteY1118" fmla="*/ 250433 h 448122"/>
              <a:gd name="connsiteX1119" fmla="*/ 351931 w 447236"/>
              <a:gd name="connsiteY1119" fmla="*/ 248299 h 448122"/>
              <a:gd name="connsiteX1120" fmla="*/ 352344 w 447236"/>
              <a:gd name="connsiteY1120" fmla="*/ 249826 h 448122"/>
              <a:gd name="connsiteX1121" fmla="*/ 360938 w 447236"/>
              <a:gd name="connsiteY1121" fmla="*/ 257804 h 448122"/>
              <a:gd name="connsiteX1122" fmla="*/ 381196 w 447236"/>
              <a:gd name="connsiteY1122" fmla="*/ 257804 h 448122"/>
              <a:gd name="connsiteX1123" fmla="*/ 389790 w 447236"/>
              <a:gd name="connsiteY1123" fmla="*/ 249826 h 448122"/>
              <a:gd name="connsiteX1124" fmla="*/ 389800 w 447236"/>
              <a:gd name="connsiteY1124" fmla="*/ 249791 h 448122"/>
              <a:gd name="connsiteX1125" fmla="*/ 381264 w 447236"/>
              <a:gd name="connsiteY1125" fmla="*/ 257714 h 448122"/>
              <a:gd name="connsiteX1126" fmla="*/ 361020 w 447236"/>
              <a:gd name="connsiteY1126" fmla="*/ 257714 h 448122"/>
              <a:gd name="connsiteX1127" fmla="*/ 352432 w 447236"/>
              <a:gd name="connsiteY1127" fmla="*/ 249743 h 448122"/>
              <a:gd name="connsiteX1128" fmla="*/ 289502 w 447236"/>
              <a:gd name="connsiteY1128" fmla="*/ 247360 h 448122"/>
              <a:gd name="connsiteX1129" fmla="*/ 289196 w 447236"/>
              <a:gd name="connsiteY1129" fmla="*/ 247973 h 448122"/>
              <a:gd name="connsiteX1130" fmla="*/ 289502 w 447236"/>
              <a:gd name="connsiteY1130" fmla="*/ 248279 h 448122"/>
              <a:gd name="connsiteX1131" fmla="*/ 295301 w 447236"/>
              <a:gd name="connsiteY1131" fmla="*/ 248279 h 448122"/>
              <a:gd name="connsiteX1132" fmla="*/ 295911 w 447236"/>
              <a:gd name="connsiteY1132" fmla="*/ 247973 h 448122"/>
              <a:gd name="connsiteX1133" fmla="*/ 295301 w 447236"/>
              <a:gd name="connsiteY1133" fmla="*/ 247360 h 448122"/>
              <a:gd name="connsiteX1134" fmla="*/ 289502 w 447236"/>
              <a:gd name="connsiteY1134" fmla="*/ 247360 h 448122"/>
              <a:gd name="connsiteX1135" fmla="*/ 289502 w 447236"/>
              <a:gd name="connsiteY1135" fmla="*/ 243988 h 448122"/>
              <a:gd name="connsiteX1136" fmla="*/ 289196 w 447236"/>
              <a:gd name="connsiteY1136" fmla="*/ 244601 h 448122"/>
              <a:gd name="connsiteX1137" fmla="*/ 289502 w 447236"/>
              <a:gd name="connsiteY1137" fmla="*/ 244907 h 448122"/>
              <a:gd name="connsiteX1138" fmla="*/ 295301 w 447236"/>
              <a:gd name="connsiteY1138" fmla="*/ 244907 h 448122"/>
              <a:gd name="connsiteX1139" fmla="*/ 295911 w 447236"/>
              <a:gd name="connsiteY1139" fmla="*/ 244601 h 448122"/>
              <a:gd name="connsiteX1140" fmla="*/ 295301 w 447236"/>
              <a:gd name="connsiteY1140" fmla="*/ 243988 h 448122"/>
              <a:gd name="connsiteX1141" fmla="*/ 289502 w 447236"/>
              <a:gd name="connsiteY1141" fmla="*/ 243988 h 448122"/>
              <a:gd name="connsiteX1142" fmla="*/ 245054 w 447236"/>
              <a:gd name="connsiteY1142" fmla="*/ 240858 h 448122"/>
              <a:gd name="connsiteX1143" fmla="*/ 241012 w 447236"/>
              <a:gd name="connsiteY1143" fmla="*/ 245557 h 448122"/>
              <a:gd name="connsiteX1144" fmla="*/ 237393 w 447236"/>
              <a:gd name="connsiteY1144" fmla="*/ 260542 h 448122"/>
              <a:gd name="connsiteX1145" fmla="*/ 245857 w 447236"/>
              <a:gd name="connsiteY1145" fmla="*/ 259939 h 448122"/>
              <a:gd name="connsiteX1146" fmla="*/ 253201 w 447236"/>
              <a:gd name="connsiteY1146" fmla="*/ 261892 h 448122"/>
              <a:gd name="connsiteX1147" fmla="*/ 248963 w 447236"/>
              <a:gd name="connsiteY1147" fmla="*/ 245557 h 448122"/>
              <a:gd name="connsiteX1148" fmla="*/ 289502 w 447236"/>
              <a:gd name="connsiteY1148" fmla="*/ 240309 h 448122"/>
              <a:gd name="connsiteX1149" fmla="*/ 289196 w 447236"/>
              <a:gd name="connsiteY1149" fmla="*/ 240615 h 448122"/>
              <a:gd name="connsiteX1150" fmla="*/ 289502 w 447236"/>
              <a:gd name="connsiteY1150" fmla="*/ 240922 h 448122"/>
              <a:gd name="connsiteX1151" fmla="*/ 295301 w 447236"/>
              <a:gd name="connsiteY1151" fmla="*/ 240922 h 448122"/>
              <a:gd name="connsiteX1152" fmla="*/ 295911 w 447236"/>
              <a:gd name="connsiteY1152" fmla="*/ 240615 h 448122"/>
              <a:gd name="connsiteX1153" fmla="*/ 295301 w 447236"/>
              <a:gd name="connsiteY1153" fmla="*/ 240309 h 448122"/>
              <a:gd name="connsiteX1154" fmla="*/ 289502 w 447236"/>
              <a:gd name="connsiteY1154" fmla="*/ 240309 h 448122"/>
              <a:gd name="connsiteX1155" fmla="*/ 205020 w 447236"/>
              <a:gd name="connsiteY1155" fmla="*/ 238723 h 448122"/>
              <a:gd name="connsiteX1156" fmla="*/ 204103 w 447236"/>
              <a:gd name="connsiteY1156" fmla="*/ 239395 h 448122"/>
              <a:gd name="connsiteX1157" fmla="*/ 202262 w 447236"/>
              <a:gd name="connsiteY1157" fmla="*/ 247053 h 448122"/>
              <a:gd name="connsiteX1158" fmla="*/ 204103 w 447236"/>
              <a:gd name="connsiteY1158" fmla="*/ 250729 h 448122"/>
              <a:gd name="connsiteX1159" fmla="*/ 205040 w 447236"/>
              <a:gd name="connsiteY1159" fmla="*/ 251633 h 448122"/>
              <a:gd name="connsiteX1160" fmla="*/ 205040 w 447236"/>
              <a:gd name="connsiteY1160" fmla="*/ 248268 h 448122"/>
              <a:gd name="connsiteX1161" fmla="*/ 205020 w 447236"/>
              <a:gd name="connsiteY1161" fmla="*/ 248268 h 448122"/>
              <a:gd name="connsiteX1162" fmla="*/ 11966 w 447236"/>
              <a:gd name="connsiteY1162" fmla="*/ 236875 h 448122"/>
              <a:gd name="connsiteX1163" fmla="*/ 27307 w 447236"/>
              <a:gd name="connsiteY1163" fmla="*/ 236875 h 448122"/>
              <a:gd name="connsiteX1164" fmla="*/ 29762 w 447236"/>
              <a:gd name="connsiteY1164" fmla="*/ 244843 h 448122"/>
              <a:gd name="connsiteX1165" fmla="*/ 38967 w 447236"/>
              <a:gd name="connsiteY1165" fmla="*/ 270891 h 448122"/>
              <a:gd name="connsiteX1166" fmla="*/ 38660 w 447236"/>
              <a:gd name="connsiteY1166" fmla="*/ 314407 h 448122"/>
              <a:gd name="connsiteX1167" fmla="*/ 34978 w 447236"/>
              <a:gd name="connsiteY1167" fmla="*/ 318084 h 448122"/>
              <a:gd name="connsiteX1168" fmla="*/ 3988 w 447236"/>
              <a:gd name="connsiteY1168" fmla="*/ 318084 h 448122"/>
              <a:gd name="connsiteX1169" fmla="*/ 307 w 447236"/>
              <a:gd name="connsiteY1169" fmla="*/ 314407 h 448122"/>
              <a:gd name="connsiteX1170" fmla="*/ 0 w 447236"/>
              <a:gd name="connsiteY1170" fmla="*/ 270891 h 448122"/>
              <a:gd name="connsiteX1171" fmla="*/ 9205 w 447236"/>
              <a:gd name="connsiteY1171" fmla="*/ 244843 h 448122"/>
              <a:gd name="connsiteX1172" fmla="*/ 11966 w 447236"/>
              <a:gd name="connsiteY1172" fmla="*/ 236875 h 448122"/>
              <a:gd name="connsiteX1173" fmla="*/ 184543 w 447236"/>
              <a:gd name="connsiteY1173" fmla="*/ 231534 h 448122"/>
              <a:gd name="connsiteX1174" fmla="*/ 185354 w 447236"/>
              <a:gd name="connsiteY1174" fmla="*/ 239304 h 448122"/>
              <a:gd name="connsiteX1175" fmla="*/ 185094 w 447236"/>
              <a:gd name="connsiteY1175" fmla="*/ 233901 h 448122"/>
              <a:gd name="connsiteX1176" fmla="*/ 184799 w 447236"/>
              <a:gd name="connsiteY1176" fmla="*/ 232064 h 448122"/>
              <a:gd name="connsiteX1177" fmla="*/ 186969 w 447236"/>
              <a:gd name="connsiteY1177" fmla="*/ 230851 h 448122"/>
              <a:gd name="connsiteX1178" fmla="*/ 187275 w 447236"/>
              <a:gd name="connsiteY1178" fmla="*/ 231157 h 448122"/>
              <a:gd name="connsiteX1179" fmla="*/ 187270 w 447236"/>
              <a:gd name="connsiteY1179" fmla="*/ 231157 h 448122"/>
              <a:gd name="connsiteX1180" fmla="*/ 187307 w 447236"/>
              <a:gd name="connsiteY1180" fmla="*/ 231287 h 448122"/>
              <a:gd name="connsiteX1181" fmla="*/ 187275 w 447236"/>
              <a:gd name="connsiteY1181" fmla="*/ 231157 h 448122"/>
              <a:gd name="connsiteX1182" fmla="*/ 187888 w 447236"/>
              <a:gd name="connsiteY1182" fmla="*/ 232077 h 448122"/>
              <a:gd name="connsiteX1183" fmla="*/ 187888 w 447236"/>
              <a:gd name="connsiteY1183" fmla="*/ 233303 h 448122"/>
              <a:gd name="connsiteX1184" fmla="*/ 188194 w 447236"/>
              <a:gd name="connsiteY1184" fmla="*/ 251081 h 448122"/>
              <a:gd name="connsiteX1185" fmla="*/ 188194 w 447236"/>
              <a:gd name="connsiteY1185" fmla="*/ 261809 h 448122"/>
              <a:gd name="connsiteX1186" fmla="*/ 188135 w 447236"/>
              <a:gd name="connsiteY1186" fmla="*/ 261809 h 448122"/>
              <a:gd name="connsiteX1187" fmla="*/ 189007 w 447236"/>
              <a:gd name="connsiteY1187" fmla="*/ 269397 h 448122"/>
              <a:gd name="connsiteX1188" fmla="*/ 190141 w 447236"/>
              <a:gd name="connsiteY1188" fmla="*/ 277736 h 448122"/>
              <a:gd name="connsiteX1189" fmla="*/ 188895 w 447236"/>
              <a:gd name="connsiteY1189" fmla="*/ 269852 h 448122"/>
              <a:gd name="connsiteX1190" fmla="*/ 187840 w 447236"/>
              <a:gd name="connsiteY1190" fmla="*/ 262193 h 448122"/>
              <a:gd name="connsiteX1191" fmla="*/ 188122 w 447236"/>
              <a:gd name="connsiteY1191" fmla="*/ 262006 h 448122"/>
              <a:gd name="connsiteX1192" fmla="*/ 187815 w 447236"/>
              <a:gd name="connsiteY1192" fmla="*/ 262006 h 448122"/>
              <a:gd name="connsiteX1193" fmla="*/ 187840 w 447236"/>
              <a:gd name="connsiteY1193" fmla="*/ 262193 h 448122"/>
              <a:gd name="connsiteX1194" fmla="*/ 187839 w 447236"/>
              <a:gd name="connsiteY1194" fmla="*/ 262194 h 448122"/>
              <a:gd name="connsiteX1195" fmla="*/ 188824 w 447236"/>
              <a:gd name="connsiteY1195" fmla="*/ 269402 h 448122"/>
              <a:gd name="connsiteX1196" fmla="*/ 188895 w 447236"/>
              <a:gd name="connsiteY1196" fmla="*/ 269852 h 448122"/>
              <a:gd name="connsiteX1197" fmla="*/ 190008 w 447236"/>
              <a:gd name="connsiteY1197" fmla="*/ 277937 h 448122"/>
              <a:gd name="connsiteX1198" fmla="*/ 190585 w 447236"/>
              <a:gd name="connsiteY1198" fmla="*/ 280999 h 448122"/>
              <a:gd name="connsiteX1199" fmla="*/ 190585 w 447236"/>
              <a:gd name="connsiteY1199" fmla="*/ 281001 h 448122"/>
              <a:gd name="connsiteX1200" fmla="*/ 191466 w 447236"/>
              <a:gd name="connsiteY1200" fmla="*/ 286111 h 448122"/>
              <a:gd name="connsiteX1201" fmla="*/ 192347 w 447236"/>
              <a:gd name="connsiteY1201" fmla="*/ 291685 h 448122"/>
              <a:gd name="connsiteX1202" fmla="*/ 192846 w 447236"/>
              <a:gd name="connsiteY1202" fmla="*/ 293001 h 448122"/>
              <a:gd name="connsiteX1203" fmla="*/ 192828 w 447236"/>
              <a:gd name="connsiteY1203" fmla="*/ 292905 h 448122"/>
              <a:gd name="connsiteX1204" fmla="*/ 192967 w 447236"/>
              <a:gd name="connsiteY1204" fmla="*/ 293318 h 448122"/>
              <a:gd name="connsiteX1205" fmla="*/ 194444 w 447236"/>
              <a:gd name="connsiteY1205" fmla="*/ 297210 h 448122"/>
              <a:gd name="connsiteX1206" fmla="*/ 194587 w 447236"/>
              <a:gd name="connsiteY1206" fmla="*/ 297544 h 448122"/>
              <a:gd name="connsiteX1207" fmla="*/ 194548 w 447236"/>
              <a:gd name="connsiteY1207" fmla="*/ 297485 h 448122"/>
              <a:gd name="connsiteX1208" fmla="*/ 194569 w 447236"/>
              <a:gd name="connsiteY1208" fmla="*/ 297540 h 448122"/>
              <a:gd name="connsiteX1209" fmla="*/ 194587 w 447236"/>
              <a:gd name="connsiteY1209" fmla="*/ 297544 h 448122"/>
              <a:gd name="connsiteX1210" fmla="*/ 195686 w 447236"/>
              <a:gd name="connsiteY1210" fmla="*/ 297763 h 448122"/>
              <a:gd name="connsiteX1211" fmla="*/ 196127 w 447236"/>
              <a:gd name="connsiteY1211" fmla="*/ 297544 h 448122"/>
              <a:gd name="connsiteX1212" fmla="*/ 201360 w 447236"/>
              <a:gd name="connsiteY1212" fmla="*/ 296319 h 448122"/>
              <a:gd name="connsiteX1213" fmla="*/ 201668 w 447236"/>
              <a:gd name="connsiteY1213" fmla="*/ 296319 h 448122"/>
              <a:gd name="connsiteX1214" fmla="*/ 206286 w 447236"/>
              <a:gd name="connsiteY1214" fmla="*/ 299382 h 448122"/>
              <a:gd name="connsiteX1215" fmla="*/ 201668 w 447236"/>
              <a:gd name="connsiteY1215" fmla="*/ 296625 h 448122"/>
              <a:gd name="connsiteX1216" fmla="*/ 201641 w 447236"/>
              <a:gd name="connsiteY1216" fmla="*/ 296625 h 448122"/>
              <a:gd name="connsiteX1217" fmla="*/ 206242 w 447236"/>
              <a:gd name="connsiteY1217" fmla="*/ 299379 h 448122"/>
              <a:gd name="connsiteX1218" fmla="*/ 207154 w 447236"/>
              <a:gd name="connsiteY1218" fmla="*/ 305898 h 448122"/>
              <a:gd name="connsiteX1219" fmla="*/ 207825 w 447236"/>
              <a:gd name="connsiteY1219" fmla="*/ 304897 h 448122"/>
              <a:gd name="connsiteX1220" fmla="*/ 207164 w 447236"/>
              <a:gd name="connsiteY1220" fmla="*/ 305970 h 448122"/>
              <a:gd name="connsiteX1221" fmla="*/ 207432 w 447236"/>
              <a:gd name="connsiteY1221" fmla="*/ 307882 h 448122"/>
              <a:gd name="connsiteX1222" fmla="*/ 202676 w 447236"/>
              <a:gd name="connsiteY1222" fmla="*/ 313257 h 448122"/>
              <a:gd name="connsiteX1223" fmla="*/ 201976 w 447236"/>
              <a:gd name="connsiteY1223" fmla="*/ 314394 h 448122"/>
              <a:gd name="connsiteX1224" fmla="*/ 200745 w 447236"/>
              <a:gd name="connsiteY1224" fmla="*/ 314394 h 448122"/>
              <a:gd name="connsiteX1225" fmla="*/ 199821 w 447236"/>
              <a:gd name="connsiteY1225" fmla="*/ 314394 h 448122"/>
              <a:gd name="connsiteX1226" fmla="*/ 196025 w 447236"/>
              <a:gd name="connsiteY1226" fmla="*/ 311197 h 448122"/>
              <a:gd name="connsiteX1227" fmla="*/ 195798 w 447236"/>
              <a:gd name="connsiteY1227" fmla="*/ 311023 h 448122"/>
              <a:gd name="connsiteX1228" fmla="*/ 195695 w 447236"/>
              <a:gd name="connsiteY1228" fmla="*/ 310594 h 448122"/>
              <a:gd name="connsiteX1229" fmla="*/ 193972 w 447236"/>
              <a:gd name="connsiteY1229" fmla="*/ 304590 h 448122"/>
              <a:gd name="connsiteX1230" fmla="*/ 193972 w 447236"/>
              <a:gd name="connsiteY1230" fmla="*/ 302562 h 448122"/>
              <a:gd name="connsiteX1231" fmla="*/ 193955 w 447236"/>
              <a:gd name="connsiteY1231" fmla="*/ 302443 h 448122"/>
              <a:gd name="connsiteX1232" fmla="*/ 193647 w 447236"/>
              <a:gd name="connsiteY1232" fmla="*/ 301524 h 448122"/>
              <a:gd name="connsiteX1233" fmla="*/ 192114 w 447236"/>
              <a:gd name="connsiteY1233" fmla="*/ 299689 h 448122"/>
              <a:gd name="connsiteX1234" fmla="*/ 190893 w 447236"/>
              <a:gd name="connsiteY1234" fmla="*/ 299689 h 448122"/>
              <a:gd name="connsiteX1235" fmla="*/ 188738 w 447236"/>
              <a:gd name="connsiteY1235" fmla="*/ 299995 h 448122"/>
              <a:gd name="connsiteX1236" fmla="*/ 188122 w 447236"/>
              <a:gd name="connsiteY1236" fmla="*/ 299995 h 448122"/>
              <a:gd name="connsiteX1237" fmla="*/ 187199 w 447236"/>
              <a:gd name="connsiteY1237" fmla="*/ 299689 h 448122"/>
              <a:gd name="connsiteX1238" fmla="*/ 186891 w 447236"/>
              <a:gd name="connsiteY1238" fmla="*/ 297850 h 448122"/>
              <a:gd name="connsiteX1239" fmla="*/ 187199 w 447236"/>
              <a:gd name="connsiteY1239" fmla="*/ 299382 h 448122"/>
              <a:gd name="connsiteX1240" fmla="*/ 188122 w 447236"/>
              <a:gd name="connsiteY1240" fmla="*/ 299689 h 448122"/>
              <a:gd name="connsiteX1241" fmla="*/ 188738 w 447236"/>
              <a:gd name="connsiteY1241" fmla="*/ 299689 h 448122"/>
              <a:gd name="connsiteX1242" fmla="*/ 188761 w 447236"/>
              <a:gd name="connsiteY1242" fmla="*/ 299685 h 448122"/>
              <a:gd name="connsiteX1243" fmla="*/ 188733 w 447236"/>
              <a:gd name="connsiteY1243" fmla="*/ 299685 h 448122"/>
              <a:gd name="connsiteX1244" fmla="*/ 186892 w 447236"/>
              <a:gd name="connsiteY1244" fmla="*/ 297849 h 448122"/>
              <a:gd name="connsiteX1245" fmla="*/ 186891 w 447236"/>
              <a:gd name="connsiteY1245" fmla="*/ 297850 h 448122"/>
              <a:gd name="connsiteX1246" fmla="*/ 186892 w 447236"/>
              <a:gd name="connsiteY1246" fmla="*/ 297849 h 448122"/>
              <a:gd name="connsiteX1247" fmla="*/ 186890 w 447236"/>
              <a:gd name="connsiteY1247" fmla="*/ 297847 h 448122"/>
              <a:gd name="connsiteX1248" fmla="*/ 186894 w 447236"/>
              <a:gd name="connsiteY1248" fmla="*/ 297844 h 448122"/>
              <a:gd name="connsiteX1249" fmla="*/ 187199 w 447236"/>
              <a:gd name="connsiteY1249" fmla="*/ 297238 h 448122"/>
              <a:gd name="connsiteX1250" fmla="*/ 187806 w 447236"/>
              <a:gd name="connsiteY1250" fmla="*/ 297238 h 448122"/>
              <a:gd name="connsiteX1251" fmla="*/ 187811 w 447236"/>
              <a:gd name="connsiteY1251" fmla="*/ 297234 h 448122"/>
              <a:gd name="connsiteX1252" fmla="*/ 187862 w 447236"/>
              <a:gd name="connsiteY1252" fmla="*/ 297228 h 448122"/>
              <a:gd name="connsiteX1253" fmla="*/ 189354 w 447236"/>
              <a:gd name="connsiteY1253" fmla="*/ 296931 h 448122"/>
              <a:gd name="connsiteX1254" fmla="*/ 190585 w 447236"/>
              <a:gd name="connsiteY1254" fmla="*/ 296625 h 448122"/>
              <a:gd name="connsiteX1255" fmla="*/ 191201 w 447236"/>
              <a:gd name="connsiteY1255" fmla="*/ 295400 h 448122"/>
              <a:gd name="connsiteX1256" fmla="*/ 191201 w 447236"/>
              <a:gd name="connsiteY1256" fmla="*/ 294787 h 448122"/>
              <a:gd name="connsiteX1257" fmla="*/ 189694 w 447236"/>
              <a:gd name="connsiteY1257" fmla="*/ 284887 h 448122"/>
              <a:gd name="connsiteX1258" fmla="*/ 189654 w 447236"/>
              <a:gd name="connsiteY1258" fmla="*/ 284670 h 448122"/>
              <a:gd name="connsiteX1259" fmla="*/ 186993 w 447236"/>
              <a:gd name="connsiteY1259" fmla="*/ 267539 h 448122"/>
              <a:gd name="connsiteX1260" fmla="*/ 186318 w 447236"/>
              <a:gd name="connsiteY1260" fmla="*/ 263203 h 448122"/>
              <a:gd name="connsiteX1261" fmla="*/ 186320 w 447236"/>
              <a:gd name="connsiteY1261" fmla="*/ 263202 h 448122"/>
              <a:gd name="connsiteX1262" fmla="*/ 186296 w 447236"/>
              <a:gd name="connsiteY1262" fmla="*/ 263046 h 448122"/>
              <a:gd name="connsiteX1263" fmla="*/ 186281 w 447236"/>
              <a:gd name="connsiteY1263" fmla="*/ 262957 h 448122"/>
              <a:gd name="connsiteX1264" fmla="*/ 186280 w 447236"/>
              <a:gd name="connsiteY1264" fmla="*/ 262958 h 448122"/>
              <a:gd name="connsiteX1265" fmla="*/ 186318 w 447236"/>
              <a:gd name="connsiteY1265" fmla="*/ 263203 h 448122"/>
              <a:gd name="connsiteX1266" fmla="*/ 186275 w 447236"/>
              <a:gd name="connsiteY1266" fmla="*/ 263232 h 448122"/>
              <a:gd name="connsiteX1267" fmla="*/ 186275 w 447236"/>
              <a:gd name="connsiteY1267" fmla="*/ 262961 h 448122"/>
              <a:gd name="connsiteX1268" fmla="*/ 185743 w 447236"/>
              <a:gd name="connsiteY1268" fmla="*/ 263342 h 448122"/>
              <a:gd name="connsiteX1269" fmla="*/ 184211 w 447236"/>
              <a:gd name="connsiteY1269" fmla="*/ 275296 h 448122"/>
              <a:gd name="connsiteX1270" fmla="*/ 182985 w 447236"/>
              <a:gd name="connsiteY1270" fmla="*/ 281733 h 448122"/>
              <a:gd name="connsiteX1271" fmla="*/ 181147 w 447236"/>
              <a:gd name="connsiteY1271" fmla="*/ 291235 h 448122"/>
              <a:gd name="connsiteX1272" fmla="*/ 181398 w 447236"/>
              <a:gd name="connsiteY1272" fmla="*/ 289676 h 448122"/>
              <a:gd name="connsiteX1273" fmla="*/ 181114 w 447236"/>
              <a:gd name="connsiteY1273" fmla="*/ 291136 h 448122"/>
              <a:gd name="connsiteX1274" fmla="*/ 180590 w 447236"/>
              <a:gd name="connsiteY1274" fmla="*/ 293741 h 448122"/>
              <a:gd name="connsiteX1275" fmla="*/ 181147 w 447236"/>
              <a:gd name="connsiteY1275" fmla="*/ 291235 h 448122"/>
              <a:gd name="connsiteX1276" fmla="*/ 180840 w 447236"/>
              <a:gd name="connsiteY1276" fmla="*/ 294300 h 448122"/>
              <a:gd name="connsiteX1277" fmla="*/ 180534 w 447236"/>
              <a:gd name="connsiteY1277" fmla="*/ 295833 h 448122"/>
              <a:gd name="connsiteX1278" fmla="*/ 180534 w 447236"/>
              <a:gd name="connsiteY1278" fmla="*/ 296182 h 448122"/>
              <a:gd name="connsiteX1279" fmla="*/ 181114 w 447236"/>
              <a:gd name="connsiteY1279" fmla="*/ 296951 h 448122"/>
              <a:gd name="connsiteX1280" fmla="*/ 181729 w 447236"/>
              <a:gd name="connsiteY1280" fmla="*/ 296951 h 448122"/>
              <a:gd name="connsiteX1281" fmla="*/ 183884 w 447236"/>
              <a:gd name="connsiteY1281" fmla="*/ 297257 h 448122"/>
              <a:gd name="connsiteX1282" fmla="*/ 184500 w 447236"/>
              <a:gd name="connsiteY1282" fmla="*/ 297257 h 448122"/>
              <a:gd name="connsiteX1283" fmla="*/ 184500 w 447236"/>
              <a:gd name="connsiteY1283" fmla="*/ 297365 h 448122"/>
              <a:gd name="connsiteX1284" fmla="*/ 184517 w 447236"/>
              <a:gd name="connsiteY1284" fmla="*/ 297365 h 448122"/>
              <a:gd name="connsiteX1285" fmla="*/ 185130 w 447236"/>
              <a:gd name="connsiteY1285" fmla="*/ 297672 h 448122"/>
              <a:gd name="connsiteX1286" fmla="*/ 185130 w 447236"/>
              <a:gd name="connsiteY1286" fmla="*/ 298285 h 448122"/>
              <a:gd name="connsiteX1287" fmla="*/ 185130 w 447236"/>
              <a:gd name="connsiteY1287" fmla="*/ 299204 h 448122"/>
              <a:gd name="connsiteX1288" fmla="*/ 184824 w 447236"/>
              <a:gd name="connsiteY1288" fmla="*/ 299511 h 448122"/>
              <a:gd name="connsiteX1289" fmla="*/ 184517 w 447236"/>
              <a:gd name="connsiteY1289" fmla="*/ 299511 h 448122"/>
              <a:gd name="connsiteX1290" fmla="*/ 184824 w 447236"/>
              <a:gd name="connsiteY1290" fmla="*/ 299204 h 448122"/>
              <a:gd name="connsiteX1291" fmla="*/ 184824 w 447236"/>
              <a:gd name="connsiteY1291" fmla="*/ 298285 h 448122"/>
              <a:gd name="connsiteX1292" fmla="*/ 184824 w 447236"/>
              <a:gd name="connsiteY1292" fmla="*/ 297672 h 448122"/>
              <a:gd name="connsiteX1293" fmla="*/ 184517 w 447236"/>
              <a:gd name="connsiteY1293" fmla="*/ 297672 h 448122"/>
              <a:gd name="connsiteX1294" fmla="*/ 184500 w 447236"/>
              <a:gd name="connsiteY1294" fmla="*/ 297672 h 448122"/>
              <a:gd name="connsiteX1295" fmla="*/ 184500 w 447236"/>
              <a:gd name="connsiteY1295" fmla="*/ 299399 h 448122"/>
              <a:gd name="connsiteX1296" fmla="*/ 184316 w 447236"/>
              <a:gd name="connsiteY1296" fmla="*/ 299486 h 448122"/>
              <a:gd name="connsiteX1297" fmla="*/ 184517 w 447236"/>
              <a:gd name="connsiteY1297" fmla="*/ 299511 h 448122"/>
              <a:gd name="connsiteX1298" fmla="*/ 184263 w 447236"/>
              <a:gd name="connsiteY1298" fmla="*/ 299511 h 448122"/>
              <a:gd name="connsiteX1299" fmla="*/ 178575 w 447236"/>
              <a:gd name="connsiteY1299" fmla="*/ 302204 h 448122"/>
              <a:gd name="connsiteX1300" fmla="*/ 178389 w 447236"/>
              <a:gd name="connsiteY1300" fmla="*/ 302576 h 448122"/>
              <a:gd name="connsiteX1301" fmla="*/ 178389 w 447236"/>
              <a:gd name="connsiteY1301" fmla="*/ 304109 h 448122"/>
              <a:gd name="connsiteX1302" fmla="*/ 175018 w 447236"/>
              <a:gd name="connsiteY1302" fmla="*/ 312998 h 448122"/>
              <a:gd name="connsiteX1303" fmla="*/ 171630 w 447236"/>
              <a:gd name="connsiteY1303" fmla="*/ 314450 h 448122"/>
              <a:gd name="connsiteX1304" fmla="*/ 174986 w 447236"/>
              <a:gd name="connsiteY1304" fmla="*/ 318380 h 448122"/>
              <a:gd name="connsiteX1305" fmla="*/ 174986 w 447236"/>
              <a:gd name="connsiteY1305" fmla="*/ 337389 h 448122"/>
              <a:gd name="connsiteX1306" fmla="*/ 175605 w 447236"/>
              <a:gd name="connsiteY1306" fmla="*/ 337389 h 448122"/>
              <a:gd name="connsiteX1307" fmla="*/ 176533 w 447236"/>
              <a:gd name="connsiteY1307" fmla="*/ 338309 h 448122"/>
              <a:gd name="connsiteX1308" fmla="*/ 176533 w 447236"/>
              <a:gd name="connsiteY1308" fmla="*/ 338922 h 448122"/>
              <a:gd name="connsiteX1309" fmla="*/ 175605 w 447236"/>
              <a:gd name="connsiteY1309" fmla="*/ 339842 h 448122"/>
              <a:gd name="connsiteX1310" fmla="*/ 174057 w 447236"/>
              <a:gd name="connsiteY1310" fmla="*/ 339842 h 448122"/>
              <a:gd name="connsiteX1311" fmla="*/ 174367 w 447236"/>
              <a:gd name="connsiteY1311" fmla="*/ 377247 h 448122"/>
              <a:gd name="connsiteX1312" fmla="*/ 172510 w 447236"/>
              <a:gd name="connsiteY1312" fmla="*/ 393804 h 448122"/>
              <a:gd name="connsiteX1313" fmla="*/ 170963 w 447236"/>
              <a:gd name="connsiteY1313" fmla="*/ 393804 h 448122"/>
              <a:gd name="connsiteX1314" fmla="*/ 169106 w 447236"/>
              <a:gd name="connsiteY1314" fmla="*/ 377247 h 448122"/>
              <a:gd name="connsiteX1315" fmla="*/ 169415 w 447236"/>
              <a:gd name="connsiteY1315" fmla="*/ 339842 h 448122"/>
              <a:gd name="connsiteX1316" fmla="*/ 167868 w 447236"/>
              <a:gd name="connsiteY1316" fmla="*/ 339842 h 448122"/>
              <a:gd name="connsiteX1317" fmla="*/ 166939 w 447236"/>
              <a:gd name="connsiteY1317" fmla="*/ 338922 h 448122"/>
              <a:gd name="connsiteX1318" fmla="*/ 166939 w 447236"/>
              <a:gd name="connsiteY1318" fmla="*/ 338309 h 448122"/>
              <a:gd name="connsiteX1319" fmla="*/ 167868 w 447236"/>
              <a:gd name="connsiteY1319" fmla="*/ 337389 h 448122"/>
              <a:gd name="connsiteX1320" fmla="*/ 168487 w 447236"/>
              <a:gd name="connsiteY1320" fmla="*/ 337389 h 448122"/>
              <a:gd name="connsiteX1321" fmla="*/ 168487 w 447236"/>
              <a:gd name="connsiteY1321" fmla="*/ 318380 h 448122"/>
              <a:gd name="connsiteX1322" fmla="*/ 171492 w 447236"/>
              <a:gd name="connsiteY1322" fmla="*/ 314509 h 448122"/>
              <a:gd name="connsiteX1323" fmla="*/ 170728 w 447236"/>
              <a:gd name="connsiteY1323" fmla="*/ 314837 h 448122"/>
              <a:gd name="connsiteX1324" fmla="*/ 170422 w 447236"/>
              <a:gd name="connsiteY1324" fmla="*/ 314837 h 448122"/>
              <a:gd name="connsiteX1325" fmla="*/ 167664 w 447236"/>
              <a:gd name="connsiteY1325" fmla="*/ 313917 h 448122"/>
              <a:gd name="connsiteX1326" fmla="*/ 165941 w 447236"/>
              <a:gd name="connsiteY1326" fmla="*/ 310327 h 448122"/>
              <a:gd name="connsiteX1327" fmla="*/ 164107 w 447236"/>
              <a:gd name="connsiteY1327" fmla="*/ 306782 h 448122"/>
              <a:gd name="connsiteX1328" fmla="*/ 164162 w 447236"/>
              <a:gd name="connsiteY1328" fmla="*/ 306621 h 448122"/>
              <a:gd name="connsiteX1329" fmla="*/ 163987 w 447236"/>
              <a:gd name="connsiteY1329" fmla="*/ 306254 h 448122"/>
              <a:gd name="connsiteX1330" fmla="*/ 165883 w 447236"/>
              <a:gd name="connsiteY1330" fmla="*/ 301617 h 448122"/>
              <a:gd name="connsiteX1331" fmla="*/ 166647 w 447236"/>
              <a:gd name="connsiteY1331" fmla="*/ 299399 h 448122"/>
              <a:gd name="connsiteX1332" fmla="*/ 167414 w 447236"/>
              <a:gd name="connsiteY1332" fmla="*/ 299254 h 448122"/>
              <a:gd name="connsiteX1333" fmla="*/ 170728 w 447236"/>
              <a:gd name="connsiteY1333" fmla="*/ 297978 h 448122"/>
              <a:gd name="connsiteX1334" fmla="*/ 172788 w 447236"/>
              <a:gd name="connsiteY1334" fmla="*/ 298236 h 448122"/>
              <a:gd name="connsiteX1335" fmla="*/ 173111 w 447236"/>
              <a:gd name="connsiteY1335" fmla="*/ 298175 h 448122"/>
              <a:gd name="connsiteX1336" fmla="*/ 176189 w 447236"/>
              <a:gd name="connsiteY1336" fmla="*/ 298787 h 448122"/>
              <a:gd name="connsiteX1337" fmla="*/ 177981 w 447236"/>
              <a:gd name="connsiteY1337" fmla="*/ 297005 h 448122"/>
              <a:gd name="connsiteX1338" fmla="*/ 178082 w 447236"/>
              <a:gd name="connsiteY1338" fmla="*/ 296752 h 448122"/>
              <a:gd name="connsiteX1339" fmla="*/ 180534 w 447236"/>
              <a:gd name="connsiteY1339" fmla="*/ 285411 h 448122"/>
              <a:gd name="connsiteX1340" fmla="*/ 183861 w 447236"/>
              <a:gd name="connsiteY1340" fmla="*/ 265440 h 448122"/>
              <a:gd name="connsiteX1341" fmla="*/ 184192 w 447236"/>
              <a:gd name="connsiteY1341" fmla="*/ 263289 h 448122"/>
              <a:gd name="connsiteX1342" fmla="*/ 184208 w 447236"/>
              <a:gd name="connsiteY1342" fmla="*/ 262977 h 448122"/>
              <a:gd name="connsiteX1343" fmla="*/ 184208 w 447236"/>
              <a:gd name="connsiteY1343" fmla="*/ 244010 h 448122"/>
              <a:gd name="connsiteX1344" fmla="*/ 184208 w 447236"/>
              <a:gd name="connsiteY1344" fmla="*/ 243997 h 448122"/>
              <a:gd name="connsiteX1345" fmla="*/ 183913 w 447236"/>
              <a:gd name="connsiteY1345" fmla="*/ 236350 h 448122"/>
              <a:gd name="connsiteX1346" fmla="*/ 184208 w 447236"/>
              <a:gd name="connsiteY1346" fmla="*/ 232064 h 448122"/>
              <a:gd name="connsiteX1347" fmla="*/ 184208 w 447236"/>
              <a:gd name="connsiteY1347" fmla="*/ 231452 h 448122"/>
              <a:gd name="connsiteX1348" fmla="*/ 184504 w 447236"/>
              <a:gd name="connsiteY1348" fmla="*/ 231146 h 448122"/>
              <a:gd name="connsiteX1349" fmla="*/ 184799 w 447236"/>
              <a:gd name="connsiteY1349" fmla="*/ 231146 h 448122"/>
              <a:gd name="connsiteX1350" fmla="*/ 185094 w 447236"/>
              <a:gd name="connsiteY1350" fmla="*/ 232370 h 448122"/>
              <a:gd name="connsiteX1351" fmla="*/ 185647 w 447236"/>
              <a:gd name="connsiteY1351" fmla="*/ 242205 h 448122"/>
              <a:gd name="connsiteX1352" fmla="*/ 185971 w 447236"/>
              <a:gd name="connsiteY1352" fmla="*/ 250240 h 448122"/>
              <a:gd name="connsiteX1353" fmla="*/ 186355 w 447236"/>
              <a:gd name="connsiteY1353" fmla="*/ 249856 h 448122"/>
              <a:gd name="connsiteX1354" fmla="*/ 186356 w 447236"/>
              <a:gd name="connsiteY1354" fmla="*/ 249819 h 448122"/>
              <a:gd name="connsiteX1355" fmla="*/ 186356 w 447236"/>
              <a:gd name="connsiteY1355" fmla="*/ 240046 h 448122"/>
              <a:gd name="connsiteX1356" fmla="*/ 186654 w 447236"/>
              <a:gd name="connsiteY1356" fmla="*/ 234673 h 448122"/>
              <a:gd name="connsiteX1357" fmla="*/ 186654 w 447236"/>
              <a:gd name="connsiteY1357" fmla="*/ 231463 h 448122"/>
              <a:gd name="connsiteX1358" fmla="*/ 186672 w 447236"/>
              <a:gd name="connsiteY1358" fmla="*/ 231454 h 448122"/>
              <a:gd name="connsiteX1359" fmla="*/ 186969 w 447236"/>
              <a:gd name="connsiteY1359" fmla="*/ 231157 h 448122"/>
              <a:gd name="connsiteX1360" fmla="*/ 186969 w 447236"/>
              <a:gd name="connsiteY1360" fmla="*/ 231307 h 448122"/>
              <a:gd name="connsiteX1361" fmla="*/ 187269 w 447236"/>
              <a:gd name="connsiteY1361" fmla="*/ 231157 h 448122"/>
              <a:gd name="connsiteX1362" fmla="*/ 186969 w 447236"/>
              <a:gd name="connsiteY1362" fmla="*/ 231157 h 448122"/>
              <a:gd name="connsiteX1363" fmla="*/ 186969 w 447236"/>
              <a:gd name="connsiteY1363" fmla="*/ 230851 h 448122"/>
              <a:gd name="connsiteX1364" fmla="*/ 133540 w 447236"/>
              <a:gd name="connsiteY1364" fmla="*/ 228046 h 448122"/>
              <a:gd name="connsiteX1365" fmla="*/ 135687 w 447236"/>
              <a:gd name="connsiteY1365" fmla="*/ 228046 h 448122"/>
              <a:gd name="connsiteX1366" fmla="*/ 136608 w 447236"/>
              <a:gd name="connsiteY1366" fmla="*/ 228966 h 448122"/>
              <a:gd name="connsiteX1367" fmla="*/ 136608 w 447236"/>
              <a:gd name="connsiteY1367" fmla="*/ 233875 h 448122"/>
              <a:gd name="connsiteX1368" fmla="*/ 141516 w 447236"/>
              <a:gd name="connsiteY1368" fmla="*/ 233875 h 448122"/>
              <a:gd name="connsiteX1369" fmla="*/ 142437 w 447236"/>
              <a:gd name="connsiteY1369" fmla="*/ 234488 h 448122"/>
              <a:gd name="connsiteX1370" fmla="*/ 142437 w 447236"/>
              <a:gd name="connsiteY1370" fmla="*/ 236943 h 448122"/>
              <a:gd name="connsiteX1371" fmla="*/ 141516 w 447236"/>
              <a:gd name="connsiteY1371" fmla="*/ 237863 h 448122"/>
              <a:gd name="connsiteX1372" fmla="*/ 136608 w 447236"/>
              <a:gd name="connsiteY1372" fmla="*/ 237863 h 448122"/>
              <a:gd name="connsiteX1373" fmla="*/ 136608 w 447236"/>
              <a:gd name="connsiteY1373" fmla="*/ 242772 h 448122"/>
              <a:gd name="connsiteX1374" fmla="*/ 135687 w 447236"/>
              <a:gd name="connsiteY1374" fmla="*/ 243692 h 448122"/>
              <a:gd name="connsiteX1375" fmla="*/ 133540 w 447236"/>
              <a:gd name="connsiteY1375" fmla="*/ 243692 h 448122"/>
              <a:gd name="connsiteX1376" fmla="*/ 132620 w 447236"/>
              <a:gd name="connsiteY1376" fmla="*/ 242772 h 448122"/>
              <a:gd name="connsiteX1377" fmla="*/ 132620 w 447236"/>
              <a:gd name="connsiteY1377" fmla="*/ 237863 h 448122"/>
              <a:gd name="connsiteX1378" fmla="*/ 127711 w 447236"/>
              <a:gd name="connsiteY1378" fmla="*/ 237863 h 448122"/>
              <a:gd name="connsiteX1379" fmla="*/ 126791 w 447236"/>
              <a:gd name="connsiteY1379" fmla="*/ 236943 h 448122"/>
              <a:gd name="connsiteX1380" fmla="*/ 126791 w 447236"/>
              <a:gd name="connsiteY1380" fmla="*/ 234488 h 448122"/>
              <a:gd name="connsiteX1381" fmla="*/ 127711 w 447236"/>
              <a:gd name="connsiteY1381" fmla="*/ 233875 h 448122"/>
              <a:gd name="connsiteX1382" fmla="*/ 132620 w 447236"/>
              <a:gd name="connsiteY1382" fmla="*/ 233875 h 448122"/>
              <a:gd name="connsiteX1383" fmla="*/ 132620 w 447236"/>
              <a:gd name="connsiteY1383" fmla="*/ 228966 h 448122"/>
              <a:gd name="connsiteX1384" fmla="*/ 133540 w 447236"/>
              <a:gd name="connsiteY1384" fmla="*/ 228046 h 448122"/>
              <a:gd name="connsiteX1385" fmla="*/ 437421 w 447236"/>
              <a:gd name="connsiteY1385" fmla="*/ 225537 h 448122"/>
              <a:gd name="connsiteX1386" fmla="*/ 441037 w 447236"/>
              <a:gd name="connsiteY1386" fmla="*/ 229225 h 448122"/>
              <a:gd name="connsiteX1387" fmla="*/ 439832 w 447236"/>
              <a:gd name="connsiteY1387" fmla="*/ 231990 h 448122"/>
              <a:gd name="connsiteX1388" fmla="*/ 439832 w 447236"/>
              <a:gd name="connsiteY1388" fmla="*/ 236017 h 448122"/>
              <a:gd name="connsiteX1389" fmla="*/ 442929 w 447236"/>
              <a:gd name="connsiteY1389" fmla="*/ 236017 h 448122"/>
              <a:gd name="connsiteX1390" fmla="*/ 443546 w 447236"/>
              <a:gd name="connsiteY1390" fmla="*/ 236312 h 448122"/>
              <a:gd name="connsiteX1391" fmla="*/ 442929 w 447236"/>
              <a:gd name="connsiteY1391" fmla="*/ 236903 h 448122"/>
              <a:gd name="connsiteX1392" fmla="*/ 439832 w 447236"/>
              <a:gd name="connsiteY1392" fmla="*/ 236903 h 448122"/>
              <a:gd name="connsiteX1393" fmla="*/ 439832 w 447236"/>
              <a:gd name="connsiteY1393" fmla="*/ 239707 h 448122"/>
              <a:gd name="connsiteX1394" fmla="*/ 441170 w 447236"/>
              <a:gd name="connsiteY1394" fmla="*/ 239707 h 448122"/>
              <a:gd name="connsiteX1395" fmla="*/ 441479 w 447236"/>
              <a:gd name="connsiteY1395" fmla="*/ 240002 h 448122"/>
              <a:gd name="connsiteX1396" fmla="*/ 441170 w 447236"/>
              <a:gd name="connsiteY1396" fmla="*/ 240297 h 448122"/>
              <a:gd name="connsiteX1397" fmla="*/ 439832 w 447236"/>
              <a:gd name="connsiteY1397" fmla="*/ 240297 h 448122"/>
              <a:gd name="connsiteX1398" fmla="*/ 439832 w 447236"/>
              <a:gd name="connsiteY1398" fmla="*/ 243692 h 448122"/>
              <a:gd name="connsiteX1399" fmla="*/ 442929 w 447236"/>
              <a:gd name="connsiteY1399" fmla="*/ 243692 h 448122"/>
              <a:gd name="connsiteX1400" fmla="*/ 443546 w 447236"/>
              <a:gd name="connsiteY1400" fmla="*/ 244283 h 448122"/>
              <a:gd name="connsiteX1401" fmla="*/ 442929 w 447236"/>
              <a:gd name="connsiteY1401" fmla="*/ 244578 h 448122"/>
              <a:gd name="connsiteX1402" fmla="*/ 439832 w 447236"/>
              <a:gd name="connsiteY1402" fmla="*/ 244578 h 448122"/>
              <a:gd name="connsiteX1403" fmla="*/ 439832 w 447236"/>
              <a:gd name="connsiteY1403" fmla="*/ 247382 h 448122"/>
              <a:gd name="connsiteX1404" fmla="*/ 441170 w 447236"/>
              <a:gd name="connsiteY1404" fmla="*/ 247382 h 448122"/>
              <a:gd name="connsiteX1405" fmla="*/ 441479 w 447236"/>
              <a:gd name="connsiteY1405" fmla="*/ 247677 h 448122"/>
              <a:gd name="connsiteX1406" fmla="*/ 441170 w 447236"/>
              <a:gd name="connsiteY1406" fmla="*/ 247972 h 448122"/>
              <a:gd name="connsiteX1407" fmla="*/ 439832 w 447236"/>
              <a:gd name="connsiteY1407" fmla="*/ 247972 h 448122"/>
              <a:gd name="connsiteX1408" fmla="*/ 439832 w 447236"/>
              <a:gd name="connsiteY1408" fmla="*/ 251368 h 448122"/>
              <a:gd name="connsiteX1409" fmla="*/ 442929 w 447236"/>
              <a:gd name="connsiteY1409" fmla="*/ 251368 h 448122"/>
              <a:gd name="connsiteX1410" fmla="*/ 443546 w 447236"/>
              <a:gd name="connsiteY1410" fmla="*/ 251663 h 448122"/>
              <a:gd name="connsiteX1411" fmla="*/ 442929 w 447236"/>
              <a:gd name="connsiteY1411" fmla="*/ 251958 h 448122"/>
              <a:gd name="connsiteX1412" fmla="*/ 439832 w 447236"/>
              <a:gd name="connsiteY1412" fmla="*/ 251958 h 448122"/>
              <a:gd name="connsiteX1413" fmla="*/ 439832 w 447236"/>
              <a:gd name="connsiteY1413" fmla="*/ 255058 h 448122"/>
              <a:gd name="connsiteX1414" fmla="*/ 441170 w 447236"/>
              <a:gd name="connsiteY1414" fmla="*/ 255058 h 448122"/>
              <a:gd name="connsiteX1415" fmla="*/ 441479 w 447236"/>
              <a:gd name="connsiteY1415" fmla="*/ 255353 h 448122"/>
              <a:gd name="connsiteX1416" fmla="*/ 441170 w 447236"/>
              <a:gd name="connsiteY1416" fmla="*/ 255648 h 448122"/>
              <a:gd name="connsiteX1417" fmla="*/ 439832 w 447236"/>
              <a:gd name="connsiteY1417" fmla="*/ 255648 h 448122"/>
              <a:gd name="connsiteX1418" fmla="*/ 439832 w 447236"/>
              <a:gd name="connsiteY1418" fmla="*/ 259338 h 448122"/>
              <a:gd name="connsiteX1419" fmla="*/ 442929 w 447236"/>
              <a:gd name="connsiteY1419" fmla="*/ 259338 h 448122"/>
              <a:gd name="connsiteX1420" fmla="*/ 443546 w 447236"/>
              <a:gd name="connsiteY1420" fmla="*/ 259633 h 448122"/>
              <a:gd name="connsiteX1421" fmla="*/ 442929 w 447236"/>
              <a:gd name="connsiteY1421" fmla="*/ 259928 h 448122"/>
              <a:gd name="connsiteX1422" fmla="*/ 439832 w 447236"/>
              <a:gd name="connsiteY1422" fmla="*/ 259928 h 448122"/>
              <a:gd name="connsiteX1423" fmla="*/ 439832 w 447236"/>
              <a:gd name="connsiteY1423" fmla="*/ 263028 h 448122"/>
              <a:gd name="connsiteX1424" fmla="*/ 439856 w 447236"/>
              <a:gd name="connsiteY1424" fmla="*/ 263028 h 448122"/>
              <a:gd name="connsiteX1425" fmla="*/ 441170 w 447236"/>
              <a:gd name="connsiteY1425" fmla="*/ 263028 h 448122"/>
              <a:gd name="connsiteX1426" fmla="*/ 441479 w 447236"/>
              <a:gd name="connsiteY1426" fmla="*/ 263323 h 448122"/>
              <a:gd name="connsiteX1427" fmla="*/ 441170 w 447236"/>
              <a:gd name="connsiteY1427" fmla="*/ 263618 h 448122"/>
              <a:gd name="connsiteX1428" fmla="*/ 439856 w 447236"/>
              <a:gd name="connsiteY1428" fmla="*/ 263618 h 448122"/>
              <a:gd name="connsiteX1429" fmla="*/ 439856 w 447236"/>
              <a:gd name="connsiteY1429" fmla="*/ 266718 h 448122"/>
              <a:gd name="connsiteX1430" fmla="*/ 442929 w 447236"/>
              <a:gd name="connsiteY1430" fmla="*/ 266718 h 448122"/>
              <a:gd name="connsiteX1431" fmla="*/ 443546 w 447236"/>
              <a:gd name="connsiteY1431" fmla="*/ 267013 h 448122"/>
              <a:gd name="connsiteX1432" fmla="*/ 442929 w 447236"/>
              <a:gd name="connsiteY1432" fmla="*/ 267308 h 448122"/>
              <a:gd name="connsiteX1433" fmla="*/ 439856 w 447236"/>
              <a:gd name="connsiteY1433" fmla="*/ 267308 h 448122"/>
              <a:gd name="connsiteX1434" fmla="*/ 439856 w 447236"/>
              <a:gd name="connsiteY1434" fmla="*/ 269965 h 448122"/>
              <a:gd name="connsiteX1435" fmla="*/ 441170 w 447236"/>
              <a:gd name="connsiteY1435" fmla="*/ 269965 h 448122"/>
              <a:gd name="connsiteX1436" fmla="*/ 441479 w 447236"/>
              <a:gd name="connsiteY1436" fmla="*/ 270654 h 448122"/>
              <a:gd name="connsiteX1437" fmla="*/ 441170 w 447236"/>
              <a:gd name="connsiteY1437" fmla="*/ 270998 h 448122"/>
              <a:gd name="connsiteX1438" fmla="*/ 439856 w 447236"/>
              <a:gd name="connsiteY1438" fmla="*/ 270998 h 448122"/>
              <a:gd name="connsiteX1439" fmla="*/ 439856 w 447236"/>
              <a:gd name="connsiteY1439" fmla="*/ 274246 h 448122"/>
              <a:gd name="connsiteX1440" fmla="*/ 442929 w 447236"/>
              <a:gd name="connsiteY1440" fmla="*/ 274246 h 448122"/>
              <a:gd name="connsiteX1441" fmla="*/ 443546 w 447236"/>
              <a:gd name="connsiteY1441" fmla="*/ 274615 h 448122"/>
              <a:gd name="connsiteX1442" fmla="*/ 442929 w 447236"/>
              <a:gd name="connsiteY1442" fmla="*/ 274984 h 448122"/>
              <a:gd name="connsiteX1443" fmla="*/ 439856 w 447236"/>
              <a:gd name="connsiteY1443" fmla="*/ 274984 h 448122"/>
              <a:gd name="connsiteX1444" fmla="*/ 439856 w 447236"/>
              <a:gd name="connsiteY1444" fmla="*/ 277936 h 448122"/>
              <a:gd name="connsiteX1445" fmla="*/ 441170 w 447236"/>
              <a:gd name="connsiteY1445" fmla="*/ 277936 h 448122"/>
              <a:gd name="connsiteX1446" fmla="*/ 441479 w 447236"/>
              <a:gd name="connsiteY1446" fmla="*/ 278305 h 448122"/>
              <a:gd name="connsiteX1447" fmla="*/ 441170 w 447236"/>
              <a:gd name="connsiteY1447" fmla="*/ 278674 h 448122"/>
              <a:gd name="connsiteX1448" fmla="*/ 439856 w 447236"/>
              <a:gd name="connsiteY1448" fmla="*/ 278674 h 448122"/>
              <a:gd name="connsiteX1449" fmla="*/ 439856 w 447236"/>
              <a:gd name="connsiteY1449" fmla="*/ 281921 h 448122"/>
              <a:gd name="connsiteX1450" fmla="*/ 442929 w 447236"/>
              <a:gd name="connsiteY1450" fmla="*/ 281921 h 448122"/>
              <a:gd name="connsiteX1451" fmla="*/ 443546 w 447236"/>
              <a:gd name="connsiteY1451" fmla="*/ 282290 h 448122"/>
              <a:gd name="connsiteX1452" fmla="*/ 442929 w 447236"/>
              <a:gd name="connsiteY1452" fmla="*/ 282659 h 448122"/>
              <a:gd name="connsiteX1453" fmla="*/ 439856 w 447236"/>
              <a:gd name="connsiteY1453" fmla="*/ 282659 h 448122"/>
              <a:gd name="connsiteX1454" fmla="*/ 439856 w 447236"/>
              <a:gd name="connsiteY1454" fmla="*/ 285316 h 448122"/>
              <a:gd name="connsiteX1455" fmla="*/ 441170 w 447236"/>
              <a:gd name="connsiteY1455" fmla="*/ 285316 h 448122"/>
              <a:gd name="connsiteX1456" fmla="*/ 441479 w 447236"/>
              <a:gd name="connsiteY1456" fmla="*/ 285611 h 448122"/>
              <a:gd name="connsiteX1457" fmla="*/ 441170 w 447236"/>
              <a:gd name="connsiteY1457" fmla="*/ 286202 h 448122"/>
              <a:gd name="connsiteX1458" fmla="*/ 439856 w 447236"/>
              <a:gd name="connsiteY1458" fmla="*/ 286202 h 448122"/>
              <a:gd name="connsiteX1459" fmla="*/ 439856 w 447236"/>
              <a:gd name="connsiteY1459" fmla="*/ 289597 h 448122"/>
              <a:gd name="connsiteX1460" fmla="*/ 442929 w 447236"/>
              <a:gd name="connsiteY1460" fmla="*/ 289597 h 448122"/>
              <a:gd name="connsiteX1461" fmla="*/ 443546 w 447236"/>
              <a:gd name="connsiteY1461" fmla="*/ 289892 h 448122"/>
              <a:gd name="connsiteX1462" fmla="*/ 442929 w 447236"/>
              <a:gd name="connsiteY1462" fmla="*/ 290187 h 448122"/>
              <a:gd name="connsiteX1463" fmla="*/ 439856 w 447236"/>
              <a:gd name="connsiteY1463" fmla="*/ 290187 h 448122"/>
              <a:gd name="connsiteX1464" fmla="*/ 439856 w 447236"/>
              <a:gd name="connsiteY1464" fmla="*/ 292275 h 448122"/>
              <a:gd name="connsiteX1465" fmla="*/ 439856 w 447236"/>
              <a:gd name="connsiteY1465" fmla="*/ 293287 h 448122"/>
              <a:gd name="connsiteX1466" fmla="*/ 441170 w 447236"/>
              <a:gd name="connsiteY1466" fmla="*/ 293287 h 448122"/>
              <a:gd name="connsiteX1467" fmla="*/ 441479 w 447236"/>
              <a:gd name="connsiteY1467" fmla="*/ 293582 h 448122"/>
              <a:gd name="connsiteX1468" fmla="*/ 441170 w 447236"/>
              <a:gd name="connsiteY1468" fmla="*/ 293877 h 448122"/>
              <a:gd name="connsiteX1469" fmla="*/ 439856 w 447236"/>
              <a:gd name="connsiteY1469" fmla="*/ 293877 h 448122"/>
              <a:gd name="connsiteX1470" fmla="*/ 439856 w 447236"/>
              <a:gd name="connsiteY1470" fmla="*/ 296453 h 448122"/>
              <a:gd name="connsiteX1471" fmla="*/ 437416 w 447236"/>
              <a:gd name="connsiteY1471" fmla="*/ 298600 h 448122"/>
              <a:gd name="connsiteX1472" fmla="*/ 435280 w 447236"/>
              <a:gd name="connsiteY1472" fmla="*/ 296453 h 448122"/>
              <a:gd name="connsiteX1473" fmla="*/ 435280 w 447236"/>
              <a:gd name="connsiteY1473" fmla="*/ 293877 h 448122"/>
              <a:gd name="connsiteX1474" fmla="*/ 433058 w 447236"/>
              <a:gd name="connsiteY1474" fmla="*/ 293877 h 448122"/>
              <a:gd name="connsiteX1475" fmla="*/ 431899 w 447236"/>
              <a:gd name="connsiteY1475" fmla="*/ 293877 h 448122"/>
              <a:gd name="connsiteX1476" fmla="*/ 431590 w 447236"/>
              <a:gd name="connsiteY1476" fmla="*/ 293582 h 448122"/>
              <a:gd name="connsiteX1477" fmla="*/ 431899 w 447236"/>
              <a:gd name="connsiteY1477" fmla="*/ 293287 h 448122"/>
              <a:gd name="connsiteX1478" fmla="*/ 435280 w 447236"/>
              <a:gd name="connsiteY1478" fmla="*/ 293287 h 448122"/>
              <a:gd name="connsiteX1479" fmla="*/ 435280 w 447236"/>
              <a:gd name="connsiteY1479" fmla="*/ 290187 h 448122"/>
              <a:gd name="connsiteX1480" fmla="*/ 434827 w 447236"/>
              <a:gd name="connsiteY1480" fmla="*/ 290187 h 448122"/>
              <a:gd name="connsiteX1481" fmla="*/ 433670 w 447236"/>
              <a:gd name="connsiteY1481" fmla="*/ 290187 h 448122"/>
              <a:gd name="connsiteX1482" fmla="*/ 433361 w 447236"/>
              <a:gd name="connsiteY1482" fmla="*/ 289892 h 448122"/>
              <a:gd name="connsiteX1483" fmla="*/ 433670 w 447236"/>
              <a:gd name="connsiteY1483" fmla="*/ 289597 h 448122"/>
              <a:gd name="connsiteX1484" fmla="*/ 435280 w 447236"/>
              <a:gd name="connsiteY1484" fmla="*/ 289597 h 448122"/>
              <a:gd name="connsiteX1485" fmla="*/ 435280 w 447236"/>
              <a:gd name="connsiteY1485" fmla="*/ 286202 h 448122"/>
              <a:gd name="connsiteX1486" fmla="*/ 433058 w 447236"/>
              <a:gd name="connsiteY1486" fmla="*/ 286202 h 448122"/>
              <a:gd name="connsiteX1487" fmla="*/ 431899 w 447236"/>
              <a:gd name="connsiteY1487" fmla="*/ 286202 h 448122"/>
              <a:gd name="connsiteX1488" fmla="*/ 431590 w 447236"/>
              <a:gd name="connsiteY1488" fmla="*/ 285611 h 448122"/>
              <a:gd name="connsiteX1489" fmla="*/ 431899 w 447236"/>
              <a:gd name="connsiteY1489" fmla="*/ 285316 h 448122"/>
              <a:gd name="connsiteX1490" fmla="*/ 435280 w 447236"/>
              <a:gd name="connsiteY1490" fmla="*/ 285316 h 448122"/>
              <a:gd name="connsiteX1491" fmla="*/ 435280 w 447236"/>
              <a:gd name="connsiteY1491" fmla="*/ 282659 h 448122"/>
              <a:gd name="connsiteX1492" fmla="*/ 434827 w 447236"/>
              <a:gd name="connsiteY1492" fmla="*/ 282659 h 448122"/>
              <a:gd name="connsiteX1493" fmla="*/ 433670 w 447236"/>
              <a:gd name="connsiteY1493" fmla="*/ 282659 h 448122"/>
              <a:gd name="connsiteX1494" fmla="*/ 433361 w 447236"/>
              <a:gd name="connsiteY1494" fmla="*/ 282290 h 448122"/>
              <a:gd name="connsiteX1495" fmla="*/ 433670 w 447236"/>
              <a:gd name="connsiteY1495" fmla="*/ 281921 h 448122"/>
              <a:gd name="connsiteX1496" fmla="*/ 435280 w 447236"/>
              <a:gd name="connsiteY1496" fmla="*/ 281921 h 448122"/>
              <a:gd name="connsiteX1497" fmla="*/ 435280 w 447236"/>
              <a:gd name="connsiteY1497" fmla="*/ 278674 h 448122"/>
              <a:gd name="connsiteX1498" fmla="*/ 433058 w 447236"/>
              <a:gd name="connsiteY1498" fmla="*/ 278674 h 448122"/>
              <a:gd name="connsiteX1499" fmla="*/ 431899 w 447236"/>
              <a:gd name="connsiteY1499" fmla="*/ 278674 h 448122"/>
              <a:gd name="connsiteX1500" fmla="*/ 431590 w 447236"/>
              <a:gd name="connsiteY1500" fmla="*/ 278305 h 448122"/>
              <a:gd name="connsiteX1501" fmla="*/ 431899 w 447236"/>
              <a:gd name="connsiteY1501" fmla="*/ 277936 h 448122"/>
              <a:gd name="connsiteX1502" fmla="*/ 435280 w 447236"/>
              <a:gd name="connsiteY1502" fmla="*/ 277936 h 448122"/>
              <a:gd name="connsiteX1503" fmla="*/ 435280 w 447236"/>
              <a:gd name="connsiteY1503" fmla="*/ 274984 h 448122"/>
              <a:gd name="connsiteX1504" fmla="*/ 434827 w 447236"/>
              <a:gd name="connsiteY1504" fmla="*/ 274984 h 448122"/>
              <a:gd name="connsiteX1505" fmla="*/ 433670 w 447236"/>
              <a:gd name="connsiteY1505" fmla="*/ 274984 h 448122"/>
              <a:gd name="connsiteX1506" fmla="*/ 433361 w 447236"/>
              <a:gd name="connsiteY1506" fmla="*/ 274615 h 448122"/>
              <a:gd name="connsiteX1507" fmla="*/ 433670 w 447236"/>
              <a:gd name="connsiteY1507" fmla="*/ 274246 h 448122"/>
              <a:gd name="connsiteX1508" fmla="*/ 435280 w 447236"/>
              <a:gd name="connsiteY1508" fmla="*/ 274246 h 448122"/>
              <a:gd name="connsiteX1509" fmla="*/ 435280 w 447236"/>
              <a:gd name="connsiteY1509" fmla="*/ 270998 h 448122"/>
              <a:gd name="connsiteX1510" fmla="*/ 433058 w 447236"/>
              <a:gd name="connsiteY1510" fmla="*/ 270998 h 448122"/>
              <a:gd name="connsiteX1511" fmla="*/ 431899 w 447236"/>
              <a:gd name="connsiteY1511" fmla="*/ 270998 h 448122"/>
              <a:gd name="connsiteX1512" fmla="*/ 431590 w 447236"/>
              <a:gd name="connsiteY1512" fmla="*/ 270654 h 448122"/>
              <a:gd name="connsiteX1513" fmla="*/ 431899 w 447236"/>
              <a:gd name="connsiteY1513" fmla="*/ 269965 h 448122"/>
              <a:gd name="connsiteX1514" fmla="*/ 435280 w 447236"/>
              <a:gd name="connsiteY1514" fmla="*/ 269965 h 448122"/>
              <a:gd name="connsiteX1515" fmla="*/ 435280 w 447236"/>
              <a:gd name="connsiteY1515" fmla="*/ 267308 h 448122"/>
              <a:gd name="connsiteX1516" fmla="*/ 434827 w 447236"/>
              <a:gd name="connsiteY1516" fmla="*/ 267308 h 448122"/>
              <a:gd name="connsiteX1517" fmla="*/ 433670 w 447236"/>
              <a:gd name="connsiteY1517" fmla="*/ 267308 h 448122"/>
              <a:gd name="connsiteX1518" fmla="*/ 433361 w 447236"/>
              <a:gd name="connsiteY1518" fmla="*/ 267013 h 448122"/>
              <a:gd name="connsiteX1519" fmla="*/ 433670 w 447236"/>
              <a:gd name="connsiteY1519" fmla="*/ 266718 h 448122"/>
              <a:gd name="connsiteX1520" fmla="*/ 435280 w 447236"/>
              <a:gd name="connsiteY1520" fmla="*/ 266718 h 448122"/>
              <a:gd name="connsiteX1521" fmla="*/ 435280 w 447236"/>
              <a:gd name="connsiteY1521" fmla="*/ 263618 h 448122"/>
              <a:gd name="connsiteX1522" fmla="*/ 433058 w 447236"/>
              <a:gd name="connsiteY1522" fmla="*/ 263618 h 448122"/>
              <a:gd name="connsiteX1523" fmla="*/ 431899 w 447236"/>
              <a:gd name="connsiteY1523" fmla="*/ 263618 h 448122"/>
              <a:gd name="connsiteX1524" fmla="*/ 431590 w 447236"/>
              <a:gd name="connsiteY1524" fmla="*/ 263323 h 448122"/>
              <a:gd name="connsiteX1525" fmla="*/ 431899 w 447236"/>
              <a:gd name="connsiteY1525" fmla="*/ 263028 h 448122"/>
              <a:gd name="connsiteX1526" fmla="*/ 435280 w 447236"/>
              <a:gd name="connsiteY1526" fmla="*/ 263028 h 448122"/>
              <a:gd name="connsiteX1527" fmla="*/ 435311 w 447236"/>
              <a:gd name="connsiteY1527" fmla="*/ 263028 h 448122"/>
              <a:gd name="connsiteX1528" fmla="*/ 435311 w 447236"/>
              <a:gd name="connsiteY1528" fmla="*/ 259928 h 448122"/>
              <a:gd name="connsiteX1529" fmla="*/ 434827 w 447236"/>
              <a:gd name="connsiteY1529" fmla="*/ 259928 h 448122"/>
              <a:gd name="connsiteX1530" fmla="*/ 433670 w 447236"/>
              <a:gd name="connsiteY1530" fmla="*/ 259928 h 448122"/>
              <a:gd name="connsiteX1531" fmla="*/ 433361 w 447236"/>
              <a:gd name="connsiteY1531" fmla="*/ 259633 h 448122"/>
              <a:gd name="connsiteX1532" fmla="*/ 433670 w 447236"/>
              <a:gd name="connsiteY1532" fmla="*/ 259338 h 448122"/>
              <a:gd name="connsiteX1533" fmla="*/ 435311 w 447236"/>
              <a:gd name="connsiteY1533" fmla="*/ 259338 h 448122"/>
              <a:gd name="connsiteX1534" fmla="*/ 435311 w 447236"/>
              <a:gd name="connsiteY1534" fmla="*/ 255648 h 448122"/>
              <a:gd name="connsiteX1535" fmla="*/ 433058 w 447236"/>
              <a:gd name="connsiteY1535" fmla="*/ 255648 h 448122"/>
              <a:gd name="connsiteX1536" fmla="*/ 431899 w 447236"/>
              <a:gd name="connsiteY1536" fmla="*/ 255648 h 448122"/>
              <a:gd name="connsiteX1537" fmla="*/ 431590 w 447236"/>
              <a:gd name="connsiteY1537" fmla="*/ 255353 h 448122"/>
              <a:gd name="connsiteX1538" fmla="*/ 431899 w 447236"/>
              <a:gd name="connsiteY1538" fmla="*/ 255058 h 448122"/>
              <a:gd name="connsiteX1539" fmla="*/ 435311 w 447236"/>
              <a:gd name="connsiteY1539" fmla="*/ 255058 h 448122"/>
              <a:gd name="connsiteX1540" fmla="*/ 435311 w 447236"/>
              <a:gd name="connsiteY1540" fmla="*/ 251958 h 448122"/>
              <a:gd name="connsiteX1541" fmla="*/ 434827 w 447236"/>
              <a:gd name="connsiteY1541" fmla="*/ 251958 h 448122"/>
              <a:gd name="connsiteX1542" fmla="*/ 433670 w 447236"/>
              <a:gd name="connsiteY1542" fmla="*/ 251958 h 448122"/>
              <a:gd name="connsiteX1543" fmla="*/ 433361 w 447236"/>
              <a:gd name="connsiteY1543" fmla="*/ 251663 h 448122"/>
              <a:gd name="connsiteX1544" fmla="*/ 433670 w 447236"/>
              <a:gd name="connsiteY1544" fmla="*/ 251368 h 448122"/>
              <a:gd name="connsiteX1545" fmla="*/ 435311 w 447236"/>
              <a:gd name="connsiteY1545" fmla="*/ 251368 h 448122"/>
              <a:gd name="connsiteX1546" fmla="*/ 435311 w 447236"/>
              <a:gd name="connsiteY1546" fmla="*/ 247972 h 448122"/>
              <a:gd name="connsiteX1547" fmla="*/ 433058 w 447236"/>
              <a:gd name="connsiteY1547" fmla="*/ 247972 h 448122"/>
              <a:gd name="connsiteX1548" fmla="*/ 431899 w 447236"/>
              <a:gd name="connsiteY1548" fmla="*/ 247972 h 448122"/>
              <a:gd name="connsiteX1549" fmla="*/ 431590 w 447236"/>
              <a:gd name="connsiteY1549" fmla="*/ 247677 h 448122"/>
              <a:gd name="connsiteX1550" fmla="*/ 431899 w 447236"/>
              <a:gd name="connsiteY1550" fmla="*/ 247382 h 448122"/>
              <a:gd name="connsiteX1551" fmla="*/ 435311 w 447236"/>
              <a:gd name="connsiteY1551" fmla="*/ 247382 h 448122"/>
              <a:gd name="connsiteX1552" fmla="*/ 435311 w 447236"/>
              <a:gd name="connsiteY1552" fmla="*/ 245084 h 448122"/>
              <a:gd name="connsiteX1553" fmla="*/ 435311 w 447236"/>
              <a:gd name="connsiteY1553" fmla="*/ 244578 h 448122"/>
              <a:gd name="connsiteX1554" fmla="*/ 434827 w 447236"/>
              <a:gd name="connsiteY1554" fmla="*/ 244578 h 448122"/>
              <a:gd name="connsiteX1555" fmla="*/ 433670 w 447236"/>
              <a:gd name="connsiteY1555" fmla="*/ 244578 h 448122"/>
              <a:gd name="connsiteX1556" fmla="*/ 433361 w 447236"/>
              <a:gd name="connsiteY1556" fmla="*/ 244283 h 448122"/>
              <a:gd name="connsiteX1557" fmla="*/ 433670 w 447236"/>
              <a:gd name="connsiteY1557" fmla="*/ 243692 h 448122"/>
              <a:gd name="connsiteX1558" fmla="*/ 435311 w 447236"/>
              <a:gd name="connsiteY1558" fmla="*/ 243692 h 448122"/>
              <a:gd name="connsiteX1559" fmla="*/ 435311 w 447236"/>
              <a:gd name="connsiteY1559" fmla="*/ 240297 h 448122"/>
              <a:gd name="connsiteX1560" fmla="*/ 433058 w 447236"/>
              <a:gd name="connsiteY1560" fmla="*/ 240297 h 448122"/>
              <a:gd name="connsiteX1561" fmla="*/ 431899 w 447236"/>
              <a:gd name="connsiteY1561" fmla="*/ 240297 h 448122"/>
              <a:gd name="connsiteX1562" fmla="*/ 431590 w 447236"/>
              <a:gd name="connsiteY1562" fmla="*/ 240002 h 448122"/>
              <a:gd name="connsiteX1563" fmla="*/ 431899 w 447236"/>
              <a:gd name="connsiteY1563" fmla="*/ 239707 h 448122"/>
              <a:gd name="connsiteX1564" fmla="*/ 435311 w 447236"/>
              <a:gd name="connsiteY1564" fmla="*/ 239707 h 448122"/>
              <a:gd name="connsiteX1565" fmla="*/ 435311 w 447236"/>
              <a:gd name="connsiteY1565" fmla="*/ 236903 h 448122"/>
              <a:gd name="connsiteX1566" fmla="*/ 434827 w 447236"/>
              <a:gd name="connsiteY1566" fmla="*/ 236903 h 448122"/>
              <a:gd name="connsiteX1567" fmla="*/ 433670 w 447236"/>
              <a:gd name="connsiteY1567" fmla="*/ 236903 h 448122"/>
              <a:gd name="connsiteX1568" fmla="*/ 433361 w 447236"/>
              <a:gd name="connsiteY1568" fmla="*/ 236312 h 448122"/>
              <a:gd name="connsiteX1569" fmla="*/ 433670 w 447236"/>
              <a:gd name="connsiteY1569" fmla="*/ 236017 h 448122"/>
              <a:gd name="connsiteX1570" fmla="*/ 435311 w 447236"/>
              <a:gd name="connsiteY1570" fmla="*/ 236017 h 448122"/>
              <a:gd name="connsiteX1571" fmla="*/ 435311 w 447236"/>
              <a:gd name="connsiteY1571" fmla="*/ 235870 h 448122"/>
              <a:gd name="connsiteX1572" fmla="*/ 435311 w 447236"/>
              <a:gd name="connsiteY1572" fmla="*/ 231990 h 448122"/>
              <a:gd name="connsiteX1573" fmla="*/ 433804 w 447236"/>
              <a:gd name="connsiteY1573" fmla="*/ 229225 h 448122"/>
              <a:gd name="connsiteX1574" fmla="*/ 437421 w 447236"/>
              <a:gd name="connsiteY1574" fmla="*/ 225537 h 448122"/>
              <a:gd name="connsiteX1575" fmla="*/ 49373 w 447236"/>
              <a:gd name="connsiteY1575" fmla="*/ 225537 h 448122"/>
              <a:gd name="connsiteX1576" fmla="*/ 51513 w 447236"/>
              <a:gd name="connsiteY1576" fmla="*/ 227679 h 448122"/>
              <a:gd name="connsiteX1577" fmla="*/ 51513 w 447236"/>
              <a:gd name="connsiteY1577" fmla="*/ 238083 h 448122"/>
              <a:gd name="connsiteX1578" fmla="*/ 53826 w 447236"/>
              <a:gd name="connsiteY1578" fmla="*/ 238083 h 448122"/>
              <a:gd name="connsiteX1579" fmla="*/ 55288 w 447236"/>
              <a:gd name="connsiteY1579" fmla="*/ 238083 h 448122"/>
              <a:gd name="connsiteX1580" fmla="*/ 56827 w 447236"/>
              <a:gd name="connsiteY1580" fmla="*/ 239327 h 448122"/>
              <a:gd name="connsiteX1581" fmla="*/ 56827 w 447236"/>
              <a:gd name="connsiteY1581" fmla="*/ 245548 h 448122"/>
              <a:gd name="connsiteX1582" fmla="*/ 55288 w 447236"/>
              <a:gd name="connsiteY1582" fmla="*/ 246792 h 448122"/>
              <a:gd name="connsiteX1583" fmla="*/ 54053 w 447236"/>
              <a:gd name="connsiteY1583" fmla="*/ 246792 h 448122"/>
              <a:gd name="connsiteX1584" fmla="*/ 57123 w 447236"/>
              <a:gd name="connsiteY1584" fmla="*/ 249848 h 448122"/>
              <a:gd name="connsiteX1585" fmla="*/ 57123 w 447236"/>
              <a:gd name="connsiteY1585" fmla="*/ 269714 h 448122"/>
              <a:gd name="connsiteX1586" fmla="*/ 54053 w 447236"/>
              <a:gd name="connsiteY1586" fmla="*/ 272770 h 448122"/>
              <a:gd name="connsiteX1587" fmla="*/ 44842 w 447236"/>
              <a:gd name="connsiteY1587" fmla="*/ 272770 h 448122"/>
              <a:gd name="connsiteX1588" fmla="*/ 41772 w 447236"/>
              <a:gd name="connsiteY1588" fmla="*/ 269714 h 448122"/>
              <a:gd name="connsiteX1589" fmla="*/ 41772 w 447236"/>
              <a:gd name="connsiteY1589" fmla="*/ 249848 h 448122"/>
              <a:gd name="connsiteX1590" fmla="*/ 44842 w 447236"/>
              <a:gd name="connsiteY1590" fmla="*/ 246792 h 448122"/>
              <a:gd name="connsiteX1591" fmla="*/ 43593 w 447236"/>
              <a:gd name="connsiteY1591" fmla="*/ 246792 h 448122"/>
              <a:gd name="connsiteX1592" fmla="*/ 42362 w 447236"/>
              <a:gd name="connsiteY1592" fmla="*/ 245548 h 448122"/>
              <a:gd name="connsiteX1593" fmla="*/ 42362 w 447236"/>
              <a:gd name="connsiteY1593" fmla="*/ 239327 h 448122"/>
              <a:gd name="connsiteX1594" fmla="*/ 43593 w 447236"/>
              <a:gd name="connsiteY1594" fmla="*/ 238083 h 448122"/>
              <a:gd name="connsiteX1595" fmla="*/ 47233 w 447236"/>
              <a:gd name="connsiteY1595" fmla="*/ 238083 h 448122"/>
              <a:gd name="connsiteX1596" fmla="*/ 47233 w 447236"/>
              <a:gd name="connsiteY1596" fmla="*/ 227679 h 448122"/>
              <a:gd name="connsiteX1597" fmla="*/ 49373 w 447236"/>
              <a:gd name="connsiteY1597" fmla="*/ 225537 h 448122"/>
              <a:gd name="connsiteX1598" fmla="*/ 14421 w 447236"/>
              <a:gd name="connsiteY1598" fmla="*/ 225537 h 448122"/>
              <a:gd name="connsiteX1599" fmla="*/ 24853 w 447236"/>
              <a:gd name="connsiteY1599" fmla="*/ 225537 h 448122"/>
              <a:gd name="connsiteX1600" fmla="*/ 28535 w 447236"/>
              <a:gd name="connsiteY1600" fmla="*/ 228908 h 448122"/>
              <a:gd name="connsiteX1601" fmla="*/ 28535 w 447236"/>
              <a:gd name="connsiteY1601" fmla="*/ 235956 h 448122"/>
              <a:gd name="connsiteX1602" fmla="*/ 10739 w 447236"/>
              <a:gd name="connsiteY1602" fmla="*/ 235956 h 448122"/>
              <a:gd name="connsiteX1603" fmla="*/ 10739 w 447236"/>
              <a:gd name="connsiteY1603" fmla="*/ 229214 h 448122"/>
              <a:gd name="connsiteX1604" fmla="*/ 14421 w 447236"/>
              <a:gd name="connsiteY1604" fmla="*/ 225537 h 448122"/>
              <a:gd name="connsiteX1605" fmla="*/ 134460 w 447236"/>
              <a:gd name="connsiteY1605" fmla="*/ 225001 h 448122"/>
              <a:gd name="connsiteX1606" fmla="*/ 123723 w 447236"/>
              <a:gd name="connsiteY1606" fmla="*/ 235712 h 448122"/>
              <a:gd name="connsiteX1607" fmla="*/ 134460 w 447236"/>
              <a:gd name="connsiteY1607" fmla="*/ 246424 h 448122"/>
              <a:gd name="connsiteX1608" fmla="*/ 145504 w 447236"/>
              <a:gd name="connsiteY1608" fmla="*/ 235712 h 448122"/>
              <a:gd name="connsiteX1609" fmla="*/ 134460 w 447236"/>
              <a:gd name="connsiteY1609" fmla="*/ 225001 h 448122"/>
              <a:gd name="connsiteX1610" fmla="*/ 133846 w 447236"/>
              <a:gd name="connsiteY1610" fmla="*/ 223471 h 448122"/>
              <a:gd name="connsiteX1611" fmla="*/ 173728 w 447236"/>
              <a:gd name="connsiteY1611" fmla="*/ 239385 h 448122"/>
              <a:gd name="connsiteX1612" fmla="*/ 163297 w 447236"/>
              <a:gd name="connsiteY1612" fmla="*/ 256829 h 448122"/>
              <a:gd name="connsiteX1613" fmla="*/ 133846 w 447236"/>
              <a:gd name="connsiteY1613" fmla="*/ 248260 h 448122"/>
              <a:gd name="connsiteX1614" fmla="*/ 106236 w 447236"/>
              <a:gd name="connsiteY1614" fmla="*/ 255911 h 448122"/>
              <a:gd name="connsiteX1615" fmla="*/ 95499 w 447236"/>
              <a:gd name="connsiteY1615" fmla="*/ 237855 h 448122"/>
              <a:gd name="connsiteX1616" fmla="*/ 133846 w 447236"/>
              <a:gd name="connsiteY1616" fmla="*/ 223471 h 448122"/>
              <a:gd name="connsiteX1617" fmla="*/ 83458 w 447236"/>
              <a:gd name="connsiteY1617" fmla="*/ 219838 h 448122"/>
              <a:gd name="connsiteX1618" fmla="*/ 87799 w 447236"/>
              <a:gd name="connsiteY1618" fmla="*/ 221869 h 448122"/>
              <a:gd name="connsiteX1619" fmla="*/ 86877 w 447236"/>
              <a:gd name="connsiteY1619" fmla="*/ 228613 h 448122"/>
              <a:gd name="connsiteX1620" fmla="*/ 85033 w 447236"/>
              <a:gd name="connsiteY1620" fmla="*/ 231372 h 448122"/>
              <a:gd name="connsiteX1621" fmla="*/ 84418 w 447236"/>
              <a:gd name="connsiteY1621" fmla="*/ 241795 h 448122"/>
              <a:gd name="connsiteX1622" fmla="*/ 83189 w 447236"/>
              <a:gd name="connsiteY1622" fmla="*/ 248233 h 448122"/>
              <a:gd name="connsiteX1623" fmla="*/ 81345 w 447236"/>
              <a:gd name="connsiteY1623" fmla="*/ 252525 h 448122"/>
              <a:gd name="connsiteX1624" fmla="*/ 80423 w 447236"/>
              <a:gd name="connsiteY1624" fmla="*/ 252831 h 448122"/>
              <a:gd name="connsiteX1625" fmla="*/ 79501 w 447236"/>
              <a:gd name="connsiteY1625" fmla="*/ 243328 h 448122"/>
              <a:gd name="connsiteX1626" fmla="*/ 78271 w 447236"/>
              <a:gd name="connsiteY1626" fmla="*/ 238423 h 448122"/>
              <a:gd name="connsiteX1627" fmla="*/ 77349 w 447236"/>
              <a:gd name="connsiteY1627" fmla="*/ 237810 h 448122"/>
              <a:gd name="connsiteX1628" fmla="*/ 76120 w 447236"/>
              <a:gd name="connsiteY1628" fmla="*/ 238423 h 448122"/>
              <a:gd name="connsiteX1629" fmla="*/ 75198 w 447236"/>
              <a:gd name="connsiteY1629" fmla="*/ 243328 h 448122"/>
              <a:gd name="connsiteX1630" fmla="*/ 73969 w 447236"/>
              <a:gd name="connsiteY1630" fmla="*/ 252831 h 448122"/>
              <a:gd name="connsiteX1631" fmla="*/ 73047 w 447236"/>
              <a:gd name="connsiteY1631" fmla="*/ 252525 h 448122"/>
              <a:gd name="connsiteX1632" fmla="*/ 71510 w 447236"/>
              <a:gd name="connsiteY1632" fmla="*/ 248233 h 448122"/>
              <a:gd name="connsiteX1633" fmla="*/ 69973 w 447236"/>
              <a:gd name="connsiteY1633" fmla="*/ 241795 h 448122"/>
              <a:gd name="connsiteX1634" fmla="*/ 69359 w 447236"/>
              <a:gd name="connsiteY1634" fmla="*/ 231372 h 448122"/>
              <a:gd name="connsiteX1635" fmla="*/ 67514 w 447236"/>
              <a:gd name="connsiteY1635" fmla="*/ 228613 h 448122"/>
              <a:gd name="connsiteX1636" fmla="*/ 66900 w 447236"/>
              <a:gd name="connsiteY1636" fmla="*/ 221869 h 448122"/>
              <a:gd name="connsiteX1637" fmla="*/ 77964 w 447236"/>
              <a:gd name="connsiteY1637" fmla="*/ 221256 h 448122"/>
              <a:gd name="connsiteX1638" fmla="*/ 83458 w 447236"/>
              <a:gd name="connsiteY1638" fmla="*/ 219838 h 448122"/>
              <a:gd name="connsiteX1639" fmla="*/ 399708 w 447236"/>
              <a:gd name="connsiteY1639" fmla="*/ 215205 h 448122"/>
              <a:gd name="connsiteX1640" fmla="*/ 407089 w 447236"/>
              <a:gd name="connsiteY1640" fmla="*/ 228636 h 448122"/>
              <a:gd name="connsiteX1641" fmla="*/ 416831 w 447236"/>
              <a:gd name="connsiteY1641" fmla="*/ 228636 h 448122"/>
              <a:gd name="connsiteX1642" fmla="*/ 417716 w 447236"/>
              <a:gd name="connsiteY1642" fmla="*/ 238083 h 448122"/>
              <a:gd name="connsiteX1643" fmla="*/ 418371 w 447236"/>
              <a:gd name="connsiteY1643" fmla="*/ 238083 h 448122"/>
              <a:gd name="connsiteX1644" fmla="*/ 420904 w 447236"/>
              <a:gd name="connsiteY1644" fmla="*/ 238083 h 448122"/>
              <a:gd name="connsiteX1645" fmla="*/ 422439 w 447236"/>
              <a:gd name="connsiteY1645" fmla="*/ 239323 h 448122"/>
              <a:gd name="connsiteX1646" fmla="*/ 422439 w 447236"/>
              <a:gd name="connsiteY1646" fmla="*/ 239943 h 448122"/>
              <a:gd name="connsiteX1647" fmla="*/ 420904 w 447236"/>
              <a:gd name="connsiteY1647" fmla="*/ 241183 h 448122"/>
              <a:gd name="connsiteX1648" fmla="*/ 420223 w 447236"/>
              <a:gd name="connsiteY1648" fmla="*/ 241183 h 448122"/>
              <a:gd name="connsiteX1649" fmla="*/ 424210 w 447236"/>
              <a:gd name="connsiteY1649" fmla="*/ 250692 h 448122"/>
              <a:gd name="connsiteX1650" fmla="*/ 424210 w 447236"/>
              <a:gd name="connsiteY1650" fmla="*/ 314800 h 448122"/>
              <a:gd name="connsiteX1651" fmla="*/ 419610 w 447236"/>
              <a:gd name="connsiteY1651" fmla="*/ 319708 h 448122"/>
              <a:gd name="connsiteX1652" fmla="*/ 410409 w 447236"/>
              <a:gd name="connsiteY1652" fmla="*/ 319708 h 448122"/>
              <a:gd name="connsiteX1653" fmla="*/ 401209 w 447236"/>
              <a:gd name="connsiteY1653" fmla="*/ 319708 h 448122"/>
              <a:gd name="connsiteX1654" fmla="*/ 396608 w 447236"/>
              <a:gd name="connsiteY1654" fmla="*/ 314800 h 448122"/>
              <a:gd name="connsiteX1655" fmla="*/ 396608 w 447236"/>
              <a:gd name="connsiteY1655" fmla="*/ 250692 h 448122"/>
              <a:gd name="connsiteX1656" fmla="*/ 400595 w 447236"/>
              <a:gd name="connsiteY1656" fmla="*/ 241183 h 448122"/>
              <a:gd name="connsiteX1657" fmla="*/ 400641 w 447236"/>
              <a:gd name="connsiteY1657" fmla="*/ 241183 h 448122"/>
              <a:gd name="connsiteX1658" fmla="*/ 399413 w 447236"/>
              <a:gd name="connsiteY1658" fmla="*/ 239943 h 448122"/>
              <a:gd name="connsiteX1659" fmla="*/ 399413 w 447236"/>
              <a:gd name="connsiteY1659" fmla="*/ 239323 h 448122"/>
              <a:gd name="connsiteX1660" fmla="*/ 400641 w 447236"/>
              <a:gd name="connsiteY1660" fmla="*/ 238083 h 448122"/>
              <a:gd name="connsiteX1661" fmla="*/ 403694 w 447236"/>
              <a:gd name="connsiteY1661" fmla="*/ 238083 h 448122"/>
              <a:gd name="connsiteX1662" fmla="*/ 404284 w 447236"/>
              <a:gd name="connsiteY1662" fmla="*/ 229522 h 448122"/>
              <a:gd name="connsiteX1663" fmla="*/ 397494 w 447236"/>
              <a:gd name="connsiteY1663" fmla="*/ 216386 h 448122"/>
              <a:gd name="connsiteX1664" fmla="*/ 136532 w 447236"/>
              <a:gd name="connsiteY1664" fmla="*/ 213286 h 448122"/>
              <a:gd name="connsiteX1665" fmla="*/ 136975 w 447236"/>
              <a:gd name="connsiteY1665" fmla="*/ 213286 h 448122"/>
              <a:gd name="connsiteX1666" fmla="*/ 137270 w 447236"/>
              <a:gd name="connsiteY1666" fmla="*/ 213286 h 448122"/>
              <a:gd name="connsiteX1667" fmla="*/ 137270 w 447236"/>
              <a:gd name="connsiteY1667" fmla="*/ 213876 h 448122"/>
              <a:gd name="connsiteX1668" fmla="*/ 136532 w 447236"/>
              <a:gd name="connsiteY1668" fmla="*/ 213876 h 448122"/>
              <a:gd name="connsiteX1669" fmla="*/ 434047 w 447236"/>
              <a:gd name="connsiteY1669" fmla="*/ 212400 h 448122"/>
              <a:gd name="connsiteX1670" fmla="*/ 434047 w 447236"/>
              <a:gd name="connsiteY1670" fmla="*/ 214023 h 448122"/>
              <a:gd name="connsiteX1671" fmla="*/ 434047 w 447236"/>
              <a:gd name="connsiteY1671" fmla="*/ 216092 h 448122"/>
              <a:gd name="connsiteX1672" fmla="*/ 433433 w 447236"/>
              <a:gd name="connsiteY1672" fmla="*/ 217932 h 448122"/>
              <a:gd name="connsiteX1673" fmla="*/ 432206 w 447236"/>
              <a:gd name="connsiteY1673" fmla="*/ 219158 h 448122"/>
              <a:gd name="connsiteX1674" fmla="*/ 429446 w 447236"/>
              <a:gd name="connsiteY1674" fmla="*/ 221917 h 448122"/>
              <a:gd name="connsiteX1675" fmla="*/ 428525 w 447236"/>
              <a:gd name="connsiteY1675" fmla="*/ 225596 h 448122"/>
              <a:gd name="connsiteX1676" fmla="*/ 428525 w 447236"/>
              <a:gd name="connsiteY1676" fmla="*/ 298832 h 448122"/>
              <a:gd name="connsiteX1677" fmla="*/ 428525 w 447236"/>
              <a:gd name="connsiteY1677" fmla="*/ 299252 h 448122"/>
              <a:gd name="connsiteX1678" fmla="*/ 440799 w 447236"/>
              <a:gd name="connsiteY1678" fmla="*/ 306253 h 448122"/>
              <a:gd name="connsiteX1679" fmla="*/ 446316 w 447236"/>
              <a:gd name="connsiteY1679" fmla="*/ 304876 h 448122"/>
              <a:gd name="connsiteX1680" fmla="*/ 446316 w 447236"/>
              <a:gd name="connsiteY1680" fmla="*/ 281667 h 448122"/>
              <a:gd name="connsiteX1681" fmla="*/ 446316 w 447236"/>
              <a:gd name="connsiteY1681" fmla="*/ 225596 h 448122"/>
              <a:gd name="connsiteX1682" fmla="*/ 445396 w 447236"/>
              <a:gd name="connsiteY1682" fmla="*/ 221917 h 448122"/>
              <a:gd name="connsiteX1683" fmla="*/ 442635 w 447236"/>
              <a:gd name="connsiteY1683" fmla="*/ 219158 h 448122"/>
              <a:gd name="connsiteX1684" fmla="*/ 441408 w 447236"/>
              <a:gd name="connsiteY1684" fmla="*/ 217932 h 448122"/>
              <a:gd name="connsiteX1685" fmla="*/ 440795 w 447236"/>
              <a:gd name="connsiteY1685" fmla="*/ 216399 h 448122"/>
              <a:gd name="connsiteX1686" fmla="*/ 440795 w 447236"/>
              <a:gd name="connsiteY1686" fmla="*/ 212400 h 448122"/>
              <a:gd name="connsiteX1687" fmla="*/ 434764 w 447236"/>
              <a:gd name="connsiteY1687" fmla="*/ 212400 h 448122"/>
              <a:gd name="connsiteX1688" fmla="*/ 307625 w 447236"/>
              <a:gd name="connsiteY1688" fmla="*/ 212400 h 448122"/>
              <a:gd name="connsiteX1689" fmla="*/ 311595 w 447236"/>
              <a:gd name="connsiteY1689" fmla="*/ 214546 h 448122"/>
              <a:gd name="connsiteX1690" fmla="*/ 313427 w 447236"/>
              <a:gd name="connsiteY1690" fmla="*/ 236928 h 448122"/>
              <a:gd name="connsiteX1691" fmla="*/ 312816 w 447236"/>
              <a:gd name="connsiteY1691" fmla="*/ 236928 h 448122"/>
              <a:gd name="connsiteX1692" fmla="*/ 312816 w 447236"/>
              <a:gd name="connsiteY1692" fmla="*/ 246432 h 448122"/>
              <a:gd name="connsiteX1693" fmla="*/ 314038 w 447236"/>
              <a:gd name="connsiteY1693" fmla="*/ 246739 h 448122"/>
              <a:gd name="connsiteX1694" fmla="*/ 314343 w 447236"/>
              <a:gd name="connsiteY1694" fmla="*/ 247965 h 448122"/>
              <a:gd name="connsiteX1695" fmla="*/ 313427 w 447236"/>
              <a:gd name="connsiteY1695" fmla="*/ 279238 h 448122"/>
              <a:gd name="connsiteX1696" fmla="*/ 313733 w 447236"/>
              <a:gd name="connsiteY1696" fmla="*/ 282304 h 448122"/>
              <a:gd name="connsiteX1697" fmla="*/ 315259 w 447236"/>
              <a:gd name="connsiteY1697" fmla="*/ 308978 h 448122"/>
              <a:gd name="connsiteX1698" fmla="*/ 311290 w 447236"/>
              <a:gd name="connsiteY1698" fmla="*/ 311737 h 448122"/>
              <a:gd name="connsiteX1699" fmla="*/ 307014 w 447236"/>
              <a:gd name="connsiteY1699" fmla="*/ 308978 h 448122"/>
              <a:gd name="connsiteX1700" fmla="*/ 308541 w 447236"/>
              <a:gd name="connsiteY1700" fmla="*/ 281997 h 448122"/>
              <a:gd name="connsiteX1701" fmla="*/ 308541 w 447236"/>
              <a:gd name="connsiteY1701" fmla="*/ 279238 h 448122"/>
              <a:gd name="connsiteX1702" fmla="*/ 307930 w 447236"/>
              <a:gd name="connsiteY1702" fmla="*/ 247965 h 448122"/>
              <a:gd name="connsiteX1703" fmla="*/ 308236 w 447236"/>
              <a:gd name="connsiteY1703" fmla="*/ 246739 h 448122"/>
              <a:gd name="connsiteX1704" fmla="*/ 309457 w 447236"/>
              <a:gd name="connsiteY1704" fmla="*/ 246432 h 448122"/>
              <a:gd name="connsiteX1705" fmla="*/ 309457 w 447236"/>
              <a:gd name="connsiteY1705" fmla="*/ 236928 h 448122"/>
              <a:gd name="connsiteX1706" fmla="*/ 309152 w 447236"/>
              <a:gd name="connsiteY1706" fmla="*/ 236928 h 448122"/>
              <a:gd name="connsiteX1707" fmla="*/ 308236 w 447236"/>
              <a:gd name="connsiteY1707" fmla="*/ 231102 h 448122"/>
              <a:gd name="connsiteX1708" fmla="*/ 307320 w 447236"/>
              <a:gd name="connsiteY1708" fmla="*/ 221904 h 448122"/>
              <a:gd name="connsiteX1709" fmla="*/ 307320 w 447236"/>
              <a:gd name="connsiteY1709" fmla="*/ 215159 h 448122"/>
              <a:gd name="connsiteX1710" fmla="*/ 307625 w 447236"/>
              <a:gd name="connsiteY1710" fmla="*/ 212400 h 448122"/>
              <a:gd name="connsiteX1711" fmla="*/ 68707 w 447236"/>
              <a:gd name="connsiteY1711" fmla="*/ 212130 h 448122"/>
              <a:gd name="connsiteX1712" fmla="*/ 68400 w 447236"/>
              <a:gd name="connsiteY1712" fmla="*/ 212437 h 448122"/>
              <a:gd name="connsiteX1713" fmla="*/ 68707 w 447236"/>
              <a:gd name="connsiteY1713" fmla="*/ 212745 h 448122"/>
              <a:gd name="connsiteX1714" fmla="*/ 81921 w 447236"/>
              <a:gd name="connsiteY1714" fmla="*/ 212745 h 448122"/>
              <a:gd name="connsiteX1715" fmla="*/ 82228 w 447236"/>
              <a:gd name="connsiteY1715" fmla="*/ 212437 h 448122"/>
              <a:gd name="connsiteX1716" fmla="*/ 81921 w 447236"/>
              <a:gd name="connsiteY1716" fmla="*/ 212130 h 448122"/>
              <a:gd name="connsiteX1717" fmla="*/ 68707 w 447236"/>
              <a:gd name="connsiteY1717" fmla="*/ 212130 h 448122"/>
              <a:gd name="connsiteX1718" fmla="*/ 151905 w 447236"/>
              <a:gd name="connsiteY1718" fmla="*/ 212052 h 448122"/>
              <a:gd name="connsiteX1719" fmla="*/ 155056 w 447236"/>
              <a:gd name="connsiteY1719" fmla="*/ 215205 h 448122"/>
              <a:gd name="connsiteX1720" fmla="*/ 156679 w 447236"/>
              <a:gd name="connsiteY1720" fmla="*/ 213581 h 448122"/>
              <a:gd name="connsiteX1721" fmla="*/ 153462 w 447236"/>
              <a:gd name="connsiteY1721" fmla="*/ 213581 h 448122"/>
              <a:gd name="connsiteX1722" fmla="*/ 152843 w 447236"/>
              <a:gd name="connsiteY1722" fmla="*/ 212969 h 448122"/>
              <a:gd name="connsiteX1723" fmla="*/ 152843 w 447236"/>
              <a:gd name="connsiteY1723" fmla="*/ 212052 h 448122"/>
              <a:gd name="connsiteX1724" fmla="*/ 138746 w 447236"/>
              <a:gd name="connsiteY1724" fmla="*/ 211809 h 448122"/>
              <a:gd name="connsiteX1725" fmla="*/ 138451 w 447236"/>
              <a:gd name="connsiteY1725" fmla="*/ 213285 h 448122"/>
              <a:gd name="connsiteX1726" fmla="*/ 139927 w 447236"/>
              <a:gd name="connsiteY1726" fmla="*/ 213285 h 448122"/>
              <a:gd name="connsiteX1727" fmla="*/ 140222 w 447236"/>
              <a:gd name="connsiteY1727" fmla="*/ 211809 h 448122"/>
              <a:gd name="connsiteX1728" fmla="*/ 134170 w 447236"/>
              <a:gd name="connsiteY1728" fmla="*/ 211514 h 448122"/>
              <a:gd name="connsiteX1729" fmla="*/ 134170 w 447236"/>
              <a:gd name="connsiteY1729" fmla="*/ 211809 h 448122"/>
              <a:gd name="connsiteX1730" fmla="*/ 134170 w 447236"/>
              <a:gd name="connsiteY1730" fmla="*/ 213285 h 448122"/>
              <a:gd name="connsiteX1731" fmla="*/ 133580 w 447236"/>
              <a:gd name="connsiteY1731" fmla="*/ 213581 h 448122"/>
              <a:gd name="connsiteX1732" fmla="*/ 133580 w 447236"/>
              <a:gd name="connsiteY1732" fmla="*/ 213285 h 448122"/>
              <a:gd name="connsiteX1733" fmla="*/ 133580 w 447236"/>
              <a:gd name="connsiteY1733" fmla="*/ 211809 h 448122"/>
              <a:gd name="connsiteX1734" fmla="*/ 138451 w 447236"/>
              <a:gd name="connsiteY1734" fmla="*/ 211219 h 448122"/>
              <a:gd name="connsiteX1735" fmla="*/ 138746 w 447236"/>
              <a:gd name="connsiteY1735" fmla="*/ 211219 h 448122"/>
              <a:gd name="connsiteX1736" fmla="*/ 140665 w 447236"/>
              <a:gd name="connsiteY1736" fmla="*/ 211219 h 448122"/>
              <a:gd name="connsiteX1737" fmla="*/ 140665 w 447236"/>
              <a:gd name="connsiteY1737" fmla="*/ 211514 h 448122"/>
              <a:gd name="connsiteX1738" fmla="*/ 140961 w 447236"/>
              <a:gd name="connsiteY1738" fmla="*/ 211514 h 448122"/>
              <a:gd name="connsiteX1739" fmla="*/ 140961 w 447236"/>
              <a:gd name="connsiteY1739" fmla="*/ 211809 h 448122"/>
              <a:gd name="connsiteX1740" fmla="*/ 140665 w 447236"/>
              <a:gd name="connsiteY1740" fmla="*/ 213285 h 448122"/>
              <a:gd name="connsiteX1741" fmla="*/ 140222 w 447236"/>
              <a:gd name="connsiteY1741" fmla="*/ 213581 h 448122"/>
              <a:gd name="connsiteX1742" fmla="*/ 139927 w 447236"/>
              <a:gd name="connsiteY1742" fmla="*/ 213876 h 448122"/>
              <a:gd name="connsiteX1743" fmla="*/ 138451 w 447236"/>
              <a:gd name="connsiteY1743" fmla="*/ 213876 h 448122"/>
              <a:gd name="connsiteX1744" fmla="*/ 138156 w 447236"/>
              <a:gd name="connsiteY1744" fmla="*/ 213581 h 448122"/>
              <a:gd name="connsiteX1745" fmla="*/ 137861 w 447236"/>
              <a:gd name="connsiteY1745" fmla="*/ 213285 h 448122"/>
              <a:gd name="connsiteX1746" fmla="*/ 138156 w 447236"/>
              <a:gd name="connsiteY1746" fmla="*/ 211809 h 448122"/>
              <a:gd name="connsiteX1747" fmla="*/ 138451 w 447236"/>
              <a:gd name="connsiteY1747" fmla="*/ 211514 h 448122"/>
              <a:gd name="connsiteX1748" fmla="*/ 134170 w 447236"/>
              <a:gd name="connsiteY1748" fmla="*/ 211219 h 448122"/>
              <a:gd name="connsiteX1749" fmla="*/ 134465 w 447236"/>
              <a:gd name="connsiteY1749" fmla="*/ 211219 h 448122"/>
              <a:gd name="connsiteX1750" fmla="*/ 135941 w 447236"/>
              <a:gd name="connsiteY1750" fmla="*/ 211219 h 448122"/>
              <a:gd name="connsiteX1751" fmla="*/ 136237 w 447236"/>
              <a:gd name="connsiteY1751" fmla="*/ 211219 h 448122"/>
              <a:gd name="connsiteX1752" fmla="*/ 136237 w 447236"/>
              <a:gd name="connsiteY1752" fmla="*/ 211514 h 448122"/>
              <a:gd name="connsiteX1753" fmla="*/ 136532 w 447236"/>
              <a:gd name="connsiteY1753" fmla="*/ 211809 h 448122"/>
              <a:gd name="connsiteX1754" fmla="*/ 136237 w 447236"/>
              <a:gd name="connsiteY1754" fmla="*/ 213285 h 448122"/>
              <a:gd name="connsiteX1755" fmla="*/ 135941 w 447236"/>
              <a:gd name="connsiteY1755" fmla="*/ 213581 h 448122"/>
              <a:gd name="connsiteX1756" fmla="*/ 135646 w 447236"/>
              <a:gd name="connsiteY1756" fmla="*/ 213876 h 448122"/>
              <a:gd name="connsiteX1757" fmla="*/ 135351 w 447236"/>
              <a:gd name="connsiteY1757" fmla="*/ 213876 h 448122"/>
              <a:gd name="connsiteX1758" fmla="*/ 133875 w 447236"/>
              <a:gd name="connsiteY1758" fmla="*/ 213876 h 448122"/>
              <a:gd name="connsiteX1759" fmla="*/ 133875 w 447236"/>
              <a:gd name="connsiteY1759" fmla="*/ 213581 h 448122"/>
              <a:gd name="connsiteX1760" fmla="*/ 134170 w 447236"/>
              <a:gd name="connsiteY1760" fmla="*/ 213285 h 448122"/>
              <a:gd name="connsiteX1761" fmla="*/ 135646 w 447236"/>
              <a:gd name="connsiteY1761" fmla="*/ 213285 h 448122"/>
              <a:gd name="connsiteX1762" fmla="*/ 135941 w 447236"/>
              <a:gd name="connsiteY1762" fmla="*/ 211809 h 448122"/>
              <a:gd name="connsiteX1763" fmla="*/ 134465 w 447236"/>
              <a:gd name="connsiteY1763" fmla="*/ 211809 h 448122"/>
              <a:gd name="connsiteX1764" fmla="*/ 134170 w 447236"/>
              <a:gd name="connsiteY1764" fmla="*/ 211514 h 448122"/>
              <a:gd name="connsiteX1765" fmla="*/ 130481 w 447236"/>
              <a:gd name="connsiteY1765" fmla="*/ 211219 h 448122"/>
              <a:gd name="connsiteX1766" fmla="*/ 131071 w 447236"/>
              <a:gd name="connsiteY1766" fmla="*/ 211219 h 448122"/>
              <a:gd name="connsiteX1767" fmla="*/ 132547 w 447236"/>
              <a:gd name="connsiteY1767" fmla="*/ 211219 h 448122"/>
              <a:gd name="connsiteX1768" fmla="*/ 132990 w 447236"/>
              <a:gd name="connsiteY1768" fmla="*/ 211219 h 448122"/>
              <a:gd name="connsiteX1769" fmla="*/ 132990 w 447236"/>
              <a:gd name="connsiteY1769" fmla="*/ 211514 h 448122"/>
              <a:gd name="connsiteX1770" fmla="*/ 133286 w 447236"/>
              <a:gd name="connsiteY1770" fmla="*/ 211809 h 448122"/>
              <a:gd name="connsiteX1771" fmla="*/ 132990 w 447236"/>
              <a:gd name="connsiteY1771" fmla="*/ 213285 h 448122"/>
              <a:gd name="connsiteX1772" fmla="*/ 132547 w 447236"/>
              <a:gd name="connsiteY1772" fmla="*/ 213581 h 448122"/>
              <a:gd name="connsiteX1773" fmla="*/ 132252 w 447236"/>
              <a:gd name="connsiteY1773" fmla="*/ 213876 h 448122"/>
              <a:gd name="connsiteX1774" fmla="*/ 130481 w 447236"/>
              <a:gd name="connsiteY1774" fmla="*/ 213876 h 448122"/>
              <a:gd name="connsiteX1775" fmla="*/ 130186 w 447236"/>
              <a:gd name="connsiteY1775" fmla="*/ 213581 h 448122"/>
              <a:gd name="connsiteX1776" fmla="*/ 130481 w 447236"/>
              <a:gd name="connsiteY1776" fmla="*/ 213285 h 448122"/>
              <a:gd name="connsiteX1777" fmla="*/ 132252 w 447236"/>
              <a:gd name="connsiteY1777" fmla="*/ 213285 h 448122"/>
              <a:gd name="connsiteX1778" fmla="*/ 132547 w 447236"/>
              <a:gd name="connsiteY1778" fmla="*/ 211809 h 448122"/>
              <a:gd name="connsiteX1779" fmla="*/ 130776 w 447236"/>
              <a:gd name="connsiteY1779" fmla="*/ 211809 h 448122"/>
              <a:gd name="connsiteX1780" fmla="*/ 130481 w 447236"/>
              <a:gd name="connsiteY1780" fmla="*/ 211514 h 448122"/>
              <a:gd name="connsiteX1781" fmla="*/ 157492 w 447236"/>
              <a:gd name="connsiteY1781" fmla="*/ 210263 h 448122"/>
              <a:gd name="connsiteX1782" fmla="*/ 157492 w 447236"/>
              <a:gd name="connsiteY1782" fmla="*/ 212767 h 448122"/>
              <a:gd name="connsiteX1783" fmla="*/ 158743 w 447236"/>
              <a:gd name="connsiteY1783" fmla="*/ 211515 h 448122"/>
              <a:gd name="connsiteX1784" fmla="*/ 152843 w 447236"/>
              <a:gd name="connsiteY1784" fmla="*/ 210039 h 448122"/>
              <a:gd name="connsiteX1785" fmla="*/ 152053 w 447236"/>
              <a:gd name="connsiteY1785" fmla="*/ 210829 h 448122"/>
              <a:gd name="connsiteX1786" fmla="*/ 152843 w 447236"/>
              <a:gd name="connsiteY1786" fmla="*/ 210829 h 448122"/>
              <a:gd name="connsiteX1787" fmla="*/ 138746 w 447236"/>
              <a:gd name="connsiteY1787" fmla="*/ 209005 h 448122"/>
              <a:gd name="connsiteX1788" fmla="*/ 139042 w 447236"/>
              <a:gd name="connsiteY1788" fmla="*/ 209300 h 448122"/>
              <a:gd name="connsiteX1789" fmla="*/ 138746 w 447236"/>
              <a:gd name="connsiteY1789" fmla="*/ 210924 h 448122"/>
              <a:gd name="connsiteX1790" fmla="*/ 138451 w 447236"/>
              <a:gd name="connsiteY1790" fmla="*/ 211219 h 448122"/>
              <a:gd name="connsiteX1791" fmla="*/ 138156 w 447236"/>
              <a:gd name="connsiteY1791" fmla="*/ 210924 h 448122"/>
              <a:gd name="connsiteX1792" fmla="*/ 138451 w 447236"/>
              <a:gd name="connsiteY1792" fmla="*/ 209300 h 448122"/>
              <a:gd name="connsiteX1793" fmla="*/ 139337 w 447236"/>
              <a:gd name="connsiteY1793" fmla="*/ 208710 h 448122"/>
              <a:gd name="connsiteX1794" fmla="*/ 140961 w 447236"/>
              <a:gd name="connsiteY1794" fmla="*/ 208710 h 448122"/>
              <a:gd name="connsiteX1795" fmla="*/ 141256 w 447236"/>
              <a:gd name="connsiteY1795" fmla="*/ 209005 h 448122"/>
              <a:gd name="connsiteX1796" fmla="*/ 140961 w 447236"/>
              <a:gd name="connsiteY1796" fmla="*/ 209300 h 448122"/>
              <a:gd name="connsiteX1797" fmla="*/ 139042 w 447236"/>
              <a:gd name="connsiteY1797" fmla="*/ 209300 h 448122"/>
              <a:gd name="connsiteX1798" fmla="*/ 139042 w 447236"/>
              <a:gd name="connsiteY1798" fmla="*/ 209005 h 448122"/>
              <a:gd name="connsiteX1799" fmla="*/ 134761 w 447236"/>
              <a:gd name="connsiteY1799" fmla="*/ 208710 h 448122"/>
              <a:gd name="connsiteX1800" fmla="*/ 136532 w 447236"/>
              <a:gd name="connsiteY1800" fmla="*/ 208710 h 448122"/>
              <a:gd name="connsiteX1801" fmla="*/ 136975 w 447236"/>
              <a:gd name="connsiteY1801" fmla="*/ 209005 h 448122"/>
              <a:gd name="connsiteX1802" fmla="*/ 136532 w 447236"/>
              <a:gd name="connsiteY1802" fmla="*/ 209300 h 448122"/>
              <a:gd name="connsiteX1803" fmla="*/ 134761 w 447236"/>
              <a:gd name="connsiteY1803" fmla="*/ 209300 h 448122"/>
              <a:gd name="connsiteX1804" fmla="*/ 134465 w 447236"/>
              <a:gd name="connsiteY1804" fmla="*/ 210924 h 448122"/>
              <a:gd name="connsiteX1805" fmla="*/ 134170 w 447236"/>
              <a:gd name="connsiteY1805" fmla="*/ 211219 h 448122"/>
              <a:gd name="connsiteX1806" fmla="*/ 133875 w 447236"/>
              <a:gd name="connsiteY1806" fmla="*/ 210924 h 448122"/>
              <a:gd name="connsiteX1807" fmla="*/ 134170 w 447236"/>
              <a:gd name="connsiteY1807" fmla="*/ 209300 h 448122"/>
              <a:gd name="connsiteX1808" fmla="*/ 134465 w 447236"/>
              <a:gd name="connsiteY1808" fmla="*/ 209005 h 448122"/>
              <a:gd name="connsiteX1809" fmla="*/ 131367 w 447236"/>
              <a:gd name="connsiteY1809" fmla="*/ 208710 h 448122"/>
              <a:gd name="connsiteX1810" fmla="*/ 133286 w 447236"/>
              <a:gd name="connsiteY1810" fmla="*/ 208710 h 448122"/>
              <a:gd name="connsiteX1811" fmla="*/ 133286 w 447236"/>
              <a:gd name="connsiteY1811" fmla="*/ 209005 h 448122"/>
              <a:gd name="connsiteX1812" fmla="*/ 133581 w 447236"/>
              <a:gd name="connsiteY1812" fmla="*/ 209005 h 448122"/>
              <a:gd name="connsiteX1813" fmla="*/ 133581 w 447236"/>
              <a:gd name="connsiteY1813" fmla="*/ 209300 h 448122"/>
              <a:gd name="connsiteX1814" fmla="*/ 133286 w 447236"/>
              <a:gd name="connsiteY1814" fmla="*/ 210924 h 448122"/>
              <a:gd name="connsiteX1815" fmla="*/ 132990 w 447236"/>
              <a:gd name="connsiteY1815" fmla="*/ 211219 h 448122"/>
              <a:gd name="connsiteX1816" fmla="*/ 132547 w 447236"/>
              <a:gd name="connsiteY1816" fmla="*/ 210924 h 448122"/>
              <a:gd name="connsiteX1817" fmla="*/ 132990 w 447236"/>
              <a:gd name="connsiteY1817" fmla="*/ 209300 h 448122"/>
              <a:gd name="connsiteX1818" fmla="*/ 131367 w 447236"/>
              <a:gd name="connsiteY1818" fmla="*/ 209300 h 448122"/>
              <a:gd name="connsiteX1819" fmla="*/ 131071 w 447236"/>
              <a:gd name="connsiteY1819" fmla="*/ 209005 h 448122"/>
              <a:gd name="connsiteX1820" fmla="*/ 155056 w 447236"/>
              <a:gd name="connsiteY1820" fmla="*/ 207825 h 448122"/>
              <a:gd name="connsiteX1821" fmla="*/ 153581 w 447236"/>
              <a:gd name="connsiteY1821" fmla="*/ 209301 h 448122"/>
              <a:gd name="connsiteX1822" fmla="*/ 156531 w 447236"/>
              <a:gd name="connsiteY1822" fmla="*/ 209301 h 448122"/>
              <a:gd name="connsiteX1823" fmla="*/ 128629 w 447236"/>
              <a:gd name="connsiteY1823" fmla="*/ 207825 h 448122"/>
              <a:gd name="connsiteX1824" fmla="*/ 127400 w 447236"/>
              <a:gd name="connsiteY1824" fmla="*/ 208747 h 448122"/>
              <a:gd name="connsiteX1825" fmla="*/ 127400 w 447236"/>
              <a:gd name="connsiteY1825" fmla="*/ 214282 h 448122"/>
              <a:gd name="connsiteX1826" fmla="*/ 128629 w 447236"/>
              <a:gd name="connsiteY1826" fmla="*/ 215205 h 448122"/>
              <a:gd name="connsiteX1827" fmla="*/ 142764 w 447236"/>
              <a:gd name="connsiteY1827" fmla="*/ 215205 h 448122"/>
              <a:gd name="connsiteX1828" fmla="*/ 143993 w 447236"/>
              <a:gd name="connsiteY1828" fmla="*/ 214282 h 448122"/>
              <a:gd name="connsiteX1829" fmla="*/ 143993 w 447236"/>
              <a:gd name="connsiteY1829" fmla="*/ 208747 h 448122"/>
              <a:gd name="connsiteX1830" fmla="*/ 142764 w 447236"/>
              <a:gd name="connsiteY1830" fmla="*/ 207825 h 448122"/>
              <a:gd name="connsiteX1831" fmla="*/ 128629 w 447236"/>
              <a:gd name="connsiteY1831" fmla="*/ 207825 h 448122"/>
              <a:gd name="connsiteX1832" fmla="*/ 191847 w 447236"/>
              <a:gd name="connsiteY1832" fmla="*/ 205020 h 448122"/>
              <a:gd name="connsiteX1833" fmla="*/ 192462 w 447236"/>
              <a:gd name="connsiteY1833" fmla="*/ 205325 h 448122"/>
              <a:gd name="connsiteX1834" fmla="*/ 192154 w 447236"/>
              <a:gd name="connsiteY1834" fmla="*/ 206240 h 448122"/>
              <a:gd name="connsiteX1835" fmla="*/ 191847 w 447236"/>
              <a:gd name="connsiteY1835" fmla="*/ 207155 h 448122"/>
              <a:gd name="connsiteX1836" fmla="*/ 191539 w 447236"/>
              <a:gd name="connsiteY1836" fmla="*/ 208681 h 448122"/>
              <a:gd name="connsiteX1837" fmla="*/ 190617 w 447236"/>
              <a:gd name="connsiteY1837" fmla="*/ 209291 h 448122"/>
              <a:gd name="connsiteX1838" fmla="*/ 190002 w 447236"/>
              <a:gd name="connsiteY1838" fmla="*/ 209596 h 448122"/>
              <a:gd name="connsiteX1839" fmla="*/ 189387 w 447236"/>
              <a:gd name="connsiteY1839" fmla="*/ 209291 h 448122"/>
              <a:gd name="connsiteX1840" fmla="*/ 189694 w 447236"/>
              <a:gd name="connsiteY1840" fmla="*/ 208376 h 448122"/>
              <a:gd name="connsiteX1841" fmla="*/ 190002 w 447236"/>
              <a:gd name="connsiteY1841" fmla="*/ 208071 h 448122"/>
              <a:gd name="connsiteX1842" fmla="*/ 190309 w 447236"/>
              <a:gd name="connsiteY1842" fmla="*/ 208071 h 448122"/>
              <a:gd name="connsiteX1843" fmla="*/ 190617 w 447236"/>
              <a:gd name="connsiteY1843" fmla="*/ 207155 h 448122"/>
              <a:gd name="connsiteX1844" fmla="*/ 191847 w 447236"/>
              <a:gd name="connsiteY1844" fmla="*/ 205020 h 448122"/>
              <a:gd name="connsiteX1845" fmla="*/ 49064 w 447236"/>
              <a:gd name="connsiteY1845" fmla="*/ 204421 h 448122"/>
              <a:gd name="connsiteX1846" fmla="*/ 49371 w 447236"/>
              <a:gd name="connsiteY1846" fmla="*/ 204421 h 448122"/>
              <a:gd name="connsiteX1847" fmla="*/ 49678 w 447236"/>
              <a:gd name="connsiteY1847" fmla="*/ 205953 h 448122"/>
              <a:gd name="connsiteX1848" fmla="*/ 49984 w 447236"/>
              <a:gd name="connsiteY1848" fmla="*/ 207484 h 448122"/>
              <a:gd name="connsiteX1849" fmla="*/ 49678 w 447236"/>
              <a:gd name="connsiteY1849" fmla="*/ 207484 h 448122"/>
              <a:gd name="connsiteX1850" fmla="*/ 48758 w 447236"/>
              <a:gd name="connsiteY1850" fmla="*/ 207484 h 448122"/>
              <a:gd name="connsiteX1851" fmla="*/ 49064 w 447236"/>
              <a:gd name="connsiteY1851" fmla="*/ 205953 h 448122"/>
              <a:gd name="connsiteX1852" fmla="*/ 49064 w 447236"/>
              <a:gd name="connsiteY1852" fmla="*/ 204421 h 448122"/>
              <a:gd name="connsiteX1853" fmla="*/ 115108 w 447236"/>
              <a:gd name="connsiteY1853" fmla="*/ 204135 h 448122"/>
              <a:gd name="connsiteX1854" fmla="*/ 164582 w 447236"/>
              <a:gd name="connsiteY1854" fmla="*/ 204135 h 448122"/>
              <a:gd name="connsiteX1855" fmla="*/ 169806 w 447236"/>
              <a:gd name="connsiteY1855" fmla="*/ 206287 h 448122"/>
              <a:gd name="connsiteX1856" fmla="*/ 171957 w 447236"/>
              <a:gd name="connsiteY1856" fmla="*/ 211515 h 448122"/>
              <a:gd name="connsiteX1857" fmla="*/ 169806 w 447236"/>
              <a:gd name="connsiteY1857" fmla="*/ 216742 h 448122"/>
              <a:gd name="connsiteX1858" fmla="*/ 164582 w 447236"/>
              <a:gd name="connsiteY1858" fmla="*/ 218895 h 448122"/>
              <a:gd name="connsiteX1859" fmla="*/ 114801 w 447236"/>
              <a:gd name="connsiteY1859" fmla="*/ 218587 h 448122"/>
              <a:gd name="connsiteX1860" fmla="*/ 90832 w 447236"/>
              <a:gd name="connsiteY1860" fmla="*/ 214282 h 448122"/>
              <a:gd name="connsiteX1861" fmla="*/ 80692 w 447236"/>
              <a:gd name="connsiteY1861" fmla="*/ 213667 h 448122"/>
              <a:gd name="connsiteX1862" fmla="*/ 70244 w 447236"/>
              <a:gd name="connsiteY1862" fmla="*/ 213360 h 448122"/>
              <a:gd name="connsiteX1863" fmla="*/ 67478 w 447236"/>
              <a:gd name="connsiteY1863" fmla="*/ 213052 h 448122"/>
              <a:gd name="connsiteX1864" fmla="*/ 66864 w 447236"/>
              <a:gd name="connsiteY1864" fmla="*/ 212130 h 448122"/>
              <a:gd name="connsiteX1865" fmla="*/ 67478 w 447236"/>
              <a:gd name="connsiteY1865" fmla="*/ 211515 h 448122"/>
              <a:gd name="connsiteX1866" fmla="*/ 70244 w 447236"/>
              <a:gd name="connsiteY1866" fmla="*/ 210900 h 448122"/>
              <a:gd name="connsiteX1867" fmla="*/ 80692 w 447236"/>
              <a:gd name="connsiteY1867" fmla="*/ 210285 h 448122"/>
              <a:gd name="connsiteX1868" fmla="*/ 90832 w 447236"/>
              <a:gd name="connsiteY1868" fmla="*/ 209362 h 448122"/>
              <a:gd name="connsiteX1869" fmla="*/ 115108 w 447236"/>
              <a:gd name="connsiteY1869" fmla="*/ 204135 h 448122"/>
              <a:gd name="connsiteX1870" fmla="*/ 31274 w 447236"/>
              <a:gd name="connsiteY1870" fmla="*/ 203809 h 448122"/>
              <a:gd name="connsiteX1871" fmla="*/ 31581 w 447236"/>
              <a:gd name="connsiteY1871" fmla="*/ 203809 h 448122"/>
              <a:gd name="connsiteX1872" fmla="*/ 32501 w 447236"/>
              <a:gd name="connsiteY1872" fmla="*/ 203809 h 448122"/>
              <a:gd name="connsiteX1873" fmla="*/ 33115 w 447236"/>
              <a:gd name="connsiteY1873" fmla="*/ 204115 h 448122"/>
              <a:gd name="connsiteX1874" fmla="*/ 33115 w 447236"/>
              <a:gd name="connsiteY1874" fmla="*/ 204728 h 448122"/>
              <a:gd name="connsiteX1875" fmla="*/ 33115 w 447236"/>
              <a:gd name="connsiteY1875" fmla="*/ 205340 h 448122"/>
              <a:gd name="connsiteX1876" fmla="*/ 32501 w 447236"/>
              <a:gd name="connsiteY1876" fmla="*/ 205340 h 448122"/>
              <a:gd name="connsiteX1877" fmla="*/ 31581 w 447236"/>
              <a:gd name="connsiteY1877" fmla="*/ 205340 h 448122"/>
              <a:gd name="connsiteX1878" fmla="*/ 31274 w 447236"/>
              <a:gd name="connsiteY1878" fmla="*/ 205340 h 448122"/>
              <a:gd name="connsiteX1879" fmla="*/ 31274 w 447236"/>
              <a:gd name="connsiteY1879" fmla="*/ 205034 h 448122"/>
              <a:gd name="connsiteX1880" fmla="*/ 31274 w 447236"/>
              <a:gd name="connsiteY1880" fmla="*/ 204115 h 448122"/>
              <a:gd name="connsiteX1881" fmla="*/ 31274 w 447236"/>
              <a:gd name="connsiteY1881" fmla="*/ 203809 h 448122"/>
              <a:gd name="connsiteX1882" fmla="*/ 16858 w 447236"/>
              <a:gd name="connsiteY1882" fmla="*/ 203503 h 448122"/>
              <a:gd name="connsiteX1883" fmla="*/ 17471 w 447236"/>
              <a:gd name="connsiteY1883" fmla="*/ 203809 h 448122"/>
              <a:gd name="connsiteX1884" fmla="*/ 17778 w 447236"/>
              <a:gd name="connsiteY1884" fmla="*/ 204728 h 448122"/>
              <a:gd name="connsiteX1885" fmla="*/ 17778 w 447236"/>
              <a:gd name="connsiteY1885" fmla="*/ 208097 h 448122"/>
              <a:gd name="connsiteX1886" fmla="*/ 17471 w 447236"/>
              <a:gd name="connsiteY1886" fmla="*/ 208709 h 448122"/>
              <a:gd name="connsiteX1887" fmla="*/ 16858 w 447236"/>
              <a:gd name="connsiteY1887" fmla="*/ 209016 h 448122"/>
              <a:gd name="connsiteX1888" fmla="*/ 15938 w 447236"/>
              <a:gd name="connsiteY1888" fmla="*/ 208709 h 448122"/>
              <a:gd name="connsiteX1889" fmla="*/ 15631 w 447236"/>
              <a:gd name="connsiteY1889" fmla="*/ 208097 h 448122"/>
              <a:gd name="connsiteX1890" fmla="*/ 15631 w 447236"/>
              <a:gd name="connsiteY1890" fmla="*/ 204728 h 448122"/>
              <a:gd name="connsiteX1891" fmla="*/ 15938 w 447236"/>
              <a:gd name="connsiteY1891" fmla="*/ 203809 h 448122"/>
              <a:gd name="connsiteX1892" fmla="*/ 16858 w 447236"/>
              <a:gd name="connsiteY1892" fmla="*/ 203503 h 448122"/>
              <a:gd name="connsiteX1893" fmla="*/ 53972 w 447236"/>
              <a:gd name="connsiteY1893" fmla="*/ 201971 h 448122"/>
              <a:gd name="connsiteX1894" fmla="*/ 53972 w 447236"/>
              <a:gd name="connsiteY1894" fmla="*/ 202277 h 448122"/>
              <a:gd name="connsiteX1895" fmla="*/ 53972 w 447236"/>
              <a:gd name="connsiteY1895" fmla="*/ 210547 h 448122"/>
              <a:gd name="connsiteX1896" fmla="*/ 54279 w 447236"/>
              <a:gd name="connsiteY1896" fmla="*/ 210853 h 448122"/>
              <a:gd name="connsiteX1897" fmla="*/ 59186 w 447236"/>
              <a:gd name="connsiteY1897" fmla="*/ 210853 h 448122"/>
              <a:gd name="connsiteX1898" fmla="*/ 59493 w 447236"/>
              <a:gd name="connsiteY1898" fmla="*/ 210547 h 448122"/>
              <a:gd name="connsiteX1899" fmla="*/ 59493 w 447236"/>
              <a:gd name="connsiteY1899" fmla="*/ 209322 h 448122"/>
              <a:gd name="connsiteX1900" fmla="*/ 59493 w 447236"/>
              <a:gd name="connsiteY1900" fmla="*/ 209016 h 448122"/>
              <a:gd name="connsiteX1901" fmla="*/ 59186 w 447236"/>
              <a:gd name="connsiteY1901" fmla="*/ 209016 h 448122"/>
              <a:gd name="connsiteX1902" fmla="*/ 56119 w 447236"/>
              <a:gd name="connsiteY1902" fmla="*/ 209016 h 448122"/>
              <a:gd name="connsiteX1903" fmla="*/ 55812 w 447236"/>
              <a:gd name="connsiteY1903" fmla="*/ 209016 h 448122"/>
              <a:gd name="connsiteX1904" fmla="*/ 55812 w 447236"/>
              <a:gd name="connsiteY1904" fmla="*/ 208709 h 448122"/>
              <a:gd name="connsiteX1905" fmla="*/ 55812 w 447236"/>
              <a:gd name="connsiteY1905" fmla="*/ 202277 h 448122"/>
              <a:gd name="connsiteX1906" fmla="*/ 55812 w 447236"/>
              <a:gd name="connsiteY1906" fmla="*/ 201971 h 448122"/>
              <a:gd name="connsiteX1907" fmla="*/ 55506 w 447236"/>
              <a:gd name="connsiteY1907" fmla="*/ 201971 h 448122"/>
              <a:gd name="connsiteX1908" fmla="*/ 54279 w 447236"/>
              <a:gd name="connsiteY1908" fmla="*/ 201971 h 448122"/>
              <a:gd name="connsiteX1909" fmla="*/ 53972 w 447236"/>
              <a:gd name="connsiteY1909" fmla="*/ 201971 h 448122"/>
              <a:gd name="connsiteX1910" fmla="*/ 48144 w 447236"/>
              <a:gd name="connsiteY1910" fmla="*/ 201971 h 448122"/>
              <a:gd name="connsiteX1911" fmla="*/ 47837 w 447236"/>
              <a:gd name="connsiteY1911" fmla="*/ 202277 h 448122"/>
              <a:gd name="connsiteX1912" fmla="*/ 45690 w 447236"/>
              <a:gd name="connsiteY1912" fmla="*/ 210547 h 448122"/>
              <a:gd name="connsiteX1913" fmla="*/ 45690 w 447236"/>
              <a:gd name="connsiteY1913" fmla="*/ 210853 h 448122"/>
              <a:gd name="connsiteX1914" fmla="*/ 45997 w 447236"/>
              <a:gd name="connsiteY1914" fmla="*/ 210853 h 448122"/>
              <a:gd name="connsiteX1915" fmla="*/ 47531 w 447236"/>
              <a:gd name="connsiteY1915" fmla="*/ 210853 h 448122"/>
              <a:gd name="connsiteX1916" fmla="*/ 47837 w 447236"/>
              <a:gd name="connsiteY1916" fmla="*/ 210853 h 448122"/>
              <a:gd name="connsiteX1917" fmla="*/ 47837 w 447236"/>
              <a:gd name="connsiteY1917" fmla="*/ 210547 h 448122"/>
              <a:gd name="connsiteX1918" fmla="*/ 48144 w 447236"/>
              <a:gd name="connsiteY1918" fmla="*/ 209628 h 448122"/>
              <a:gd name="connsiteX1919" fmla="*/ 48144 w 447236"/>
              <a:gd name="connsiteY1919" fmla="*/ 209322 h 448122"/>
              <a:gd name="connsiteX1920" fmla="*/ 48451 w 447236"/>
              <a:gd name="connsiteY1920" fmla="*/ 209322 h 448122"/>
              <a:gd name="connsiteX1921" fmla="*/ 50291 w 447236"/>
              <a:gd name="connsiteY1921" fmla="*/ 209322 h 448122"/>
              <a:gd name="connsiteX1922" fmla="*/ 50291 w 447236"/>
              <a:gd name="connsiteY1922" fmla="*/ 209628 h 448122"/>
              <a:gd name="connsiteX1923" fmla="*/ 50598 w 447236"/>
              <a:gd name="connsiteY1923" fmla="*/ 210547 h 448122"/>
              <a:gd name="connsiteX1924" fmla="*/ 50905 w 447236"/>
              <a:gd name="connsiteY1924" fmla="*/ 210853 h 448122"/>
              <a:gd name="connsiteX1925" fmla="*/ 52438 w 447236"/>
              <a:gd name="connsiteY1925" fmla="*/ 210853 h 448122"/>
              <a:gd name="connsiteX1926" fmla="*/ 52745 w 447236"/>
              <a:gd name="connsiteY1926" fmla="*/ 210547 h 448122"/>
              <a:gd name="connsiteX1927" fmla="*/ 50598 w 447236"/>
              <a:gd name="connsiteY1927" fmla="*/ 202277 h 448122"/>
              <a:gd name="connsiteX1928" fmla="*/ 50598 w 447236"/>
              <a:gd name="connsiteY1928" fmla="*/ 201971 h 448122"/>
              <a:gd name="connsiteX1929" fmla="*/ 50291 w 447236"/>
              <a:gd name="connsiteY1929" fmla="*/ 201971 h 448122"/>
              <a:gd name="connsiteX1930" fmla="*/ 48144 w 447236"/>
              <a:gd name="connsiteY1930" fmla="*/ 201971 h 448122"/>
              <a:gd name="connsiteX1931" fmla="*/ 39863 w 447236"/>
              <a:gd name="connsiteY1931" fmla="*/ 201971 h 448122"/>
              <a:gd name="connsiteX1932" fmla="*/ 39863 w 447236"/>
              <a:gd name="connsiteY1932" fmla="*/ 202277 h 448122"/>
              <a:gd name="connsiteX1933" fmla="*/ 39863 w 447236"/>
              <a:gd name="connsiteY1933" fmla="*/ 203503 h 448122"/>
              <a:gd name="connsiteX1934" fmla="*/ 39863 w 447236"/>
              <a:gd name="connsiteY1934" fmla="*/ 203809 h 448122"/>
              <a:gd name="connsiteX1935" fmla="*/ 40169 w 447236"/>
              <a:gd name="connsiteY1935" fmla="*/ 203809 h 448122"/>
              <a:gd name="connsiteX1936" fmla="*/ 41396 w 447236"/>
              <a:gd name="connsiteY1936" fmla="*/ 203809 h 448122"/>
              <a:gd name="connsiteX1937" fmla="*/ 41703 w 447236"/>
              <a:gd name="connsiteY1937" fmla="*/ 203809 h 448122"/>
              <a:gd name="connsiteX1938" fmla="*/ 41703 w 447236"/>
              <a:gd name="connsiteY1938" fmla="*/ 204115 h 448122"/>
              <a:gd name="connsiteX1939" fmla="*/ 41703 w 447236"/>
              <a:gd name="connsiteY1939" fmla="*/ 210547 h 448122"/>
              <a:gd name="connsiteX1940" fmla="*/ 42010 w 447236"/>
              <a:gd name="connsiteY1940" fmla="*/ 210853 h 448122"/>
              <a:gd name="connsiteX1941" fmla="*/ 43543 w 447236"/>
              <a:gd name="connsiteY1941" fmla="*/ 210853 h 448122"/>
              <a:gd name="connsiteX1942" fmla="*/ 43850 w 447236"/>
              <a:gd name="connsiteY1942" fmla="*/ 210547 h 448122"/>
              <a:gd name="connsiteX1943" fmla="*/ 43850 w 447236"/>
              <a:gd name="connsiteY1943" fmla="*/ 204115 h 448122"/>
              <a:gd name="connsiteX1944" fmla="*/ 43850 w 447236"/>
              <a:gd name="connsiteY1944" fmla="*/ 203809 h 448122"/>
              <a:gd name="connsiteX1945" fmla="*/ 44157 w 447236"/>
              <a:gd name="connsiteY1945" fmla="*/ 203809 h 448122"/>
              <a:gd name="connsiteX1946" fmla="*/ 45690 w 447236"/>
              <a:gd name="connsiteY1946" fmla="*/ 203809 h 448122"/>
              <a:gd name="connsiteX1947" fmla="*/ 45997 w 447236"/>
              <a:gd name="connsiteY1947" fmla="*/ 203809 h 448122"/>
              <a:gd name="connsiteX1948" fmla="*/ 45997 w 447236"/>
              <a:gd name="connsiteY1948" fmla="*/ 203503 h 448122"/>
              <a:gd name="connsiteX1949" fmla="*/ 45997 w 447236"/>
              <a:gd name="connsiteY1949" fmla="*/ 202277 h 448122"/>
              <a:gd name="connsiteX1950" fmla="*/ 45690 w 447236"/>
              <a:gd name="connsiteY1950" fmla="*/ 201971 h 448122"/>
              <a:gd name="connsiteX1951" fmla="*/ 40169 w 447236"/>
              <a:gd name="connsiteY1951" fmla="*/ 201971 h 448122"/>
              <a:gd name="connsiteX1952" fmla="*/ 39863 w 447236"/>
              <a:gd name="connsiteY1952" fmla="*/ 201971 h 448122"/>
              <a:gd name="connsiteX1953" fmla="*/ 36795 w 447236"/>
              <a:gd name="connsiteY1953" fmla="*/ 201971 h 448122"/>
              <a:gd name="connsiteX1954" fmla="*/ 36489 w 447236"/>
              <a:gd name="connsiteY1954" fmla="*/ 202277 h 448122"/>
              <a:gd name="connsiteX1955" fmla="*/ 36489 w 447236"/>
              <a:gd name="connsiteY1955" fmla="*/ 210547 h 448122"/>
              <a:gd name="connsiteX1956" fmla="*/ 36795 w 447236"/>
              <a:gd name="connsiteY1956" fmla="*/ 210853 h 448122"/>
              <a:gd name="connsiteX1957" fmla="*/ 38329 w 447236"/>
              <a:gd name="connsiteY1957" fmla="*/ 210853 h 448122"/>
              <a:gd name="connsiteX1958" fmla="*/ 38636 w 447236"/>
              <a:gd name="connsiteY1958" fmla="*/ 210547 h 448122"/>
              <a:gd name="connsiteX1959" fmla="*/ 38636 w 447236"/>
              <a:gd name="connsiteY1959" fmla="*/ 202277 h 448122"/>
              <a:gd name="connsiteX1960" fmla="*/ 38636 w 447236"/>
              <a:gd name="connsiteY1960" fmla="*/ 201971 h 448122"/>
              <a:gd name="connsiteX1961" fmla="*/ 38329 w 447236"/>
              <a:gd name="connsiteY1961" fmla="*/ 201971 h 448122"/>
              <a:gd name="connsiteX1962" fmla="*/ 36795 w 447236"/>
              <a:gd name="connsiteY1962" fmla="*/ 201971 h 448122"/>
              <a:gd name="connsiteX1963" fmla="*/ 29434 w 447236"/>
              <a:gd name="connsiteY1963" fmla="*/ 201971 h 448122"/>
              <a:gd name="connsiteX1964" fmla="*/ 29127 w 447236"/>
              <a:gd name="connsiteY1964" fmla="*/ 202277 h 448122"/>
              <a:gd name="connsiteX1965" fmla="*/ 29127 w 447236"/>
              <a:gd name="connsiteY1965" fmla="*/ 210547 h 448122"/>
              <a:gd name="connsiteX1966" fmla="*/ 29434 w 447236"/>
              <a:gd name="connsiteY1966" fmla="*/ 210853 h 448122"/>
              <a:gd name="connsiteX1967" fmla="*/ 30967 w 447236"/>
              <a:gd name="connsiteY1967" fmla="*/ 210853 h 448122"/>
              <a:gd name="connsiteX1968" fmla="*/ 31274 w 447236"/>
              <a:gd name="connsiteY1968" fmla="*/ 210547 h 448122"/>
              <a:gd name="connsiteX1969" fmla="*/ 31274 w 447236"/>
              <a:gd name="connsiteY1969" fmla="*/ 207484 h 448122"/>
              <a:gd name="connsiteX1970" fmla="*/ 31274 w 447236"/>
              <a:gd name="connsiteY1970" fmla="*/ 207178 h 448122"/>
              <a:gd name="connsiteX1971" fmla="*/ 31581 w 447236"/>
              <a:gd name="connsiteY1971" fmla="*/ 207178 h 448122"/>
              <a:gd name="connsiteX1972" fmla="*/ 32501 w 447236"/>
              <a:gd name="connsiteY1972" fmla="*/ 207178 h 448122"/>
              <a:gd name="connsiteX1973" fmla="*/ 33421 w 447236"/>
              <a:gd name="connsiteY1973" fmla="*/ 207178 h 448122"/>
              <a:gd name="connsiteX1974" fmla="*/ 34341 w 447236"/>
              <a:gd name="connsiteY1974" fmla="*/ 206565 h 448122"/>
              <a:gd name="connsiteX1975" fmla="*/ 34955 w 447236"/>
              <a:gd name="connsiteY1975" fmla="*/ 205647 h 448122"/>
              <a:gd name="connsiteX1976" fmla="*/ 35262 w 447236"/>
              <a:gd name="connsiteY1976" fmla="*/ 204728 h 448122"/>
              <a:gd name="connsiteX1977" fmla="*/ 34955 w 447236"/>
              <a:gd name="connsiteY1977" fmla="*/ 203503 h 448122"/>
              <a:gd name="connsiteX1978" fmla="*/ 34341 w 447236"/>
              <a:gd name="connsiteY1978" fmla="*/ 202584 h 448122"/>
              <a:gd name="connsiteX1979" fmla="*/ 33421 w 447236"/>
              <a:gd name="connsiteY1979" fmla="*/ 202277 h 448122"/>
              <a:gd name="connsiteX1980" fmla="*/ 32501 w 447236"/>
              <a:gd name="connsiteY1980" fmla="*/ 201971 h 448122"/>
              <a:gd name="connsiteX1981" fmla="*/ 29434 w 447236"/>
              <a:gd name="connsiteY1981" fmla="*/ 201971 h 448122"/>
              <a:gd name="connsiteX1982" fmla="*/ 23299 w 447236"/>
              <a:gd name="connsiteY1982" fmla="*/ 201971 h 448122"/>
              <a:gd name="connsiteX1983" fmla="*/ 22379 w 447236"/>
              <a:gd name="connsiteY1983" fmla="*/ 202584 h 448122"/>
              <a:gd name="connsiteX1984" fmla="*/ 21766 w 447236"/>
              <a:gd name="connsiteY1984" fmla="*/ 203503 h 448122"/>
              <a:gd name="connsiteX1985" fmla="*/ 21459 w 447236"/>
              <a:gd name="connsiteY1985" fmla="*/ 204421 h 448122"/>
              <a:gd name="connsiteX1986" fmla="*/ 21766 w 447236"/>
              <a:gd name="connsiteY1986" fmla="*/ 205340 h 448122"/>
              <a:gd name="connsiteX1987" fmla="*/ 22072 w 447236"/>
              <a:gd name="connsiteY1987" fmla="*/ 206259 h 448122"/>
              <a:gd name="connsiteX1988" fmla="*/ 22686 w 447236"/>
              <a:gd name="connsiteY1988" fmla="*/ 206565 h 448122"/>
              <a:gd name="connsiteX1989" fmla="*/ 23606 w 447236"/>
              <a:gd name="connsiteY1989" fmla="*/ 206872 h 448122"/>
              <a:gd name="connsiteX1990" fmla="*/ 25140 w 447236"/>
              <a:gd name="connsiteY1990" fmla="*/ 207484 h 448122"/>
              <a:gd name="connsiteX1991" fmla="*/ 25753 w 447236"/>
              <a:gd name="connsiteY1991" fmla="*/ 208403 h 448122"/>
              <a:gd name="connsiteX1992" fmla="*/ 25753 w 447236"/>
              <a:gd name="connsiteY1992" fmla="*/ 208709 h 448122"/>
              <a:gd name="connsiteX1993" fmla="*/ 25446 w 447236"/>
              <a:gd name="connsiteY1993" fmla="*/ 208709 h 448122"/>
              <a:gd name="connsiteX1994" fmla="*/ 25140 w 447236"/>
              <a:gd name="connsiteY1994" fmla="*/ 209016 h 448122"/>
              <a:gd name="connsiteX1995" fmla="*/ 24526 w 447236"/>
              <a:gd name="connsiteY1995" fmla="*/ 209016 h 448122"/>
              <a:gd name="connsiteX1996" fmla="*/ 24219 w 447236"/>
              <a:gd name="connsiteY1996" fmla="*/ 209016 h 448122"/>
              <a:gd name="connsiteX1997" fmla="*/ 23606 w 447236"/>
              <a:gd name="connsiteY1997" fmla="*/ 209016 h 448122"/>
              <a:gd name="connsiteX1998" fmla="*/ 22993 w 447236"/>
              <a:gd name="connsiteY1998" fmla="*/ 208709 h 448122"/>
              <a:gd name="connsiteX1999" fmla="*/ 22686 w 447236"/>
              <a:gd name="connsiteY1999" fmla="*/ 208403 h 448122"/>
              <a:gd name="connsiteX2000" fmla="*/ 22379 w 447236"/>
              <a:gd name="connsiteY2000" fmla="*/ 208097 h 448122"/>
              <a:gd name="connsiteX2001" fmla="*/ 22072 w 447236"/>
              <a:gd name="connsiteY2001" fmla="*/ 208403 h 448122"/>
              <a:gd name="connsiteX2002" fmla="*/ 21459 w 447236"/>
              <a:gd name="connsiteY2002" fmla="*/ 209322 h 448122"/>
              <a:gd name="connsiteX2003" fmla="*/ 21459 w 447236"/>
              <a:gd name="connsiteY2003" fmla="*/ 209628 h 448122"/>
              <a:gd name="connsiteX2004" fmla="*/ 21459 w 447236"/>
              <a:gd name="connsiteY2004" fmla="*/ 209935 h 448122"/>
              <a:gd name="connsiteX2005" fmla="*/ 22993 w 447236"/>
              <a:gd name="connsiteY2005" fmla="*/ 210547 h 448122"/>
              <a:gd name="connsiteX2006" fmla="*/ 24526 w 447236"/>
              <a:gd name="connsiteY2006" fmla="*/ 210853 h 448122"/>
              <a:gd name="connsiteX2007" fmla="*/ 25753 w 447236"/>
              <a:gd name="connsiteY2007" fmla="*/ 210853 h 448122"/>
              <a:gd name="connsiteX2008" fmla="*/ 26980 w 447236"/>
              <a:gd name="connsiteY2008" fmla="*/ 210241 h 448122"/>
              <a:gd name="connsiteX2009" fmla="*/ 27593 w 447236"/>
              <a:gd name="connsiteY2009" fmla="*/ 209322 h 448122"/>
              <a:gd name="connsiteX2010" fmla="*/ 27900 w 447236"/>
              <a:gd name="connsiteY2010" fmla="*/ 208097 h 448122"/>
              <a:gd name="connsiteX2011" fmla="*/ 27593 w 447236"/>
              <a:gd name="connsiteY2011" fmla="*/ 207178 h 448122"/>
              <a:gd name="connsiteX2012" fmla="*/ 26673 w 447236"/>
              <a:gd name="connsiteY2012" fmla="*/ 206259 h 448122"/>
              <a:gd name="connsiteX2013" fmla="*/ 25753 w 447236"/>
              <a:gd name="connsiteY2013" fmla="*/ 205647 h 448122"/>
              <a:gd name="connsiteX2014" fmla="*/ 24833 w 447236"/>
              <a:gd name="connsiteY2014" fmla="*/ 205340 h 448122"/>
              <a:gd name="connsiteX2015" fmla="*/ 24526 w 447236"/>
              <a:gd name="connsiteY2015" fmla="*/ 205340 h 448122"/>
              <a:gd name="connsiteX2016" fmla="*/ 24219 w 447236"/>
              <a:gd name="connsiteY2016" fmla="*/ 205034 h 448122"/>
              <a:gd name="connsiteX2017" fmla="*/ 23913 w 447236"/>
              <a:gd name="connsiteY2017" fmla="*/ 204728 h 448122"/>
              <a:gd name="connsiteX2018" fmla="*/ 23606 w 447236"/>
              <a:gd name="connsiteY2018" fmla="*/ 204421 h 448122"/>
              <a:gd name="connsiteX2019" fmla="*/ 23913 w 447236"/>
              <a:gd name="connsiteY2019" fmla="*/ 203809 h 448122"/>
              <a:gd name="connsiteX2020" fmla="*/ 24526 w 447236"/>
              <a:gd name="connsiteY2020" fmla="*/ 203503 h 448122"/>
              <a:gd name="connsiteX2021" fmla="*/ 25446 w 447236"/>
              <a:gd name="connsiteY2021" fmla="*/ 203809 h 448122"/>
              <a:gd name="connsiteX2022" fmla="*/ 26367 w 447236"/>
              <a:gd name="connsiteY2022" fmla="*/ 204115 h 448122"/>
              <a:gd name="connsiteX2023" fmla="*/ 26673 w 447236"/>
              <a:gd name="connsiteY2023" fmla="*/ 203809 h 448122"/>
              <a:gd name="connsiteX2024" fmla="*/ 27287 w 447236"/>
              <a:gd name="connsiteY2024" fmla="*/ 203196 h 448122"/>
              <a:gd name="connsiteX2025" fmla="*/ 27287 w 447236"/>
              <a:gd name="connsiteY2025" fmla="*/ 202584 h 448122"/>
              <a:gd name="connsiteX2026" fmla="*/ 26980 w 447236"/>
              <a:gd name="connsiteY2026" fmla="*/ 202584 h 448122"/>
              <a:gd name="connsiteX2027" fmla="*/ 26060 w 447236"/>
              <a:gd name="connsiteY2027" fmla="*/ 201971 h 448122"/>
              <a:gd name="connsiteX2028" fmla="*/ 24526 w 447236"/>
              <a:gd name="connsiteY2028" fmla="*/ 201971 h 448122"/>
              <a:gd name="connsiteX2029" fmla="*/ 23299 w 447236"/>
              <a:gd name="connsiteY2029" fmla="*/ 201971 h 448122"/>
              <a:gd name="connsiteX2030" fmla="*/ 15631 w 447236"/>
              <a:gd name="connsiteY2030" fmla="*/ 201971 h 448122"/>
              <a:gd name="connsiteX2031" fmla="*/ 14404 w 447236"/>
              <a:gd name="connsiteY2031" fmla="*/ 202584 h 448122"/>
              <a:gd name="connsiteX2032" fmla="*/ 13791 w 447236"/>
              <a:gd name="connsiteY2032" fmla="*/ 203503 h 448122"/>
              <a:gd name="connsiteX2033" fmla="*/ 13484 w 447236"/>
              <a:gd name="connsiteY2033" fmla="*/ 204728 h 448122"/>
              <a:gd name="connsiteX2034" fmla="*/ 13484 w 447236"/>
              <a:gd name="connsiteY2034" fmla="*/ 208097 h 448122"/>
              <a:gd name="connsiteX2035" fmla="*/ 13791 w 447236"/>
              <a:gd name="connsiteY2035" fmla="*/ 209322 h 448122"/>
              <a:gd name="connsiteX2036" fmla="*/ 14404 w 447236"/>
              <a:gd name="connsiteY2036" fmla="*/ 210241 h 448122"/>
              <a:gd name="connsiteX2037" fmla="*/ 15631 w 447236"/>
              <a:gd name="connsiteY2037" fmla="*/ 210853 h 448122"/>
              <a:gd name="connsiteX2038" fmla="*/ 16858 w 447236"/>
              <a:gd name="connsiteY2038" fmla="*/ 210853 h 448122"/>
              <a:gd name="connsiteX2039" fmla="*/ 18085 w 447236"/>
              <a:gd name="connsiteY2039" fmla="*/ 210853 h 448122"/>
              <a:gd name="connsiteX2040" fmla="*/ 19005 w 447236"/>
              <a:gd name="connsiteY2040" fmla="*/ 210241 h 448122"/>
              <a:gd name="connsiteX2041" fmla="*/ 19619 w 447236"/>
              <a:gd name="connsiteY2041" fmla="*/ 209322 h 448122"/>
              <a:gd name="connsiteX2042" fmla="*/ 19925 w 447236"/>
              <a:gd name="connsiteY2042" fmla="*/ 208097 h 448122"/>
              <a:gd name="connsiteX2043" fmla="*/ 19925 w 447236"/>
              <a:gd name="connsiteY2043" fmla="*/ 204728 h 448122"/>
              <a:gd name="connsiteX2044" fmla="*/ 19619 w 447236"/>
              <a:gd name="connsiteY2044" fmla="*/ 203503 h 448122"/>
              <a:gd name="connsiteX2045" fmla="*/ 19005 w 447236"/>
              <a:gd name="connsiteY2045" fmla="*/ 202584 h 448122"/>
              <a:gd name="connsiteX2046" fmla="*/ 18085 w 447236"/>
              <a:gd name="connsiteY2046" fmla="*/ 201971 h 448122"/>
              <a:gd name="connsiteX2047" fmla="*/ 16858 w 447236"/>
              <a:gd name="connsiteY2047" fmla="*/ 201971 h 448122"/>
              <a:gd name="connsiteX2048" fmla="*/ 15631 w 447236"/>
              <a:gd name="connsiteY2048" fmla="*/ 201971 h 448122"/>
              <a:gd name="connsiteX2049" fmla="*/ 5509 w 447236"/>
              <a:gd name="connsiteY2049" fmla="*/ 201971 h 448122"/>
              <a:gd name="connsiteX2050" fmla="*/ 5202 w 447236"/>
              <a:gd name="connsiteY2050" fmla="*/ 202277 h 448122"/>
              <a:gd name="connsiteX2051" fmla="*/ 5202 w 447236"/>
              <a:gd name="connsiteY2051" fmla="*/ 210547 h 448122"/>
              <a:gd name="connsiteX2052" fmla="*/ 5509 w 447236"/>
              <a:gd name="connsiteY2052" fmla="*/ 210853 h 448122"/>
              <a:gd name="connsiteX2053" fmla="*/ 7043 w 447236"/>
              <a:gd name="connsiteY2053" fmla="*/ 210853 h 448122"/>
              <a:gd name="connsiteX2054" fmla="*/ 7349 w 447236"/>
              <a:gd name="connsiteY2054" fmla="*/ 210547 h 448122"/>
              <a:gd name="connsiteX2055" fmla="*/ 7349 w 447236"/>
              <a:gd name="connsiteY2055" fmla="*/ 207484 h 448122"/>
              <a:gd name="connsiteX2056" fmla="*/ 7349 w 447236"/>
              <a:gd name="connsiteY2056" fmla="*/ 207178 h 448122"/>
              <a:gd name="connsiteX2057" fmla="*/ 7656 w 447236"/>
              <a:gd name="connsiteY2057" fmla="*/ 207178 h 448122"/>
              <a:gd name="connsiteX2058" fmla="*/ 9497 w 447236"/>
              <a:gd name="connsiteY2058" fmla="*/ 207178 h 448122"/>
              <a:gd name="connsiteX2059" fmla="*/ 9803 w 447236"/>
              <a:gd name="connsiteY2059" fmla="*/ 207178 h 448122"/>
              <a:gd name="connsiteX2060" fmla="*/ 9803 w 447236"/>
              <a:gd name="connsiteY2060" fmla="*/ 207484 h 448122"/>
              <a:gd name="connsiteX2061" fmla="*/ 9803 w 447236"/>
              <a:gd name="connsiteY2061" fmla="*/ 210547 h 448122"/>
              <a:gd name="connsiteX2062" fmla="*/ 10110 w 447236"/>
              <a:gd name="connsiteY2062" fmla="*/ 210853 h 448122"/>
              <a:gd name="connsiteX2063" fmla="*/ 11644 w 447236"/>
              <a:gd name="connsiteY2063" fmla="*/ 210853 h 448122"/>
              <a:gd name="connsiteX2064" fmla="*/ 11950 w 447236"/>
              <a:gd name="connsiteY2064" fmla="*/ 210547 h 448122"/>
              <a:gd name="connsiteX2065" fmla="*/ 11950 w 447236"/>
              <a:gd name="connsiteY2065" fmla="*/ 202277 h 448122"/>
              <a:gd name="connsiteX2066" fmla="*/ 11644 w 447236"/>
              <a:gd name="connsiteY2066" fmla="*/ 201971 h 448122"/>
              <a:gd name="connsiteX2067" fmla="*/ 10110 w 447236"/>
              <a:gd name="connsiteY2067" fmla="*/ 201971 h 448122"/>
              <a:gd name="connsiteX2068" fmla="*/ 9803 w 447236"/>
              <a:gd name="connsiteY2068" fmla="*/ 201971 h 448122"/>
              <a:gd name="connsiteX2069" fmla="*/ 9803 w 447236"/>
              <a:gd name="connsiteY2069" fmla="*/ 202277 h 448122"/>
              <a:gd name="connsiteX2070" fmla="*/ 9803 w 447236"/>
              <a:gd name="connsiteY2070" fmla="*/ 205034 h 448122"/>
              <a:gd name="connsiteX2071" fmla="*/ 9803 w 447236"/>
              <a:gd name="connsiteY2071" fmla="*/ 205340 h 448122"/>
              <a:gd name="connsiteX2072" fmla="*/ 9497 w 447236"/>
              <a:gd name="connsiteY2072" fmla="*/ 205340 h 448122"/>
              <a:gd name="connsiteX2073" fmla="*/ 7656 w 447236"/>
              <a:gd name="connsiteY2073" fmla="*/ 205340 h 448122"/>
              <a:gd name="connsiteX2074" fmla="*/ 7349 w 447236"/>
              <a:gd name="connsiteY2074" fmla="*/ 205340 h 448122"/>
              <a:gd name="connsiteX2075" fmla="*/ 7349 w 447236"/>
              <a:gd name="connsiteY2075" fmla="*/ 205034 h 448122"/>
              <a:gd name="connsiteX2076" fmla="*/ 7349 w 447236"/>
              <a:gd name="connsiteY2076" fmla="*/ 202277 h 448122"/>
              <a:gd name="connsiteX2077" fmla="*/ 7349 w 447236"/>
              <a:gd name="connsiteY2077" fmla="*/ 201971 h 448122"/>
              <a:gd name="connsiteX2078" fmla="*/ 7043 w 447236"/>
              <a:gd name="connsiteY2078" fmla="*/ 201971 h 448122"/>
              <a:gd name="connsiteX2079" fmla="*/ 5509 w 447236"/>
              <a:gd name="connsiteY2079" fmla="*/ 201971 h 448122"/>
              <a:gd name="connsiteX2080" fmla="*/ 421101 w 447236"/>
              <a:gd name="connsiteY2080" fmla="*/ 200777 h 448122"/>
              <a:gd name="connsiteX2081" fmla="*/ 429081 w 447236"/>
              <a:gd name="connsiteY2081" fmla="*/ 206870 h 448122"/>
              <a:gd name="connsiteX2082" fmla="*/ 421101 w 447236"/>
              <a:gd name="connsiteY2082" fmla="*/ 212963 h 448122"/>
              <a:gd name="connsiteX2083" fmla="*/ 414348 w 447236"/>
              <a:gd name="connsiteY2083" fmla="*/ 211135 h 448122"/>
              <a:gd name="connsiteX2084" fmla="*/ 411586 w 447236"/>
              <a:gd name="connsiteY2084" fmla="*/ 206870 h 448122"/>
              <a:gd name="connsiteX2085" fmla="*/ 421101 w 447236"/>
              <a:gd name="connsiteY2085" fmla="*/ 200777 h 448122"/>
              <a:gd name="connsiteX2086" fmla="*/ 418339 w 447236"/>
              <a:gd name="connsiteY2086" fmla="*/ 199559 h 448122"/>
              <a:gd name="connsiteX2087" fmla="*/ 421101 w 447236"/>
              <a:gd name="connsiteY2087" fmla="*/ 199864 h 448122"/>
              <a:gd name="connsiteX2088" fmla="*/ 410665 w 447236"/>
              <a:gd name="connsiteY2088" fmla="*/ 206870 h 448122"/>
              <a:gd name="connsiteX2089" fmla="*/ 413735 w 447236"/>
              <a:gd name="connsiteY2089" fmla="*/ 211744 h 448122"/>
              <a:gd name="connsiteX2090" fmla="*/ 421101 w 447236"/>
              <a:gd name="connsiteY2090" fmla="*/ 213572 h 448122"/>
              <a:gd name="connsiteX2091" fmla="*/ 418339 w 447236"/>
              <a:gd name="connsiteY2091" fmla="*/ 213877 h 448122"/>
              <a:gd name="connsiteX2092" fmla="*/ 408210 w 447236"/>
              <a:gd name="connsiteY2092" fmla="*/ 209307 h 448122"/>
              <a:gd name="connsiteX2093" fmla="*/ 384269 w 447236"/>
              <a:gd name="connsiteY2093" fmla="*/ 209307 h 448122"/>
              <a:gd name="connsiteX2094" fmla="*/ 382734 w 447236"/>
              <a:gd name="connsiteY2094" fmla="*/ 207784 h 448122"/>
              <a:gd name="connsiteX2095" fmla="*/ 382734 w 447236"/>
              <a:gd name="connsiteY2095" fmla="*/ 205652 h 448122"/>
              <a:gd name="connsiteX2096" fmla="*/ 384269 w 447236"/>
              <a:gd name="connsiteY2096" fmla="*/ 204128 h 448122"/>
              <a:gd name="connsiteX2097" fmla="*/ 408210 w 447236"/>
              <a:gd name="connsiteY2097" fmla="*/ 204128 h 448122"/>
              <a:gd name="connsiteX2098" fmla="*/ 418339 w 447236"/>
              <a:gd name="connsiteY2098" fmla="*/ 199559 h 448122"/>
              <a:gd name="connsiteX2099" fmla="*/ 266736 w 447236"/>
              <a:gd name="connsiteY2099" fmla="*/ 198876 h 448122"/>
              <a:gd name="connsiteX2100" fmla="*/ 266430 w 447236"/>
              <a:gd name="connsiteY2100" fmla="*/ 199182 h 448122"/>
              <a:gd name="connsiteX2101" fmla="*/ 266736 w 447236"/>
              <a:gd name="connsiteY2101" fmla="*/ 199489 h 448122"/>
              <a:gd name="connsiteX2102" fmla="*/ 274080 w 447236"/>
              <a:gd name="connsiteY2102" fmla="*/ 199489 h 448122"/>
              <a:gd name="connsiteX2103" fmla="*/ 274386 w 447236"/>
              <a:gd name="connsiteY2103" fmla="*/ 199182 h 448122"/>
              <a:gd name="connsiteX2104" fmla="*/ 274080 w 447236"/>
              <a:gd name="connsiteY2104" fmla="*/ 198876 h 448122"/>
              <a:gd name="connsiteX2105" fmla="*/ 266736 w 447236"/>
              <a:gd name="connsiteY2105" fmla="*/ 198876 h 448122"/>
              <a:gd name="connsiteX2106" fmla="*/ 438409 w 447236"/>
              <a:gd name="connsiteY2106" fmla="*/ 198605 h 448122"/>
              <a:gd name="connsiteX2107" fmla="*/ 438102 w 447236"/>
              <a:gd name="connsiteY2107" fmla="*/ 199218 h 448122"/>
              <a:gd name="connsiteX2108" fmla="*/ 438102 w 447236"/>
              <a:gd name="connsiteY2108" fmla="*/ 210561 h 448122"/>
              <a:gd name="connsiteX2109" fmla="*/ 438409 w 447236"/>
              <a:gd name="connsiteY2109" fmla="*/ 210867 h 448122"/>
              <a:gd name="connsiteX2110" fmla="*/ 439023 w 447236"/>
              <a:gd name="connsiteY2110" fmla="*/ 210561 h 448122"/>
              <a:gd name="connsiteX2111" fmla="*/ 439023 w 447236"/>
              <a:gd name="connsiteY2111" fmla="*/ 199218 h 448122"/>
              <a:gd name="connsiteX2112" fmla="*/ 438409 w 447236"/>
              <a:gd name="connsiteY2112" fmla="*/ 198605 h 448122"/>
              <a:gd name="connsiteX2113" fmla="*/ 439383 w 447236"/>
              <a:gd name="connsiteY2113" fmla="*/ 197431 h 448122"/>
              <a:gd name="connsiteX2114" fmla="*/ 440447 w 447236"/>
              <a:gd name="connsiteY2114" fmla="*/ 198494 h 448122"/>
              <a:gd name="connsiteX2115" fmla="*/ 440181 w 447236"/>
              <a:gd name="connsiteY2115" fmla="*/ 197697 h 448122"/>
              <a:gd name="connsiteX2116" fmla="*/ 435791 w 447236"/>
              <a:gd name="connsiteY2116" fmla="*/ 197320 h 448122"/>
              <a:gd name="connsiteX2117" fmla="*/ 434660 w 447236"/>
              <a:gd name="connsiteY2117" fmla="*/ 197697 h 448122"/>
              <a:gd name="connsiteX2118" fmla="*/ 434196 w 447236"/>
              <a:gd name="connsiteY2118" fmla="*/ 199090 h 448122"/>
              <a:gd name="connsiteX2119" fmla="*/ 266736 w 447236"/>
              <a:gd name="connsiteY2119" fmla="*/ 196425 h 448122"/>
              <a:gd name="connsiteX2120" fmla="*/ 266430 w 447236"/>
              <a:gd name="connsiteY2120" fmla="*/ 196732 h 448122"/>
              <a:gd name="connsiteX2121" fmla="*/ 266736 w 447236"/>
              <a:gd name="connsiteY2121" fmla="*/ 197038 h 448122"/>
              <a:gd name="connsiteX2122" fmla="*/ 274080 w 447236"/>
              <a:gd name="connsiteY2122" fmla="*/ 197038 h 448122"/>
              <a:gd name="connsiteX2123" fmla="*/ 274386 w 447236"/>
              <a:gd name="connsiteY2123" fmla="*/ 196732 h 448122"/>
              <a:gd name="connsiteX2124" fmla="*/ 274080 w 447236"/>
              <a:gd name="connsiteY2124" fmla="*/ 196425 h 448122"/>
              <a:gd name="connsiteX2125" fmla="*/ 266736 w 447236"/>
              <a:gd name="connsiteY2125" fmla="*/ 196425 h 448122"/>
              <a:gd name="connsiteX2126" fmla="*/ 436501 w 447236"/>
              <a:gd name="connsiteY2126" fmla="*/ 196164 h 448122"/>
              <a:gd name="connsiteX2127" fmla="*/ 438341 w 447236"/>
              <a:gd name="connsiteY2127" fmla="*/ 196164 h 448122"/>
              <a:gd name="connsiteX2128" fmla="*/ 440795 w 447236"/>
              <a:gd name="connsiteY2128" fmla="*/ 197084 h 448122"/>
              <a:gd name="connsiteX2129" fmla="*/ 441715 w 447236"/>
              <a:gd name="connsiteY2129" fmla="*/ 199536 h 448122"/>
              <a:gd name="connsiteX2130" fmla="*/ 441715 w 447236"/>
              <a:gd name="connsiteY2130" fmla="*/ 216399 h 448122"/>
              <a:gd name="connsiteX2131" fmla="*/ 442022 w 447236"/>
              <a:gd name="connsiteY2131" fmla="*/ 217625 h 448122"/>
              <a:gd name="connsiteX2132" fmla="*/ 443249 w 447236"/>
              <a:gd name="connsiteY2132" fmla="*/ 218545 h 448122"/>
              <a:gd name="connsiteX2133" fmla="*/ 446316 w 447236"/>
              <a:gd name="connsiteY2133" fmla="*/ 221611 h 448122"/>
              <a:gd name="connsiteX2134" fmla="*/ 447236 w 447236"/>
              <a:gd name="connsiteY2134" fmla="*/ 225596 h 448122"/>
              <a:gd name="connsiteX2135" fmla="*/ 447236 w 447236"/>
              <a:gd name="connsiteY2135" fmla="*/ 309294 h 448122"/>
              <a:gd name="connsiteX2136" fmla="*/ 444476 w 447236"/>
              <a:gd name="connsiteY2136" fmla="*/ 316346 h 448122"/>
              <a:gd name="connsiteX2137" fmla="*/ 437421 w 447236"/>
              <a:gd name="connsiteY2137" fmla="*/ 319412 h 448122"/>
              <a:gd name="connsiteX2138" fmla="*/ 430366 w 447236"/>
              <a:gd name="connsiteY2138" fmla="*/ 316346 h 448122"/>
              <a:gd name="connsiteX2139" fmla="*/ 427605 w 447236"/>
              <a:gd name="connsiteY2139" fmla="*/ 309294 h 448122"/>
              <a:gd name="connsiteX2140" fmla="*/ 427605 w 447236"/>
              <a:gd name="connsiteY2140" fmla="*/ 225596 h 448122"/>
              <a:gd name="connsiteX2141" fmla="*/ 428832 w 447236"/>
              <a:gd name="connsiteY2141" fmla="*/ 221304 h 448122"/>
              <a:gd name="connsiteX2142" fmla="*/ 431900 w 447236"/>
              <a:gd name="connsiteY2142" fmla="*/ 218545 h 448122"/>
              <a:gd name="connsiteX2143" fmla="*/ 432820 w 447236"/>
              <a:gd name="connsiteY2143" fmla="*/ 217625 h 448122"/>
              <a:gd name="connsiteX2144" fmla="*/ 433126 w 447236"/>
              <a:gd name="connsiteY2144" fmla="*/ 216092 h 448122"/>
              <a:gd name="connsiteX2145" fmla="*/ 433126 w 447236"/>
              <a:gd name="connsiteY2145" fmla="*/ 199536 h 448122"/>
              <a:gd name="connsiteX2146" fmla="*/ 434047 w 447236"/>
              <a:gd name="connsiteY2146" fmla="*/ 197084 h 448122"/>
              <a:gd name="connsiteX2147" fmla="*/ 436501 w 447236"/>
              <a:gd name="connsiteY2147" fmla="*/ 196164 h 448122"/>
              <a:gd name="connsiteX2148" fmla="*/ 247684 w 447236"/>
              <a:gd name="connsiteY2148" fmla="*/ 194983 h 448122"/>
              <a:gd name="connsiteX2149" fmla="*/ 255353 w 447236"/>
              <a:gd name="connsiteY2149" fmla="*/ 217621 h 448122"/>
              <a:gd name="connsiteX2150" fmla="*/ 239707 w 447236"/>
              <a:gd name="connsiteY2150" fmla="*/ 217621 h 448122"/>
              <a:gd name="connsiteX2151" fmla="*/ 247684 w 447236"/>
              <a:gd name="connsiteY2151" fmla="*/ 194983 h 448122"/>
              <a:gd name="connsiteX2152" fmla="*/ 266736 w 447236"/>
              <a:gd name="connsiteY2152" fmla="*/ 194281 h 448122"/>
              <a:gd name="connsiteX2153" fmla="*/ 266430 w 447236"/>
              <a:gd name="connsiteY2153" fmla="*/ 194587 h 448122"/>
              <a:gd name="connsiteX2154" fmla="*/ 266736 w 447236"/>
              <a:gd name="connsiteY2154" fmla="*/ 194894 h 448122"/>
              <a:gd name="connsiteX2155" fmla="*/ 274080 w 447236"/>
              <a:gd name="connsiteY2155" fmla="*/ 194894 h 448122"/>
              <a:gd name="connsiteX2156" fmla="*/ 274386 w 447236"/>
              <a:gd name="connsiteY2156" fmla="*/ 194587 h 448122"/>
              <a:gd name="connsiteX2157" fmla="*/ 274080 w 447236"/>
              <a:gd name="connsiteY2157" fmla="*/ 194281 h 448122"/>
              <a:gd name="connsiteX2158" fmla="*/ 266736 w 447236"/>
              <a:gd name="connsiteY2158" fmla="*/ 194281 h 448122"/>
              <a:gd name="connsiteX2159" fmla="*/ 292844 w 447236"/>
              <a:gd name="connsiteY2159" fmla="*/ 193360 h 448122"/>
              <a:gd name="connsiteX2160" fmla="*/ 292844 w 447236"/>
              <a:gd name="connsiteY2160" fmla="*/ 220076 h 448122"/>
              <a:gd name="connsiteX2161" fmla="*/ 293775 w 447236"/>
              <a:gd name="connsiteY2161" fmla="*/ 220076 h 448122"/>
              <a:gd name="connsiteX2162" fmla="*/ 294385 w 447236"/>
              <a:gd name="connsiteY2162" fmla="*/ 220689 h 448122"/>
              <a:gd name="connsiteX2163" fmla="*/ 294385 w 447236"/>
              <a:gd name="connsiteY2163" fmla="*/ 226820 h 448122"/>
              <a:gd name="connsiteX2164" fmla="*/ 294690 w 447236"/>
              <a:gd name="connsiteY2164" fmla="*/ 226820 h 448122"/>
              <a:gd name="connsiteX2165" fmla="*/ 295606 w 447236"/>
              <a:gd name="connsiteY2165" fmla="*/ 227740 h 448122"/>
              <a:gd name="connsiteX2166" fmla="*/ 295606 w 447236"/>
              <a:gd name="connsiteY2166" fmla="*/ 232951 h 448122"/>
              <a:gd name="connsiteX2167" fmla="*/ 297132 w 447236"/>
              <a:gd name="connsiteY2167" fmla="*/ 232951 h 448122"/>
              <a:gd name="connsiteX2168" fmla="*/ 297437 w 447236"/>
              <a:gd name="connsiteY2168" fmla="*/ 232951 h 448122"/>
              <a:gd name="connsiteX2169" fmla="*/ 297743 w 447236"/>
              <a:gd name="connsiteY2169" fmla="*/ 232951 h 448122"/>
              <a:gd name="connsiteX2170" fmla="*/ 298048 w 447236"/>
              <a:gd name="connsiteY2170" fmla="*/ 232951 h 448122"/>
              <a:gd name="connsiteX2171" fmla="*/ 298048 w 447236"/>
              <a:gd name="connsiteY2171" fmla="*/ 233258 h 448122"/>
              <a:gd name="connsiteX2172" fmla="*/ 298353 w 447236"/>
              <a:gd name="connsiteY2172" fmla="*/ 233258 h 448122"/>
              <a:gd name="connsiteX2173" fmla="*/ 298353 w 447236"/>
              <a:gd name="connsiteY2173" fmla="*/ 233565 h 448122"/>
              <a:gd name="connsiteX2174" fmla="*/ 298353 w 447236"/>
              <a:gd name="connsiteY2174" fmla="*/ 234178 h 448122"/>
              <a:gd name="connsiteX2175" fmla="*/ 298353 w 447236"/>
              <a:gd name="connsiteY2175" fmla="*/ 253184 h 448122"/>
              <a:gd name="connsiteX2176" fmla="*/ 298353 w 447236"/>
              <a:gd name="connsiteY2176" fmla="*/ 284147 h 448122"/>
              <a:gd name="connsiteX2177" fmla="*/ 299879 w 447236"/>
              <a:gd name="connsiteY2177" fmla="*/ 284147 h 448122"/>
              <a:gd name="connsiteX2178" fmla="*/ 301405 w 447236"/>
              <a:gd name="connsiteY2178" fmla="*/ 285680 h 448122"/>
              <a:gd name="connsiteX2179" fmla="*/ 301405 w 447236"/>
              <a:gd name="connsiteY2179" fmla="*/ 285987 h 448122"/>
              <a:gd name="connsiteX2180" fmla="*/ 299879 w 447236"/>
              <a:gd name="connsiteY2180" fmla="*/ 287826 h 448122"/>
              <a:gd name="connsiteX2181" fmla="*/ 296827 w 447236"/>
              <a:gd name="connsiteY2181" fmla="*/ 287826 h 448122"/>
              <a:gd name="connsiteX2182" fmla="*/ 296827 w 447236"/>
              <a:gd name="connsiteY2182" fmla="*/ 290022 h 448122"/>
              <a:gd name="connsiteX2183" fmla="*/ 296827 w 447236"/>
              <a:gd name="connsiteY2183" fmla="*/ 307465 h 448122"/>
              <a:gd name="connsiteX2184" fmla="*/ 299574 w 447236"/>
              <a:gd name="connsiteY2184" fmla="*/ 307465 h 448122"/>
              <a:gd name="connsiteX2185" fmla="*/ 301405 w 447236"/>
              <a:gd name="connsiteY2185" fmla="*/ 309306 h 448122"/>
              <a:gd name="connsiteX2186" fmla="*/ 299574 w 447236"/>
              <a:gd name="connsiteY2186" fmla="*/ 311146 h 448122"/>
              <a:gd name="connsiteX2187" fmla="*/ 285229 w 447236"/>
              <a:gd name="connsiteY2187" fmla="*/ 311146 h 448122"/>
              <a:gd name="connsiteX2188" fmla="*/ 283397 w 447236"/>
              <a:gd name="connsiteY2188" fmla="*/ 309306 h 448122"/>
              <a:gd name="connsiteX2189" fmla="*/ 285229 w 447236"/>
              <a:gd name="connsiteY2189" fmla="*/ 307465 h 448122"/>
              <a:gd name="connsiteX2190" fmla="*/ 288281 w 447236"/>
              <a:gd name="connsiteY2190" fmla="*/ 307465 h 448122"/>
              <a:gd name="connsiteX2191" fmla="*/ 288281 w 447236"/>
              <a:gd name="connsiteY2191" fmla="*/ 304973 h 448122"/>
              <a:gd name="connsiteX2192" fmla="*/ 288281 w 447236"/>
              <a:gd name="connsiteY2192" fmla="*/ 287826 h 448122"/>
              <a:gd name="connsiteX2193" fmla="*/ 287060 w 447236"/>
              <a:gd name="connsiteY2193" fmla="*/ 287826 h 448122"/>
              <a:gd name="connsiteX2194" fmla="*/ 285229 w 447236"/>
              <a:gd name="connsiteY2194" fmla="*/ 287826 h 448122"/>
              <a:gd name="connsiteX2195" fmla="*/ 283397 w 447236"/>
              <a:gd name="connsiteY2195" fmla="*/ 285987 h 448122"/>
              <a:gd name="connsiteX2196" fmla="*/ 283397 w 447236"/>
              <a:gd name="connsiteY2196" fmla="*/ 285680 h 448122"/>
              <a:gd name="connsiteX2197" fmla="*/ 285229 w 447236"/>
              <a:gd name="connsiteY2197" fmla="*/ 284147 h 448122"/>
              <a:gd name="connsiteX2198" fmla="*/ 286449 w 447236"/>
              <a:gd name="connsiteY2198" fmla="*/ 284147 h 448122"/>
              <a:gd name="connsiteX2199" fmla="*/ 286449 w 447236"/>
              <a:gd name="connsiteY2199" fmla="*/ 253184 h 448122"/>
              <a:gd name="connsiteX2200" fmla="*/ 286449 w 447236"/>
              <a:gd name="connsiteY2200" fmla="*/ 234178 h 448122"/>
              <a:gd name="connsiteX2201" fmla="*/ 286449 w 447236"/>
              <a:gd name="connsiteY2201" fmla="*/ 233565 h 448122"/>
              <a:gd name="connsiteX2202" fmla="*/ 286755 w 447236"/>
              <a:gd name="connsiteY2202" fmla="*/ 233258 h 448122"/>
              <a:gd name="connsiteX2203" fmla="*/ 287060 w 447236"/>
              <a:gd name="connsiteY2203" fmla="*/ 233258 h 448122"/>
              <a:gd name="connsiteX2204" fmla="*/ 287060 w 447236"/>
              <a:gd name="connsiteY2204" fmla="*/ 232951 h 448122"/>
              <a:gd name="connsiteX2205" fmla="*/ 287670 w 447236"/>
              <a:gd name="connsiteY2205" fmla="*/ 232951 h 448122"/>
              <a:gd name="connsiteX2206" fmla="*/ 289196 w 447236"/>
              <a:gd name="connsiteY2206" fmla="*/ 232951 h 448122"/>
              <a:gd name="connsiteX2207" fmla="*/ 289196 w 447236"/>
              <a:gd name="connsiteY2207" fmla="*/ 227740 h 448122"/>
              <a:gd name="connsiteX2208" fmla="*/ 290112 w 447236"/>
              <a:gd name="connsiteY2208" fmla="*/ 226820 h 448122"/>
              <a:gd name="connsiteX2209" fmla="*/ 290417 w 447236"/>
              <a:gd name="connsiteY2209" fmla="*/ 226820 h 448122"/>
              <a:gd name="connsiteX2210" fmla="*/ 290417 w 447236"/>
              <a:gd name="connsiteY2210" fmla="*/ 220689 h 448122"/>
              <a:gd name="connsiteX2211" fmla="*/ 291333 w 447236"/>
              <a:gd name="connsiteY2211" fmla="*/ 220076 h 448122"/>
              <a:gd name="connsiteX2212" fmla="*/ 291958 w 447236"/>
              <a:gd name="connsiteY2212" fmla="*/ 220076 h 448122"/>
              <a:gd name="connsiteX2213" fmla="*/ 291958 w 447236"/>
              <a:gd name="connsiteY2213" fmla="*/ 194983 h 448122"/>
              <a:gd name="connsiteX2214" fmla="*/ 220318 w 447236"/>
              <a:gd name="connsiteY2214" fmla="*/ 191945 h 448122"/>
              <a:gd name="connsiteX2215" fmla="*/ 231888 w 447236"/>
              <a:gd name="connsiteY2215" fmla="*/ 201314 h 448122"/>
              <a:gd name="connsiteX2216" fmla="*/ 233065 w 447236"/>
              <a:gd name="connsiteY2216" fmla="*/ 210629 h 448122"/>
              <a:gd name="connsiteX2217" fmla="*/ 236064 w 447236"/>
              <a:gd name="connsiteY2217" fmla="*/ 210629 h 448122"/>
              <a:gd name="connsiteX2218" fmla="*/ 237003 w 447236"/>
              <a:gd name="connsiteY2218" fmla="*/ 210629 h 448122"/>
              <a:gd name="connsiteX2219" fmla="*/ 238230 w 447236"/>
              <a:gd name="connsiteY2219" fmla="*/ 211847 h 448122"/>
              <a:gd name="connsiteX2220" fmla="*/ 237003 w 447236"/>
              <a:gd name="connsiteY2220" fmla="*/ 213369 h 448122"/>
              <a:gd name="connsiteX2221" fmla="*/ 236390 w 447236"/>
              <a:gd name="connsiteY2221" fmla="*/ 213369 h 448122"/>
              <a:gd name="connsiteX2222" fmla="*/ 227531 w 447236"/>
              <a:gd name="connsiteY2222" fmla="*/ 221817 h 448122"/>
              <a:gd name="connsiteX2223" fmla="*/ 227046 w 447236"/>
              <a:gd name="connsiteY2223" fmla="*/ 221898 h 448122"/>
              <a:gd name="connsiteX2224" fmla="*/ 223128 w 447236"/>
              <a:gd name="connsiteY2224" fmla="*/ 228060 h 448122"/>
              <a:gd name="connsiteX2225" fmla="*/ 211468 w 447236"/>
              <a:gd name="connsiteY2225" fmla="*/ 234493 h 448122"/>
              <a:gd name="connsiteX2226" fmla="*/ 208712 w 447236"/>
              <a:gd name="connsiteY2226" fmla="*/ 236022 h 448122"/>
              <a:gd name="connsiteX2227" fmla="*/ 208712 w 447236"/>
              <a:gd name="connsiteY2227" fmla="*/ 244141 h 448122"/>
              <a:gd name="connsiteX2228" fmla="*/ 208712 w 447236"/>
              <a:gd name="connsiteY2228" fmla="*/ 253316 h 448122"/>
              <a:gd name="connsiteX2229" fmla="*/ 208712 w 447236"/>
              <a:gd name="connsiteY2229" fmla="*/ 255181 h 448122"/>
              <a:gd name="connsiteX2230" fmla="*/ 213616 w 447236"/>
              <a:gd name="connsiteY2230" fmla="*/ 259918 h 448122"/>
              <a:gd name="connsiteX2231" fmla="*/ 212633 w 447236"/>
              <a:gd name="connsiteY2231" fmla="*/ 261941 h 448122"/>
              <a:gd name="connsiteX2232" fmla="*/ 212995 w 447236"/>
              <a:gd name="connsiteY2232" fmla="*/ 262380 h 448122"/>
              <a:gd name="connsiteX2233" fmla="*/ 221256 w 447236"/>
              <a:gd name="connsiteY2233" fmla="*/ 267888 h 448122"/>
              <a:gd name="connsiteX2234" fmla="*/ 221256 w 447236"/>
              <a:gd name="connsiteY2234" fmla="*/ 268194 h 448122"/>
              <a:gd name="connsiteX2235" fmla="*/ 209597 w 447236"/>
              <a:gd name="connsiteY2235" fmla="*/ 268194 h 448122"/>
              <a:gd name="connsiteX2236" fmla="*/ 208706 w 447236"/>
              <a:gd name="connsiteY2236" fmla="*/ 270027 h 448122"/>
              <a:gd name="connsiteX2237" fmla="*/ 206865 w 447236"/>
              <a:gd name="connsiteY2237" fmla="*/ 271252 h 448122"/>
              <a:gd name="connsiteX2238" fmla="*/ 201955 w 447236"/>
              <a:gd name="connsiteY2238" fmla="*/ 274928 h 448122"/>
              <a:gd name="connsiteX2239" fmla="*/ 201035 w 447236"/>
              <a:gd name="connsiteY2239" fmla="*/ 276460 h 448122"/>
              <a:gd name="connsiteX2240" fmla="*/ 201342 w 447236"/>
              <a:gd name="connsiteY2240" fmla="*/ 274316 h 448122"/>
              <a:gd name="connsiteX2241" fmla="*/ 203183 w 447236"/>
              <a:gd name="connsiteY2241" fmla="*/ 272784 h 448122"/>
              <a:gd name="connsiteX2242" fmla="*/ 205331 w 447236"/>
              <a:gd name="connsiteY2242" fmla="*/ 270946 h 448122"/>
              <a:gd name="connsiteX2243" fmla="*/ 208088 w 447236"/>
              <a:gd name="connsiteY2243" fmla="*/ 268194 h 448122"/>
              <a:gd name="connsiteX2244" fmla="*/ 204452 w 447236"/>
              <a:gd name="connsiteY2244" fmla="*/ 268194 h 448122"/>
              <a:gd name="connsiteX2245" fmla="*/ 192189 w 447236"/>
              <a:gd name="connsiteY2245" fmla="*/ 268194 h 448122"/>
              <a:gd name="connsiteX2246" fmla="*/ 191883 w 447236"/>
              <a:gd name="connsiteY2246" fmla="*/ 267888 h 448122"/>
              <a:gd name="connsiteX2247" fmla="*/ 200756 w 447236"/>
              <a:gd name="connsiteY2247" fmla="*/ 262380 h 448122"/>
              <a:gd name="connsiteX2248" fmla="*/ 205040 w 447236"/>
              <a:gd name="connsiteY2248" fmla="*/ 257179 h 448122"/>
              <a:gd name="connsiteX2249" fmla="*/ 205040 w 447236"/>
              <a:gd name="connsiteY2249" fmla="*/ 254737 h 448122"/>
              <a:gd name="connsiteX2250" fmla="*/ 201342 w 447236"/>
              <a:gd name="connsiteY2250" fmla="*/ 251954 h 448122"/>
              <a:gd name="connsiteX2251" fmla="*/ 197966 w 447236"/>
              <a:gd name="connsiteY2251" fmla="*/ 242151 h 448122"/>
              <a:gd name="connsiteX2252" fmla="*/ 205020 w 447236"/>
              <a:gd name="connsiteY2252" fmla="*/ 234006 h 448122"/>
              <a:gd name="connsiteX2253" fmla="*/ 205020 w 447236"/>
              <a:gd name="connsiteY2253" fmla="*/ 230851 h 448122"/>
              <a:gd name="connsiteX2254" fmla="*/ 205040 w 447236"/>
              <a:gd name="connsiteY2254" fmla="*/ 230851 h 448122"/>
              <a:gd name="connsiteX2255" fmla="*/ 205040 w 447236"/>
              <a:gd name="connsiteY2255" fmla="*/ 226275 h 448122"/>
              <a:gd name="connsiteX2256" fmla="*/ 208712 w 447236"/>
              <a:gd name="connsiteY2256" fmla="*/ 226275 h 448122"/>
              <a:gd name="connsiteX2257" fmla="*/ 208712 w 447236"/>
              <a:gd name="connsiteY2257" fmla="*/ 231824 h 448122"/>
              <a:gd name="connsiteX2258" fmla="*/ 215150 w 447236"/>
              <a:gd name="connsiteY2258" fmla="*/ 228060 h 448122"/>
              <a:gd name="connsiteX2259" fmla="*/ 219446 w 447236"/>
              <a:gd name="connsiteY2259" fmla="*/ 225304 h 448122"/>
              <a:gd name="connsiteX2260" fmla="*/ 221267 w 447236"/>
              <a:gd name="connsiteY2260" fmla="*/ 222859 h 448122"/>
              <a:gd name="connsiteX2261" fmla="*/ 206939 w 447236"/>
              <a:gd name="connsiteY2261" fmla="*/ 225242 h 448122"/>
              <a:gd name="connsiteX2262" fmla="*/ 177181 w 447236"/>
              <a:gd name="connsiteY2262" fmla="*/ 213369 h 448122"/>
              <a:gd name="connsiteX2263" fmla="*/ 176874 w 447236"/>
              <a:gd name="connsiteY2263" fmla="*/ 213369 h 448122"/>
              <a:gd name="connsiteX2264" fmla="*/ 175647 w 447236"/>
              <a:gd name="connsiteY2264" fmla="*/ 211847 h 448122"/>
              <a:gd name="connsiteX2265" fmla="*/ 176874 w 447236"/>
              <a:gd name="connsiteY2265" fmla="*/ 210629 h 448122"/>
              <a:gd name="connsiteX2266" fmla="*/ 211636 w 447236"/>
              <a:gd name="connsiteY2266" fmla="*/ 210629 h 448122"/>
              <a:gd name="connsiteX2267" fmla="*/ 228345 w 447236"/>
              <a:gd name="connsiteY2267" fmla="*/ 210629 h 448122"/>
              <a:gd name="connsiteX2268" fmla="*/ 228345 w 447236"/>
              <a:gd name="connsiteY2268" fmla="*/ 207537 h 448122"/>
              <a:gd name="connsiteX2269" fmla="*/ 215150 w 447236"/>
              <a:gd name="connsiteY2269" fmla="*/ 194977 h 448122"/>
              <a:gd name="connsiteX2270" fmla="*/ 211468 w 447236"/>
              <a:gd name="connsiteY2270" fmla="*/ 195284 h 448122"/>
              <a:gd name="connsiteX2271" fmla="*/ 204103 w 447236"/>
              <a:gd name="connsiteY2271" fmla="*/ 198347 h 448122"/>
              <a:gd name="connsiteX2272" fmla="*/ 193670 w 447236"/>
              <a:gd name="connsiteY2272" fmla="*/ 206618 h 448122"/>
              <a:gd name="connsiteX2273" fmla="*/ 198887 w 447236"/>
              <a:gd name="connsiteY2273" fmla="*/ 194365 h 448122"/>
              <a:gd name="connsiteX2274" fmla="*/ 203796 w 447236"/>
              <a:gd name="connsiteY2274" fmla="*/ 192527 h 448122"/>
              <a:gd name="connsiteX2275" fmla="*/ 220318 w 447236"/>
              <a:gd name="connsiteY2275" fmla="*/ 191945 h 448122"/>
              <a:gd name="connsiteX2276" fmla="*/ 263982 w 447236"/>
              <a:gd name="connsiteY2276" fmla="*/ 191830 h 448122"/>
              <a:gd name="connsiteX2277" fmla="*/ 263676 w 447236"/>
              <a:gd name="connsiteY2277" fmla="*/ 192137 h 448122"/>
              <a:gd name="connsiteX2278" fmla="*/ 263982 w 447236"/>
              <a:gd name="connsiteY2278" fmla="*/ 192443 h 448122"/>
              <a:gd name="connsiteX2279" fmla="*/ 276834 w 447236"/>
              <a:gd name="connsiteY2279" fmla="*/ 192443 h 448122"/>
              <a:gd name="connsiteX2280" fmla="*/ 277140 w 447236"/>
              <a:gd name="connsiteY2280" fmla="*/ 192137 h 448122"/>
              <a:gd name="connsiteX2281" fmla="*/ 276834 w 447236"/>
              <a:gd name="connsiteY2281" fmla="*/ 191830 h 448122"/>
              <a:gd name="connsiteX2282" fmla="*/ 263982 w 447236"/>
              <a:gd name="connsiteY2282" fmla="*/ 191830 h 448122"/>
              <a:gd name="connsiteX2283" fmla="*/ 107509 w 447236"/>
              <a:gd name="connsiteY2283" fmla="*/ 189745 h 448122"/>
              <a:gd name="connsiteX2284" fmla="*/ 106691 w 447236"/>
              <a:gd name="connsiteY2284" fmla="*/ 190811 h 448122"/>
              <a:gd name="connsiteX2285" fmla="*/ 107118 w 447236"/>
              <a:gd name="connsiteY2285" fmla="*/ 190622 h 448122"/>
              <a:gd name="connsiteX2286" fmla="*/ 266736 w 447236"/>
              <a:gd name="connsiteY2286" fmla="*/ 189379 h 448122"/>
              <a:gd name="connsiteX2287" fmla="*/ 266430 w 447236"/>
              <a:gd name="connsiteY2287" fmla="*/ 189686 h 448122"/>
              <a:gd name="connsiteX2288" fmla="*/ 266736 w 447236"/>
              <a:gd name="connsiteY2288" fmla="*/ 189992 h 448122"/>
              <a:gd name="connsiteX2289" fmla="*/ 274080 w 447236"/>
              <a:gd name="connsiteY2289" fmla="*/ 189992 h 448122"/>
              <a:gd name="connsiteX2290" fmla="*/ 274386 w 447236"/>
              <a:gd name="connsiteY2290" fmla="*/ 189686 h 448122"/>
              <a:gd name="connsiteX2291" fmla="*/ 274080 w 447236"/>
              <a:gd name="connsiteY2291" fmla="*/ 189379 h 448122"/>
              <a:gd name="connsiteX2292" fmla="*/ 266736 w 447236"/>
              <a:gd name="connsiteY2292" fmla="*/ 189379 h 448122"/>
              <a:gd name="connsiteX2293" fmla="*/ 77477 w 447236"/>
              <a:gd name="connsiteY2293" fmla="*/ 189257 h 448122"/>
              <a:gd name="connsiteX2294" fmla="*/ 76169 w 447236"/>
              <a:gd name="connsiteY2294" fmla="*/ 190961 h 448122"/>
              <a:gd name="connsiteX2295" fmla="*/ 77020 w 447236"/>
              <a:gd name="connsiteY2295" fmla="*/ 190622 h 448122"/>
              <a:gd name="connsiteX2296" fmla="*/ 92769 w 447236"/>
              <a:gd name="connsiteY2296" fmla="*/ 189067 h 448122"/>
              <a:gd name="connsiteX2297" fmla="*/ 91527 w 447236"/>
              <a:gd name="connsiteY2297" fmla="*/ 190865 h 448122"/>
              <a:gd name="connsiteX2298" fmla="*/ 92075 w 447236"/>
              <a:gd name="connsiteY2298" fmla="*/ 190622 h 448122"/>
              <a:gd name="connsiteX2299" fmla="*/ 123178 w 447236"/>
              <a:gd name="connsiteY2299" fmla="*/ 189063 h 448122"/>
              <a:gd name="connsiteX2300" fmla="*/ 121933 w 447236"/>
              <a:gd name="connsiteY2300" fmla="*/ 190865 h 448122"/>
              <a:gd name="connsiteX2301" fmla="*/ 122482 w 447236"/>
              <a:gd name="connsiteY2301" fmla="*/ 190622 h 448122"/>
              <a:gd name="connsiteX2302" fmla="*/ 115991 w 447236"/>
              <a:gd name="connsiteY2302" fmla="*/ 188699 h 448122"/>
              <a:gd name="connsiteX2303" fmla="*/ 116634 w 447236"/>
              <a:gd name="connsiteY2303" fmla="*/ 190622 h 448122"/>
              <a:gd name="connsiteX2304" fmla="*/ 119094 w 447236"/>
              <a:gd name="connsiteY2304" fmla="*/ 191603 h 448122"/>
              <a:gd name="connsiteX2305" fmla="*/ 85584 w 447236"/>
              <a:gd name="connsiteY2305" fmla="*/ 188697 h 448122"/>
              <a:gd name="connsiteX2306" fmla="*/ 86227 w 447236"/>
              <a:gd name="connsiteY2306" fmla="*/ 190622 h 448122"/>
              <a:gd name="connsiteX2307" fmla="*/ 88689 w 447236"/>
              <a:gd name="connsiteY2307" fmla="*/ 191603 h 448122"/>
              <a:gd name="connsiteX2308" fmla="*/ 70187 w 447236"/>
              <a:gd name="connsiteY2308" fmla="*/ 188414 h 448122"/>
              <a:gd name="connsiteX2309" fmla="*/ 71172 w 447236"/>
              <a:gd name="connsiteY2309" fmla="*/ 190622 h 448122"/>
              <a:gd name="connsiteX2310" fmla="*/ 73354 w 447236"/>
              <a:gd name="connsiteY2310" fmla="*/ 191589 h 448122"/>
              <a:gd name="connsiteX2311" fmla="*/ 100592 w 447236"/>
              <a:gd name="connsiteY2311" fmla="*/ 188412 h 448122"/>
              <a:gd name="connsiteX2312" fmla="*/ 101578 w 447236"/>
              <a:gd name="connsiteY2312" fmla="*/ 190622 h 448122"/>
              <a:gd name="connsiteX2313" fmla="*/ 103762 w 447236"/>
              <a:gd name="connsiteY2313" fmla="*/ 191589 h 448122"/>
              <a:gd name="connsiteX2314" fmla="*/ 301115 w 447236"/>
              <a:gd name="connsiteY2314" fmla="*/ 187013 h 448122"/>
              <a:gd name="connsiteX2315" fmla="*/ 305095 w 447236"/>
              <a:gd name="connsiteY2315" fmla="*/ 187013 h 448122"/>
              <a:gd name="connsiteX2316" fmla="*/ 309075 w 447236"/>
              <a:gd name="connsiteY2316" fmla="*/ 187013 h 448122"/>
              <a:gd name="connsiteX2317" fmla="*/ 309687 w 447236"/>
              <a:gd name="connsiteY2317" fmla="*/ 187320 h 448122"/>
              <a:gd name="connsiteX2318" fmla="*/ 311524 w 447236"/>
              <a:gd name="connsiteY2318" fmla="*/ 194377 h 448122"/>
              <a:gd name="connsiteX2319" fmla="*/ 312749 w 447236"/>
              <a:gd name="connsiteY2319" fmla="*/ 197753 h 448122"/>
              <a:gd name="connsiteX2320" fmla="*/ 308463 w 447236"/>
              <a:gd name="connsiteY2320" fmla="*/ 210334 h 448122"/>
              <a:gd name="connsiteX2321" fmla="*/ 305095 w 447236"/>
              <a:gd name="connsiteY2321" fmla="*/ 210334 h 448122"/>
              <a:gd name="connsiteX2322" fmla="*/ 304789 w 447236"/>
              <a:gd name="connsiteY2322" fmla="*/ 210334 h 448122"/>
              <a:gd name="connsiteX2323" fmla="*/ 301421 w 447236"/>
              <a:gd name="connsiteY2323" fmla="*/ 210334 h 448122"/>
              <a:gd name="connsiteX2324" fmla="*/ 297442 w 447236"/>
              <a:gd name="connsiteY2324" fmla="*/ 197753 h 448122"/>
              <a:gd name="connsiteX2325" fmla="*/ 298360 w 447236"/>
              <a:gd name="connsiteY2325" fmla="*/ 194377 h 448122"/>
              <a:gd name="connsiteX2326" fmla="*/ 300197 w 447236"/>
              <a:gd name="connsiteY2326" fmla="*/ 187320 h 448122"/>
              <a:gd name="connsiteX2327" fmla="*/ 301115 w 447236"/>
              <a:gd name="connsiteY2327" fmla="*/ 187013 h 448122"/>
              <a:gd name="connsiteX2328" fmla="*/ 266736 w 447236"/>
              <a:gd name="connsiteY2328" fmla="*/ 186929 h 448122"/>
              <a:gd name="connsiteX2329" fmla="*/ 266430 w 447236"/>
              <a:gd name="connsiteY2329" fmla="*/ 187235 h 448122"/>
              <a:gd name="connsiteX2330" fmla="*/ 266736 w 447236"/>
              <a:gd name="connsiteY2330" fmla="*/ 187541 h 448122"/>
              <a:gd name="connsiteX2331" fmla="*/ 274080 w 447236"/>
              <a:gd name="connsiteY2331" fmla="*/ 187541 h 448122"/>
              <a:gd name="connsiteX2332" fmla="*/ 274386 w 447236"/>
              <a:gd name="connsiteY2332" fmla="*/ 187235 h 448122"/>
              <a:gd name="connsiteX2333" fmla="*/ 274080 w 447236"/>
              <a:gd name="connsiteY2333" fmla="*/ 186929 h 448122"/>
              <a:gd name="connsiteX2334" fmla="*/ 266736 w 447236"/>
              <a:gd name="connsiteY2334" fmla="*/ 186929 h 448122"/>
              <a:gd name="connsiteX2335" fmla="*/ 266736 w 447236"/>
              <a:gd name="connsiteY2335" fmla="*/ 184784 h 448122"/>
              <a:gd name="connsiteX2336" fmla="*/ 266430 w 447236"/>
              <a:gd name="connsiteY2336" fmla="*/ 185091 h 448122"/>
              <a:gd name="connsiteX2337" fmla="*/ 266736 w 447236"/>
              <a:gd name="connsiteY2337" fmla="*/ 185397 h 448122"/>
              <a:gd name="connsiteX2338" fmla="*/ 274080 w 447236"/>
              <a:gd name="connsiteY2338" fmla="*/ 185397 h 448122"/>
              <a:gd name="connsiteX2339" fmla="*/ 274386 w 447236"/>
              <a:gd name="connsiteY2339" fmla="*/ 185091 h 448122"/>
              <a:gd name="connsiteX2340" fmla="*/ 274080 w 447236"/>
              <a:gd name="connsiteY2340" fmla="*/ 184784 h 448122"/>
              <a:gd name="connsiteX2341" fmla="*/ 266736 w 447236"/>
              <a:gd name="connsiteY2341" fmla="*/ 184784 h 448122"/>
              <a:gd name="connsiteX2342" fmla="*/ 340741 w 447236"/>
              <a:gd name="connsiteY2342" fmla="*/ 184417 h 448122"/>
              <a:gd name="connsiteX2343" fmla="*/ 344062 w 447236"/>
              <a:gd name="connsiteY2343" fmla="*/ 189473 h 448122"/>
              <a:gd name="connsiteX2344" fmla="*/ 341345 w 447236"/>
              <a:gd name="connsiteY2344" fmla="*/ 197133 h 448122"/>
              <a:gd name="connsiteX2345" fmla="*/ 341345 w 447236"/>
              <a:gd name="connsiteY2345" fmla="*/ 232981 h 448122"/>
              <a:gd name="connsiteX2346" fmla="*/ 344062 w 447236"/>
              <a:gd name="connsiteY2346" fmla="*/ 240335 h 448122"/>
              <a:gd name="connsiteX2347" fmla="*/ 337420 w 447236"/>
              <a:gd name="connsiteY2347" fmla="*/ 240335 h 448122"/>
              <a:gd name="connsiteX2348" fmla="*/ 340137 w 447236"/>
              <a:gd name="connsiteY2348" fmla="*/ 232981 h 448122"/>
              <a:gd name="connsiteX2349" fmla="*/ 340137 w 447236"/>
              <a:gd name="connsiteY2349" fmla="*/ 197133 h 448122"/>
              <a:gd name="connsiteX2350" fmla="*/ 337420 w 447236"/>
              <a:gd name="connsiteY2350" fmla="*/ 189473 h 448122"/>
              <a:gd name="connsiteX2351" fmla="*/ 340741 w 447236"/>
              <a:gd name="connsiteY2351" fmla="*/ 184417 h 448122"/>
              <a:gd name="connsiteX2352" fmla="*/ 263982 w 447236"/>
              <a:gd name="connsiteY2352" fmla="*/ 181721 h 448122"/>
              <a:gd name="connsiteX2353" fmla="*/ 263676 w 447236"/>
              <a:gd name="connsiteY2353" fmla="*/ 182027 h 448122"/>
              <a:gd name="connsiteX2354" fmla="*/ 263982 w 447236"/>
              <a:gd name="connsiteY2354" fmla="*/ 182334 h 448122"/>
              <a:gd name="connsiteX2355" fmla="*/ 276834 w 447236"/>
              <a:gd name="connsiteY2355" fmla="*/ 182334 h 448122"/>
              <a:gd name="connsiteX2356" fmla="*/ 277140 w 447236"/>
              <a:gd name="connsiteY2356" fmla="*/ 182027 h 448122"/>
              <a:gd name="connsiteX2357" fmla="*/ 276834 w 447236"/>
              <a:gd name="connsiteY2357" fmla="*/ 181721 h 448122"/>
              <a:gd name="connsiteX2358" fmla="*/ 263982 w 447236"/>
              <a:gd name="connsiteY2358" fmla="*/ 181721 h 448122"/>
              <a:gd name="connsiteX2359" fmla="*/ 136887 w 447236"/>
              <a:gd name="connsiteY2359" fmla="*/ 180801 h 448122"/>
              <a:gd name="connsiteX2360" fmla="*/ 135660 w 447236"/>
              <a:gd name="connsiteY2360" fmla="*/ 183557 h 448122"/>
              <a:gd name="connsiteX2361" fmla="*/ 158353 w 447236"/>
              <a:gd name="connsiteY2361" fmla="*/ 183557 h 448122"/>
              <a:gd name="connsiteX2362" fmla="*/ 157126 w 447236"/>
              <a:gd name="connsiteY2362" fmla="*/ 180801 h 448122"/>
              <a:gd name="connsiteX2363" fmla="*/ 136887 w 447236"/>
              <a:gd name="connsiteY2363" fmla="*/ 180801 h 448122"/>
              <a:gd name="connsiteX2364" fmla="*/ 367752 w 447236"/>
              <a:gd name="connsiteY2364" fmla="*/ 178747 h 448122"/>
              <a:gd name="connsiteX2365" fmla="*/ 368416 w 447236"/>
              <a:gd name="connsiteY2365" fmla="*/ 179358 h 448122"/>
              <a:gd name="connsiteX2366" fmla="*/ 368416 w 447236"/>
              <a:gd name="connsiteY2366" fmla="*/ 217251 h 448122"/>
              <a:gd name="connsiteX2367" fmla="*/ 367752 w 447236"/>
              <a:gd name="connsiteY2367" fmla="*/ 217862 h 448122"/>
              <a:gd name="connsiteX2368" fmla="*/ 367088 w 447236"/>
              <a:gd name="connsiteY2368" fmla="*/ 217251 h 448122"/>
              <a:gd name="connsiteX2369" fmla="*/ 367088 w 447236"/>
              <a:gd name="connsiteY2369" fmla="*/ 179358 h 448122"/>
              <a:gd name="connsiteX2370" fmla="*/ 367752 w 447236"/>
              <a:gd name="connsiteY2370" fmla="*/ 178747 h 448122"/>
              <a:gd name="connsiteX2371" fmla="*/ 405090 w 447236"/>
              <a:gd name="connsiteY2371" fmla="*/ 176936 h 448122"/>
              <a:gd name="connsiteX2372" fmla="*/ 390798 w 447236"/>
              <a:gd name="connsiteY2372" fmla="*/ 180281 h 448122"/>
              <a:gd name="connsiteX2373" fmla="*/ 390798 w 447236"/>
              <a:gd name="connsiteY2373" fmla="*/ 180893 h 448122"/>
              <a:gd name="connsiteX2374" fmla="*/ 397855 w 447236"/>
              <a:gd name="connsiteY2374" fmla="*/ 189157 h 448122"/>
              <a:gd name="connsiteX2375" fmla="*/ 407982 w 447236"/>
              <a:gd name="connsiteY2375" fmla="*/ 191248 h 448122"/>
              <a:gd name="connsiteX2376" fmla="*/ 406739 w 447236"/>
              <a:gd name="connsiteY2376" fmla="*/ 190738 h 448122"/>
              <a:gd name="connsiteX2377" fmla="*/ 403103 w 447236"/>
              <a:gd name="connsiteY2377" fmla="*/ 181773 h 448122"/>
              <a:gd name="connsiteX2378" fmla="*/ 425919 w 447236"/>
              <a:gd name="connsiteY2378" fmla="*/ 176898 h 448122"/>
              <a:gd name="connsiteX2379" fmla="*/ 427900 w 447236"/>
              <a:gd name="connsiteY2379" fmla="*/ 181773 h 448122"/>
              <a:gd name="connsiteX2380" fmla="*/ 424303 w 447236"/>
              <a:gd name="connsiteY2380" fmla="*/ 190738 h 448122"/>
              <a:gd name="connsiteX2381" fmla="*/ 422887 w 447236"/>
              <a:gd name="connsiteY2381" fmla="*/ 191336 h 448122"/>
              <a:gd name="connsiteX2382" fmla="*/ 433445 w 447236"/>
              <a:gd name="connsiteY2382" fmla="*/ 189157 h 448122"/>
              <a:gd name="connsiteX2383" fmla="*/ 440195 w 447236"/>
              <a:gd name="connsiteY2383" fmla="*/ 180893 h 448122"/>
              <a:gd name="connsiteX2384" fmla="*/ 440195 w 447236"/>
              <a:gd name="connsiteY2384" fmla="*/ 180281 h 448122"/>
              <a:gd name="connsiteX2385" fmla="*/ 415654 w 447236"/>
              <a:gd name="connsiteY2385" fmla="*/ 176828 h 448122"/>
              <a:gd name="connsiteX2386" fmla="*/ 420225 w 447236"/>
              <a:gd name="connsiteY2386" fmla="*/ 180845 h 448122"/>
              <a:gd name="connsiteX2387" fmla="*/ 418702 w 447236"/>
              <a:gd name="connsiteY2387" fmla="*/ 180536 h 448122"/>
              <a:gd name="connsiteX2388" fmla="*/ 415959 w 447236"/>
              <a:gd name="connsiteY2388" fmla="*/ 183318 h 448122"/>
              <a:gd name="connsiteX2389" fmla="*/ 418397 w 447236"/>
              <a:gd name="connsiteY2389" fmla="*/ 186099 h 448122"/>
              <a:gd name="connsiteX2390" fmla="*/ 415654 w 447236"/>
              <a:gd name="connsiteY2390" fmla="*/ 186717 h 448122"/>
              <a:gd name="connsiteX2391" fmla="*/ 410778 w 447236"/>
              <a:gd name="connsiteY2391" fmla="*/ 181772 h 448122"/>
              <a:gd name="connsiteX2392" fmla="*/ 415654 w 447236"/>
              <a:gd name="connsiteY2392" fmla="*/ 176828 h 448122"/>
              <a:gd name="connsiteX2393" fmla="*/ 352394 w 447236"/>
              <a:gd name="connsiteY2393" fmla="*/ 176238 h 448122"/>
              <a:gd name="connsiteX2394" fmla="*/ 352998 w 447236"/>
              <a:gd name="connsiteY2394" fmla="*/ 176238 h 448122"/>
              <a:gd name="connsiteX2395" fmla="*/ 356017 w 447236"/>
              <a:gd name="connsiteY2395" fmla="*/ 179308 h 448122"/>
              <a:gd name="connsiteX2396" fmla="*/ 356017 w 447236"/>
              <a:gd name="connsiteY2396" fmla="*/ 214927 h 448122"/>
              <a:gd name="connsiteX2397" fmla="*/ 352998 w 447236"/>
              <a:gd name="connsiteY2397" fmla="*/ 218305 h 448122"/>
              <a:gd name="connsiteX2398" fmla="*/ 352394 w 447236"/>
              <a:gd name="connsiteY2398" fmla="*/ 218305 h 448122"/>
              <a:gd name="connsiteX2399" fmla="*/ 349375 w 447236"/>
              <a:gd name="connsiteY2399" fmla="*/ 214927 h 448122"/>
              <a:gd name="connsiteX2400" fmla="*/ 349375 w 447236"/>
              <a:gd name="connsiteY2400" fmla="*/ 179308 h 448122"/>
              <a:gd name="connsiteX2401" fmla="*/ 352394 w 447236"/>
              <a:gd name="connsiteY2401" fmla="*/ 176238 h 448122"/>
              <a:gd name="connsiteX2402" fmla="*/ 361552 w 447236"/>
              <a:gd name="connsiteY2402" fmla="*/ 174955 h 448122"/>
              <a:gd name="connsiteX2403" fmla="*/ 360632 w 447236"/>
              <a:gd name="connsiteY2403" fmla="*/ 175262 h 448122"/>
              <a:gd name="connsiteX2404" fmla="*/ 360632 w 447236"/>
              <a:gd name="connsiteY2404" fmla="*/ 176183 h 448122"/>
              <a:gd name="connsiteX2405" fmla="*/ 360632 w 447236"/>
              <a:gd name="connsiteY2405" fmla="*/ 176796 h 448122"/>
              <a:gd name="connsiteX2406" fmla="*/ 360632 w 447236"/>
              <a:gd name="connsiteY2406" fmla="*/ 177410 h 448122"/>
              <a:gd name="connsiteX2407" fmla="*/ 361552 w 447236"/>
              <a:gd name="connsiteY2407" fmla="*/ 177717 h 448122"/>
              <a:gd name="connsiteX2408" fmla="*/ 364008 w 447236"/>
              <a:gd name="connsiteY2408" fmla="*/ 177717 h 448122"/>
              <a:gd name="connsiteX2409" fmla="*/ 364622 w 447236"/>
              <a:gd name="connsiteY2409" fmla="*/ 177717 h 448122"/>
              <a:gd name="connsiteX2410" fmla="*/ 364622 w 447236"/>
              <a:gd name="connsiteY2410" fmla="*/ 178331 h 448122"/>
              <a:gd name="connsiteX2411" fmla="*/ 364622 w 447236"/>
              <a:gd name="connsiteY2411" fmla="*/ 217300 h 448122"/>
              <a:gd name="connsiteX2412" fmla="*/ 364622 w 447236"/>
              <a:gd name="connsiteY2412" fmla="*/ 217607 h 448122"/>
              <a:gd name="connsiteX2413" fmla="*/ 364008 w 447236"/>
              <a:gd name="connsiteY2413" fmla="*/ 217914 h 448122"/>
              <a:gd name="connsiteX2414" fmla="*/ 353265 w 447236"/>
              <a:gd name="connsiteY2414" fmla="*/ 225892 h 448122"/>
              <a:gd name="connsiteX2415" fmla="*/ 349275 w 447236"/>
              <a:gd name="connsiteY2415" fmla="*/ 238472 h 448122"/>
              <a:gd name="connsiteX2416" fmla="*/ 350167 w 447236"/>
              <a:gd name="connsiteY2416" fmla="*/ 241773 h 448122"/>
              <a:gd name="connsiteX2417" fmla="*/ 350347 w 447236"/>
              <a:gd name="connsiteY2417" fmla="*/ 241773 h 448122"/>
              <a:gd name="connsiteX2418" fmla="*/ 367916 w 447236"/>
              <a:gd name="connsiteY2418" fmla="*/ 241773 h 448122"/>
              <a:gd name="connsiteX2419" fmla="*/ 392185 w 447236"/>
              <a:gd name="connsiteY2419" fmla="*/ 241773 h 448122"/>
              <a:gd name="connsiteX2420" fmla="*/ 393167 w 447236"/>
              <a:gd name="connsiteY2420" fmla="*/ 238472 h 448122"/>
              <a:gd name="connsiteX2421" fmla="*/ 388869 w 447236"/>
              <a:gd name="connsiteY2421" fmla="*/ 225892 h 448122"/>
              <a:gd name="connsiteX2422" fmla="*/ 378127 w 447236"/>
              <a:gd name="connsiteY2422" fmla="*/ 217914 h 448122"/>
              <a:gd name="connsiteX2423" fmla="*/ 377820 w 447236"/>
              <a:gd name="connsiteY2423" fmla="*/ 217607 h 448122"/>
              <a:gd name="connsiteX2424" fmla="*/ 377820 w 447236"/>
              <a:gd name="connsiteY2424" fmla="*/ 217300 h 448122"/>
              <a:gd name="connsiteX2425" fmla="*/ 377820 w 447236"/>
              <a:gd name="connsiteY2425" fmla="*/ 178331 h 448122"/>
              <a:gd name="connsiteX2426" fmla="*/ 377820 w 447236"/>
              <a:gd name="connsiteY2426" fmla="*/ 177717 h 448122"/>
              <a:gd name="connsiteX2427" fmla="*/ 378434 w 447236"/>
              <a:gd name="connsiteY2427" fmla="*/ 177717 h 448122"/>
              <a:gd name="connsiteX2428" fmla="*/ 380889 w 447236"/>
              <a:gd name="connsiteY2428" fmla="*/ 177717 h 448122"/>
              <a:gd name="connsiteX2429" fmla="*/ 381503 w 447236"/>
              <a:gd name="connsiteY2429" fmla="*/ 177410 h 448122"/>
              <a:gd name="connsiteX2430" fmla="*/ 381810 w 447236"/>
              <a:gd name="connsiteY2430" fmla="*/ 176796 h 448122"/>
              <a:gd name="connsiteX2431" fmla="*/ 381810 w 447236"/>
              <a:gd name="connsiteY2431" fmla="*/ 176183 h 448122"/>
              <a:gd name="connsiteX2432" fmla="*/ 381503 w 447236"/>
              <a:gd name="connsiteY2432" fmla="*/ 175262 h 448122"/>
              <a:gd name="connsiteX2433" fmla="*/ 380889 w 447236"/>
              <a:gd name="connsiteY2433" fmla="*/ 175262 h 448122"/>
              <a:gd name="connsiteX2434" fmla="*/ 361552 w 447236"/>
              <a:gd name="connsiteY2434" fmla="*/ 174955 h 448122"/>
              <a:gd name="connsiteX2435" fmla="*/ 415650 w 447236"/>
              <a:gd name="connsiteY2435" fmla="*/ 174465 h 448122"/>
              <a:gd name="connsiteX2436" fmla="*/ 407144 w 447236"/>
              <a:gd name="connsiteY2436" fmla="*/ 176456 h 448122"/>
              <a:gd name="connsiteX2437" fmla="*/ 404940 w 447236"/>
              <a:gd name="connsiteY2437" fmla="*/ 181773 h 448122"/>
              <a:gd name="connsiteX2438" fmla="*/ 408001 w 447236"/>
              <a:gd name="connsiteY2438" fmla="*/ 189468 h 448122"/>
              <a:gd name="connsiteX2439" fmla="*/ 415655 w 447236"/>
              <a:gd name="connsiteY2439" fmla="*/ 192546 h 448122"/>
              <a:gd name="connsiteX2440" fmla="*/ 423002 w 447236"/>
              <a:gd name="connsiteY2440" fmla="*/ 189468 h 448122"/>
              <a:gd name="connsiteX2441" fmla="*/ 426063 w 447236"/>
              <a:gd name="connsiteY2441" fmla="*/ 181773 h 448122"/>
              <a:gd name="connsiteX2442" fmla="*/ 423839 w 447236"/>
              <a:gd name="connsiteY2442" fmla="*/ 176405 h 448122"/>
              <a:gd name="connsiteX2443" fmla="*/ 361552 w 447236"/>
              <a:gd name="connsiteY2443" fmla="*/ 173728 h 448122"/>
              <a:gd name="connsiteX2444" fmla="*/ 380889 w 447236"/>
              <a:gd name="connsiteY2444" fmla="*/ 173728 h 448122"/>
              <a:gd name="connsiteX2445" fmla="*/ 382424 w 447236"/>
              <a:gd name="connsiteY2445" fmla="*/ 174342 h 448122"/>
              <a:gd name="connsiteX2446" fmla="*/ 383345 w 447236"/>
              <a:gd name="connsiteY2446" fmla="*/ 176183 h 448122"/>
              <a:gd name="connsiteX2447" fmla="*/ 383345 w 447236"/>
              <a:gd name="connsiteY2447" fmla="*/ 176796 h 448122"/>
              <a:gd name="connsiteX2448" fmla="*/ 382424 w 447236"/>
              <a:gd name="connsiteY2448" fmla="*/ 178331 h 448122"/>
              <a:gd name="connsiteX2449" fmla="*/ 380889 w 447236"/>
              <a:gd name="connsiteY2449" fmla="*/ 178944 h 448122"/>
              <a:gd name="connsiteX2450" fmla="*/ 379048 w 447236"/>
              <a:gd name="connsiteY2450" fmla="*/ 178944 h 448122"/>
              <a:gd name="connsiteX2451" fmla="*/ 379048 w 447236"/>
              <a:gd name="connsiteY2451" fmla="*/ 216686 h 448122"/>
              <a:gd name="connsiteX2452" fmla="*/ 390097 w 447236"/>
              <a:gd name="connsiteY2452" fmla="*/ 224971 h 448122"/>
              <a:gd name="connsiteX2453" fmla="*/ 394394 w 447236"/>
              <a:gd name="connsiteY2453" fmla="*/ 238472 h 448122"/>
              <a:gd name="connsiteX2454" fmla="*/ 391018 w 447236"/>
              <a:gd name="connsiteY2454" fmla="*/ 250746 h 448122"/>
              <a:gd name="connsiteX2455" fmla="*/ 381810 w 447236"/>
              <a:gd name="connsiteY2455" fmla="*/ 259031 h 448122"/>
              <a:gd name="connsiteX2456" fmla="*/ 381810 w 447236"/>
              <a:gd name="connsiteY2456" fmla="*/ 259338 h 448122"/>
              <a:gd name="connsiteX2457" fmla="*/ 381503 w 447236"/>
              <a:gd name="connsiteY2457" fmla="*/ 259338 h 448122"/>
              <a:gd name="connsiteX2458" fmla="*/ 360938 w 447236"/>
              <a:gd name="connsiteY2458" fmla="*/ 259338 h 448122"/>
              <a:gd name="connsiteX2459" fmla="*/ 360632 w 447236"/>
              <a:gd name="connsiteY2459" fmla="*/ 259338 h 448122"/>
              <a:gd name="connsiteX2460" fmla="*/ 360632 w 447236"/>
              <a:gd name="connsiteY2460" fmla="*/ 259031 h 448122"/>
              <a:gd name="connsiteX2461" fmla="*/ 351424 w 447236"/>
              <a:gd name="connsiteY2461" fmla="*/ 250746 h 448122"/>
              <a:gd name="connsiteX2462" fmla="*/ 348047 w 447236"/>
              <a:gd name="connsiteY2462" fmla="*/ 238472 h 448122"/>
              <a:gd name="connsiteX2463" fmla="*/ 352344 w 447236"/>
              <a:gd name="connsiteY2463" fmla="*/ 224971 h 448122"/>
              <a:gd name="connsiteX2464" fmla="*/ 363087 w 447236"/>
              <a:gd name="connsiteY2464" fmla="*/ 216686 h 448122"/>
              <a:gd name="connsiteX2465" fmla="*/ 363087 w 447236"/>
              <a:gd name="connsiteY2465" fmla="*/ 178944 h 448122"/>
              <a:gd name="connsiteX2466" fmla="*/ 361552 w 447236"/>
              <a:gd name="connsiteY2466" fmla="*/ 178944 h 448122"/>
              <a:gd name="connsiteX2467" fmla="*/ 359711 w 447236"/>
              <a:gd name="connsiteY2467" fmla="*/ 178331 h 448122"/>
              <a:gd name="connsiteX2468" fmla="*/ 359097 w 447236"/>
              <a:gd name="connsiteY2468" fmla="*/ 176796 h 448122"/>
              <a:gd name="connsiteX2469" fmla="*/ 359097 w 447236"/>
              <a:gd name="connsiteY2469" fmla="*/ 176183 h 448122"/>
              <a:gd name="connsiteX2470" fmla="*/ 359711 w 447236"/>
              <a:gd name="connsiteY2470" fmla="*/ 174342 h 448122"/>
              <a:gd name="connsiteX2471" fmla="*/ 361552 w 447236"/>
              <a:gd name="connsiteY2471" fmla="*/ 173728 h 448122"/>
              <a:gd name="connsiteX2472" fmla="*/ 326338 w 447236"/>
              <a:gd name="connsiteY2472" fmla="*/ 173728 h 448122"/>
              <a:gd name="connsiteX2473" fmla="*/ 339511 w 447236"/>
              <a:gd name="connsiteY2473" fmla="*/ 174649 h 448122"/>
              <a:gd name="connsiteX2474" fmla="*/ 342881 w 447236"/>
              <a:gd name="connsiteY2474" fmla="*/ 178025 h 448122"/>
              <a:gd name="connsiteX2475" fmla="*/ 342881 w 447236"/>
              <a:gd name="connsiteY2475" fmla="*/ 178638 h 448122"/>
              <a:gd name="connsiteX2476" fmla="*/ 339511 w 447236"/>
              <a:gd name="connsiteY2476" fmla="*/ 182014 h 448122"/>
              <a:gd name="connsiteX2477" fmla="*/ 327870 w 447236"/>
              <a:gd name="connsiteY2477" fmla="*/ 182628 h 448122"/>
              <a:gd name="connsiteX2478" fmla="*/ 327870 w 447236"/>
              <a:gd name="connsiteY2478" fmla="*/ 217616 h 448122"/>
              <a:gd name="connsiteX2479" fmla="*/ 328483 w 447236"/>
              <a:gd name="connsiteY2479" fmla="*/ 217616 h 448122"/>
              <a:gd name="connsiteX2480" fmla="*/ 330934 w 447236"/>
              <a:gd name="connsiteY2480" fmla="*/ 220071 h 448122"/>
              <a:gd name="connsiteX2481" fmla="*/ 330934 w 447236"/>
              <a:gd name="connsiteY2481" fmla="*/ 235724 h 448122"/>
              <a:gd name="connsiteX2482" fmla="*/ 332159 w 447236"/>
              <a:gd name="connsiteY2482" fmla="*/ 258742 h 448122"/>
              <a:gd name="connsiteX2483" fmla="*/ 326951 w 447236"/>
              <a:gd name="connsiteY2483" fmla="*/ 262732 h 448122"/>
              <a:gd name="connsiteX2484" fmla="*/ 326645 w 447236"/>
              <a:gd name="connsiteY2484" fmla="*/ 262732 h 448122"/>
              <a:gd name="connsiteX2485" fmla="*/ 321130 w 447236"/>
              <a:gd name="connsiteY2485" fmla="*/ 258742 h 448122"/>
              <a:gd name="connsiteX2486" fmla="*/ 322662 w 447236"/>
              <a:gd name="connsiteY2486" fmla="*/ 235724 h 448122"/>
              <a:gd name="connsiteX2487" fmla="*/ 322662 w 447236"/>
              <a:gd name="connsiteY2487" fmla="*/ 219458 h 448122"/>
              <a:gd name="connsiteX2488" fmla="*/ 324807 w 447236"/>
              <a:gd name="connsiteY2488" fmla="*/ 217616 h 448122"/>
              <a:gd name="connsiteX2489" fmla="*/ 325726 w 447236"/>
              <a:gd name="connsiteY2489" fmla="*/ 217616 h 448122"/>
              <a:gd name="connsiteX2490" fmla="*/ 325726 w 447236"/>
              <a:gd name="connsiteY2490" fmla="*/ 182628 h 448122"/>
              <a:gd name="connsiteX2491" fmla="*/ 313778 w 447236"/>
              <a:gd name="connsiteY2491" fmla="*/ 182014 h 448122"/>
              <a:gd name="connsiteX2492" fmla="*/ 310408 w 447236"/>
              <a:gd name="connsiteY2492" fmla="*/ 178638 h 448122"/>
              <a:gd name="connsiteX2493" fmla="*/ 310408 w 447236"/>
              <a:gd name="connsiteY2493" fmla="*/ 178025 h 448122"/>
              <a:gd name="connsiteX2494" fmla="*/ 313778 w 447236"/>
              <a:gd name="connsiteY2494" fmla="*/ 174649 h 448122"/>
              <a:gd name="connsiteX2495" fmla="*/ 326338 w 447236"/>
              <a:gd name="connsiteY2495" fmla="*/ 173728 h 448122"/>
              <a:gd name="connsiteX2496" fmla="*/ 304504 w 447236"/>
              <a:gd name="connsiteY2496" fmla="*/ 173433 h 448122"/>
              <a:gd name="connsiteX2497" fmla="*/ 305685 w 447236"/>
              <a:gd name="connsiteY2497" fmla="*/ 173433 h 448122"/>
              <a:gd name="connsiteX2498" fmla="*/ 305980 w 447236"/>
              <a:gd name="connsiteY2498" fmla="*/ 179337 h 448122"/>
              <a:gd name="connsiteX2499" fmla="*/ 306335 w 447236"/>
              <a:gd name="connsiteY2499" fmla="*/ 179337 h 448122"/>
              <a:gd name="connsiteX2500" fmla="*/ 308194 w 447236"/>
              <a:gd name="connsiteY2500" fmla="*/ 185684 h 448122"/>
              <a:gd name="connsiteX2501" fmla="*/ 309070 w 447236"/>
              <a:gd name="connsiteY2501" fmla="*/ 185684 h 448122"/>
              <a:gd name="connsiteX2502" fmla="*/ 309375 w 447236"/>
              <a:gd name="connsiteY2502" fmla="*/ 186016 h 448122"/>
              <a:gd name="connsiteX2503" fmla="*/ 309375 w 447236"/>
              <a:gd name="connsiteY2503" fmla="*/ 186348 h 448122"/>
              <a:gd name="connsiteX2504" fmla="*/ 309070 w 447236"/>
              <a:gd name="connsiteY2504" fmla="*/ 187012 h 448122"/>
              <a:gd name="connsiteX2505" fmla="*/ 301130 w 447236"/>
              <a:gd name="connsiteY2505" fmla="*/ 187012 h 448122"/>
              <a:gd name="connsiteX2506" fmla="*/ 300519 w 447236"/>
              <a:gd name="connsiteY2506" fmla="*/ 186348 h 448122"/>
              <a:gd name="connsiteX2507" fmla="*/ 300519 w 447236"/>
              <a:gd name="connsiteY2507" fmla="*/ 186016 h 448122"/>
              <a:gd name="connsiteX2508" fmla="*/ 301130 w 447236"/>
              <a:gd name="connsiteY2508" fmla="*/ 185684 h 448122"/>
              <a:gd name="connsiteX2509" fmla="*/ 301995 w 447236"/>
              <a:gd name="connsiteY2509" fmla="*/ 185684 h 448122"/>
              <a:gd name="connsiteX2510" fmla="*/ 303855 w 447236"/>
              <a:gd name="connsiteY2510" fmla="*/ 179337 h 448122"/>
              <a:gd name="connsiteX2511" fmla="*/ 304209 w 447236"/>
              <a:gd name="connsiteY2511" fmla="*/ 179337 h 448122"/>
              <a:gd name="connsiteX2512" fmla="*/ 19304 w 447236"/>
              <a:gd name="connsiteY2512" fmla="*/ 171088 h 448122"/>
              <a:gd name="connsiteX2513" fmla="*/ 30702 w 447236"/>
              <a:gd name="connsiteY2513" fmla="*/ 175942 h 448122"/>
              <a:gd name="connsiteX2514" fmla="*/ 16840 w 447236"/>
              <a:gd name="connsiteY2514" fmla="*/ 175942 h 448122"/>
              <a:gd name="connsiteX2515" fmla="*/ 16532 w 447236"/>
              <a:gd name="connsiteY2515" fmla="*/ 174425 h 448122"/>
              <a:gd name="connsiteX2516" fmla="*/ 19304 w 447236"/>
              <a:gd name="connsiteY2516" fmla="*/ 171088 h 448122"/>
              <a:gd name="connsiteX2517" fmla="*/ 147006 w 447236"/>
              <a:gd name="connsiteY2517" fmla="*/ 169168 h 448122"/>
              <a:gd name="connsiteX2518" fmla="*/ 140567 w 447236"/>
              <a:gd name="connsiteY2518" fmla="*/ 175597 h 448122"/>
              <a:gd name="connsiteX2519" fmla="*/ 153446 w 447236"/>
              <a:gd name="connsiteY2519" fmla="*/ 175597 h 448122"/>
              <a:gd name="connsiteX2520" fmla="*/ 147006 w 447236"/>
              <a:gd name="connsiteY2520" fmla="*/ 169168 h 448122"/>
              <a:gd name="connsiteX2521" fmla="*/ 198303 w 447236"/>
              <a:gd name="connsiteY2521" fmla="*/ 168273 h 448122"/>
              <a:gd name="connsiteX2522" fmla="*/ 202905 w 447236"/>
              <a:gd name="connsiteY2522" fmla="*/ 170717 h 448122"/>
              <a:gd name="connsiteX2523" fmla="*/ 205973 w 447236"/>
              <a:gd name="connsiteY2523" fmla="*/ 170106 h 448122"/>
              <a:gd name="connsiteX2524" fmla="*/ 209348 w 447236"/>
              <a:gd name="connsiteY2524" fmla="*/ 170717 h 448122"/>
              <a:gd name="connsiteX2525" fmla="*/ 213950 w 447236"/>
              <a:gd name="connsiteY2525" fmla="*/ 168273 h 448122"/>
              <a:gd name="connsiteX2526" fmla="*/ 219578 w 447236"/>
              <a:gd name="connsiteY2526" fmla="*/ 168635 h 448122"/>
              <a:gd name="connsiteX2527" fmla="*/ 213950 w 447236"/>
              <a:gd name="connsiteY2527" fmla="*/ 170412 h 448122"/>
              <a:gd name="connsiteX2528" fmla="*/ 211496 w 447236"/>
              <a:gd name="connsiteY2528" fmla="*/ 175911 h 448122"/>
              <a:gd name="connsiteX2529" fmla="*/ 213644 w 447236"/>
              <a:gd name="connsiteY2529" fmla="*/ 181715 h 448122"/>
              <a:gd name="connsiteX2530" fmla="*/ 228677 w 447236"/>
              <a:gd name="connsiteY2530" fmla="*/ 188131 h 448122"/>
              <a:gd name="connsiteX2531" fmla="*/ 241564 w 447236"/>
              <a:gd name="connsiteY2531" fmla="*/ 179271 h 448122"/>
              <a:gd name="connsiteX2532" fmla="*/ 241870 w 447236"/>
              <a:gd name="connsiteY2532" fmla="*/ 175605 h 448122"/>
              <a:gd name="connsiteX2533" fmla="*/ 240336 w 447236"/>
              <a:gd name="connsiteY2533" fmla="*/ 171328 h 448122"/>
              <a:gd name="connsiteX2534" fmla="*/ 236258 w 447236"/>
              <a:gd name="connsiteY2534" fmla="*/ 169706 h 448122"/>
              <a:gd name="connsiteX2535" fmla="*/ 242484 w 447236"/>
              <a:gd name="connsiteY2535" fmla="*/ 170106 h 448122"/>
              <a:gd name="connsiteX2536" fmla="*/ 247086 w 447236"/>
              <a:gd name="connsiteY2536" fmla="*/ 171328 h 448122"/>
              <a:gd name="connsiteX2537" fmla="*/ 247086 w 447236"/>
              <a:gd name="connsiteY2537" fmla="*/ 175605 h 448122"/>
              <a:gd name="connsiteX2538" fmla="*/ 243711 w 447236"/>
              <a:gd name="connsiteY2538" fmla="*/ 177744 h 448122"/>
              <a:gd name="connsiteX2539" fmla="*/ 242177 w 447236"/>
              <a:gd name="connsiteY2539" fmla="*/ 181104 h 448122"/>
              <a:gd name="connsiteX2540" fmla="*/ 236348 w 447236"/>
              <a:gd name="connsiteY2540" fmla="*/ 187520 h 448122"/>
              <a:gd name="connsiteX2541" fmla="*/ 226837 w 447236"/>
              <a:gd name="connsiteY2541" fmla="*/ 189658 h 448122"/>
              <a:gd name="connsiteX2542" fmla="*/ 214564 w 447236"/>
              <a:gd name="connsiteY2542" fmla="*/ 185381 h 448122"/>
              <a:gd name="connsiteX2543" fmla="*/ 209962 w 447236"/>
              <a:gd name="connsiteY2543" fmla="*/ 175911 h 448122"/>
              <a:gd name="connsiteX2544" fmla="*/ 207814 w 447236"/>
              <a:gd name="connsiteY2544" fmla="*/ 173161 h 448122"/>
              <a:gd name="connsiteX2545" fmla="*/ 205973 w 447236"/>
              <a:gd name="connsiteY2545" fmla="*/ 173161 h 448122"/>
              <a:gd name="connsiteX2546" fmla="*/ 204439 w 447236"/>
              <a:gd name="connsiteY2546" fmla="*/ 173161 h 448122"/>
              <a:gd name="connsiteX2547" fmla="*/ 202292 w 447236"/>
              <a:gd name="connsiteY2547" fmla="*/ 175911 h 448122"/>
              <a:gd name="connsiteX2548" fmla="*/ 197689 w 447236"/>
              <a:gd name="connsiteY2548" fmla="*/ 185381 h 448122"/>
              <a:gd name="connsiteX2549" fmla="*/ 185417 w 447236"/>
              <a:gd name="connsiteY2549" fmla="*/ 189658 h 448122"/>
              <a:gd name="connsiteX2550" fmla="*/ 175906 w 447236"/>
              <a:gd name="connsiteY2550" fmla="*/ 187520 h 448122"/>
              <a:gd name="connsiteX2551" fmla="*/ 170076 w 447236"/>
              <a:gd name="connsiteY2551" fmla="*/ 181104 h 448122"/>
              <a:gd name="connsiteX2552" fmla="*/ 168542 w 447236"/>
              <a:gd name="connsiteY2552" fmla="*/ 177744 h 448122"/>
              <a:gd name="connsiteX2553" fmla="*/ 165167 w 447236"/>
              <a:gd name="connsiteY2553" fmla="*/ 175605 h 448122"/>
              <a:gd name="connsiteX2554" fmla="*/ 165167 w 447236"/>
              <a:gd name="connsiteY2554" fmla="*/ 171328 h 448122"/>
              <a:gd name="connsiteX2555" fmla="*/ 169769 w 447236"/>
              <a:gd name="connsiteY2555" fmla="*/ 170106 h 448122"/>
              <a:gd name="connsiteX2556" fmla="*/ 175996 w 447236"/>
              <a:gd name="connsiteY2556" fmla="*/ 169706 h 448122"/>
              <a:gd name="connsiteX2557" fmla="*/ 171917 w 447236"/>
              <a:gd name="connsiteY2557" fmla="*/ 171328 h 448122"/>
              <a:gd name="connsiteX2558" fmla="*/ 170383 w 447236"/>
              <a:gd name="connsiteY2558" fmla="*/ 175605 h 448122"/>
              <a:gd name="connsiteX2559" fmla="*/ 170690 w 447236"/>
              <a:gd name="connsiteY2559" fmla="*/ 179271 h 448122"/>
              <a:gd name="connsiteX2560" fmla="*/ 183269 w 447236"/>
              <a:gd name="connsiteY2560" fmla="*/ 188131 h 448122"/>
              <a:gd name="connsiteX2561" fmla="*/ 198610 w 447236"/>
              <a:gd name="connsiteY2561" fmla="*/ 181715 h 448122"/>
              <a:gd name="connsiteX2562" fmla="*/ 200758 w 447236"/>
              <a:gd name="connsiteY2562" fmla="*/ 175911 h 448122"/>
              <a:gd name="connsiteX2563" fmla="*/ 198303 w 447236"/>
              <a:gd name="connsiteY2563" fmla="*/ 170412 h 448122"/>
              <a:gd name="connsiteX2564" fmla="*/ 192676 w 447236"/>
              <a:gd name="connsiteY2564" fmla="*/ 168635 h 448122"/>
              <a:gd name="connsiteX2565" fmla="*/ 270408 w 447236"/>
              <a:gd name="connsiteY2565" fmla="*/ 167935 h 448122"/>
              <a:gd name="connsiteX2566" fmla="*/ 269796 w 447236"/>
              <a:gd name="connsiteY2566" fmla="*/ 168242 h 448122"/>
              <a:gd name="connsiteX2567" fmla="*/ 269490 w 447236"/>
              <a:gd name="connsiteY2567" fmla="*/ 169161 h 448122"/>
              <a:gd name="connsiteX2568" fmla="*/ 269796 w 447236"/>
              <a:gd name="connsiteY2568" fmla="*/ 169773 h 448122"/>
              <a:gd name="connsiteX2569" fmla="*/ 270408 w 447236"/>
              <a:gd name="connsiteY2569" fmla="*/ 170080 h 448122"/>
              <a:gd name="connsiteX2570" fmla="*/ 271020 w 447236"/>
              <a:gd name="connsiteY2570" fmla="*/ 169773 h 448122"/>
              <a:gd name="connsiteX2571" fmla="*/ 271326 w 447236"/>
              <a:gd name="connsiteY2571" fmla="*/ 169161 h 448122"/>
              <a:gd name="connsiteX2572" fmla="*/ 271020 w 447236"/>
              <a:gd name="connsiteY2572" fmla="*/ 168242 h 448122"/>
              <a:gd name="connsiteX2573" fmla="*/ 270408 w 447236"/>
              <a:gd name="connsiteY2573" fmla="*/ 167935 h 448122"/>
              <a:gd name="connsiteX2574" fmla="*/ 415650 w 447236"/>
              <a:gd name="connsiteY2574" fmla="*/ 166201 h 448122"/>
              <a:gd name="connsiteX2575" fmla="*/ 434672 w 447236"/>
              <a:gd name="connsiteY2575" fmla="*/ 170486 h 448122"/>
              <a:gd name="connsiteX2576" fmla="*/ 442956 w 447236"/>
              <a:gd name="connsiteY2576" fmla="*/ 180893 h 448122"/>
              <a:gd name="connsiteX2577" fmla="*/ 434672 w 447236"/>
              <a:gd name="connsiteY2577" fmla="*/ 191300 h 448122"/>
              <a:gd name="connsiteX2578" fmla="*/ 415650 w 447236"/>
              <a:gd name="connsiteY2578" fmla="*/ 195279 h 448122"/>
              <a:gd name="connsiteX2579" fmla="*/ 396627 w 447236"/>
              <a:gd name="connsiteY2579" fmla="*/ 191300 h 448122"/>
              <a:gd name="connsiteX2580" fmla="*/ 388343 w 447236"/>
              <a:gd name="connsiteY2580" fmla="*/ 180893 h 448122"/>
              <a:gd name="connsiteX2581" fmla="*/ 396627 w 447236"/>
              <a:gd name="connsiteY2581" fmla="*/ 170486 h 448122"/>
              <a:gd name="connsiteX2582" fmla="*/ 415650 w 447236"/>
              <a:gd name="connsiteY2582" fmla="*/ 166201 h 448122"/>
              <a:gd name="connsiteX2583" fmla="*/ 227374 w 447236"/>
              <a:gd name="connsiteY2583" fmla="*/ 166173 h 448122"/>
              <a:gd name="connsiteX2584" fmla="*/ 236258 w 447236"/>
              <a:gd name="connsiteY2584" fmla="*/ 169706 h 448122"/>
              <a:gd name="connsiteX2585" fmla="*/ 219578 w 447236"/>
              <a:gd name="connsiteY2585" fmla="*/ 168635 h 448122"/>
              <a:gd name="connsiteX2586" fmla="*/ 184880 w 447236"/>
              <a:gd name="connsiteY2586" fmla="*/ 166173 h 448122"/>
              <a:gd name="connsiteX2587" fmla="*/ 192676 w 447236"/>
              <a:gd name="connsiteY2587" fmla="*/ 168635 h 448122"/>
              <a:gd name="connsiteX2588" fmla="*/ 175996 w 447236"/>
              <a:gd name="connsiteY2588" fmla="*/ 169706 h 448122"/>
              <a:gd name="connsiteX2589" fmla="*/ 270408 w 447236"/>
              <a:gd name="connsiteY2589" fmla="*/ 164872 h 448122"/>
              <a:gd name="connsiteX2590" fmla="*/ 273468 w 447236"/>
              <a:gd name="connsiteY2590" fmla="*/ 166097 h 448122"/>
              <a:gd name="connsiteX2591" fmla="*/ 274998 w 447236"/>
              <a:gd name="connsiteY2591" fmla="*/ 168242 h 448122"/>
              <a:gd name="connsiteX2592" fmla="*/ 275916 w 447236"/>
              <a:gd name="connsiteY2592" fmla="*/ 169467 h 448122"/>
              <a:gd name="connsiteX2593" fmla="*/ 277752 w 447236"/>
              <a:gd name="connsiteY2593" fmla="*/ 170080 h 448122"/>
              <a:gd name="connsiteX2594" fmla="*/ 279588 w 447236"/>
              <a:gd name="connsiteY2594" fmla="*/ 170999 h 448122"/>
              <a:gd name="connsiteX2595" fmla="*/ 280506 w 447236"/>
              <a:gd name="connsiteY2595" fmla="*/ 173450 h 448122"/>
              <a:gd name="connsiteX2596" fmla="*/ 282954 w 447236"/>
              <a:gd name="connsiteY2596" fmla="*/ 207454 h 448122"/>
              <a:gd name="connsiteX2597" fmla="*/ 282036 w 447236"/>
              <a:gd name="connsiteY2597" fmla="*/ 209598 h 448122"/>
              <a:gd name="connsiteX2598" fmla="*/ 279894 w 447236"/>
              <a:gd name="connsiteY2598" fmla="*/ 210517 h 448122"/>
              <a:gd name="connsiteX2599" fmla="*/ 279588 w 447236"/>
              <a:gd name="connsiteY2599" fmla="*/ 210517 h 448122"/>
              <a:gd name="connsiteX2600" fmla="*/ 277140 w 447236"/>
              <a:gd name="connsiteY2600" fmla="*/ 210517 h 448122"/>
              <a:gd name="connsiteX2601" fmla="*/ 274692 w 447236"/>
              <a:gd name="connsiteY2601" fmla="*/ 211743 h 448122"/>
              <a:gd name="connsiteX2602" fmla="*/ 273468 w 447236"/>
              <a:gd name="connsiteY2602" fmla="*/ 214193 h 448122"/>
              <a:gd name="connsiteX2603" fmla="*/ 273468 w 447236"/>
              <a:gd name="connsiteY2603" fmla="*/ 217563 h 448122"/>
              <a:gd name="connsiteX2604" fmla="*/ 274998 w 447236"/>
              <a:gd name="connsiteY2604" fmla="*/ 217563 h 448122"/>
              <a:gd name="connsiteX2605" fmla="*/ 275610 w 447236"/>
              <a:gd name="connsiteY2605" fmla="*/ 218788 h 448122"/>
              <a:gd name="connsiteX2606" fmla="*/ 274998 w 447236"/>
              <a:gd name="connsiteY2606" fmla="*/ 220014 h 448122"/>
              <a:gd name="connsiteX2607" fmla="*/ 271938 w 447236"/>
              <a:gd name="connsiteY2607" fmla="*/ 220014 h 448122"/>
              <a:gd name="connsiteX2608" fmla="*/ 271938 w 447236"/>
              <a:gd name="connsiteY2608" fmla="*/ 228285 h 448122"/>
              <a:gd name="connsiteX2609" fmla="*/ 271068 w 447236"/>
              <a:gd name="connsiteY2609" fmla="*/ 229156 h 448122"/>
              <a:gd name="connsiteX2610" fmla="*/ 272241 w 447236"/>
              <a:gd name="connsiteY2610" fmla="*/ 230793 h 448122"/>
              <a:gd name="connsiteX2611" fmla="*/ 276546 w 447236"/>
              <a:gd name="connsiteY2611" fmla="*/ 238148 h 448122"/>
              <a:gd name="connsiteX2612" fmla="*/ 270088 w 447236"/>
              <a:gd name="connsiteY2612" fmla="*/ 268180 h 448122"/>
              <a:gd name="connsiteX2613" fmla="*/ 267936 w 447236"/>
              <a:gd name="connsiteY2613" fmla="*/ 269713 h 448122"/>
              <a:gd name="connsiteX2614" fmla="*/ 267441 w 447236"/>
              <a:gd name="connsiteY2614" fmla="*/ 271193 h 448122"/>
              <a:gd name="connsiteX2615" fmla="*/ 270765 w 447236"/>
              <a:gd name="connsiteY2615" fmla="*/ 274350 h 448122"/>
              <a:gd name="connsiteX2616" fmla="*/ 275992 w 447236"/>
              <a:gd name="connsiteY2616" fmla="*/ 281095 h 448122"/>
              <a:gd name="connsiteX2617" fmla="*/ 280297 w 447236"/>
              <a:gd name="connsiteY2617" fmla="*/ 296119 h 448122"/>
              <a:gd name="connsiteX2618" fmla="*/ 274762 w 447236"/>
              <a:gd name="connsiteY2618" fmla="*/ 309916 h 448122"/>
              <a:gd name="connsiteX2619" fmla="*/ 267997 w 447236"/>
              <a:gd name="connsiteY2619" fmla="*/ 315128 h 448122"/>
              <a:gd name="connsiteX2620" fmla="*/ 259694 w 447236"/>
              <a:gd name="connsiteY2620" fmla="*/ 316661 h 448122"/>
              <a:gd name="connsiteX2621" fmla="*/ 251699 w 447236"/>
              <a:gd name="connsiteY2621" fmla="*/ 314208 h 448122"/>
              <a:gd name="connsiteX2622" fmla="*/ 250469 w 447236"/>
              <a:gd name="connsiteY2622" fmla="*/ 313288 h 448122"/>
              <a:gd name="connsiteX2623" fmla="*/ 250162 w 447236"/>
              <a:gd name="connsiteY2623" fmla="*/ 313288 h 448122"/>
              <a:gd name="connsiteX2624" fmla="*/ 250162 w 447236"/>
              <a:gd name="connsiteY2624" fmla="*/ 312982 h 448122"/>
              <a:gd name="connsiteX2625" fmla="*/ 245549 w 447236"/>
              <a:gd name="connsiteY2625" fmla="*/ 306236 h 448122"/>
              <a:gd name="connsiteX2626" fmla="*/ 245242 w 447236"/>
              <a:gd name="connsiteY2626" fmla="*/ 305623 h 448122"/>
              <a:gd name="connsiteX2627" fmla="*/ 245242 w 447236"/>
              <a:gd name="connsiteY2627" fmla="*/ 305317 h 448122"/>
              <a:gd name="connsiteX2628" fmla="*/ 244066 w 447236"/>
              <a:gd name="connsiteY2628" fmla="*/ 301212 h 448122"/>
              <a:gd name="connsiteX2629" fmla="*/ 232807 w 447236"/>
              <a:gd name="connsiteY2629" fmla="*/ 294959 h 448122"/>
              <a:gd name="connsiteX2630" fmla="*/ 231772 w 447236"/>
              <a:gd name="connsiteY2630" fmla="*/ 282866 h 448122"/>
              <a:gd name="connsiteX2631" fmla="*/ 232078 w 447236"/>
              <a:gd name="connsiteY2631" fmla="*/ 278581 h 448122"/>
              <a:gd name="connsiteX2632" fmla="*/ 233561 w 447236"/>
              <a:gd name="connsiteY2632" fmla="*/ 277101 h 448122"/>
              <a:gd name="connsiteX2633" fmla="*/ 235125 w 447236"/>
              <a:gd name="connsiteY2633" fmla="*/ 264825 h 448122"/>
              <a:gd name="connsiteX2634" fmla="*/ 227714 w 447236"/>
              <a:gd name="connsiteY2634" fmla="*/ 269751 h 448122"/>
              <a:gd name="connsiteX2635" fmla="*/ 223716 w 447236"/>
              <a:gd name="connsiteY2635" fmla="*/ 281095 h 448122"/>
              <a:gd name="connsiteX2636" fmla="*/ 224024 w 447236"/>
              <a:gd name="connsiteY2636" fmla="*/ 287227 h 448122"/>
              <a:gd name="connsiteX2637" fmla="*/ 225869 w 447236"/>
              <a:gd name="connsiteY2637" fmla="*/ 292746 h 448122"/>
              <a:gd name="connsiteX2638" fmla="*/ 235709 w 447236"/>
              <a:gd name="connsiteY2638" fmla="*/ 307156 h 448122"/>
              <a:gd name="connsiteX2639" fmla="*/ 248009 w 447236"/>
              <a:gd name="connsiteY2639" fmla="*/ 326166 h 448122"/>
              <a:gd name="connsiteX2640" fmla="*/ 248009 w 447236"/>
              <a:gd name="connsiteY2640" fmla="*/ 326472 h 448122"/>
              <a:gd name="connsiteX2641" fmla="*/ 249036 w 447236"/>
              <a:gd name="connsiteY2641" fmla="*/ 335944 h 448122"/>
              <a:gd name="connsiteX2642" fmla="*/ 249867 w 447236"/>
              <a:gd name="connsiteY2642" fmla="*/ 335944 h 448122"/>
              <a:gd name="connsiteX2643" fmla="*/ 250474 w 447236"/>
              <a:gd name="connsiteY2643" fmla="*/ 336247 h 448122"/>
              <a:gd name="connsiteX2644" fmla="*/ 250777 w 447236"/>
              <a:gd name="connsiteY2644" fmla="*/ 336854 h 448122"/>
              <a:gd name="connsiteX2645" fmla="*/ 250777 w 447236"/>
              <a:gd name="connsiteY2645" fmla="*/ 340798 h 448122"/>
              <a:gd name="connsiteX2646" fmla="*/ 250474 w 447236"/>
              <a:gd name="connsiteY2646" fmla="*/ 341405 h 448122"/>
              <a:gd name="connsiteX2647" fmla="*/ 249867 w 447236"/>
              <a:gd name="connsiteY2647" fmla="*/ 341405 h 448122"/>
              <a:gd name="connsiteX2648" fmla="*/ 249580 w 447236"/>
              <a:gd name="connsiteY2648" fmla="*/ 341405 h 448122"/>
              <a:gd name="connsiteX2649" fmla="*/ 255989 w 447236"/>
              <a:gd name="connsiteY2649" fmla="*/ 343871 h 448122"/>
              <a:gd name="connsiteX2650" fmla="*/ 259043 w 447236"/>
              <a:gd name="connsiteY2650" fmla="*/ 351817 h 448122"/>
              <a:gd name="connsiteX2651" fmla="*/ 255989 w 447236"/>
              <a:gd name="connsiteY2651" fmla="*/ 359457 h 448122"/>
              <a:gd name="connsiteX2652" fmla="*/ 248047 w 447236"/>
              <a:gd name="connsiteY2652" fmla="*/ 362513 h 448122"/>
              <a:gd name="connsiteX2653" fmla="*/ 240410 w 447236"/>
              <a:gd name="connsiteY2653" fmla="*/ 359457 h 448122"/>
              <a:gd name="connsiteX2654" fmla="*/ 237050 w 447236"/>
              <a:gd name="connsiteY2654" fmla="*/ 351817 h 448122"/>
              <a:gd name="connsiteX2655" fmla="*/ 240410 w 447236"/>
              <a:gd name="connsiteY2655" fmla="*/ 343871 h 448122"/>
              <a:gd name="connsiteX2656" fmla="*/ 246572 w 447236"/>
              <a:gd name="connsiteY2656" fmla="*/ 341405 h 448122"/>
              <a:gd name="connsiteX2657" fmla="*/ 246226 w 447236"/>
              <a:gd name="connsiteY2657" fmla="*/ 341405 h 448122"/>
              <a:gd name="connsiteX2658" fmla="*/ 245620 w 447236"/>
              <a:gd name="connsiteY2658" fmla="*/ 341405 h 448122"/>
              <a:gd name="connsiteX2659" fmla="*/ 245316 w 447236"/>
              <a:gd name="connsiteY2659" fmla="*/ 340798 h 448122"/>
              <a:gd name="connsiteX2660" fmla="*/ 245316 w 447236"/>
              <a:gd name="connsiteY2660" fmla="*/ 336854 h 448122"/>
              <a:gd name="connsiteX2661" fmla="*/ 245620 w 447236"/>
              <a:gd name="connsiteY2661" fmla="*/ 336247 h 448122"/>
              <a:gd name="connsiteX2662" fmla="*/ 246226 w 447236"/>
              <a:gd name="connsiteY2662" fmla="*/ 335944 h 448122"/>
              <a:gd name="connsiteX2663" fmla="*/ 246536 w 447236"/>
              <a:gd name="connsiteY2663" fmla="*/ 335944 h 448122"/>
              <a:gd name="connsiteX2664" fmla="*/ 245549 w 447236"/>
              <a:gd name="connsiteY2664" fmla="*/ 327085 h 448122"/>
              <a:gd name="connsiteX2665" fmla="*/ 233864 w 447236"/>
              <a:gd name="connsiteY2665" fmla="*/ 308689 h 448122"/>
              <a:gd name="connsiteX2666" fmla="*/ 223716 w 447236"/>
              <a:gd name="connsiteY2666" fmla="*/ 293972 h 448122"/>
              <a:gd name="connsiteX2667" fmla="*/ 223409 w 447236"/>
              <a:gd name="connsiteY2667" fmla="*/ 293972 h 448122"/>
              <a:gd name="connsiteX2668" fmla="*/ 221564 w 447236"/>
              <a:gd name="connsiteY2668" fmla="*/ 287840 h 448122"/>
              <a:gd name="connsiteX2669" fmla="*/ 221256 w 447236"/>
              <a:gd name="connsiteY2669" fmla="*/ 281095 h 448122"/>
              <a:gd name="connsiteX2670" fmla="*/ 225561 w 447236"/>
              <a:gd name="connsiteY2670" fmla="*/ 268218 h 448122"/>
              <a:gd name="connsiteX2671" fmla="*/ 235916 w 447236"/>
              <a:gd name="connsiteY2671" fmla="*/ 261426 h 448122"/>
              <a:gd name="connsiteX2672" fmla="*/ 240094 w 447236"/>
              <a:gd name="connsiteY2672" fmla="*/ 244943 h 448122"/>
              <a:gd name="connsiteX2673" fmla="*/ 244441 w 447236"/>
              <a:gd name="connsiteY2673" fmla="*/ 240121 h 448122"/>
              <a:gd name="connsiteX2674" fmla="*/ 241565 w 447236"/>
              <a:gd name="connsiteY2674" fmla="*/ 236664 h 448122"/>
              <a:gd name="connsiteX2675" fmla="*/ 241257 w 447236"/>
              <a:gd name="connsiteY2675" fmla="*/ 236664 h 448122"/>
              <a:gd name="connsiteX2676" fmla="*/ 239100 w 447236"/>
              <a:gd name="connsiteY2676" fmla="*/ 236971 h 448122"/>
              <a:gd name="connsiteX2677" fmla="*/ 236634 w 447236"/>
              <a:gd name="connsiteY2677" fmla="*/ 237891 h 448122"/>
              <a:gd name="connsiteX2678" fmla="*/ 236230 w 447236"/>
              <a:gd name="connsiteY2678" fmla="*/ 237088 h 448122"/>
              <a:gd name="connsiteX2679" fmla="*/ 236607 w 447236"/>
              <a:gd name="connsiteY2679" fmla="*/ 238758 h 448122"/>
              <a:gd name="connsiteX2680" fmla="*/ 233537 w 447236"/>
              <a:gd name="connsiteY2680" fmla="*/ 240873 h 448122"/>
              <a:gd name="connsiteX2681" fmla="*/ 229546 w 447236"/>
              <a:gd name="connsiteY2681" fmla="*/ 239060 h 448122"/>
              <a:gd name="connsiteX2682" fmla="*/ 232309 w 447236"/>
              <a:gd name="connsiteY2682" fmla="*/ 235433 h 448122"/>
              <a:gd name="connsiteX2683" fmla="*/ 235993 w 447236"/>
              <a:gd name="connsiteY2683" fmla="*/ 236038 h 448122"/>
              <a:gd name="connsiteX2684" fmla="*/ 236126 w 447236"/>
              <a:gd name="connsiteY2684" fmla="*/ 236628 h 448122"/>
              <a:gd name="connsiteX2685" fmla="*/ 238791 w 447236"/>
              <a:gd name="connsiteY2685" fmla="*/ 235744 h 448122"/>
              <a:gd name="connsiteX2686" fmla="*/ 240949 w 447236"/>
              <a:gd name="connsiteY2686" fmla="*/ 235438 h 448122"/>
              <a:gd name="connsiteX2687" fmla="*/ 241565 w 447236"/>
              <a:gd name="connsiteY2687" fmla="*/ 235438 h 448122"/>
              <a:gd name="connsiteX2688" fmla="*/ 245127 w 447236"/>
              <a:gd name="connsiteY2688" fmla="*/ 239360 h 448122"/>
              <a:gd name="connsiteX2689" fmla="*/ 248663 w 447236"/>
              <a:gd name="connsiteY2689" fmla="*/ 235438 h 448122"/>
              <a:gd name="connsiteX2690" fmla="*/ 248969 w 447236"/>
              <a:gd name="connsiteY2690" fmla="*/ 235438 h 448122"/>
              <a:gd name="connsiteX2691" fmla="*/ 251418 w 447236"/>
              <a:gd name="connsiteY2691" fmla="*/ 235744 h 448122"/>
              <a:gd name="connsiteX2692" fmla="*/ 253787 w 447236"/>
              <a:gd name="connsiteY2692" fmla="*/ 236535 h 448122"/>
              <a:gd name="connsiteX2693" fmla="*/ 253899 w 447236"/>
              <a:gd name="connsiteY2693" fmla="*/ 236038 h 448122"/>
              <a:gd name="connsiteX2694" fmla="*/ 257885 w 447236"/>
              <a:gd name="connsiteY2694" fmla="*/ 235433 h 448122"/>
              <a:gd name="connsiteX2695" fmla="*/ 260644 w 447236"/>
              <a:gd name="connsiteY2695" fmla="*/ 239060 h 448122"/>
              <a:gd name="connsiteX2696" fmla="*/ 256659 w 447236"/>
              <a:gd name="connsiteY2696" fmla="*/ 240873 h 448122"/>
              <a:gd name="connsiteX2697" fmla="*/ 253286 w 447236"/>
              <a:gd name="connsiteY2697" fmla="*/ 238758 h 448122"/>
              <a:gd name="connsiteX2698" fmla="*/ 253488 w 447236"/>
              <a:gd name="connsiteY2698" fmla="*/ 237863 h 448122"/>
              <a:gd name="connsiteX2699" fmla="*/ 251112 w 447236"/>
              <a:gd name="connsiteY2699" fmla="*/ 236971 h 448122"/>
              <a:gd name="connsiteX2700" fmla="*/ 248969 w 447236"/>
              <a:gd name="connsiteY2700" fmla="*/ 236664 h 448122"/>
              <a:gd name="connsiteX2701" fmla="*/ 248663 w 447236"/>
              <a:gd name="connsiteY2701" fmla="*/ 236664 h 448122"/>
              <a:gd name="connsiteX2702" fmla="*/ 245751 w 447236"/>
              <a:gd name="connsiteY2702" fmla="*/ 240048 h 448122"/>
              <a:gd name="connsiteX2703" fmla="*/ 250196 w 447236"/>
              <a:gd name="connsiteY2703" fmla="*/ 244943 h 448122"/>
              <a:gd name="connsiteX2704" fmla="*/ 254619 w 447236"/>
              <a:gd name="connsiteY2704" fmla="*/ 262269 h 448122"/>
              <a:gd name="connsiteX2705" fmla="*/ 255082 w 447236"/>
              <a:gd name="connsiteY2705" fmla="*/ 262392 h 448122"/>
              <a:gd name="connsiteX2706" fmla="*/ 259694 w 447236"/>
              <a:gd name="connsiteY2706" fmla="*/ 264845 h 448122"/>
              <a:gd name="connsiteX2707" fmla="*/ 264307 w 447236"/>
              <a:gd name="connsiteY2707" fmla="*/ 268218 h 448122"/>
              <a:gd name="connsiteX2708" fmla="*/ 266704 w 447236"/>
              <a:gd name="connsiteY2708" fmla="*/ 270494 h 448122"/>
              <a:gd name="connsiteX2709" fmla="*/ 267321 w 447236"/>
              <a:gd name="connsiteY2709" fmla="*/ 268793 h 448122"/>
              <a:gd name="connsiteX2710" fmla="*/ 269473 w 447236"/>
              <a:gd name="connsiteY2710" fmla="*/ 267261 h 448122"/>
              <a:gd name="connsiteX2711" fmla="*/ 275623 w 447236"/>
              <a:gd name="connsiteY2711" fmla="*/ 238454 h 448122"/>
              <a:gd name="connsiteX2712" fmla="*/ 271318 w 447236"/>
              <a:gd name="connsiteY2712" fmla="*/ 231405 h 448122"/>
              <a:gd name="connsiteX2713" fmla="*/ 269781 w 447236"/>
              <a:gd name="connsiteY2713" fmla="*/ 229260 h 448122"/>
              <a:gd name="connsiteX2714" fmla="*/ 269805 w 447236"/>
              <a:gd name="connsiteY2714" fmla="*/ 229213 h 448122"/>
              <a:gd name="connsiteX2715" fmla="*/ 268878 w 447236"/>
              <a:gd name="connsiteY2715" fmla="*/ 228285 h 448122"/>
              <a:gd name="connsiteX2716" fmla="*/ 268878 w 447236"/>
              <a:gd name="connsiteY2716" fmla="*/ 220014 h 448122"/>
              <a:gd name="connsiteX2717" fmla="*/ 265818 w 447236"/>
              <a:gd name="connsiteY2717" fmla="*/ 220014 h 448122"/>
              <a:gd name="connsiteX2718" fmla="*/ 265206 w 447236"/>
              <a:gd name="connsiteY2718" fmla="*/ 218788 h 448122"/>
              <a:gd name="connsiteX2719" fmla="*/ 265818 w 447236"/>
              <a:gd name="connsiteY2719" fmla="*/ 217563 h 448122"/>
              <a:gd name="connsiteX2720" fmla="*/ 267348 w 447236"/>
              <a:gd name="connsiteY2720" fmla="*/ 217563 h 448122"/>
              <a:gd name="connsiteX2721" fmla="*/ 267348 w 447236"/>
              <a:gd name="connsiteY2721" fmla="*/ 214193 h 448122"/>
              <a:gd name="connsiteX2722" fmla="*/ 266124 w 447236"/>
              <a:gd name="connsiteY2722" fmla="*/ 211743 h 448122"/>
              <a:gd name="connsiteX2723" fmla="*/ 263676 w 447236"/>
              <a:gd name="connsiteY2723" fmla="*/ 210517 h 448122"/>
              <a:gd name="connsiteX2724" fmla="*/ 261228 w 447236"/>
              <a:gd name="connsiteY2724" fmla="*/ 210517 h 448122"/>
              <a:gd name="connsiteX2725" fmla="*/ 260922 w 447236"/>
              <a:gd name="connsiteY2725" fmla="*/ 210517 h 448122"/>
              <a:gd name="connsiteX2726" fmla="*/ 258780 w 447236"/>
              <a:gd name="connsiteY2726" fmla="*/ 209598 h 448122"/>
              <a:gd name="connsiteX2727" fmla="*/ 257862 w 447236"/>
              <a:gd name="connsiteY2727" fmla="*/ 207454 h 448122"/>
              <a:gd name="connsiteX2728" fmla="*/ 260310 w 447236"/>
              <a:gd name="connsiteY2728" fmla="*/ 173450 h 448122"/>
              <a:gd name="connsiteX2729" fmla="*/ 261228 w 447236"/>
              <a:gd name="connsiteY2729" fmla="*/ 171305 h 448122"/>
              <a:gd name="connsiteX2730" fmla="*/ 263064 w 447236"/>
              <a:gd name="connsiteY2730" fmla="*/ 170080 h 448122"/>
              <a:gd name="connsiteX2731" fmla="*/ 264900 w 447236"/>
              <a:gd name="connsiteY2731" fmla="*/ 169467 h 448122"/>
              <a:gd name="connsiteX2732" fmla="*/ 265818 w 447236"/>
              <a:gd name="connsiteY2732" fmla="*/ 168242 h 448122"/>
              <a:gd name="connsiteX2733" fmla="*/ 267348 w 447236"/>
              <a:gd name="connsiteY2733" fmla="*/ 165791 h 448122"/>
              <a:gd name="connsiteX2734" fmla="*/ 270408 w 447236"/>
              <a:gd name="connsiteY2734" fmla="*/ 164872 h 448122"/>
              <a:gd name="connsiteX2735" fmla="*/ 11995 w 447236"/>
              <a:gd name="connsiteY2735" fmla="*/ 163396 h 448122"/>
              <a:gd name="connsiteX2736" fmla="*/ 14130 w 447236"/>
              <a:gd name="connsiteY2736" fmla="*/ 163396 h 448122"/>
              <a:gd name="connsiteX2737" fmla="*/ 15351 w 447236"/>
              <a:gd name="connsiteY2737" fmla="*/ 164619 h 448122"/>
              <a:gd name="connsiteX2738" fmla="*/ 15351 w 447236"/>
              <a:gd name="connsiteY2738" fmla="*/ 177123 h 448122"/>
              <a:gd name="connsiteX2739" fmla="*/ 35270 w 447236"/>
              <a:gd name="connsiteY2739" fmla="*/ 177123 h 448122"/>
              <a:gd name="connsiteX2740" fmla="*/ 48144 w 447236"/>
              <a:gd name="connsiteY2740" fmla="*/ 177123 h 448122"/>
              <a:gd name="connsiteX2741" fmla="*/ 48857 w 447236"/>
              <a:gd name="connsiteY2741" fmla="*/ 177123 h 448122"/>
              <a:gd name="connsiteX2742" fmla="*/ 48857 w 447236"/>
              <a:gd name="connsiteY2742" fmla="*/ 172554 h 448122"/>
              <a:gd name="connsiteX2743" fmla="*/ 48857 w 447236"/>
              <a:gd name="connsiteY2743" fmla="*/ 170368 h 448122"/>
              <a:gd name="connsiteX2744" fmla="*/ 49776 w 447236"/>
              <a:gd name="connsiteY2744" fmla="*/ 169448 h 448122"/>
              <a:gd name="connsiteX2745" fmla="*/ 51616 w 447236"/>
              <a:gd name="connsiteY2745" fmla="*/ 169448 h 448122"/>
              <a:gd name="connsiteX2746" fmla="*/ 52842 w 447236"/>
              <a:gd name="connsiteY2746" fmla="*/ 170368 h 448122"/>
              <a:gd name="connsiteX2747" fmla="*/ 52842 w 447236"/>
              <a:gd name="connsiteY2747" fmla="*/ 187852 h 448122"/>
              <a:gd name="connsiteX2748" fmla="*/ 51616 w 447236"/>
              <a:gd name="connsiteY2748" fmla="*/ 189079 h 448122"/>
              <a:gd name="connsiteX2749" fmla="*/ 49776 w 447236"/>
              <a:gd name="connsiteY2749" fmla="*/ 189079 h 448122"/>
              <a:gd name="connsiteX2750" fmla="*/ 48857 w 447236"/>
              <a:gd name="connsiteY2750" fmla="*/ 187852 h 448122"/>
              <a:gd name="connsiteX2751" fmla="*/ 48857 w 447236"/>
              <a:gd name="connsiteY2751" fmla="*/ 182732 h 448122"/>
              <a:gd name="connsiteX2752" fmla="*/ 29821 w 447236"/>
              <a:gd name="connsiteY2752" fmla="*/ 182732 h 448122"/>
              <a:gd name="connsiteX2753" fmla="*/ 19468 w 447236"/>
              <a:gd name="connsiteY2753" fmla="*/ 182732 h 448122"/>
              <a:gd name="connsiteX2754" fmla="*/ 15351 w 447236"/>
              <a:gd name="connsiteY2754" fmla="*/ 182732 h 448122"/>
              <a:gd name="connsiteX2755" fmla="*/ 15351 w 447236"/>
              <a:gd name="connsiteY2755" fmla="*/ 184951 h 448122"/>
              <a:gd name="connsiteX2756" fmla="*/ 15351 w 447236"/>
              <a:gd name="connsiteY2756" fmla="*/ 187856 h 448122"/>
              <a:gd name="connsiteX2757" fmla="*/ 14130 w 447236"/>
              <a:gd name="connsiteY2757" fmla="*/ 189079 h 448122"/>
              <a:gd name="connsiteX2758" fmla="*/ 11995 w 447236"/>
              <a:gd name="connsiteY2758" fmla="*/ 189079 h 448122"/>
              <a:gd name="connsiteX2759" fmla="*/ 10775 w 447236"/>
              <a:gd name="connsiteY2759" fmla="*/ 187856 h 448122"/>
              <a:gd name="connsiteX2760" fmla="*/ 10775 w 447236"/>
              <a:gd name="connsiteY2760" fmla="*/ 164619 h 448122"/>
              <a:gd name="connsiteX2761" fmla="*/ 11995 w 447236"/>
              <a:gd name="connsiteY2761" fmla="*/ 163396 h 448122"/>
              <a:gd name="connsiteX2762" fmla="*/ 432845 w 447236"/>
              <a:gd name="connsiteY2762" fmla="*/ 157493 h 448122"/>
              <a:gd name="connsiteX2763" fmla="*/ 432855 w 447236"/>
              <a:gd name="connsiteY2763" fmla="*/ 157502 h 448122"/>
              <a:gd name="connsiteX2764" fmla="*/ 432864 w 447236"/>
              <a:gd name="connsiteY2764" fmla="*/ 157493 h 448122"/>
              <a:gd name="connsiteX2765" fmla="*/ 414424 w 447236"/>
              <a:gd name="connsiteY2765" fmla="*/ 157493 h 448122"/>
              <a:gd name="connsiteX2766" fmla="*/ 414434 w 447236"/>
              <a:gd name="connsiteY2766" fmla="*/ 157502 h 448122"/>
              <a:gd name="connsiteX2767" fmla="*/ 414444 w 447236"/>
              <a:gd name="connsiteY2767" fmla="*/ 157493 h 448122"/>
              <a:gd name="connsiteX2768" fmla="*/ 396617 w 447236"/>
              <a:gd name="connsiteY2768" fmla="*/ 157493 h 448122"/>
              <a:gd name="connsiteX2769" fmla="*/ 396627 w 447236"/>
              <a:gd name="connsiteY2769" fmla="*/ 157502 h 448122"/>
              <a:gd name="connsiteX2770" fmla="*/ 396636 w 447236"/>
              <a:gd name="connsiteY2770" fmla="*/ 157493 h 448122"/>
              <a:gd name="connsiteX2771" fmla="*/ 136580 w 447236"/>
              <a:gd name="connsiteY2771" fmla="*/ 153248 h 448122"/>
              <a:gd name="connsiteX2772" fmla="*/ 145780 w 447236"/>
              <a:gd name="connsiteY2772" fmla="*/ 161514 h 448122"/>
              <a:gd name="connsiteX2773" fmla="*/ 147006 w 447236"/>
              <a:gd name="connsiteY2773" fmla="*/ 162738 h 448122"/>
              <a:gd name="connsiteX2774" fmla="*/ 148540 w 447236"/>
              <a:gd name="connsiteY2774" fmla="*/ 161514 h 448122"/>
              <a:gd name="connsiteX2775" fmla="*/ 157739 w 447236"/>
              <a:gd name="connsiteY2775" fmla="*/ 153248 h 448122"/>
              <a:gd name="connsiteX2776" fmla="*/ 136580 w 447236"/>
              <a:gd name="connsiteY2776" fmla="*/ 153248 h 448122"/>
              <a:gd name="connsiteX2777" fmla="*/ 290072 w 447236"/>
              <a:gd name="connsiteY2777" fmla="*/ 152896 h 448122"/>
              <a:gd name="connsiteX2778" fmla="*/ 366482 w 447236"/>
              <a:gd name="connsiteY2778" fmla="*/ 152896 h 448122"/>
              <a:gd name="connsiteX2779" fmla="*/ 366482 w 447236"/>
              <a:gd name="connsiteY2779" fmla="*/ 156572 h 448122"/>
              <a:gd name="connsiteX2780" fmla="*/ 290072 w 447236"/>
              <a:gd name="connsiteY2780" fmla="*/ 156572 h 448122"/>
              <a:gd name="connsiteX2781" fmla="*/ 290072 w 447236"/>
              <a:gd name="connsiteY2781" fmla="*/ 152896 h 448122"/>
              <a:gd name="connsiteX2782" fmla="*/ 415058 w 447236"/>
              <a:gd name="connsiteY2782" fmla="*/ 150738 h 448122"/>
              <a:gd name="connsiteX2783" fmla="*/ 415058 w 447236"/>
              <a:gd name="connsiteY2783" fmla="*/ 156928 h 448122"/>
              <a:gd name="connsiteX2784" fmla="*/ 418425 w 447236"/>
              <a:gd name="connsiteY2784" fmla="*/ 153833 h 448122"/>
              <a:gd name="connsiteX2785" fmla="*/ 414025 w 447236"/>
              <a:gd name="connsiteY2785" fmla="*/ 150571 h 448122"/>
              <a:gd name="connsiteX2786" fmla="*/ 410750 w 447236"/>
              <a:gd name="connsiteY2786" fmla="*/ 153833 h 448122"/>
              <a:gd name="connsiteX2787" fmla="*/ 414025 w 447236"/>
              <a:gd name="connsiteY2787" fmla="*/ 157095 h 448122"/>
              <a:gd name="connsiteX2788" fmla="*/ 432476 w 447236"/>
              <a:gd name="connsiteY2788" fmla="*/ 150541 h 448122"/>
              <a:gd name="connsiteX2789" fmla="*/ 429170 w 447236"/>
              <a:gd name="connsiteY2789" fmla="*/ 153833 h 448122"/>
              <a:gd name="connsiteX2790" fmla="*/ 432476 w 447236"/>
              <a:gd name="connsiteY2790" fmla="*/ 157125 h 448122"/>
              <a:gd name="connsiteX2791" fmla="*/ 396313 w 447236"/>
              <a:gd name="connsiteY2791" fmla="*/ 150477 h 448122"/>
              <a:gd name="connsiteX2792" fmla="*/ 392943 w 447236"/>
              <a:gd name="connsiteY2792" fmla="*/ 153833 h 448122"/>
              <a:gd name="connsiteX2793" fmla="*/ 396313 w 447236"/>
              <a:gd name="connsiteY2793" fmla="*/ 157190 h 448122"/>
              <a:gd name="connsiteX2794" fmla="*/ 396903 w 447236"/>
              <a:gd name="connsiteY2794" fmla="*/ 150440 h 448122"/>
              <a:gd name="connsiteX2795" fmla="*/ 396903 w 447236"/>
              <a:gd name="connsiteY2795" fmla="*/ 157227 h 448122"/>
              <a:gd name="connsiteX2796" fmla="*/ 400311 w 447236"/>
              <a:gd name="connsiteY2796" fmla="*/ 153833 h 448122"/>
              <a:gd name="connsiteX2797" fmla="*/ 433066 w 447236"/>
              <a:gd name="connsiteY2797" fmla="*/ 150375 h 448122"/>
              <a:gd name="connsiteX2798" fmla="*/ 433066 w 447236"/>
              <a:gd name="connsiteY2798" fmla="*/ 157292 h 448122"/>
              <a:gd name="connsiteX2799" fmla="*/ 436539 w 447236"/>
              <a:gd name="connsiteY2799" fmla="*/ 153833 h 448122"/>
              <a:gd name="connsiteX2800" fmla="*/ 432855 w 447236"/>
              <a:gd name="connsiteY2800" fmla="*/ 150164 h 448122"/>
              <a:gd name="connsiteX2801" fmla="*/ 432759 w 447236"/>
              <a:gd name="connsiteY2801" fmla="*/ 150260 h 448122"/>
              <a:gd name="connsiteX2802" fmla="*/ 432951 w 447236"/>
              <a:gd name="connsiteY2802" fmla="*/ 150260 h 448122"/>
              <a:gd name="connsiteX2803" fmla="*/ 414434 w 447236"/>
              <a:gd name="connsiteY2803" fmla="*/ 150164 h 448122"/>
              <a:gd name="connsiteX2804" fmla="*/ 414338 w 447236"/>
              <a:gd name="connsiteY2804" fmla="*/ 150260 h 448122"/>
              <a:gd name="connsiteX2805" fmla="*/ 414538 w 447236"/>
              <a:gd name="connsiteY2805" fmla="*/ 150260 h 448122"/>
              <a:gd name="connsiteX2806" fmla="*/ 396627 w 447236"/>
              <a:gd name="connsiteY2806" fmla="*/ 150164 h 448122"/>
              <a:gd name="connsiteX2807" fmla="*/ 396531 w 447236"/>
              <a:gd name="connsiteY2807" fmla="*/ 150260 h 448122"/>
              <a:gd name="connsiteX2808" fmla="*/ 396723 w 447236"/>
              <a:gd name="connsiteY2808" fmla="*/ 150260 h 448122"/>
              <a:gd name="connsiteX2809" fmla="*/ 290072 w 447236"/>
              <a:gd name="connsiteY2809" fmla="*/ 148608 h 448122"/>
              <a:gd name="connsiteX2810" fmla="*/ 366482 w 447236"/>
              <a:gd name="connsiteY2810" fmla="*/ 148608 h 448122"/>
              <a:gd name="connsiteX2811" fmla="*/ 366482 w 447236"/>
              <a:gd name="connsiteY2811" fmla="*/ 151977 h 448122"/>
              <a:gd name="connsiteX2812" fmla="*/ 290072 w 447236"/>
              <a:gd name="connsiteY2812" fmla="*/ 151977 h 448122"/>
              <a:gd name="connsiteX2813" fmla="*/ 290072 w 447236"/>
              <a:gd name="connsiteY2813" fmla="*/ 148608 h 448122"/>
              <a:gd name="connsiteX2814" fmla="*/ 133207 w 447236"/>
              <a:gd name="connsiteY2814" fmla="*/ 145594 h 448122"/>
              <a:gd name="connsiteX2815" fmla="*/ 133514 w 447236"/>
              <a:gd name="connsiteY2815" fmla="*/ 147737 h 448122"/>
              <a:gd name="connsiteX2816" fmla="*/ 160499 w 447236"/>
              <a:gd name="connsiteY2816" fmla="*/ 147737 h 448122"/>
              <a:gd name="connsiteX2817" fmla="*/ 160806 w 447236"/>
              <a:gd name="connsiteY2817" fmla="*/ 145594 h 448122"/>
              <a:gd name="connsiteX2818" fmla="*/ 133207 w 447236"/>
              <a:gd name="connsiteY2818" fmla="*/ 145594 h 448122"/>
              <a:gd name="connsiteX2819" fmla="*/ 389565 w 447236"/>
              <a:gd name="connsiteY2819" fmla="*/ 145578 h 448122"/>
              <a:gd name="connsiteX2820" fmla="*/ 388644 w 447236"/>
              <a:gd name="connsiteY2820" fmla="*/ 146495 h 448122"/>
              <a:gd name="connsiteX2821" fmla="*/ 389565 w 447236"/>
              <a:gd name="connsiteY2821" fmla="*/ 147413 h 448122"/>
              <a:gd name="connsiteX2822" fmla="*/ 441758 w 447236"/>
              <a:gd name="connsiteY2822" fmla="*/ 147413 h 448122"/>
              <a:gd name="connsiteX2823" fmla="*/ 442372 w 447236"/>
              <a:gd name="connsiteY2823" fmla="*/ 146495 h 448122"/>
              <a:gd name="connsiteX2824" fmla="*/ 441758 w 447236"/>
              <a:gd name="connsiteY2824" fmla="*/ 145578 h 448122"/>
              <a:gd name="connsiteX2825" fmla="*/ 389565 w 447236"/>
              <a:gd name="connsiteY2825" fmla="*/ 145578 h 448122"/>
              <a:gd name="connsiteX2826" fmla="*/ 30427 w 447236"/>
              <a:gd name="connsiteY2826" fmla="*/ 144060 h 448122"/>
              <a:gd name="connsiteX2827" fmla="*/ 33189 w 447236"/>
              <a:gd name="connsiteY2827" fmla="*/ 144060 h 448122"/>
              <a:gd name="connsiteX2828" fmla="*/ 34110 w 447236"/>
              <a:gd name="connsiteY2828" fmla="*/ 145287 h 448122"/>
              <a:gd name="connsiteX2829" fmla="*/ 34110 w 447236"/>
              <a:gd name="connsiteY2829" fmla="*/ 151421 h 448122"/>
              <a:gd name="connsiteX2830" fmla="*/ 40555 w 447236"/>
              <a:gd name="connsiteY2830" fmla="*/ 151421 h 448122"/>
              <a:gd name="connsiteX2831" fmla="*/ 41476 w 447236"/>
              <a:gd name="connsiteY2831" fmla="*/ 152342 h 448122"/>
              <a:gd name="connsiteX2832" fmla="*/ 41476 w 447236"/>
              <a:gd name="connsiteY2832" fmla="*/ 155409 h 448122"/>
              <a:gd name="connsiteX2833" fmla="*/ 40555 w 447236"/>
              <a:gd name="connsiteY2833" fmla="*/ 156329 h 448122"/>
              <a:gd name="connsiteX2834" fmla="*/ 34110 w 447236"/>
              <a:gd name="connsiteY2834" fmla="*/ 156329 h 448122"/>
              <a:gd name="connsiteX2835" fmla="*/ 34110 w 447236"/>
              <a:gd name="connsiteY2835" fmla="*/ 162464 h 448122"/>
              <a:gd name="connsiteX2836" fmla="*/ 33189 w 447236"/>
              <a:gd name="connsiteY2836" fmla="*/ 163691 h 448122"/>
              <a:gd name="connsiteX2837" fmla="*/ 30427 w 447236"/>
              <a:gd name="connsiteY2837" fmla="*/ 163691 h 448122"/>
              <a:gd name="connsiteX2838" fmla="*/ 29199 w 447236"/>
              <a:gd name="connsiteY2838" fmla="*/ 162464 h 448122"/>
              <a:gd name="connsiteX2839" fmla="*/ 29199 w 447236"/>
              <a:gd name="connsiteY2839" fmla="*/ 156329 h 448122"/>
              <a:gd name="connsiteX2840" fmla="*/ 23061 w 447236"/>
              <a:gd name="connsiteY2840" fmla="*/ 156329 h 448122"/>
              <a:gd name="connsiteX2841" fmla="*/ 22140 w 447236"/>
              <a:gd name="connsiteY2841" fmla="*/ 155409 h 448122"/>
              <a:gd name="connsiteX2842" fmla="*/ 22140 w 447236"/>
              <a:gd name="connsiteY2842" fmla="*/ 152342 h 448122"/>
              <a:gd name="connsiteX2843" fmla="*/ 23061 w 447236"/>
              <a:gd name="connsiteY2843" fmla="*/ 151421 h 448122"/>
              <a:gd name="connsiteX2844" fmla="*/ 29199 w 447236"/>
              <a:gd name="connsiteY2844" fmla="*/ 151421 h 448122"/>
              <a:gd name="connsiteX2845" fmla="*/ 29199 w 447236"/>
              <a:gd name="connsiteY2845" fmla="*/ 145287 h 448122"/>
              <a:gd name="connsiteX2846" fmla="*/ 30427 w 447236"/>
              <a:gd name="connsiteY2846" fmla="*/ 144060 h 448122"/>
              <a:gd name="connsiteX2847" fmla="*/ 115711 w 447236"/>
              <a:gd name="connsiteY2847" fmla="*/ 141994 h 448122"/>
              <a:gd name="connsiteX2848" fmla="*/ 115711 w 447236"/>
              <a:gd name="connsiteY2848" fmla="*/ 164445 h 448122"/>
              <a:gd name="connsiteX2849" fmla="*/ 115711 w 447236"/>
              <a:gd name="connsiteY2849" fmla="*/ 180924 h 448122"/>
              <a:gd name="connsiteX2850" fmla="*/ 115711 w 447236"/>
              <a:gd name="connsiteY2850" fmla="*/ 183913 h 448122"/>
              <a:gd name="connsiteX2851" fmla="*/ 115893 w 447236"/>
              <a:gd name="connsiteY2851" fmla="*/ 183913 h 448122"/>
              <a:gd name="connsiteX2852" fmla="*/ 121237 w 447236"/>
              <a:gd name="connsiteY2852" fmla="*/ 183913 h 448122"/>
              <a:gd name="connsiteX2853" fmla="*/ 123713 w 447236"/>
              <a:gd name="connsiteY2853" fmla="*/ 183913 h 448122"/>
              <a:gd name="connsiteX2854" fmla="*/ 123713 w 447236"/>
              <a:gd name="connsiteY2854" fmla="*/ 155772 h 448122"/>
              <a:gd name="connsiteX2855" fmla="*/ 123713 w 447236"/>
              <a:gd name="connsiteY2855" fmla="*/ 142234 h 448122"/>
              <a:gd name="connsiteX2856" fmla="*/ 123713 w 447236"/>
              <a:gd name="connsiteY2856" fmla="*/ 141994 h 448122"/>
              <a:gd name="connsiteX2857" fmla="*/ 117934 w 447236"/>
              <a:gd name="connsiteY2857" fmla="*/ 141994 h 448122"/>
              <a:gd name="connsiteX2858" fmla="*/ 117934 w 447236"/>
              <a:gd name="connsiteY2858" fmla="*/ 161309 h 448122"/>
              <a:gd name="connsiteX2859" fmla="*/ 117934 w 447236"/>
              <a:gd name="connsiteY2859" fmla="*/ 181096 h 448122"/>
              <a:gd name="connsiteX2860" fmla="*/ 117589 w 447236"/>
              <a:gd name="connsiteY2860" fmla="*/ 181403 h 448122"/>
              <a:gd name="connsiteX2861" fmla="*/ 116901 w 447236"/>
              <a:gd name="connsiteY2861" fmla="*/ 181096 h 448122"/>
              <a:gd name="connsiteX2862" fmla="*/ 116901 w 447236"/>
              <a:gd name="connsiteY2862" fmla="*/ 141994 h 448122"/>
              <a:gd name="connsiteX2863" fmla="*/ 100347 w 447236"/>
              <a:gd name="connsiteY2863" fmla="*/ 141994 h 448122"/>
              <a:gd name="connsiteX2864" fmla="*/ 100347 w 447236"/>
              <a:gd name="connsiteY2864" fmla="*/ 164445 h 448122"/>
              <a:gd name="connsiteX2865" fmla="*/ 100347 w 447236"/>
              <a:gd name="connsiteY2865" fmla="*/ 180924 h 448122"/>
              <a:gd name="connsiteX2866" fmla="*/ 100347 w 447236"/>
              <a:gd name="connsiteY2866" fmla="*/ 183913 h 448122"/>
              <a:gd name="connsiteX2867" fmla="*/ 100800 w 447236"/>
              <a:gd name="connsiteY2867" fmla="*/ 183913 h 448122"/>
              <a:gd name="connsiteX2868" fmla="*/ 105877 w 447236"/>
              <a:gd name="connsiteY2868" fmla="*/ 183913 h 448122"/>
              <a:gd name="connsiteX2869" fmla="*/ 108349 w 447236"/>
              <a:gd name="connsiteY2869" fmla="*/ 183913 h 448122"/>
              <a:gd name="connsiteX2870" fmla="*/ 108349 w 447236"/>
              <a:gd name="connsiteY2870" fmla="*/ 155772 h 448122"/>
              <a:gd name="connsiteX2871" fmla="*/ 108349 w 447236"/>
              <a:gd name="connsiteY2871" fmla="*/ 142234 h 448122"/>
              <a:gd name="connsiteX2872" fmla="*/ 108349 w 447236"/>
              <a:gd name="connsiteY2872" fmla="*/ 141994 h 448122"/>
              <a:gd name="connsiteX2873" fmla="*/ 102879 w 447236"/>
              <a:gd name="connsiteY2873" fmla="*/ 141994 h 448122"/>
              <a:gd name="connsiteX2874" fmla="*/ 102879 w 447236"/>
              <a:gd name="connsiteY2874" fmla="*/ 161309 h 448122"/>
              <a:gd name="connsiteX2875" fmla="*/ 102879 w 447236"/>
              <a:gd name="connsiteY2875" fmla="*/ 181096 h 448122"/>
              <a:gd name="connsiteX2876" fmla="*/ 102190 w 447236"/>
              <a:gd name="connsiteY2876" fmla="*/ 181403 h 448122"/>
              <a:gd name="connsiteX2877" fmla="*/ 101846 w 447236"/>
              <a:gd name="connsiteY2877" fmla="*/ 181096 h 448122"/>
              <a:gd name="connsiteX2878" fmla="*/ 101846 w 447236"/>
              <a:gd name="connsiteY2878" fmla="*/ 141994 h 448122"/>
              <a:gd name="connsiteX2879" fmla="*/ 85304 w 447236"/>
              <a:gd name="connsiteY2879" fmla="*/ 141994 h 448122"/>
              <a:gd name="connsiteX2880" fmla="*/ 85304 w 447236"/>
              <a:gd name="connsiteY2880" fmla="*/ 164445 h 448122"/>
              <a:gd name="connsiteX2881" fmla="*/ 85304 w 447236"/>
              <a:gd name="connsiteY2881" fmla="*/ 180924 h 448122"/>
              <a:gd name="connsiteX2882" fmla="*/ 85304 w 447236"/>
              <a:gd name="connsiteY2882" fmla="*/ 183913 h 448122"/>
              <a:gd name="connsiteX2883" fmla="*/ 85487 w 447236"/>
              <a:gd name="connsiteY2883" fmla="*/ 183913 h 448122"/>
              <a:gd name="connsiteX2884" fmla="*/ 90831 w 447236"/>
              <a:gd name="connsiteY2884" fmla="*/ 183913 h 448122"/>
              <a:gd name="connsiteX2885" fmla="*/ 93306 w 447236"/>
              <a:gd name="connsiteY2885" fmla="*/ 183913 h 448122"/>
              <a:gd name="connsiteX2886" fmla="*/ 93306 w 447236"/>
              <a:gd name="connsiteY2886" fmla="*/ 155772 h 448122"/>
              <a:gd name="connsiteX2887" fmla="*/ 93306 w 447236"/>
              <a:gd name="connsiteY2887" fmla="*/ 142234 h 448122"/>
              <a:gd name="connsiteX2888" fmla="*/ 93306 w 447236"/>
              <a:gd name="connsiteY2888" fmla="*/ 141994 h 448122"/>
              <a:gd name="connsiteX2889" fmla="*/ 92190 w 447236"/>
              <a:gd name="connsiteY2889" fmla="*/ 141994 h 448122"/>
              <a:gd name="connsiteX2890" fmla="*/ 87528 w 447236"/>
              <a:gd name="connsiteY2890" fmla="*/ 141994 h 448122"/>
              <a:gd name="connsiteX2891" fmla="*/ 87528 w 447236"/>
              <a:gd name="connsiteY2891" fmla="*/ 161309 h 448122"/>
              <a:gd name="connsiteX2892" fmla="*/ 87528 w 447236"/>
              <a:gd name="connsiteY2892" fmla="*/ 181096 h 448122"/>
              <a:gd name="connsiteX2893" fmla="*/ 87233 w 447236"/>
              <a:gd name="connsiteY2893" fmla="*/ 181403 h 448122"/>
              <a:gd name="connsiteX2894" fmla="*/ 86938 w 447236"/>
              <a:gd name="connsiteY2894" fmla="*/ 181096 h 448122"/>
              <a:gd name="connsiteX2895" fmla="*/ 86938 w 447236"/>
              <a:gd name="connsiteY2895" fmla="*/ 141994 h 448122"/>
              <a:gd name="connsiteX2896" fmla="*/ 69941 w 447236"/>
              <a:gd name="connsiteY2896" fmla="*/ 141994 h 448122"/>
              <a:gd name="connsiteX2897" fmla="*/ 69941 w 447236"/>
              <a:gd name="connsiteY2897" fmla="*/ 164445 h 448122"/>
              <a:gd name="connsiteX2898" fmla="*/ 69941 w 447236"/>
              <a:gd name="connsiteY2898" fmla="*/ 180924 h 448122"/>
              <a:gd name="connsiteX2899" fmla="*/ 69941 w 447236"/>
              <a:gd name="connsiteY2899" fmla="*/ 183913 h 448122"/>
              <a:gd name="connsiteX2900" fmla="*/ 70393 w 447236"/>
              <a:gd name="connsiteY2900" fmla="*/ 183913 h 448122"/>
              <a:gd name="connsiteX2901" fmla="*/ 75470 w 447236"/>
              <a:gd name="connsiteY2901" fmla="*/ 183913 h 448122"/>
              <a:gd name="connsiteX2902" fmla="*/ 77943 w 447236"/>
              <a:gd name="connsiteY2902" fmla="*/ 183913 h 448122"/>
              <a:gd name="connsiteX2903" fmla="*/ 77943 w 447236"/>
              <a:gd name="connsiteY2903" fmla="*/ 155772 h 448122"/>
              <a:gd name="connsiteX2904" fmla="*/ 77943 w 447236"/>
              <a:gd name="connsiteY2904" fmla="*/ 142234 h 448122"/>
              <a:gd name="connsiteX2905" fmla="*/ 77943 w 447236"/>
              <a:gd name="connsiteY2905" fmla="*/ 141994 h 448122"/>
              <a:gd name="connsiteX2906" fmla="*/ 73985 w 447236"/>
              <a:gd name="connsiteY2906" fmla="*/ 141994 h 448122"/>
              <a:gd name="connsiteX2907" fmla="*/ 72473 w 447236"/>
              <a:gd name="connsiteY2907" fmla="*/ 141994 h 448122"/>
              <a:gd name="connsiteX2908" fmla="*/ 72473 w 447236"/>
              <a:gd name="connsiteY2908" fmla="*/ 161309 h 448122"/>
              <a:gd name="connsiteX2909" fmla="*/ 72473 w 447236"/>
              <a:gd name="connsiteY2909" fmla="*/ 181096 h 448122"/>
              <a:gd name="connsiteX2910" fmla="*/ 71882 w 447236"/>
              <a:gd name="connsiteY2910" fmla="*/ 181403 h 448122"/>
              <a:gd name="connsiteX2911" fmla="*/ 71587 w 447236"/>
              <a:gd name="connsiteY2911" fmla="*/ 181096 h 448122"/>
              <a:gd name="connsiteX2912" fmla="*/ 71587 w 447236"/>
              <a:gd name="connsiteY2912" fmla="*/ 141994 h 448122"/>
              <a:gd name="connsiteX2913" fmla="*/ 134127 w 447236"/>
              <a:gd name="connsiteY2913" fmla="*/ 137634 h 448122"/>
              <a:gd name="connsiteX2914" fmla="*/ 133514 w 447236"/>
              <a:gd name="connsiteY2914" fmla="*/ 140083 h 448122"/>
              <a:gd name="connsiteX2915" fmla="*/ 160499 w 447236"/>
              <a:gd name="connsiteY2915" fmla="*/ 140083 h 448122"/>
              <a:gd name="connsiteX2916" fmla="*/ 159886 w 447236"/>
              <a:gd name="connsiteY2916" fmla="*/ 137634 h 448122"/>
              <a:gd name="connsiteX2917" fmla="*/ 134127 w 447236"/>
              <a:gd name="connsiteY2917" fmla="*/ 137634 h 448122"/>
              <a:gd name="connsiteX2918" fmla="*/ 11030 w 447236"/>
              <a:gd name="connsiteY2918" fmla="*/ 136732 h 448122"/>
              <a:gd name="connsiteX2919" fmla="*/ 7043 w 447236"/>
              <a:gd name="connsiteY2919" fmla="*/ 140714 h 448122"/>
              <a:gd name="connsiteX2920" fmla="*/ 7043 w 447236"/>
              <a:gd name="connsiteY2920" fmla="*/ 188188 h 448122"/>
              <a:gd name="connsiteX2921" fmla="*/ 11030 w 447236"/>
              <a:gd name="connsiteY2921" fmla="*/ 192170 h 448122"/>
              <a:gd name="connsiteX2922" fmla="*/ 52438 w 447236"/>
              <a:gd name="connsiteY2922" fmla="*/ 192170 h 448122"/>
              <a:gd name="connsiteX2923" fmla="*/ 56426 w 447236"/>
              <a:gd name="connsiteY2923" fmla="*/ 188188 h 448122"/>
              <a:gd name="connsiteX2924" fmla="*/ 56426 w 447236"/>
              <a:gd name="connsiteY2924" fmla="*/ 140714 h 448122"/>
              <a:gd name="connsiteX2925" fmla="*/ 52438 w 447236"/>
              <a:gd name="connsiteY2925" fmla="*/ 136732 h 448122"/>
              <a:gd name="connsiteX2926" fmla="*/ 11030 w 447236"/>
              <a:gd name="connsiteY2926" fmla="*/ 136732 h 448122"/>
              <a:gd name="connsiteX2927" fmla="*/ 415058 w 447236"/>
              <a:gd name="connsiteY2927" fmla="*/ 135805 h 448122"/>
              <a:gd name="connsiteX2928" fmla="*/ 415058 w 447236"/>
              <a:gd name="connsiteY2928" fmla="*/ 142252 h 448122"/>
              <a:gd name="connsiteX2929" fmla="*/ 418425 w 447236"/>
              <a:gd name="connsiteY2929" fmla="*/ 139157 h 448122"/>
              <a:gd name="connsiteX2930" fmla="*/ 414025 w 447236"/>
              <a:gd name="connsiteY2930" fmla="*/ 135624 h 448122"/>
              <a:gd name="connsiteX2931" fmla="*/ 410750 w 447236"/>
              <a:gd name="connsiteY2931" fmla="*/ 139157 h 448122"/>
              <a:gd name="connsiteX2932" fmla="*/ 414025 w 447236"/>
              <a:gd name="connsiteY2932" fmla="*/ 142420 h 448122"/>
              <a:gd name="connsiteX2933" fmla="*/ 432476 w 447236"/>
              <a:gd name="connsiteY2933" fmla="*/ 135591 h 448122"/>
              <a:gd name="connsiteX2934" fmla="*/ 429170 w 447236"/>
              <a:gd name="connsiteY2934" fmla="*/ 139157 h 448122"/>
              <a:gd name="connsiteX2935" fmla="*/ 432476 w 447236"/>
              <a:gd name="connsiteY2935" fmla="*/ 142449 h 448122"/>
              <a:gd name="connsiteX2936" fmla="*/ 396313 w 447236"/>
              <a:gd name="connsiteY2936" fmla="*/ 135521 h 448122"/>
              <a:gd name="connsiteX2937" fmla="*/ 392943 w 447236"/>
              <a:gd name="connsiteY2937" fmla="*/ 139157 h 448122"/>
              <a:gd name="connsiteX2938" fmla="*/ 396313 w 447236"/>
              <a:gd name="connsiteY2938" fmla="*/ 142514 h 448122"/>
              <a:gd name="connsiteX2939" fmla="*/ 396903 w 447236"/>
              <a:gd name="connsiteY2939" fmla="*/ 135481 h 448122"/>
              <a:gd name="connsiteX2940" fmla="*/ 396903 w 447236"/>
              <a:gd name="connsiteY2940" fmla="*/ 142551 h 448122"/>
              <a:gd name="connsiteX2941" fmla="*/ 400311 w 447236"/>
              <a:gd name="connsiteY2941" fmla="*/ 139157 h 448122"/>
              <a:gd name="connsiteX2942" fmla="*/ 433066 w 447236"/>
              <a:gd name="connsiteY2942" fmla="*/ 135411 h 448122"/>
              <a:gd name="connsiteX2943" fmla="*/ 433066 w 447236"/>
              <a:gd name="connsiteY2943" fmla="*/ 142616 h 448122"/>
              <a:gd name="connsiteX2944" fmla="*/ 436539 w 447236"/>
              <a:gd name="connsiteY2944" fmla="*/ 139157 h 448122"/>
              <a:gd name="connsiteX2945" fmla="*/ 432855 w 447236"/>
              <a:gd name="connsiteY2945" fmla="*/ 135183 h 448122"/>
              <a:gd name="connsiteX2946" fmla="*/ 432835 w 447236"/>
              <a:gd name="connsiteY2946" fmla="*/ 135204 h 448122"/>
              <a:gd name="connsiteX2947" fmla="*/ 432874 w 447236"/>
              <a:gd name="connsiteY2947" fmla="*/ 135204 h 448122"/>
              <a:gd name="connsiteX2948" fmla="*/ 414434 w 447236"/>
              <a:gd name="connsiteY2948" fmla="*/ 135183 h 448122"/>
              <a:gd name="connsiteX2949" fmla="*/ 414414 w 447236"/>
              <a:gd name="connsiteY2949" fmla="*/ 135204 h 448122"/>
              <a:gd name="connsiteX2950" fmla="*/ 414455 w 447236"/>
              <a:gd name="connsiteY2950" fmla="*/ 135204 h 448122"/>
              <a:gd name="connsiteX2951" fmla="*/ 396627 w 447236"/>
              <a:gd name="connsiteY2951" fmla="*/ 135183 h 448122"/>
              <a:gd name="connsiteX2952" fmla="*/ 396607 w 447236"/>
              <a:gd name="connsiteY2952" fmla="*/ 135204 h 448122"/>
              <a:gd name="connsiteX2953" fmla="*/ 396646 w 447236"/>
              <a:gd name="connsiteY2953" fmla="*/ 135204 h 448122"/>
              <a:gd name="connsiteX2954" fmla="*/ 232646 w 447236"/>
              <a:gd name="connsiteY2954" fmla="*/ 133285 h 448122"/>
              <a:gd name="connsiteX2955" fmla="*/ 236017 w 447236"/>
              <a:gd name="connsiteY2955" fmla="*/ 143129 h 448122"/>
              <a:gd name="connsiteX2956" fmla="*/ 192493 w 447236"/>
              <a:gd name="connsiteY2956" fmla="*/ 159125 h 448122"/>
              <a:gd name="connsiteX2957" fmla="*/ 181765 w 447236"/>
              <a:gd name="connsiteY2957" fmla="*/ 163124 h 448122"/>
              <a:gd name="connsiteX2958" fmla="*/ 190654 w 447236"/>
              <a:gd name="connsiteY2958" fmla="*/ 154203 h 448122"/>
              <a:gd name="connsiteX2959" fmla="*/ 176555 w 447236"/>
              <a:gd name="connsiteY2959" fmla="*/ 158817 h 448122"/>
              <a:gd name="connsiteX2960" fmla="*/ 175328 w 447236"/>
              <a:gd name="connsiteY2960" fmla="*/ 159125 h 448122"/>
              <a:gd name="connsiteX2961" fmla="*/ 174409 w 447236"/>
              <a:gd name="connsiteY2961" fmla="*/ 155433 h 448122"/>
              <a:gd name="connsiteX2962" fmla="*/ 176555 w 447236"/>
              <a:gd name="connsiteY2962" fmla="*/ 154203 h 448122"/>
              <a:gd name="connsiteX2963" fmla="*/ 187282 w 447236"/>
              <a:gd name="connsiteY2963" fmla="*/ 149589 h 448122"/>
              <a:gd name="connsiteX2964" fmla="*/ 176555 w 447236"/>
              <a:gd name="connsiteY2964" fmla="*/ 152665 h 448122"/>
              <a:gd name="connsiteX2965" fmla="*/ 171344 w 447236"/>
              <a:gd name="connsiteY2965" fmla="*/ 154203 h 448122"/>
              <a:gd name="connsiteX2966" fmla="*/ 168585 w 447236"/>
              <a:gd name="connsiteY2966" fmla="*/ 151742 h 448122"/>
              <a:gd name="connsiteX2967" fmla="*/ 171957 w 447236"/>
              <a:gd name="connsiteY2967" fmla="*/ 149281 h 448122"/>
              <a:gd name="connsiteX2968" fmla="*/ 176555 w 447236"/>
              <a:gd name="connsiteY2968" fmla="*/ 147435 h 448122"/>
              <a:gd name="connsiteX2969" fmla="*/ 186056 w 447236"/>
              <a:gd name="connsiteY2969" fmla="*/ 143436 h 448122"/>
              <a:gd name="connsiteX2970" fmla="*/ 176555 w 447236"/>
              <a:gd name="connsiteY2970" fmla="*/ 145282 h 448122"/>
              <a:gd name="connsiteX2971" fmla="*/ 169198 w 447236"/>
              <a:gd name="connsiteY2971" fmla="*/ 143744 h 448122"/>
              <a:gd name="connsiteX2972" fmla="*/ 175941 w 447236"/>
              <a:gd name="connsiteY2972" fmla="*/ 139745 h 448122"/>
              <a:gd name="connsiteX2973" fmla="*/ 176555 w 447236"/>
              <a:gd name="connsiteY2973" fmla="*/ 139745 h 448122"/>
              <a:gd name="connsiteX2974" fmla="*/ 181765 w 447236"/>
              <a:gd name="connsiteY2974" fmla="*/ 138822 h 448122"/>
              <a:gd name="connsiteX2975" fmla="*/ 181152 w 447236"/>
              <a:gd name="connsiteY2975" fmla="*/ 140668 h 448122"/>
              <a:gd name="connsiteX2976" fmla="*/ 181152 w 447236"/>
              <a:gd name="connsiteY2976" fmla="*/ 140975 h 448122"/>
              <a:gd name="connsiteX2977" fmla="*/ 181459 w 447236"/>
              <a:gd name="connsiteY2977" fmla="*/ 141591 h 448122"/>
              <a:gd name="connsiteX2978" fmla="*/ 185750 w 447236"/>
              <a:gd name="connsiteY2978" fmla="*/ 143129 h 448122"/>
              <a:gd name="connsiteX2979" fmla="*/ 192799 w 447236"/>
              <a:gd name="connsiteY2979" fmla="*/ 142206 h 448122"/>
              <a:gd name="connsiteX2980" fmla="*/ 205060 w 447236"/>
              <a:gd name="connsiteY2980" fmla="*/ 138207 h 448122"/>
              <a:gd name="connsiteX2981" fmla="*/ 223144 w 447236"/>
              <a:gd name="connsiteY2981" fmla="*/ 142206 h 448122"/>
              <a:gd name="connsiteX2982" fmla="*/ 229581 w 447236"/>
              <a:gd name="connsiteY2982" fmla="*/ 144051 h 448122"/>
              <a:gd name="connsiteX2983" fmla="*/ 230194 w 447236"/>
              <a:gd name="connsiteY2983" fmla="*/ 143744 h 448122"/>
              <a:gd name="connsiteX2984" fmla="*/ 232646 w 447236"/>
              <a:gd name="connsiteY2984" fmla="*/ 133285 h 448122"/>
              <a:gd name="connsiteX2985" fmla="*/ 387416 w 447236"/>
              <a:gd name="connsiteY2985" fmla="*/ 131514 h 448122"/>
              <a:gd name="connsiteX2986" fmla="*/ 443293 w 447236"/>
              <a:gd name="connsiteY2986" fmla="*/ 131514 h 448122"/>
              <a:gd name="connsiteX2987" fmla="*/ 446056 w 447236"/>
              <a:gd name="connsiteY2987" fmla="*/ 134266 h 448122"/>
              <a:gd name="connsiteX2988" fmla="*/ 446056 w 447236"/>
              <a:gd name="connsiteY2988" fmla="*/ 158725 h 448122"/>
              <a:gd name="connsiteX2989" fmla="*/ 443293 w 447236"/>
              <a:gd name="connsiteY2989" fmla="*/ 161477 h 448122"/>
              <a:gd name="connsiteX2990" fmla="*/ 387416 w 447236"/>
              <a:gd name="connsiteY2990" fmla="*/ 161477 h 448122"/>
              <a:gd name="connsiteX2991" fmla="*/ 384653 w 447236"/>
              <a:gd name="connsiteY2991" fmla="*/ 158725 h 448122"/>
              <a:gd name="connsiteX2992" fmla="*/ 384653 w 447236"/>
              <a:gd name="connsiteY2992" fmla="*/ 134266 h 448122"/>
              <a:gd name="connsiteX2993" fmla="*/ 387416 w 447236"/>
              <a:gd name="connsiteY2993" fmla="*/ 131514 h 448122"/>
              <a:gd name="connsiteX2994" fmla="*/ 4589 w 447236"/>
              <a:gd name="connsiteY2994" fmla="*/ 131219 h 448122"/>
              <a:gd name="connsiteX2995" fmla="*/ 58880 w 447236"/>
              <a:gd name="connsiteY2995" fmla="*/ 131219 h 448122"/>
              <a:gd name="connsiteX2996" fmla="*/ 63174 w 447236"/>
              <a:gd name="connsiteY2996" fmla="*/ 135507 h 448122"/>
              <a:gd name="connsiteX2997" fmla="*/ 63174 w 447236"/>
              <a:gd name="connsiteY2997" fmla="*/ 216673 h 448122"/>
              <a:gd name="connsiteX2998" fmla="*/ 58880 w 447236"/>
              <a:gd name="connsiteY2998" fmla="*/ 220961 h 448122"/>
              <a:gd name="connsiteX2999" fmla="*/ 4589 w 447236"/>
              <a:gd name="connsiteY2999" fmla="*/ 220961 h 448122"/>
              <a:gd name="connsiteX3000" fmla="*/ 295 w 447236"/>
              <a:gd name="connsiteY3000" fmla="*/ 216673 h 448122"/>
              <a:gd name="connsiteX3001" fmla="*/ 295 w 447236"/>
              <a:gd name="connsiteY3001" fmla="*/ 135507 h 448122"/>
              <a:gd name="connsiteX3002" fmla="*/ 4589 w 447236"/>
              <a:gd name="connsiteY3002" fmla="*/ 131219 h 448122"/>
              <a:gd name="connsiteX3003" fmla="*/ 374461 w 447236"/>
              <a:gd name="connsiteY3003" fmla="*/ 130843 h 448122"/>
              <a:gd name="connsiteX3004" fmla="*/ 366482 w 447236"/>
              <a:gd name="connsiteY3004" fmla="*/ 136356 h 448122"/>
              <a:gd name="connsiteX3005" fmla="*/ 366482 w 447236"/>
              <a:gd name="connsiteY3005" fmla="*/ 147383 h 448122"/>
              <a:gd name="connsiteX3006" fmla="*/ 290072 w 447236"/>
              <a:gd name="connsiteY3006" fmla="*/ 147383 h 448122"/>
              <a:gd name="connsiteX3007" fmla="*/ 290072 w 447236"/>
              <a:gd name="connsiteY3007" fmla="*/ 136356 h 448122"/>
              <a:gd name="connsiteX3008" fmla="*/ 288230 w 447236"/>
              <a:gd name="connsiteY3008" fmla="*/ 136050 h 448122"/>
              <a:gd name="connsiteX3009" fmla="*/ 286389 w 447236"/>
              <a:gd name="connsiteY3009" fmla="*/ 135743 h 448122"/>
              <a:gd name="connsiteX3010" fmla="*/ 273194 w 447236"/>
              <a:gd name="connsiteY3010" fmla="*/ 138806 h 448122"/>
              <a:gd name="connsiteX3011" fmla="*/ 272887 w 447236"/>
              <a:gd name="connsiteY3011" fmla="*/ 147689 h 448122"/>
              <a:gd name="connsiteX3012" fmla="*/ 273808 w 447236"/>
              <a:gd name="connsiteY3012" fmla="*/ 152590 h 448122"/>
              <a:gd name="connsiteX3013" fmla="*/ 279331 w 447236"/>
              <a:gd name="connsiteY3013" fmla="*/ 160860 h 448122"/>
              <a:gd name="connsiteX3014" fmla="*/ 290072 w 447236"/>
              <a:gd name="connsiteY3014" fmla="*/ 163617 h 448122"/>
              <a:gd name="connsiteX3015" fmla="*/ 290072 w 447236"/>
              <a:gd name="connsiteY3015" fmla="*/ 157491 h 448122"/>
              <a:gd name="connsiteX3016" fmla="*/ 366482 w 447236"/>
              <a:gd name="connsiteY3016" fmla="*/ 157491 h 448122"/>
              <a:gd name="connsiteX3017" fmla="*/ 366482 w 447236"/>
              <a:gd name="connsiteY3017" fmla="*/ 165148 h 448122"/>
              <a:gd name="connsiteX3018" fmla="*/ 367096 w 447236"/>
              <a:gd name="connsiteY3018" fmla="*/ 164536 h 448122"/>
              <a:gd name="connsiteX3019" fmla="*/ 372619 w 447236"/>
              <a:gd name="connsiteY3019" fmla="*/ 153815 h 448122"/>
              <a:gd name="connsiteX3020" fmla="*/ 377529 w 447236"/>
              <a:gd name="connsiteY3020" fmla="*/ 140644 h 448122"/>
              <a:gd name="connsiteX3021" fmla="*/ 380291 w 447236"/>
              <a:gd name="connsiteY3021" fmla="*/ 136969 h 448122"/>
              <a:gd name="connsiteX3022" fmla="*/ 379984 w 447236"/>
              <a:gd name="connsiteY3022" fmla="*/ 132374 h 448122"/>
              <a:gd name="connsiteX3023" fmla="*/ 377836 w 447236"/>
              <a:gd name="connsiteY3023" fmla="*/ 130843 h 448122"/>
              <a:gd name="connsiteX3024" fmla="*/ 374461 w 447236"/>
              <a:gd name="connsiteY3024" fmla="*/ 130843 h 448122"/>
              <a:gd name="connsiteX3025" fmla="*/ 113865 w 447236"/>
              <a:gd name="connsiteY3025" fmla="*/ 130515 h 448122"/>
              <a:gd name="connsiteX3026" fmla="*/ 113557 w 447236"/>
              <a:gd name="connsiteY3026" fmla="*/ 130822 h 448122"/>
              <a:gd name="connsiteX3027" fmla="*/ 113249 w 447236"/>
              <a:gd name="connsiteY3027" fmla="*/ 131435 h 448122"/>
              <a:gd name="connsiteX3028" fmla="*/ 113557 w 447236"/>
              <a:gd name="connsiteY3028" fmla="*/ 131742 h 448122"/>
              <a:gd name="connsiteX3029" fmla="*/ 113865 w 447236"/>
              <a:gd name="connsiteY3029" fmla="*/ 132048 h 448122"/>
              <a:gd name="connsiteX3030" fmla="*/ 115096 w 447236"/>
              <a:gd name="connsiteY3030" fmla="*/ 132048 h 448122"/>
              <a:gd name="connsiteX3031" fmla="*/ 115711 w 447236"/>
              <a:gd name="connsiteY3031" fmla="*/ 132048 h 448122"/>
              <a:gd name="connsiteX3032" fmla="*/ 115711 w 447236"/>
              <a:gd name="connsiteY3032" fmla="*/ 132355 h 448122"/>
              <a:gd name="connsiteX3033" fmla="*/ 115711 w 447236"/>
              <a:gd name="connsiteY3033" fmla="*/ 139780 h 448122"/>
              <a:gd name="connsiteX3034" fmla="*/ 116901 w 447236"/>
              <a:gd name="connsiteY3034" fmla="*/ 139780 h 448122"/>
              <a:gd name="connsiteX3035" fmla="*/ 116901 w 447236"/>
              <a:gd name="connsiteY3035" fmla="*/ 134193 h 448122"/>
              <a:gd name="connsiteX3036" fmla="*/ 117589 w 447236"/>
              <a:gd name="connsiteY3036" fmla="*/ 133580 h 448122"/>
              <a:gd name="connsiteX3037" fmla="*/ 117934 w 447236"/>
              <a:gd name="connsiteY3037" fmla="*/ 134193 h 448122"/>
              <a:gd name="connsiteX3038" fmla="*/ 117934 w 447236"/>
              <a:gd name="connsiteY3038" fmla="*/ 139780 h 448122"/>
              <a:gd name="connsiteX3039" fmla="*/ 119976 w 447236"/>
              <a:gd name="connsiteY3039" fmla="*/ 139780 h 448122"/>
              <a:gd name="connsiteX3040" fmla="*/ 123713 w 447236"/>
              <a:gd name="connsiteY3040" fmla="*/ 139780 h 448122"/>
              <a:gd name="connsiteX3041" fmla="*/ 123713 w 447236"/>
              <a:gd name="connsiteY3041" fmla="*/ 135282 h 448122"/>
              <a:gd name="connsiteX3042" fmla="*/ 123713 w 447236"/>
              <a:gd name="connsiteY3042" fmla="*/ 132355 h 448122"/>
              <a:gd name="connsiteX3043" fmla="*/ 123713 w 447236"/>
              <a:gd name="connsiteY3043" fmla="*/ 132048 h 448122"/>
              <a:gd name="connsiteX3044" fmla="*/ 124021 w 447236"/>
              <a:gd name="connsiteY3044" fmla="*/ 132048 h 448122"/>
              <a:gd name="connsiteX3045" fmla="*/ 125252 w 447236"/>
              <a:gd name="connsiteY3045" fmla="*/ 132048 h 448122"/>
              <a:gd name="connsiteX3046" fmla="*/ 125867 w 447236"/>
              <a:gd name="connsiteY3046" fmla="*/ 131742 h 448122"/>
              <a:gd name="connsiteX3047" fmla="*/ 125867 w 447236"/>
              <a:gd name="connsiteY3047" fmla="*/ 131435 h 448122"/>
              <a:gd name="connsiteX3048" fmla="*/ 125867 w 447236"/>
              <a:gd name="connsiteY3048" fmla="*/ 130822 h 448122"/>
              <a:gd name="connsiteX3049" fmla="*/ 125252 w 447236"/>
              <a:gd name="connsiteY3049" fmla="*/ 130515 h 448122"/>
              <a:gd name="connsiteX3050" fmla="*/ 113865 w 447236"/>
              <a:gd name="connsiteY3050" fmla="*/ 130515 h 448122"/>
              <a:gd name="connsiteX3051" fmla="*/ 98809 w 447236"/>
              <a:gd name="connsiteY3051" fmla="*/ 130515 h 448122"/>
              <a:gd name="connsiteX3052" fmla="*/ 98193 w 447236"/>
              <a:gd name="connsiteY3052" fmla="*/ 130822 h 448122"/>
              <a:gd name="connsiteX3053" fmla="*/ 98193 w 447236"/>
              <a:gd name="connsiteY3053" fmla="*/ 131435 h 448122"/>
              <a:gd name="connsiteX3054" fmla="*/ 98193 w 447236"/>
              <a:gd name="connsiteY3054" fmla="*/ 131742 h 448122"/>
              <a:gd name="connsiteX3055" fmla="*/ 98809 w 447236"/>
              <a:gd name="connsiteY3055" fmla="*/ 132048 h 448122"/>
              <a:gd name="connsiteX3056" fmla="*/ 100040 w 447236"/>
              <a:gd name="connsiteY3056" fmla="*/ 132048 h 448122"/>
              <a:gd name="connsiteX3057" fmla="*/ 100347 w 447236"/>
              <a:gd name="connsiteY3057" fmla="*/ 132048 h 448122"/>
              <a:gd name="connsiteX3058" fmla="*/ 100347 w 447236"/>
              <a:gd name="connsiteY3058" fmla="*/ 132355 h 448122"/>
              <a:gd name="connsiteX3059" fmla="*/ 100347 w 447236"/>
              <a:gd name="connsiteY3059" fmla="*/ 139780 h 448122"/>
              <a:gd name="connsiteX3060" fmla="*/ 101771 w 447236"/>
              <a:gd name="connsiteY3060" fmla="*/ 139780 h 448122"/>
              <a:gd name="connsiteX3061" fmla="*/ 101846 w 447236"/>
              <a:gd name="connsiteY3061" fmla="*/ 139780 h 448122"/>
              <a:gd name="connsiteX3062" fmla="*/ 101846 w 447236"/>
              <a:gd name="connsiteY3062" fmla="*/ 134193 h 448122"/>
              <a:gd name="connsiteX3063" fmla="*/ 102190 w 447236"/>
              <a:gd name="connsiteY3063" fmla="*/ 133580 h 448122"/>
              <a:gd name="connsiteX3064" fmla="*/ 102879 w 447236"/>
              <a:gd name="connsiteY3064" fmla="*/ 134193 h 448122"/>
              <a:gd name="connsiteX3065" fmla="*/ 102879 w 447236"/>
              <a:gd name="connsiteY3065" fmla="*/ 139780 h 448122"/>
              <a:gd name="connsiteX3066" fmla="*/ 108349 w 447236"/>
              <a:gd name="connsiteY3066" fmla="*/ 139780 h 448122"/>
              <a:gd name="connsiteX3067" fmla="*/ 108349 w 447236"/>
              <a:gd name="connsiteY3067" fmla="*/ 135282 h 448122"/>
              <a:gd name="connsiteX3068" fmla="*/ 108349 w 447236"/>
              <a:gd name="connsiteY3068" fmla="*/ 132355 h 448122"/>
              <a:gd name="connsiteX3069" fmla="*/ 108349 w 447236"/>
              <a:gd name="connsiteY3069" fmla="*/ 132048 h 448122"/>
              <a:gd name="connsiteX3070" fmla="*/ 108965 w 447236"/>
              <a:gd name="connsiteY3070" fmla="*/ 132048 h 448122"/>
              <a:gd name="connsiteX3071" fmla="*/ 109888 w 447236"/>
              <a:gd name="connsiteY3071" fmla="*/ 132048 h 448122"/>
              <a:gd name="connsiteX3072" fmla="*/ 110504 w 447236"/>
              <a:gd name="connsiteY3072" fmla="*/ 131742 h 448122"/>
              <a:gd name="connsiteX3073" fmla="*/ 110811 w 447236"/>
              <a:gd name="connsiteY3073" fmla="*/ 131435 h 448122"/>
              <a:gd name="connsiteX3074" fmla="*/ 110504 w 447236"/>
              <a:gd name="connsiteY3074" fmla="*/ 130822 h 448122"/>
              <a:gd name="connsiteX3075" fmla="*/ 109888 w 447236"/>
              <a:gd name="connsiteY3075" fmla="*/ 130515 h 448122"/>
              <a:gd name="connsiteX3076" fmla="*/ 98809 w 447236"/>
              <a:gd name="connsiteY3076" fmla="*/ 130515 h 448122"/>
              <a:gd name="connsiteX3077" fmla="*/ 83458 w 447236"/>
              <a:gd name="connsiteY3077" fmla="*/ 130515 h 448122"/>
              <a:gd name="connsiteX3078" fmla="*/ 83150 w 447236"/>
              <a:gd name="connsiteY3078" fmla="*/ 130822 h 448122"/>
              <a:gd name="connsiteX3079" fmla="*/ 82842 w 447236"/>
              <a:gd name="connsiteY3079" fmla="*/ 131435 h 448122"/>
              <a:gd name="connsiteX3080" fmla="*/ 83150 w 447236"/>
              <a:gd name="connsiteY3080" fmla="*/ 131742 h 448122"/>
              <a:gd name="connsiteX3081" fmla="*/ 83458 w 447236"/>
              <a:gd name="connsiteY3081" fmla="*/ 132048 h 448122"/>
              <a:gd name="connsiteX3082" fmla="*/ 84689 w 447236"/>
              <a:gd name="connsiteY3082" fmla="*/ 132048 h 448122"/>
              <a:gd name="connsiteX3083" fmla="*/ 85304 w 447236"/>
              <a:gd name="connsiteY3083" fmla="*/ 132048 h 448122"/>
              <a:gd name="connsiteX3084" fmla="*/ 85304 w 447236"/>
              <a:gd name="connsiteY3084" fmla="*/ 132355 h 448122"/>
              <a:gd name="connsiteX3085" fmla="*/ 85304 w 447236"/>
              <a:gd name="connsiteY3085" fmla="*/ 139780 h 448122"/>
              <a:gd name="connsiteX3086" fmla="*/ 86938 w 447236"/>
              <a:gd name="connsiteY3086" fmla="*/ 139780 h 448122"/>
              <a:gd name="connsiteX3087" fmla="*/ 86938 w 447236"/>
              <a:gd name="connsiteY3087" fmla="*/ 134193 h 448122"/>
              <a:gd name="connsiteX3088" fmla="*/ 87233 w 447236"/>
              <a:gd name="connsiteY3088" fmla="*/ 133580 h 448122"/>
              <a:gd name="connsiteX3089" fmla="*/ 87528 w 447236"/>
              <a:gd name="connsiteY3089" fmla="*/ 134193 h 448122"/>
              <a:gd name="connsiteX3090" fmla="*/ 87528 w 447236"/>
              <a:gd name="connsiteY3090" fmla="*/ 139780 h 448122"/>
              <a:gd name="connsiteX3091" fmla="*/ 93306 w 447236"/>
              <a:gd name="connsiteY3091" fmla="*/ 139780 h 448122"/>
              <a:gd name="connsiteX3092" fmla="*/ 93306 w 447236"/>
              <a:gd name="connsiteY3092" fmla="*/ 135282 h 448122"/>
              <a:gd name="connsiteX3093" fmla="*/ 93306 w 447236"/>
              <a:gd name="connsiteY3093" fmla="*/ 132355 h 448122"/>
              <a:gd name="connsiteX3094" fmla="*/ 93306 w 447236"/>
              <a:gd name="connsiteY3094" fmla="*/ 132048 h 448122"/>
              <a:gd name="connsiteX3095" fmla="*/ 93614 w 447236"/>
              <a:gd name="connsiteY3095" fmla="*/ 132048 h 448122"/>
              <a:gd name="connsiteX3096" fmla="*/ 94845 w 447236"/>
              <a:gd name="connsiteY3096" fmla="*/ 132048 h 448122"/>
              <a:gd name="connsiteX3097" fmla="*/ 95460 w 447236"/>
              <a:gd name="connsiteY3097" fmla="*/ 131742 h 448122"/>
              <a:gd name="connsiteX3098" fmla="*/ 95460 w 447236"/>
              <a:gd name="connsiteY3098" fmla="*/ 131435 h 448122"/>
              <a:gd name="connsiteX3099" fmla="*/ 95460 w 447236"/>
              <a:gd name="connsiteY3099" fmla="*/ 130822 h 448122"/>
              <a:gd name="connsiteX3100" fmla="*/ 94845 w 447236"/>
              <a:gd name="connsiteY3100" fmla="*/ 130515 h 448122"/>
              <a:gd name="connsiteX3101" fmla="*/ 83458 w 447236"/>
              <a:gd name="connsiteY3101" fmla="*/ 130515 h 448122"/>
              <a:gd name="connsiteX3102" fmla="*/ 68403 w 447236"/>
              <a:gd name="connsiteY3102" fmla="*/ 130515 h 448122"/>
              <a:gd name="connsiteX3103" fmla="*/ 67787 w 447236"/>
              <a:gd name="connsiteY3103" fmla="*/ 130822 h 448122"/>
              <a:gd name="connsiteX3104" fmla="*/ 67787 w 447236"/>
              <a:gd name="connsiteY3104" fmla="*/ 131435 h 448122"/>
              <a:gd name="connsiteX3105" fmla="*/ 67787 w 447236"/>
              <a:gd name="connsiteY3105" fmla="*/ 131742 h 448122"/>
              <a:gd name="connsiteX3106" fmla="*/ 68403 w 447236"/>
              <a:gd name="connsiteY3106" fmla="*/ 132048 h 448122"/>
              <a:gd name="connsiteX3107" fmla="*/ 69634 w 447236"/>
              <a:gd name="connsiteY3107" fmla="*/ 132048 h 448122"/>
              <a:gd name="connsiteX3108" fmla="*/ 69941 w 447236"/>
              <a:gd name="connsiteY3108" fmla="*/ 132048 h 448122"/>
              <a:gd name="connsiteX3109" fmla="*/ 69941 w 447236"/>
              <a:gd name="connsiteY3109" fmla="*/ 132355 h 448122"/>
              <a:gd name="connsiteX3110" fmla="*/ 69941 w 447236"/>
              <a:gd name="connsiteY3110" fmla="*/ 139780 h 448122"/>
              <a:gd name="connsiteX3111" fmla="*/ 71587 w 447236"/>
              <a:gd name="connsiteY3111" fmla="*/ 139780 h 448122"/>
              <a:gd name="connsiteX3112" fmla="*/ 71587 w 447236"/>
              <a:gd name="connsiteY3112" fmla="*/ 134193 h 448122"/>
              <a:gd name="connsiteX3113" fmla="*/ 71882 w 447236"/>
              <a:gd name="connsiteY3113" fmla="*/ 133580 h 448122"/>
              <a:gd name="connsiteX3114" fmla="*/ 72473 w 447236"/>
              <a:gd name="connsiteY3114" fmla="*/ 134193 h 448122"/>
              <a:gd name="connsiteX3115" fmla="*/ 72473 w 447236"/>
              <a:gd name="connsiteY3115" fmla="*/ 139780 h 448122"/>
              <a:gd name="connsiteX3116" fmla="*/ 77943 w 447236"/>
              <a:gd name="connsiteY3116" fmla="*/ 139780 h 448122"/>
              <a:gd name="connsiteX3117" fmla="*/ 77943 w 447236"/>
              <a:gd name="connsiteY3117" fmla="*/ 135282 h 448122"/>
              <a:gd name="connsiteX3118" fmla="*/ 77943 w 447236"/>
              <a:gd name="connsiteY3118" fmla="*/ 132355 h 448122"/>
              <a:gd name="connsiteX3119" fmla="*/ 77943 w 447236"/>
              <a:gd name="connsiteY3119" fmla="*/ 132048 h 448122"/>
              <a:gd name="connsiteX3120" fmla="*/ 78559 w 447236"/>
              <a:gd name="connsiteY3120" fmla="*/ 132048 h 448122"/>
              <a:gd name="connsiteX3121" fmla="*/ 79482 w 447236"/>
              <a:gd name="connsiteY3121" fmla="*/ 132048 h 448122"/>
              <a:gd name="connsiteX3122" fmla="*/ 80098 w 447236"/>
              <a:gd name="connsiteY3122" fmla="*/ 131742 h 448122"/>
              <a:gd name="connsiteX3123" fmla="*/ 80405 w 447236"/>
              <a:gd name="connsiteY3123" fmla="*/ 131435 h 448122"/>
              <a:gd name="connsiteX3124" fmla="*/ 80098 w 447236"/>
              <a:gd name="connsiteY3124" fmla="*/ 130822 h 448122"/>
              <a:gd name="connsiteX3125" fmla="*/ 79482 w 447236"/>
              <a:gd name="connsiteY3125" fmla="*/ 130515 h 448122"/>
              <a:gd name="connsiteX3126" fmla="*/ 68403 w 447236"/>
              <a:gd name="connsiteY3126" fmla="*/ 130515 h 448122"/>
              <a:gd name="connsiteX3127" fmla="*/ 68403 w 447236"/>
              <a:gd name="connsiteY3127" fmla="*/ 129595 h 448122"/>
              <a:gd name="connsiteX3128" fmla="*/ 79482 w 447236"/>
              <a:gd name="connsiteY3128" fmla="*/ 129595 h 448122"/>
              <a:gd name="connsiteX3129" fmla="*/ 80713 w 447236"/>
              <a:gd name="connsiteY3129" fmla="*/ 130208 h 448122"/>
              <a:gd name="connsiteX3130" fmla="*/ 81329 w 447236"/>
              <a:gd name="connsiteY3130" fmla="*/ 131435 h 448122"/>
              <a:gd name="connsiteX3131" fmla="*/ 80713 w 447236"/>
              <a:gd name="connsiteY3131" fmla="*/ 132355 h 448122"/>
              <a:gd name="connsiteX3132" fmla="*/ 79482 w 447236"/>
              <a:gd name="connsiteY3132" fmla="*/ 132968 h 448122"/>
              <a:gd name="connsiteX3133" fmla="*/ 78867 w 447236"/>
              <a:gd name="connsiteY3133" fmla="*/ 132968 h 448122"/>
              <a:gd name="connsiteX3134" fmla="*/ 78867 w 447236"/>
              <a:gd name="connsiteY3134" fmla="*/ 139780 h 448122"/>
              <a:gd name="connsiteX3135" fmla="*/ 84073 w 447236"/>
              <a:gd name="connsiteY3135" fmla="*/ 139780 h 448122"/>
              <a:gd name="connsiteX3136" fmla="*/ 84073 w 447236"/>
              <a:gd name="connsiteY3136" fmla="*/ 133826 h 448122"/>
              <a:gd name="connsiteX3137" fmla="*/ 84073 w 447236"/>
              <a:gd name="connsiteY3137" fmla="*/ 132968 h 448122"/>
              <a:gd name="connsiteX3138" fmla="*/ 83458 w 447236"/>
              <a:gd name="connsiteY3138" fmla="*/ 132968 h 448122"/>
              <a:gd name="connsiteX3139" fmla="*/ 82534 w 447236"/>
              <a:gd name="connsiteY3139" fmla="*/ 132355 h 448122"/>
              <a:gd name="connsiteX3140" fmla="*/ 81919 w 447236"/>
              <a:gd name="connsiteY3140" fmla="*/ 131435 h 448122"/>
              <a:gd name="connsiteX3141" fmla="*/ 82534 w 447236"/>
              <a:gd name="connsiteY3141" fmla="*/ 130208 h 448122"/>
              <a:gd name="connsiteX3142" fmla="*/ 83458 w 447236"/>
              <a:gd name="connsiteY3142" fmla="*/ 129595 h 448122"/>
              <a:gd name="connsiteX3143" fmla="*/ 94845 w 447236"/>
              <a:gd name="connsiteY3143" fmla="*/ 129595 h 448122"/>
              <a:gd name="connsiteX3144" fmla="*/ 96076 w 447236"/>
              <a:gd name="connsiteY3144" fmla="*/ 130208 h 448122"/>
              <a:gd name="connsiteX3145" fmla="*/ 96384 w 447236"/>
              <a:gd name="connsiteY3145" fmla="*/ 131435 h 448122"/>
              <a:gd name="connsiteX3146" fmla="*/ 96076 w 447236"/>
              <a:gd name="connsiteY3146" fmla="*/ 132355 h 448122"/>
              <a:gd name="connsiteX3147" fmla="*/ 94845 w 447236"/>
              <a:gd name="connsiteY3147" fmla="*/ 132968 h 448122"/>
              <a:gd name="connsiteX3148" fmla="*/ 94229 w 447236"/>
              <a:gd name="connsiteY3148" fmla="*/ 132968 h 448122"/>
              <a:gd name="connsiteX3149" fmla="*/ 94229 w 447236"/>
              <a:gd name="connsiteY3149" fmla="*/ 139780 h 448122"/>
              <a:gd name="connsiteX3150" fmla="*/ 99424 w 447236"/>
              <a:gd name="connsiteY3150" fmla="*/ 139780 h 448122"/>
              <a:gd name="connsiteX3151" fmla="*/ 99424 w 447236"/>
              <a:gd name="connsiteY3151" fmla="*/ 133826 h 448122"/>
              <a:gd name="connsiteX3152" fmla="*/ 99424 w 447236"/>
              <a:gd name="connsiteY3152" fmla="*/ 132968 h 448122"/>
              <a:gd name="connsiteX3153" fmla="*/ 98809 w 447236"/>
              <a:gd name="connsiteY3153" fmla="*/ 132968 h 448122"/>
              <a:gd name="connsiteX3154" fmla="*/ 97578 w 447236"/>
              <a:gd name="connsiteY3154" fmla="*/ 132355 h 448122"/>
              <a:gd name="connsiteX3155" fmla="*/ 97270 w 447236"/>
              <a:gd name="connsiteY3155" fmla="*/ 131435 h 448122"/>
              <a:gd name="connsiteX3156" fmla="*/ 97578 w 447236"/>
              <a:gd name="connsiteY3156" fmla="*/ 130208 h 448122"/>
              <a:gd name="connsiteX3157" fmla="*/ 98809 w 447236"/>
              <a:gd name="connsiteY3157" fmla="*/ 129595 h 448122"/>
              <a:gd name="connsiteX3158" fmla="*/ 109888 w 447236"/>
              <a:gd name="connsiteY3158" fmla="*/ 129595 h 448122"/>
              <a:gd name="connsiteX3159" fmla="*/ 111119 w 447236"/>
              <a:gd name="connsiteY3159" fmla="*/ 130208 h 448122"/>
              <a:gd name="connsiteX3160" fmla="*/ 111735 w 447236"/>
              <a:gd name="connsiteY3160" fmla="*/ 131435 h 448122"/>
              <a:gd name="connsiteX3161" fmla="*/ 111119 w 447236"/>
              <a:gd name="connsiteY3161" fmla="*/ 132355 h 448122"/>
              <a:gd name="connsiteX3162" fmla="*/ 109888 w 447236"/>
              <a:gd name="connsiteY3162" fmla="*/ 132968 h 448122"/>
              <a:gd name="connsiteX3163" fmla="*/ 109273 w 447236"/>
              <a:gd name="connsiteY3163" fmla="*/ 132968 h 448122"/>
              <a:gd name="connsiteX3164" fmla="*/ 109273 w 447236"/>
              <a:gd name="connsiteY3164" fmla="*/ 139780 h 448122"/>
              <a:gd name="connsiteX3165" fmla="*/ 114480 w 447236"/>
              <a:gd name="connsiteY3165" fmla="*/ 139780 h 448122"/>
              <a:gd name="connsiteX3166" fmla="*/ 114480 w 447236"/>
              <a:gd name="connsiteY3166" fmla="*/ 133826 h 448122"/>
              <a:gd name="connsiteX3167" fmla="*/ 114480 w 447236"/>
              <a:gd name="connsiteY3167" fmla="*/ 132968 h 448122"/>
              <a:gd name="connsiteX3168" fmla="*/ 113865 w 447236"/>
              <a:gd name="connsiteY3168" fmla="*/ 132968 h 448122"/>
              <a:gd name="connsiteX3169" fmla="*/ 112941 w 447236"/>
              <a:gd name="connsiteY3169" fmla="*/ 132355 h 448122"/>
              <a:gd name="connsiteX3170" fmla="*/ 112326 w 447236"/>
              <a:gd name="connsiteY3170" fmla="*/ 131435 h 448122"/>
              <a:gd name="connsiteX3171" fmla="*/ 112941 w 447236"/>
              <a:gd name="connsiteY3171" fmla="*/ 130208 h 448122"/>
              <a:gd name="connsiteX3172" fmla="*/ 113865 w 447236"/>
              <a:gd name="connsiteY3172" fmla="*/ 129595 h 448122"/>
              <a:gd name="connsiteX3173" fmla="*/ 125252 w 447236"/>
              <a:gd name="connsiteY3173" fmla="*/ 129595 h 448122"/>
              <a:gd name="connsiteX3174" fmla="*/ 126483 w 447236"/>
              <a:gd name="connsiteY3174" fmla="*/ 130208 h 448122"/>
              <a:gd name="connsiteX3175" fmla="*/ 126791 w 447236"/>
              <a:gd name="connsiteY3175" fmla="*/ 131435 h 448122"/>
              <a:gd name="connsiteX3176" fmla="*/ 126483 w 447236"/>
              <a:gd name="connsiteY3176" fmla="*/ 132355 h 448122"/>
              <a:gd name="connsiteX3177" fmla="*/ 125252 w 447236"/>
              <a:gd name="connsiteY3177" fmla="*/ 132968 h 448122"/>
              <a:gd name="connsiteX3178" fmla="*/ 124636 w 447236"/>
              <a:gd name="connsiteY3178" fmla="*/ 132968 h 448122"/>
              <a:gd name="connsiteX3179" fmla="*/ 124636 w 447236"/>
              <a:gd name="connsiteY3179" fmla="*/ 139780 h 448122"/>
              <a:gd name="connsiteX3180" fmla="*/ 126684 w 447236"/>
              <a:gd name="connsiteY3180" fmla="*/ 139780 h 448122"/>
              <a:gd name="connsiteX3181" fmla="*/ 127642 w 447236"/>
              <a:gd name="connsiteY3181" fmla="*/ 139780 h 448122"/>
              <a:gd name="connsiteX3182" fmla="*/ 128562 w 447236"/>
              <a:gd name="connsiteY3182" fmla="*/ 140729 h 448122"/>
              <a:gd name="connsiteX3183" fmla="*/ 127642 w 447236"/>
              <a:gd name="connsiteY3183" fmla="*/ 141994 h 448122"/>
              <a:gd name="connsiteX3184" fmla="*/ 124636 w 447236"/>
              <a:gd name="connsiteY3184" fmla="*/ 141994 h 448122"/>
              <a:gd name="connsiteX3185" fmla="*/ 124636 w 447236"/>
              <a:gd name="connsiteY3185" fmla="*/ 164704 h 448122"/>
              <a:gd name="connsiteX3186" fmla="*/ 124636 w 447236"/>
              <a:gd name="connsiteY3186" fmla="*/ 187862 h 448122"/>
              <a:gd name="connsiteX3187" fmla="*/ 123098 w 447236"/>
              <a:gd name="connsiteY3187" fmla="*/ 191236 h 448122"/>
              <a:gd name="connsiteX3188" fmla="*/ 119712 w 447236"/>
              <a:gd name="connsiteY3188" fmla="*/ 192769 h 448122"/>
              <a:gd name="connsiteX3189" fmla="*/ 116019 w 447236"/>
              <a:gd name="connsiteY3189" fmla="*/ 191236 h 448122"/>
              <a:gd name="connsiteX3190" fmla="*/ 114480 w 447236"/>
              <a:gd name="connsiteY3190" fmla="*/ 187862 h 448122"/>
              <a:gd name="connsiteX3191" fmla="*/ 114480 w 447236"/>
              <a:gd name="connsiteY3191" fmla="*/ 156127 h 448122"/>
              <a:gd name="connsiteX3192" fmla="*/ 114480 w 447236"/>
              <a:gd name="connsiteY3192" fmla="*/ 141994 h 448122"/>
              <a:gd name="connsiteX3193" fmla="*/ 109273 w 447236"/>
              <a:gd name="connsiteY3193" fmla="*/ 141994 h 448122"/>
              <a:gd name="connsiteX3194" fmla="*/ 109273 w 447236"/>
              <a:gd name="connsiteY3194" fmla="*/ 164704 h 448122"/>
              <a:gd name="connsiteX3195" fmla="*/ 109273 w 447236"/>
              <a:gd name="connsiteY3195" fmla="*/ 187862 h 448122"/>
              <a:gd name="connsiteX3196" fmla="*/ 108042 w 447236"/>
              <a:gd name="connsiteY3196" fmla="*/ 191236 h 448122"/>
              <a:gd name="connsiteX3197" fmla="*/ 104348 w 447236"/>
              <a:gd name="connsiteY3197" fmla="*/ 192769 h 448122"/>
              <a:gd name="connsiteX3198" fmla="*/ 100963 w 447236"/>
              <a:gd name="connsiteY3198" fmla="*/ 191236 h 448122"/>
              <a:gd name="connsiteX3199" fmla="*/ 99424 w 447236"/>
              <a:gd name="connsiteY3199" fmla="*/ 187862 h 448122"/>
              <a:gd name="connsiteX3200" fmla="*/ 99424 w 447236"/>
              <a:gd name="connsiteY3200" fmla="*/ 156127 h 448122"/>
              <a:gd name="connsiteX3201" fmla="*/ 99424 w 447236"/>
              <a:gd name="connsiteY3201" fmla="*/ 141994 h 448122"/>
              <a:gd name="connsiteX3202" fmla="*/ 94229 w 447236"/>
              <a:gd name="connsiteY3202" fmla="*/ 141994 h 448122"/>
              <a:gd name="connsiteX3203" fmla="*/ 94229 w 447236"/>
              <a:gd name="connsiteY3203" fmla="*/ 164704 h 448122"/>
              <a:gd name="connsiteX3204" fmla="*/ 94229 w 447236"/>
              <a:gd name="connsiteY3204" fmla="*/ 187862 h 448122"/>
              <a:gd name="connsiteX3205" fmla="*/ 92691 w 447236"/>
              <a:gd name="connsiteY3205" fmla="*/ 191236 h 448122"/>
              <a:gd name="connsiteX3206" fmla="*/ 89305 w 447236"/>
              <a:gd name="connsiteY3206" fmla="*/ 192769 h 448122"/>
              <a:gd name="connsiteX3207" fmla="*/ 85612 w 447236"/>
              <a:gd name="connsiteY3207" fmla="*/ 191236 h 448122"/>
              <a:gd name="connsiteX3208" fmla="*/ 84073 w 447236"/>
              <a:gd name="connsiteY3208" fmla="*/ 187862 h 448122"/>
              <a:gd name="connsiteX3209" fmla="*/ 84073 w 447236"/>
              <a:gd name="connsiteY3209" fmla="*/ 156127 h 448122"/>
              <a:gd name="connsiteX3210" fmla="*/ 84073 w 447236"/>
              <a:gd name="connsiteY3210" fmla="*/ 141994 h 448122"/>
              <a:gd name="connsiteX3211" fmla="*/ 78867 w 447236"/>
              <a:gd name="connsiteY3211" fmla="*/ 141994 h 448122"/>
              <a:gd name="connsiteX3212" fmla="*/ 78867 w 447236"/>
              <a:gd name="connsiteY3212" fmla="*/ 164704 h 448122"/>
              <a:gd name="connsiteX3213" fmla="*/ 78867 w 447236"/>
              <a:gd name="connsiteY3213" fmla="*/ 187862 h 448122"/>
              <a:gd name="connsiteX3214" fmla="*/ 77636 w 447236"/>
              <a:gd name="connsiteY3214" fmla="*/ 191236 h 448122"/>
              <a:gd name="connsiteX3215" fmla="*/ 73942 w 447236"/>
              <a:gd name="connsiteY3215" fmla="*/ 192769 h 448122"/>
              <a:gd name="connsiteX3216" fmla="*/ 70557 w 447236"/>
              <a:gd name="connsiteY3216" fmla="*/ 191236 h 448122"/>
              <a:gd name="connsiteX3217" fmla="*/ 69018 w 447236"/>
              <a:gd name="connsiteY3217" fmla="*/ 187862 h 448122"/>
              <a:gd name="connsiteX3218" fmla="*/ 69018 w 447236"/>
              <a:gd name="connsiteY3218" fmla="*/ 156127 h 448122"/>
              <a:gd name="connsiteX3219" fmla="*/ 69018 w 447236"/>
              <a:gd name="connsiteY3219" fmla="*/ 141994 h 448122"/>
              <a:gd name="connsiteX3220" fmla="*/ 67277 w 447236"/>
              <a:gd name="connsiteY3220" fmla="*/ 141994 h 448122"/>
              <a:gd name="connsiteX3221" fmla="*/ 66319 w 447236"/>
              <a:gd name="connsiteY3221" fmla="*/ 141994 h 448122"/>
              <a:gd name="connsiteX3222" fmla="*/ 65093 w 447236"/>
              <a:gd name="connsiteY3222" fmla="*/ 140729 h 448122"/>
              <a:gd name="connsiteX3223" fmla="*/ 66319 w 447236"/>
              <a:gd name="connsiteY3223" fmla="*/ 139780 h 448122"/>
              <a:gd name="connsiteX3224" fmla="*/ 69018 w 447236"/>
              <a:gd name="connsiteY3224" fmla="*/ 139780 h 448122"/>
              <a:gd name="connsiteX3225" fmla="*/ 69018 w 447236"/>
              <a:gd name="connsiteY3225" fmla="*/ 133826 h 448122"/>
              <a:gd name="connsiteX3226" fmla="*/ 69018 w 447236"/>
              <a:gd name="connsiteY3226" fmla="*/ 132968 h 448122"/>
              <a:gd name="connsiteX3227" fmla="*/ 68403 w 447236"/>
              <a:gd name="connsiteY3227" fmla="*/ 132968 h 448122"/>
              <a:gd name="connsiteX3228" fmla="*/ 67172 w 447236"/>
              <a:gd name="connsiteY3228" fmla="*/ 132355 h 448122"/>
              <a:gd name="connsiteX3229" fmla="*/ 66864 w 447236"/>
              <a:gd name="connsiteY3229" fmla="*/ 131435 h 448122"/>
              <a:gd name="connsiteX3230" fmla="*/ 67172 w 447236"/>
              <a:gd name="connsiteY3230" fmla="*/ 130208 h 448122"/>
              <a:gd name="connsiteX3231" fmla="*/ 68403 w 447236"/>
              <a:gd name="connsiteY3231" fmla="*/ 129595 h 448122"/>
              <a:gd name="connsiteX3232" fmla="*/ 374154 w 447236"/>
              <a:gd name="connsiteY3232" fmla="*/ 129311 h 448122"/>
              <a:gd name="connsiteX3233" fmla="*/ 378143 w 447236"/>
              <a:gd name="connsiteY3233" fmla="*/ 129311 h 448122"/>
              <a:gd name="connsiteX3234" fmla="*/ 381212 w 447236"/>
              <a:gd name="connsiteY3234" fmla="*/ 131455 h 448122"/>
              <a:gd name="connsiteX3235" fmla="*/ 381826 w 447236"/>
              <a:gd name="connsiteY3235" fmla="*/ 137581 h 448122"/>
              <a:gd name="connsiteX3236" fmla="*/ 378757 w 447236"/>
              <a:gd name="connsiteY3236" fmla="*/ 141870 h 448122"/>
              <a:gd name="connsiteX3237" fmla="*/ 374154 w 447236"/>
              <a:gd name="connsiteY3237" fmla="*/ 153815 h 448122"/>
              <a:gd name="connsiteX3238" fmla="*/ 368323 w 447236"/>
              <a:gd name="connsiteY3238" fmla="*/ 165455 h 448122"/>
              <a:gd name="connsiteX3239" fmla="*/ 366482 w 447236"/>
              <a:gd name="connsiteY3239" fmla="*/ 167292 h 448122"/>
              <a:gd name="connsiteX3240" fmla="*/ 366482 w 447236"/>
              <a:gd name="connsiteY3240" fmla="*/ 169743 h 448122"/>
              <a:gd name="connsiteX3241" fmla="*/ 290072 w 447236"/>
              <a:gd name="connsiteY3241" fmla="*/ 169743 h 448122"/>
              <a:gd name="connsiteX3242" fmla="*/ 290072 w 447236"/>
              <a:gd name="connsiteY3242" fmla="*/ 165148 h 448122"/>
              <a:gd name="connsiteX3243" fmla="*/ 278411 w 447236"/>
              <a:gd name="connsiteY3243" fmla="*/ 162392 h 448122"/>
              <a:gd name="connsiteX3244" fmla="*/ 272273 w 447236"/>
              <a:gd name="connsiteY3244" fmla="*/ 152896 h 448122"/>
              <a:gd name="connsiteX3245" fmla="*/ 271353 w 447236"/>
              <a:gd name="connsiteY3245" fmla="*/ 147996 h 448122"/>
              <a:gd name="connsiteX3246" fmla="*/ 271659 w 447236"/>
              <a:gd name="connsiteY3246" fmla="*/ 138194 h 448122"/>
              <a:gd name="connsiteX3247" fmla="*/ 286696 w 447236"/>
              <a:gd name="connsiteY3247" fmla="*/ 134212 h 448122"/>
              <a:gd name="connsiteX3248" fmla="*/ 288537 w 447236"/>
              <a:gd name="connsiteY3248" fmla="*/ 134518 h 448122"/>
              <a:gd name="connsiteX3249" fmla="*/ 290072 w 447236"/>
              <a:gd name="connsiteY3249" fmla="*/ 134825 h 448122"/>
              <a:gd name="connsiteX3250" fmla="*/ 290072 w 447236"/>
              <a:gd name="connsiteY3250" fmla="*/ 131149 h 448122"/>
              <a:gd name="connsiteX3251" fmla="*/ 366482 w 447236"/>
              <a:gd name="connsiteY3251" fmla="*/ 131149 h 448122"/>
              <a:gd name="connsiteX3252" fmla="*/ 366482 w 447236"/>
              <a:gd name="connsiteY3252" fmla="*/ 133906 h 448122"/>
              <a:gd name="connsiteX3253" fmla="*/ 374154 w 447236"/>
              <a:gd name="connsiteY3253" fmla="*/ 129311 h 448122"/>
              <a:gd name="connsiteX3254" fmla="*/ 254747 w 447236"/>
              <a:gd name="connsiteY3254" fmla="*/ 126563 h 448122"/>
              <a:gd name="connsiteX3255" fmla="*/ 250464 w 447236"/>
              <a:gd name="connsiteY3255" fmla="*/ 128402 h 448122"/>
              <a:gd name="connsiteX3256" fmla="*/ 248628 w 447236"/>
              <a:gd name="connsiteY3256" fmla="*/ 132692 h 448122"/>
              <a:gd name="connsiteX3257" fmla="*/ 248628 w 447236"/>
              <a:gd name="connsiteY3257" fmla="*/ 146177 h 448122"/>
              <a:gd name="connsiteX3258" fmla="*/ 262090 w 447236"/>
              <a:gd name="connsiteY3258" fmla="*/ 146177 h 448122"/>
              <a:gd name="connsiteX3259" fmla="*/ 262090 w 447236"/>
              <a:gd name="connsiteY3259" fmla="*/ 132692 h 448122"/>
              <a:gd name="connsiteX3260" fmla="*/ 259948 w 447236"/>
              <a:gd name="connsiteY3260" fmla="*/ 128402 h 448122"/>
              <a:gd name="connsiteX3261" fmla="*/ 255665 w 447236"/>
              <a:gd name="connsiteY3261" fmla="*/ 126563 h 448122"/>
              <a:gd name="connsiteX3262" fmla="*/ 254747 w 447236"/>
              <a:gd name="connsiteY3262" fmla="*/ 126563 h 448122"/>
              <a:gd name="connsiteX3263" fmla="*/ 254747 w 447236"/>
              <a:gd name="connsiteY3263" fmla="*/ 124724 h 448122"/>
              <a:gd name="connsiteX3264" fmla="*/ 255665 w 447236"/>
              <a:gd name="connsiteY3264" fmla="*/ 124724 h 448122"/>
              <a:gd name="connsiteX3265" fmla="*/ 261172 w 447236"/>
              <a:gd name="connsiteY3265" fmla="*/ 127176 h 448122"/>
              <a:gd name="connsiteX3266" fmla="*/ 263619 w 447236"/>
              <a:gd name="connsiteY3266" fmla="*/ 132692 h 448122"/>
              <a:gd name="connsiteX3267" fmla="*/ 263619 w 447236"/>
              <a:gd name="connsiteY3267" fmla="*/ 146177 h 448122"/>
              <a:gd name="connsiteX3268" fmla="*/ 263619 w 447236"/>
              <a:gd name="connsiteY3268" fmla="*/ 146790 h 448122"/>
              <a:gd name="connsiteX3269" fmla="*/ 263619 w 447236"/>
              <a:gd name="connsiteY3269" fmla="*/ 147710 h 448122"/>
              <a:gd name="connsiteX3270" fmla="*/ 263619 w 447236"/>
              <a:gd name="connsiteY3270" fmla="*/ 160888 h 448122"/>
              <a:gd name="connsiteX3271" fmla="*/ 261172 w 447236"/>
              <a:gd name="connsiteY3271" fmla="*/ 166712 h 448122"/>
              <a:gd name="connsiteX3272" fmla="*/ 255665 w 447236"/>
              <a:gd name="connsiteY3272" fmla="*/ 168857 h 448122"/>
              <a:gd name="connsiteX3273" fmla="*/ 254747 w 447236"/>
              <a:gd name="connsiteY3273" fmla="*/ 168857 h 448122"/>
              <a:gd name="connsiteX3274" fmla="*/ 249240 w 447236"/>
              <a:gd name="connsiteY3274" fmla="*/ 166712 h 448122"/>
              <a:gd name="connsiteX3275" fmla="*/ 246792 w 447236"/>
              <a:gd name="connsiteY3275" fmla="*/ 160888 h 448122"/>
              <a:gd name="connsiteX3276" fmla="*/ 246792 w 447236"/>
              <a:gd name="connsiteY3276" fmla="*/ 146790 h 448122"/>
              <a:gd name="connsiteX3277" fmla="*/ 246792 w 447236"/>
              <a:gd name="connsiteY3277" fmla="*/ 146177 h 448122"/>
              <a:gd name="connsiteX3278" fmla="*/ 246792 w 447236"/>
              <a:gd name="connsiteY3278" fmla="*/ 132692 h 448122"/>
              <a:gd name="connsiteX3279" fmla="*/ 249240 w 447236"/>
              <a:gd name="connsiteY3279" fmla="*/ 127176 h 448122"/>
              <a:gd name="connsiteX3280" fmla="*/ 254747 w 447236"/>
              <a:gd name="connsiteY3280" fmla="*/ 124724 h 448122"/>
              <a:gd name="connsiteX3281" fmla="*/ 147006 w 447236"/>
              <a:gd name="connsiteY3281" fmla="*/ 120795 h 448122"/>
              <a:gd name="connsiteX3282" fmla="*/ 145167 w 447236"/>
              <a:gd name="connsiteY3282" fmla="*/ 122632 h 448122"/>
              <a:gd name="connsiteX3283" fmla="*/ 136887 w 447236"/>
              <a:gd name="connsiteY3283" fmla="*/ 132123 h 448122"/>
              <a:gd name="connsiteX3284" fmla="*/ 157126 w 447236"/>
              <a:gd name="connsiteY3284" fmla="*/ 132123 h 448122"/>
              <a:gd name="connsiteX3285" fmla="*/ 148846 w 447236"/>
              <a:gd name="connsiteY3285" fmla="*/ 122632 h 448122"/>
              <a:gd name="connsiteX3286" fmla="*/ 147006 w 447236"/>
              <a:gd name="connsiteY3286" fmla="*/ 120795 h 448122"/>
              <a:gd name="connsiteX3287" fmla="*/ 298653 w 447236"/>
              <a:gd name="connsiteY3287" fmla="*/ 118937 h 448122"/>
              <a:gd name="connsiteX3288" fmla="*/ 298345 w 447236"/>
              <a:gd name="connsiteY3288" fmla="*/ 119549 h 448122"/>
              <a:gd name="connsiteX3289" fmla="*/ 298653 w 447236"/>
              <a:gd name="connsiteY3289" fmla="*/ 119855 h 448122"/>
              <a:gd name="connsiteX3290" fmla="*/ 307888 w 447236"/>
              <a:gd name="connsiteY3290" fmla="*/ 119855 h 448122"/>
              <a:gd name="connsiteX3291" fmla="*/ 308196 w 447236"/>
              <a:gd name="connsiteY3291" fmla="*/ 119549 h 448122"/>
              <a:gd name="connsiteX3292" fmla="*/ 307888 w 447236"/>
              <a:gd name="connsiteY3292" fmla="*/ 118937 h 448122"/>
              <a:gd name="connsiteX3293" fmla="*/ 298653 w 447236"/>
              <a:gd name="connsiteY3293" fmla="*/ 118937 h 448122"/>
              <a:gd name="connsiteX3294" fmla="*/ 295267 w 447236"/>
              <a:gd name="connsiteY3294" fmla="*/ 116182 h 448122"/>
              <a:gd name="connsiteX3295" fmla="*/ 294959 w 447236"/>
              <a:gd name="connsiteY3295" fmla="*/ 116488 h 448122"/>
              <a:gd name="connsiteX3296" fmla="*/ 295267 w 447236"/>
              <a:gd name="connsiteY3296" fmla="*/ 117100 h 448122"/>
              <a:gd name="connsiteX3297" fmla="*/ 311274 w 447236"/>
              <a:gd name="connsiteY3297" fmla="*/ 117100 h 448122"/>
              <a:gd name="connsiteX3298" fmla="*/ 311582 w 447236"/>
              <a:gd name="connsiteY3298" fmla="*/ 116488 h 448122"/>
              <a:gd name="connsiteX3299" fmla="*/ 311274 w 447236"/>
              <a:gd name="connsiteY3299" fmla="*/ 116182 h 448122"/>
              <a:gd name="connsiteX3300" fmla="*/ 295267 w 447236"/>
              <a:gd name="connsiteY3300" fmla="*/ 116182 h 448122"/>
              <a:gd name="connsiteX3301" fmla="*/ 298653 w 447236"/>
              <a:gd name="connsiteY3301" fmla="*/ 113427 h 448122"/>
              <a:gd name="connsiteX3302" fmla="*/ 298345 w 447236"/>
              <a:gd name="connsiteY3302" fmla="*/ 113733 h 448122"/>
              <a:gd name="connsiteX3303" fmla="*/ 298653 w 447236"/>
              <a:gd name="connsiteY3303" fmla="*/ 114039 h 448122"/>
              <a:gd name="connsiteX3304" fmla="*/ 307888 w 447236"/>
              <a:gd name="connsiteY3304" fmla="*/ 114039 h 448122"/>
              <a:gd name="connsiteX3305" fmla="*/ 308196 w 447236"/>
              <a:gd name="connsiteY3305" fmla="*/ 113733 h 448122"/>
              <a:gd name="connsiteX3306" fmla="*/ 307888 w 447236"/>
              <a:gd name="connsiteY3306" fmla="*/ 113427 h 448122"/>
              <a:gd name="connsiteX3307" fmla="*/ 298653 w 447236"/>
              <a:gd name="connsiteY3307" fmla="*/ 113427 h 448122"/>
              <a:gd name="connsiteX3308" fmla="*/ 298653 w 447236"/>
              <a:gd name="connsiteY3308" fmla="*/ 110672 h 448122"/>
              <a:gd name="connsiteX3309" fmla="*/ 298345 w 447236"/>
              <a:gd name="connsiteY3309" fmla="*/ 110978 h 448122"/>
              <a:gd name="connsiteX3310" fmla="*/ 298653 w 447236"/>
              <a:gd name="connsiteY3310" fmla="*/ 111285 h 448122"/>
              <a:gd name="connsiteX3311" fmla="*/ 307888 w 447236"/>
              <a:gd name="connsiteY3311" fmla="*/ 111285 h 448122"/>
              <a:gd name="connsiteX3312" fmla="*/ 308196 w 447236"/>
              <a:gd name="connsiteY3312" fmla="*/ 110978 h 448122"/>
              <a:gd name="connsiteX3313" fmla="*/ 307888 w 447236"/>
              <a:gd name="connsiteY3313" fmla="*/ 110672 h 448122"/>
              <a:gd name="connsiteX3314" fmla="*/ 298653 w 447236"/>
              <a:gd name="connsiteY3314" fmla="*/ 110672 h 448122"/>
              <a:gd name="connsiteX3315" fmla="*/ 298653 w 447236"/>
              <a:gd name="connsiteY3315" fmla="*/ 107612 h 448122"/>
              <a:gd name="connsiteX3316" fmla="*/ 298345 w 447236"/>
              <a:gd name="connsiteY3316" fmla="*/ 107918 h 448122"/>
              <a:gd name="connsiteX3317" fmla="*/ 298653 w 447236"/>
              <a:gd name="connsiteY3317" fmla="*/ 108224 h 448122"/>
              <a:gd name="connsiteX3318" fmla="*/ 307888 w 447236"/>
              <a:gd name="connsiteY3318" fmla="*/ 108224 h 448122"/>
              <a:gd name="connsiteX3319" fmla="*/ 308196 w 447236"/>
              <a:gd name="connsiteY3319" fmla="*/ 107918 h 448122"/>
              <a:gd name="connsiteX3320" fmla="*/ 307888 w 447236"/>
              <a:gd name="connsiteY3320" fmla="*/ 107612 h 448122"/>
              <a:gd name="connsiteX3321" fmla="*/ 298653 w 447236"/>
              <a:gd name="connsiteY3321" fmla="*/ 107612 h 448122"/>
              <a:gd name="connsiteX3322" fmla="*/ 141793 w 447236"/>
              <a:gd name="connsiteY3322" fmla="*/ 107324 h 448122"/>
              <a:gd name="connsiteX3323" fmla="*/ 147006 w 447236"/>
              <a:gd name="connsiteY3323" fmla="*/ 113754 h 448122"/>
              <a:gd name="connsiteX3324" fmla="*/ 152219 w 447236"/>
              <a:gd name="connsiteY3324" fmla="*/ 107324 h 448122"/>
              <a:gd name="connsiteX3325" fmla="*/ 141793 w 447236"/>
              <a:gd name="connsiteY3325" fmla="*/ 107324 h 448122"/>
              <a:gd name="connsiteX3326" fmla="*/ 178060 w 447236"/>
              <a:gd name="connsiteY3326" fmla="*/ 106382 h 448122"/>
              <a:gd name="connsiteX3327" fmla="*/ 189417 w 447236"/>
              <a:gd name="connsiteY3327" fmla="*/ 109747 h 448122"/>
              <a:gd name="connsiteX3328" fmla="*/ 234540 w 447236"/>
              <a:gd name="connsiteY3328" fmla="*/ 122904 h 448122"/>
              <a:gd name="connsiteX3329" fmla="*/ 229322 w 447236"/>
              <a:gd name="connsiteY3329" fmla="*/ 143405 h 448122"/>
              <a:gd name="connsiteX3330" fmla="*/ 205072 w 447236"/>
              <a:gd name="connsiteY3330" fmla="*/ 137591 h 448122"/>
              <a:gd name="connsiteX3331" fmla="*/ 182050 w 447236"/>
              <a:gd name="connsiteY3331" fmla="*/ 140651 h 448122"/>
              <a:gd name="connsiteX3332" fmla="*/ 193101 w 447236"/>
              <a:gd name="connsiteY3332" fmla="*/ 134838 h 448122"/>
              <a:gd name="connsiteX3333" fmla="*/ 176525 w 447236"/>
              <a:gd name="connsiteY3333" fmla="*/ 130554 h 448122"/>
              <a:gd name="connsiteX3334" fmla="*/ 174069 w 447236"/>
              <a:gd name="connsiteY3334" fmla="*/ 130554 h 448122"/>
              <a:gd name="connsiteX3335" fmla="*/ 166702 w 447236"/>
              <a:gd name="connsiteY3335" fmla="*/ 126882 h 448122"/>
              <a:gd name="connsiteX3336" fmla="*/ 176525 w 447236"/>
              <a:gd name="connsiteY3336" fmla="*/ 125046 h 448122"/>
              <a:gd name="connsiteX3337" fmla="*/ 183892 w 447236"/>
              <a:gd name="connsiteY3337" fmla="*/ 125964 h 448122"/>
              <a:gd name="connsiteX3338" fmla="*/ 176525 w 447236"/>
              <a:gd name="connsiteY3338" fmla="*/ 123210 h 448122"/>
              <a:gd name="connsiteX3339" fmla="*/ 169158 w 447236"/>
              <a:gd name="connsiteY3339" fmla="*/ 121069 h 448122"/>
              <a:gd name="connsiteX3340" fmla="*/ 165781 w 447236"/>
              <a:gd name="connsiteY3340" fmla="*/ 118927 h 448122"/>
              <a:gd name="connsiteX3341" fmla="*/ 168237 w 447236"/>
              <a:gd name="connsiteY3341" fmla="*/ 116173 h 448122"/>
              <a:gd name="connsiteX3342" fmla="*/ 176525 w 447236"/>
              <a:gd name="connsiteY3342" fmla="*/ 118009 h 448122"/>
              <a:gd name="connsiteX3343" fmla="*/ 184813 w 447236"/>
              <a:gd name="connsiteY3343" fmla="*/ 119539 h 448122"/>
              <a:gd name="connsiteX3344" fmla="*/ 176525 w 447236"/>
              <a:gd name="connsiteY3344" fmla="*/ 116785 h 448122"/>
              <a:gd name="connsiteX3345" fmla="*/ 171306 w 447236"/>
              <a:gd name="connsiteY3345" fmla="*/ 114949 h 448122"/>
              <a:gd name="connsiteX3346" fmla="*/ 171920 w 447236"/>
              <a:gd name="connsiteY3346" fmla="*/ 110971 h 448122"/>
              <a:gd name="connsiteX3347" fmla="*/ 176525 w 447236"/>
              <a:gd name="connsiteY3347" fmla="*/ 111583 h 448122"/>
              <a:gd name="connsiteX3348" fmla="*/ 187882 w 447236"/>
              <a:gd name="connsiteY3348" fmla="*/ 114949 h 448122"/>
              <a:gd name="connsiteX3349" fmla="*/ 178060 w 447236"/>
              <a:gd name="connsiteY3349" fmla="*/ 106382 h 448122"/>
              <a:gd name="connsiteX3350" fmla="*/ 295267 w 447236"/>
              <a:gd name="connsiteY3350" fmla="*/ 104551 h 448122"/>
              <a:gd name="connsiteX3351" fmla="*/ 294959 w 447236"/>
              <a:gd name="connsiteY3351" fmla="*/ 104857 h 448122"/>
              <a:gd name="connsiteX3352" fmla="*/ 295267 w 447236"/>
              <a:gd name="connsiteY3352" fmla="*/ 105163 h 448122"/>
              <a:gd name="connsiteX3353" fmla="*/ 311274 w 447236"/>
              <a:gd name="connsiteY3353" fmla="*/ 105163 h 448122"/>
              <a:gd name="connsiteX3354" fmla="*/ 311582 w 447236"/>
              <a:gd name="connsiteY3354" fmla="*/ 104857 h 448122"/>
              <a:gd name="connsiteX3355" fmla="*/ 311274 w 447236"/>
              <a:gd name="connsiteY3355" fmla="*/ 104551 h 448122"/>
              <a:gd name="connsiteX3356" fmla="*/ 295267 w 447236"/>
              <a:gd name="connsiteY3356" fmla="*/ 104551 h 448122"/>
              <a:gd name="connsiteX3357" fmla="*/ 298653 w 447236"/>
              <a:gd name="connsiteY3357" fmla="*/ 101490 h 448122"/>
              <a:gd name="connsiteX3358" fmla="*/ 298345 w 447236"/>
              <a:gd name="connsiteY3358" fmla="*/ 101796 h 448122"/>
              <a:gd name="connsiteX3359" fmla="*/ 298653 w 447236"/>
              <a:gd name="connsiteY3359" fmla="*/ 102102 h 448122"/>
              <a:gd name="connsiteX3360" fmla="*/ 307888 w 447236"/>
              <a:gd name="connsiteY3360" fmla="*/ 102102 h 448122"/>
              <a:gd name="connsiteX3361" fmla="*/ 308196 w 447236"/>
              <a:gd name="connsiteY3361" fmla="*/ 101796 h 448122"/>
              <a:gd name="connsiteX3362" fmla="*/ 307888 w 447236"/>
              <a:gd name="connsiteY3362" fmla="*/ 101490 h 448122"/>
              <a:gd name="connsiteX3363" fmla="*/ 298653 w 447236"/>
              <a:gd name="connsiteY3363" fmla="*/ 101490 h 448122"/>
              <a:gd name="connsiteX3364" fmla="*/ 137807 w 447236"/>
              <a:gd name="connsiteY3364" fmla="*/ 99364 h 448122"/>
              <a:gd name="connsiteX3365" fmla="*/ 138727 w 447236"/>
              <a:gd name="connsiteY3365" fmla="*/ 101814 h 448122"/>
              <a:gd name="connsiteX3366" fmla="*/ 155286 w 447236"/>
              <a:gd name="connsiteY3366" fmla="*/ 101814 h 448122"/>
              <a:gd name="connsiteX3367" fmla="*/ 156206 w 447236"/>
              <a:gd name="connsiteY3367" fmla="*/ 99364 h 448122"/>
              <a:gd name="connsiteX3368" fmla="*/ 137807 w 447236"/>
              <a:gd name="connsiteY3368" fmla="*/ 99364 h 448122"/>
              <a:gd name="connsiteX3369" fmla="*/ 298653 w 447236"/>
              <a:gd name="connsiteY3369" fmla="*/ 98735 h 448122"/>
              <a:gd name="connsiteX3370" fmla="*/ 298345 w 447236"/>
              <a:gd name="connsiteY3370" fmla="*/ 99041 h 448122"/>
              <a:gd name="connsiteX3371" fmla="*/ 298653 w 447236"/>
              <a:gd name="connsiteY3371" fmla="*/ 99347 h 448122"/>
              <a:gd name="connsiteX3372" fmla="*/ 307888 w 447236"/>
              <a:gd name="connsiteY3372" fmla="*/ 99347 h 448122"/>
              <a:gd name="connsiteX3373" fmla="*/ 308196 w 447236"/>
              <a:gd name="connsiteY3373" fmla="*/ 99041 h 448122"/>
              <a:gd name="connsiteX3374" fmla="*/ 307888 w 447236"/>
              <a:gd name="connsiteY3374" fmla="*/ 98735 h 448122"/>
              <a:gd name="connsiteX3375" fmla="*/ 298653 w 447236"/>
              <a:gd name="connsiteY3375" fmla="*/ 98735 h 448122"/>
              <a:gd name="connsiteX3376" fmla="*/ 298653 w 447236"/>
              <a:gd name="connsiteY3376" fmla="*/ 95675 h 448122"/>
              <a:gd name="connsiteX3377" fmla="*/ 298345 w 447236"/>
              <a:gd name="connsiteY3377" fmla="*/ 95981 h 448122"/>
              <a:gd name="connsiteX3378" fmla="*/ 298653 w 447236"/>
              <a:gd name="connsiteY3378" fmla="*/ 96287 h 448122"/>
              <a:gd name="connsiteX3379" fmla="*/ 307888 w 447236"/>
              <a:gd name="connsiteY3379" fmla="*/ 96287 h 448122"/>
              <a:gd name="connsiteX3380" fmla="*/ 308196 w 447236"/>
              <a:gd name="connsiteY3380" fmla="*/ 95981 h 448122"/>
              <a:gd name="connsiteX3381" fmla="*/ 307888 w 447236"/>
              <a:gd name="connsiteY3381" fmla="*/ 95675 h 448122"/>
              <a:gd name="connsiteX3382" fmla="*/ 298653 w 447236"/>
              <a:gd name="connsiteY3382" fmla="*/ 95675 h 448122"/>
              <a:gd name="connsiteX3383" fmla="*/ 295267 w 447236"/>
              <a:gd name="connsiteY3383" fmla="*/ 92614 h 448122"/>
              <a:gd name="connsiteX3384" fmla="*/ 294959 w 447236"/>
              <a:gd name="connsiteY3384" fmla="*/ 92920 h 448122"/>
              <a:gd name="connsiteX3385" fmla="*/ 295267 w 447236"/>
              <a:gd name="connsiteY3385" fmla="*/ 93226 h 448122"/>
              <a:gd name="connsiteX3386" fmla="*/ 311274 w 447236"/>
              <a:gd name="connsiteY3386" fmla="*/ 93226 h 448122"/>
              <a:gd name="connsiteX3387" fmla="*/ 311582 w 447236"/>
              <a:gd name="connsiteY3387" fmla="*/ 92920 h 448122"/>
              <a:gd name="connsiteX3388" fmla="*/ 311274 w 447236"/>
              <a:gd name="connsiteY3388" fmla="*/ 92614 h 448122"/>
              <a:gd name="connsiteX3389" fmla="*/ 295267 w 447236"/>
              <a:gd name="connsiteY3389" fmla="*/ 92614 h 448122"/>
              <a:gd name="connsiteX3390" fmla="*/ 298653 w 447236"/>
              <a:gd name="connsiteY3390" fmla="*/ 89553 h 448122"/>
              <a:gd name="connsiteX3391" fmla="*/ 298345 w 447236"/>
              <a:gd name="connsiteY3391" fmla="*/ 89859 h 448122"/>
              <a:gd name="connsiteX3392" fmla="*/ 298653 w 447236"/>
              <a:gd name="connsiteY3392" fmla="*/ 90165 h 448122"/>
              <a:gd name="connsiteX3393" fmla="*/ 307888 w 447236"/>
              <a:gd name="connsiteY3393" fmla="*/ 90165 h 448122"/>
              <a:gd name="connsiteX3394" fmla="*/ 308196 w 447236"/>
              <a:gd name="connsiteY3394" fmla="*/ 89859 h 448122"/>
              <a:gd name="connsiteX3395" fmla="*/ 307888 w 447236"/>
              <a:gd name="connsiteY3395" fmla="*/ 89553 h 448122"/>
              <a:gd name="connsiteX3396" fmla="*/ 298653 w 447236"/>
              <a:gd name="connsiteY3396" fmla="*/ 89553 h 448122"/>
              <a:gd name="connsiteX3397" fmla="*/ 298653 w 447236"/>
              <a:gd name="connsiteY3397" fmla="*/ 86798 h 448122"/>
              <a:gd name="connsiteX3398" fmla="*/ 298345 w 447236"/>
              <a:gd name="connsiteY3398" fmla="*/ 87104 h 448122"/>
              <a:gd name="connsiteX3399" fmla="*/ 298653 w 447236"/>
              <a:gd name="connsiteY3399" fmla="*/ 87410 h 448122"/>
              <a:gd name="connsiteX3400" fmla="*/ 307888 w 447236"/>
              <a:gd name="connsiteY3400" fmla="*/ 87410 h 448122"/>
              <a:gd name="connsiteX3401" fmla="*/ 308196 w 447236"/>
              <a:gd name="connsiteY3401" fmla="*/ 87104 h 448122"/>
              <a:gd name="connsiteX3402" fmla="*/ 307888 w 447236"/>
              <a:gd name="connsiteY3402" fmla="*/ 86798 h 448122"/>
              <a:gd name="connsiteX3403" fmla="*/ 298653 w 447236"/>
              <a:gd name="connsiteY3403" fmla="*/ 86798 h 448122"/>
              <a:gd name="connsiteX3404" fmla="*/ 132594 w 447236"/>
              <a:gd name="connsiteY3404" fmla="*/ 86200 h 448122"/>
              <a:gd name="connsiteX3405" fmla="*/ 135354 w 447236"/>
              <a:gd name="connsiteY3405" fmla="*/ 88649 h 448122"/>
              <a:gd name="connsiteX3406" fmla="*/ 136274 w 447236"/>
              <a:gd name="connsiteY3406" fmla="*/ 94160 h 448122"/>
              <a:gd name="connsiteX3407" fmla="*/ 158046 w 447236"/>
              <a:gd name="connsiteY3407" fmla="*/ 94160 h 448122"/>
              <a:gd name="connsiteX3408" fmla="*/ 158659 w 447236"/>
              <a:gd name="connsiteY3408" fmla="*/ 88649 h 448122"/>
              <a:gd name="connsiteX3409" fmla="*/ 161419 w 447236"/>
              <a:gd name="connsiteY3409" fmla="*/ 86200 h 448122"/>
              <a:gd name="connsiteX3410" fmla="*/ 163872 w 447236"/>
              <a:gd name="connsiteY3410" fmla="*/ 88955 h 448122"/>
              <a:gd name="connsiteX3411" fmla="*/ 150380 w 447236"/>
              <a:gd name="connsiteY3411" fmla="*/ 117428 h 448122"/>
              <a:gd name="connsiteX3412" fmla="*/ 152219 w 447236"/>
              <a:gd name="connsiteY3412" fmla="*/ 119264 h 448122"/>
              <a:gd name="connsiteX3413" fmla="*/ 165712 w 447236"/>
              <a:gd name="connsiteY3413" fmla="*/ 145900 h 448122"/>
              <a:gd name="connsiteX3414" fmla="*/ 151606 w 447236"/>
              <a:gd name="connsiteY3414" fmla="*/ 165494 h 448122"/>
              <a:gd name="connsiteX3415" fmla="*/ 150993 w 447236"/>
              <a:gd name="connsiteY3415" fmla="*/ 165800 h 448122"/>
              <a:gd name="connsiteX3416" fmla="*/ 166019 w 447236"/>
              <a:gd name="connsiteY3416" fmla="*/ 194884 h 448122"/>
              <a:gd name="connsiteX3417" fmla="*/ 163566 w 447236"/>
              <a:gd name="connsiteY3417" fmla="*/ 197640 h 448122"/>
              <a:gd name="connsiteX3418" fmla="*/ 161112 w 447236"/>
              <a:gd name="connsiteY3418" fmla="*/ 195191 h 448122"/>
              <a:gd name="connsiteX3419" fmla="*/ 160192 w 447236"/>
              <a:gd name="connsiteY3419" fmla="*/ 188761 h 448122"/>
              <a:gd name="connsiteX3420" fmla="*/ 133820 w 447236"/>
              <a:gd name="connsiteY3420" fmla="*/ 188761 h 448122"/>
              <a:gd name="connsiteX3421" fmla="*/ 133207 w 447236"/>
              <a:gd name="connsiteY3421" fmla="*/ 195191 h 448122"/>
              <a:gd name="connsiteX3422" fmla="*/ 130447 w 447236"/>
              <a:gd name="connsiteY3422" fmla="*/ 197640 h 448122"/>
              <a:gd name="connsiteX3423" fmla="*/ 127994 w 447236"/>
              <a:gd name="connsiteY3423" fmla="*/ 194884 h 448122"/>
              <a:gd name="connsiteX3424" fmla="*/ 143020 w 447236"/>
              <a:gd name="connsiteY3424" fmla="*/ 165800 h 448122"/>
              <a:gd name="connsiteX3425" fmla="*/ 142713 w 447236"/>
              <a:gd name="connsiteY3425" fmla="*/ 165494 h 448122"/>
              <a:gd name="connsiteX3426" fmla="*/ 128301 w 447236"/>
              <a:gd name="connsiteY3426" fmla="*/ 145900 h 448122"/>
              <a:gd name="connsiteX3427" fmla="*/ 141793 w 447236"/>
              <a:gd name="connsiteY3427" fmla="*/ 119264 h 448122"/>
              <a:gd name="connsiteX3428" fmla="*/ 143633 w 447236"/>
              <a:gd name="connsiteY3428" fmla="*/ 117428 h 448122"/>
              <a:gd name="connsiteX3429" fmla="*/ 130447 w 447236"/>
              <a:gd name="connsiteY3429" fmla="*/ 88955 h 448122"/>
              <a:gd name="connsiteX3430" fmla="*/ 132594 w 447236"/>
              <a:gd name="connsiteY3430" fmla="*/ 86200 h 448122"/>
              <a:gd name="connsiteX3431" fmla="*/ 298653 w 447236"/>
              <a:gd name="connsiteY3431" fmla="*/ 83737 h 448122"/>
              <a:gd name="connsiteX3432" fmla="*/ 298345 w 447236"/>
              <a:gd name="connsiteY3432" fmla="*/ 84044 h 448122"/>
              <a:gd name="connsiteX3433" fmla="*/ 298653 w 447236"/>
              <a:gd name="connsiteY3433" fmla="*/ 84656 h 448122"/>
              <a:gd name="connsiteX3434" fmla="*/ 307888 w 447236"/>
              <a:gd name="connsiteY3434" fmla="*/ 84656 h 448122"/>
              <a:gd name="connsiteX3435" fmla="*/ 308196 w 447236"/>
              <a:gd name="connsiteY3435" fmla="*/ 84044 h 448122"/>
              <a:gd name="connsiteX3436" fmla="*/ 307888 w 447236"/>
              <a:gd name="connsiteY3436" fmla="*/ 83737 h 448122"/>
              <a:gd name="connsiteX3437" fmla="*/ 298653 w 447236"/>
              <a:gd name="connsiteY3437" fmla="*/ 83737 h 448122"/>
              <a:gd name="connsiteX3438" fmla="*/ 295267 w 447236"/>
              <a:gd name="connsiteY3438" fmla="*/ 80064 h 448122"/>
              <a:gd name="connsiteX3439" fmla="*/ 294959 w 447236"/>
              <a:gd name="connsiteY3439" fmla="*/ 80371 h 448122"/>
              <a:gd name="connsiteX3440" fmla="*/ 295267 w 447236"/>
              <a:gd name="connsiteY3440" fmla="*/ 80677 h 448122"/>
              <a:gd name="connsiteX3441" fmla="*/ 311274 w 447236"/>
              <a:gd name="connsiteY3441" fmla="*/ 80677 h 448122"/>
              <a:gd name="connsiteX3442" fmla="*/ 311582 w 447236"/>
              <a:gd name="connsiteY3442" fmla="*/ 80371 h 448122"/>
              <a:gd name="connsiteX3443" fmla="*/ 311274 w 447236"/>
              <a:gd name="connsiteY3443" fmla="*/ 80064 h 448122"/>
              <a:gd name="connsiteX3444" fmla="*/ 295267 w 447236"/>
              <a:gd name="connsiteY3444" fmla="*/ 80064 h 448122"/>
              <a:gd name="connsiteX3445" fmla="*/ 287264 w 447236"/>
              <a:gd name="connsiteY3445" fmla="*/ 69964 h 448122"/>
              <a:gd name="connsiteX3446" fmla="*/ 318969 w 447236"/>
              <a:gd name="connsiteY3446" fmla="*/ 69964 h 448122"/>
              <a:gd name="connsiteX3447" fmla="*/ 316199 w 447236"/>
              <a:gd name="connsiteY3447" fmla="*/ 125364 h 448122"/>
              <a:gd name="connsiteX3448" fmla="*/ 313428 w 447236"/>
              <a:gd name="connsiteY3448" fmla="*/ 128119 h 448122"/>
              <a:gd name="connsiteX3449" fmla="*/ 295267 w 447236"/>
              <a:gd name="connsiteY3449" fmla="*/ 128119 h 448122"/>
              <a:gd name="connsiteX3450" fmla="*/ 292497 w 447236"/>
              <a:gd name="connsiteY3450" fmla="*/ 125364 h 448122"/>
              <a:gd name="connsiteX3451" fmla="*/ 287264 w 447236"/>
              <a:gd name="connsiteY3451" fmla="*/ 77616 h 448122"/>
              <a:gd name="connsiteX3452" fmla="*/ 286648 w 447236"/>
              <a:gd name="connsiteY3452" fmla="*/ 76085 h 448122"/>
              <a:gd name="connsiteX3453" fmla="*/ 282954 w 447236"/>
              <a:gd name="connsiteY3453" fmla="*/ 72106 h 448122"/>
              <a:gd name="connsiteX3454" fmla="*/ 286032 w 447236"/>
              <a:gd name="connsiteY3454" fmla="*/ 70270 h 448122"/>
              <a:gd name="connsiteX3455" fmla="*/ 287264 w 447236"/>
              <a:gd name="connsiteY3455" fmla="*/ 69964 h 448122"/>
              <a:gd name="connsiteX3456" fmla="*/ 255380 w 447236"/>
              <a:gd name="connsiteY3456" fmla="*/ 65240 h 448122"/>
              <a:gd name="connsiteX3457" fmla="*/ 257966 w 447236"/>
              <a:gd name="connsiteY3457" fmla="*/ 78161 h 448122"/>
              <a:gd name="connsiteX3458" fmla="*/ 267989 w 447236"/>
              <a:gd name="connsiteY3458" fmla="*/ 76321 h 448122"/>
              <a:gd name="connsiteX3459" fmla="*/ 277826 w 447236"/>
              <a:gd name="connsiteY3459" fmla="*/ 85511 h 448122"/>
              <a:gd name="connsiteX3460" fmla="*/ 278749 w 447236"/>
              <a:gd name="connsiteY3460" fmla="*/ 100521 h 448122"/>
              <a:gd name="connsiteX3461" fmla="*/ 273215 w 447236"/>
              <a:gd name="connsiteY3461" fmla="*/ 111549 h 448122"/>
              <a:gd name="connsiteX3462" fmla="*/ 265529 w 447236"/>
              <a:gd name="connsiteY3462" fmla="*/ 118901 h 448122"/>
              <a:gd name="connsiteX3463" fmla="*/ 256614 w 447236"/>
              <a:gd name="connsiteY3463" fmla="*/ 117676 h 448122"/>
              <a:gd name="connsiteX3464" fmla="*/ 249851 w 447236"/>
              <a:gd name="connsiteY3464" fmla="*/ 119514 h 448122"/>
              <a:gd name="connsiteX3465" fmla="*/ 247084 w 447236"/>
              <a:gd name="connsiteY3465" fmla="*/ 118901 h 448122"/>
              <a:gd name="connsiteX3466" fmla="*/ 239398 w 447236"/>
              <a:gd name="connsiteY3466" fmla="*/ 111549 h 448122"/>
              <a:gd name="connsiteX3467" fmla="*/ 234172 w 447236"/>
              <a:gd name="connsiteY3467" fmla="*/ 100521 h 448122"/>
              <a:gd name="connsiteX3468" fmla="*/ 234787 w 447236"/>
              <a:gd name="connsiteY3468" fmla="*/ 85511 h 448122"/>
              <a:gd name="connsiteX3469" fmla="*/ 244932 w 447236"/>
              <a:gd name="connsiteY3469" fmla="*/ 76321 h 448122"/>
              <a:gd name="connsiteX3470" fmla="*/ 255401 w 447236"/>
              <a:gd name="connsiteY3470" fmla="*/ 78295 h 448122"/>
              <a:gd name="connsiteX3471" fmla="*/ 251367 w 447236"/>
              <a:gd name="connsiteY3471" fmla="*/ 66782 h 448122"/>
              <a:gd name="connsiteX3472" fmla="*/ 255380 w 447236"/>
              <a:gd name="connsiteY3472" fmla="*/ 65240 h 448122"/>
              <a:gd name="connsiteX3473" fmla="*/ 214319 w 447236"/>
              <a:gd name="connsiteY3473" fmla="*/ 61698 h 448122"/>
              <a:gd name="connsiteX3474" fmla="*/ 216090 w 447236"/>
              <a:gd name="connsiteY3474" fmla="*/ 61698 h 448122"/>
              <a:gd name="connsiteX3475" fmla="*/ 216385 w 447236"/>
              <a:gd name="connsiteY3475" fmla="*/ 69669 h 448122"/>
              <a:gd name="connsiteX3476" fmla="*/ 216737 w 447236"/>
              <a:gd name="connsiteY3476" fmla="*/ 69669 h 448122"/>
              <a:gd name="connsiteX3477" fmla="*/ 219402 w 447236"/>
              <a:gd name="connsiteY3477" fmla="*/ 79115 h 448122"/>
              <a:gd name="connsiteX3478" fmla="*/ 220644 w 447236"/>
              <a:gd name="connsiteY3478" fmla="*/ 79115 h 448122"/>
              <a:gd name="connsiteX3479" fmla="*/ 221256 w 447236"/>
              <a:gd name="connsiteY3479" fmla="*/ 79705 h 448122"/>
              <a:gd name="connsiteX3480" fmla="*/ 221256 w 447236"/>
              <a:gd name="connsiteY3480" fmla="*/ 80296 h 448122"/>
              <a:gd name="connsiteX3481" fmla="*/ 220644 w 447236"/>
              <a:gd name="connsiteY3481" fmla="*/ 80886 h 448122"/>
              <a:gd name="connsiteX3482" fmla="*/ 220735 w 447236"/>
              <a:gd name="connsiteY3482" fmla="*/ 80886 h 448122"/>
              <a:gd name="connsiteX3483" fmla="*/ 221961 w 447236"/>
              <a:gd name="connsiteY3483" fmla="*/ 81501 h 448122"/>
              <a:gd name="connsiteX3484" fmla="*/ 224414 w 447236"/>
              <a:gd name="connsiteY3484" fmla="*/ 91645 h 448122"/>
              <a:gd name="connsiteX3485" fmla="*/ 225947 w 447236"/>
              <a:gd name="connsiteY3485" fmla="*/ 96563 h 448122"/>
              <a:gd name="connsiteX3486" fmla="*/ 220122 w 447236"/>
              <a:gd name="connsiteY3486" fmla="*/ 114392 h 448122"/>
              <a:gd name="connsiteX3487" fmla="*/ 215523 w 447236"/>
              <a:gd name="connsiteY3487" fmla="*/ 114392 h 448122"/>
              <a:gd name="connsiteX3488" fmla="*/ 215217 w 447236"/>
              <a:gd name="connsiteY3488" fmla="*/ 114392 h 448122"/>
              <a:gd name="connsiteX3489" fmla="*/ 214910 w 447236"/>
              <a:gd name="connsiteY3489" fmla="*/ 114392 h 448122"/>
              <a:gd name="connsiteX3490" fmla="*/ 214604 w 447236"/>
              <a:gd name="connsiteY3490" fmla="*/ 114392 h 448122"/>
              <a:gd name="connsiteX3491" fmla="*/ 209699 w 447236"/>
              <a:gd name="connsiteY3491" fmla="*/ 114392 h 448122"/>
              <a:gd name="connsiteX3492" fmla="*/ 204181 w 447236"/>
              <a:gd name="connsiteY3492" fmla="*/ 96563 h 448122"/>
              <a:gd name="connsiteX3493" fmla="*/ 205713 w 447236"/>
              <a:gd name="connsiteY3493" fmla="*/ 91645 h 448122"/>
              <a:gd name="connsiteX3494" fmla="*/ 208166 w 447236"/>
              <a:gd name="connsiteY3494" fmla="*/ 81501 h 448122"/>
              <a:gd name="connsiteX3495" fmla="*/ 209392 w 447236"/>
              <a:gd name="connsiteY3495" fmla="*/ 80886 h 448122"/>
              <a:gd name="connsiteX3496" fmla="*/ 209016 w 447236"/>
              <a:gd name="connsiteY3496" fmla="*/ 80886 h 448122"/>
              <a:gd name="connsiteX3497" fmla="*/ 208710 w 447236"/>
              <a:gd name="connsiteY3497" fmla="*/ 80296 h 448122"/>
              <a:gd name="connsiteX3498" fmla="*/ 208710 w 447236"/>
              <a:gd name="connsiteY3498" fmla="*/ 79705 h 448122"/>
              <a:gd name="connsiteX3499" fmla="*/ 209016 w 447236"/>
              <a:gd name="connsiteY3499" fmla="*/ 79115 h 448122"/>
              <a:gd name="connsiteX3500" fmla="*/ 210713 w 447236"/>
              <a:gd name="connsiteY3500" fmla="*/ 79115 h 448122"/>
              <a:gd name="connsiteX3501" fmla="*/ 213378 w 447236"/>
              <a:gd name="connsiteY3501" fmla="*/ 69669 h 448122"/>
              <a:gd name="connsiteX3502" fmla="*/ 213581 w 447236"/>
              <a:gd name="connsiteY3502" fmla="*/ 69669 h 448122"/>
              <a:gd name="connsiteX3503" fmla="*/ 274767 w 447236"/>
              <a:gd name="connsiteY3503" fmla="*/ 42296 h 448122"/>
              <a:gd name="connsiteX3504" fmla="*/ 281214 w 447236"/>
              <a:gd name="connsiteY3504" fmla="*/ 42296 h 448122"/>
              <a:gd name="connsiteX3505" fmla="*/ 281214 w 447236"/>
              <a:gd name="connsiteY3505" fmla="*/ 48733 h 448122"/>
              <a:gd name="connsiteX3506" fmla="*/ 280293 w 447236"/>
              <a:gd name="connsiteY3506" fmla="*/ 50878 h 448122"/>
              <a:gd name="connsiteX3507" fmla="*/ 278144 w 447236"/>
              <a:gd name="connsiteY3507" fmla="*/ 51798 h 448122"/>
              <a:gd name="connsiteX3508" fmla="*/ 277837 w 447236"/>
              <a:gd name="connsiteY3508" fmla="*/ 51798 h 448122"/>
              <a:gd name="connsiteX3509" fmla="*/ 275688 w 447236"/>
              <a:gd name="connsiteY3509" fmla="*/ 50878 h 448122"/>
              <a:gd name="connsiteX3510" fmla="*/ 274767 w 447236"/>
              <a:gd name="connsiteY3510" fmla="*/ 48733 h 448122"/>
              <a:gd name="connsiteX3511" fmla="*/ 274767 w 447236"/>
              <a:gd name="connsiteY3511" fmla="*/ 42296 h 448122"/>
              <a:gd name="connsiteX3512" fmla="*/ 261259 w 447236"/>
              <a:gd name="connsiteY3512" fmla="*/ 42296 h 448122"/>
              <a:gd name="connsiteX3513" fmla="*/ 268013 w 447236"/>
              <a:gd name="connsiteY3513" fmla="*/ 42296 h 448122"/>
              <a:gd name="connsiteX3514" fmla="*/ 268013 w 447236"/>
              <a:gd name="connsiteY3514" fmla="*/ 48733 h 448122"/>
              <a:gd name="connsiteX3515" fmla="*/ 267092 w 447236"/>
              <a:gd name="connsiteY3515" fmla="*/ 50878 h 448122"/>
              <a:gd name="connsiteX3516" fmla="*/ 264943 w 447236"/>
              <a:gd name="connsiteY3516" fmla="*/ 51798 h 448122"/>
              <a:gd name="connsiteX3517" fmla="*/ 264636 w 447236"/>
              <a:gd name="connsiteY3517" fmla="*/ 51798 h 448122"/>
              <a:gd name="connsiteX3518" fmla="*/ 262180 w 447236"/>
              <a:gd name="connsiteY3518" fmla="*/ 50878 h 448122"/>
              <a:gd name="connsiteX3519" fmla="*/ 261259 w 447236"/>
              <a:gd name="connsiteY3519" fmla="*/ 48733 h 448122"/>
              <a:gd name="connsiteX3520" fmla="*/ 261259 w 447236"/>
              <a:gd name="connsiteY3520" fmla="*/ 42296 h 448122"/>
              <a:gd name="connsiteX3521" fmla="*/ 248058 w 447236"/>
              <a:gd name="connsiteY3521" fmla="*/ 42296 h 448122"/>
              <a:gd name="connsiteX3522" fmla="*/ 254505 w 447236"/>
              <a:gd name="connsiteY3522" fmla="*/ 42296 h 448122"/>
              <a:gd name="connsiteX3523" fmla="*/ 254505 w 447236"/>
              <a:gd name="connsiteY3523" fmla="*/ 48733 h 448122"/>
              <a:gd name="connsiteX3524" fmla="*/ 253584 w 447236"/>
              <a:gd name="connsiteY3524" fmla="*/ 50878 h 448122"/>
              <a:gd name="connsiteX3525" fmla="*/ 251435 w 447236"/>
              <a:gd name="connsiteY3525" fmla="*/ 51798 h 448122"/>
              <a:gd name="connsiteX3526" fmla="*/ 251128 w 447236"/>
              <a:gd name="connsiteY3526" fmla="*/ 51798 h 448122"/>
              <a:gd name="connsiteX3527" fmla="*/ 248979 w 447236"/>
              <a:gd name="connsiteY3527" fmla="*/ 50878 h 448122"/>
              <a:gd name="connsiteX3528" fmla="*/ 248058 w 447236"/>
              <a:gd name="connsiteY3528" fmla="*/ 48733 h 448122"/>
              <a:gd name="connsiteX3529" fmla="*/ 248058 w 447236"/>
              <a:gd name="connsiteY3529" fmla="*/ 42296 h 448122"/>
              <a:gd name="connsiteX3530" fmla="*/ 234858 w 447236"/>
              <a:gd name="connsiteY3530" fmla="*/ 42296 h 448122"/>
              <a:gd name="connsiteX3531" fmla="*/ 241305 w 447236"/>
              <a:gd name="connsiteY3531" fmla="*/ 42296 h 448122"/>
              <a:gd name="connsiteX3532" fmla="*/ 241305 w 447236"/>
              <a:gd name="connsiteY3532" fmla="*/ 48733 h 448122"/>
              <a:gd name="connsiteX3533" fmla="*/ 240384 w 447236"/>
              <a:gd name="connsiteY3533" fmla="*/ 50878 h 448122"/>
              <a:gd name="connsiteX3534" fmla="*/ 238235 w 447236"/>
              <a:gd name="connsiteY3534" fmla="*/ 51798 h 448122"/>
              <a:gd name="connsiteX3535" fmla="*/ 237928 w 447236"/>
              <a:gd name="connsiteY3535" fmla="*/ 51798 h 448122"/>
              <a:gd name="connsiteX3536" fmla="*/ 235779 w 447236"/>
              <a:gd name="connsiteY3536" fmla="*/ 50878 h 448122"/>
              <a:gd name="connsiteX3537" fmla="*/ 234858 w 447236"/>
              <a:gd name="connsiteY3537" fmla="*/ 48733 h 448122"/>
              <a:gd name="connsiteX3538" fmla="*/ 234858 w 447236"/>
              <a:gd name="connsiteY3538" fmla="*/ 42296 h 448122"/>
              <a:gd name="connsiteX3539" fmla="*/ 221350 w 447236"/>
              <a:gd name="connsiteY3539" fmla="*/ 42296 h 448122"/>
              <a:gd name="connsiteX3540" fmla="*/ 228104 w 447236"/>
              <a:gd name="connsiteY3540" fmla="*/ 42296 h 448122"/>
              <a:gd name="connsiteX3541" fmla="*/ 228104 w 447236"/>
              <a:gd name="connsiteY3541" fmla="*/ 48733 h 448122"/>
              <a:gd name="connsiteX3542" fmla="*/ 227183 w 447236"/>
              <a:gd name="connsiteY3542" fmla="*/ 50878 h 448122"/>
              <a:gd name="connsiteX3543" fmla="*/ 225034 w 447236"/>
              <a:gd name="connsiteY3543" fmla="*/ 51798 h 448122"/>
              <a:gd name="connsiteX3544" fmla="*/ 224420 w 447236"/>
              <a:gd name="connsiteY3544" fmla="*/ 51798 h 448122"/>
              <a:gd name="connsiteX3545" fmla="*/ 222271 w 447236"/>
              <a:gd name="connsiteY3545" fmla="*/ 50878 h 448122"/>
              <a:gd name="connsiteX3546" fmla="*/ 221350 w 447236"/>
              <a:gd name="connsiteY3546" fmla="*/ 48733 h 448122"/>
              <a:gd name="connsiteX3547" fmla="*/ 221350 w 447236"/>
              <a:gd name="connsiteY3547" fmla="*/ 42296 h 448122"/>
              <a:gd name="connsiteX3548" fmla="*/ 166641 w 447236"/>
              <a:gd name="connsiteY3548" fmla="*/ 37491 h 448122"/>
              <a:gd name="connsiteX3549" fmla="*/ 170335 w 447236"/>
              <a:gd name="connsiteY3549" fmla="*/ 37491 h 448122"/>
              <a:gd name="connsiteX3550" fmla="*/ 171566 w 447236"/>
              <a:gd name="connsiteY3550" fmla="*/ 38715 h 448122"/>
              <a:gd name="connsiteX3551" fmla="*/ 171566 w 447236"/>
              <a:gd name="connsiteY3551" fmla="*/ 46671 h 448122"/>
              <a:gd name="connsiteX3552" fmla="*/ 179877 w 447236"/>
              <a:gd name="connsiteY3552" fmla="*/ 46671 h 448122"/>
              <a:gd name="connsiteX3553" fmla="*/ 181108 w 447236"/>
              <a:gd name="connsiteY3553" fmla="*/ 48201 h 448122"/>
              <a:gd name="connsiteX3554" fmla="*/ 181108 w 447236"/>
              <a:gd name="connsiteY3554" fmla="*/ 51873 h 448122"/>
              <a:gd name="connsiteX3555" fmla="*/ 179877 w 447236"/>
              <a:gd name="connsiteY3555" fmla="*/ 53097 h 448122"/>
              <a:gd name="connsiteX3556" fmla="*/ 171566 w 447236"/>
              <a:gd name="connsiteY3556" fmla="*/ 53097 h 448122"/>
              <a:gd name="connsiteX3557" fmla="*/ 171566 w 447236"/>
              <a:gd name="connsiteY3557" fmla="*/ 61359 h 448122"/>
              <a:gd name="connsiteX3558" fmla="*/ 170335 w 447236"/>
              <a:gd name="connsiteY3558" fmla="*/ 62583 h 448122"/>
              <a:gd name="connsiteX3559" fmla="*/ 166641 w 447236"/>
              <a:gd name="connsiteY3559" fmla="*/ 62583 h 448122"/>
              <a:gd name="connsiteX3560" fmla="*/ 165102 w 447236"/>
              <a:gd name="connsiteY3560" fmla="*/ 61359 h 448122"/>
              <a:gd name="connsiteX3561" fmla="*/ 165102 w 447236"/>
              <a:gd name="connsiteY3561" fmla="*/ 53097 h 448122"/>
              <a:gd name="connsiteX3562" fmla="*/ 157099 w 447236"/>
              <a:gd name="connsiteY3562" fmla="*/ 53097 h 448122"/>
              <a:gd name="connsiteX3563" fmla="*/ 155868 w 447236"/>
              <a:gd name="connsiteY3563" fmla="*/ 51873 h 448122"/>
              <a:gd name="connsiteX3564" fmla="*/ 155868 w 447236"/>
              <a:gd name="connsiteY3564" fmla="*/ 48201 h 448122"/>
              <a:gd name="connsiteX3565" fmla="*/ 157099 w 447236"/>
              <a:gd name="connsiteY3565" fmla="*/ 46671 h 448122"/>
              <a:gd name="connsiteX3566" fmla="*/ 165102 w 447236"/>
              <a:gd name="connsiteY3566" fmla="*/ 46671 h 448122"/>
              <a:gd name="connsiteX3567" fmla="*/ 165102 w 447236"/>
              <a:gd name="connsiteY3567" fmla="*/ 38715 h 448122"/>
              <a:gd name="connsiteX3568" fmla="*/ 166641 w 447236"/>
              <a:gd name="connsiteY3568" fmla="*/ 37491 h 448122"/>
              <a:gd name="connsiteX3569" fmla="*/ 168563 w 447236"/>
              <a:gd name="connsiteY3569" fmla="*/ 32257 h 448122"/>
              <a:gd name="connsiteX3570" fmla="*/ 150771 w 447236"/>
              <a:gd name="connsiteY3570" fmla="*/ 50010 h 448122"/>
              <a:gd name="connsiteX3571" fmla="*/ 168563 w 447236"/>
              <a:gd name="connsiteY3571" fmla="*/ 68069 h 448122"/>
              <a:gd name="connsiteX3572" fmla="*/ 186354 w 447236"/>
              <a:gd name="connsiteY3572" fmla="*/ 50010 h 448122"/>
              <a:gd name="connsiteX3573" fmla="*/ 168563 w 447236"/>
              <a:gd name="connsiteY3573" fmla="*/ 32257 h 448122"/>
              <a:gd name="connsiteX3574" fmla="*/ 277837 w 447236"/>
              <a:gd name="connsiteY3574" fmla="*/ 30956 h 448122"/>
              <a:gd name="connsiteX3575" fmla="*/ 275074 w 447236"/>
              <a:gd name="connsiteY3575" fmla="*/ 32182 h 448122"/>
              <a:gd name="connsiteX3576" fmla="*/ 273846 w 447236"/>
              <a:gd name="connsiteY3576" fmla="*/ 34941 h 448122"/>
              <a:gd name="connsiteX3577" fmla="*/ 273846 w 447236"/>
              <a:gd name="connsiteY3577" fmla="*/ 41377 h 448122"/>
              <a:gd name="connsiteX3578" fmla="*/ 273846 w 447236"/>
              <a:gd name="connsiteY3578" fmla="*/ 41990 h 448122"/>
              <a:gd name="connsiteX3579" fmla="*/ 273846 w 447236"/>
              <a:gd name="connsiteY3579" fmla="*/ 42296 h 448122"/>
              <a:gd name="connsiteX3580" fmla="*/ 273846 w 447236"/>
              <a:gd name="connsiteY3580" fmla="*/ 48733 h 448122"/>
              <a:gd name="connsiteX3581" fmla="*/ 275074 w 447236"/>
              <a:gd name="connsiteY3581" fmla="*/ 51491 h 448122"/>
              <a:gd name="connsiteX3582" fmla="*/ 277837 w 447236"/>
              <a:gd name="connsiteY3582" fmla="*/ 52717 h 448122"/>
              <a:gd name="connsiteX3583" fmla="*/ 278144 w 447236"/>
              <a:gd name="connsiteY3583" fmla="*/ 52717 h 448122"/>
              <a:gd name="connsiteX3584" fmla="*/ 280907 w 447236"/>
              <a:gd name="connsiteY3584" fmla="*/ 51491 h 448122"/>
              <a:gd name="connsiteX3585" fmla="*/ 282134 w 447236"/>
              <a:gd name="connsiteY3585" fmla="*/ 48733 h 448122"/>
              <a:gd name="connsiteX3586" fmla="*/ 282134 w 447236"/>
              <a:gd name="connsiteY3586" fmla="*/ 42296 h 448122"/>
              <a:gd name="connsiteX3587" fmla="*/ 282134 w 447236"/>
              <a:gd name="connsiteY3587" fmla="*/ 41990 h 448122"/>
              <a:gd name="connsiteX3588" fmla="*/ 282134 w 447236"/>
              <a:gd name="connsiteY3588" fmla="*/ 41377 h 448122"/>
              <a:gd name="connsiteX3589" fmla="*/ 282134 w 447236"/>
              <a:gd name="connsiteY3589" fmla="*/ 34941 h 448122"/>
              <a:gd name="connsiteX3590" fmla="*/ 280907 w 447236"/>
              <a:gd name="connsiteY3590" fmla="*/ 32182 h 448122"/>
              <a:gd name="connsiteX3591" fmla="*/ 278144 w 447236"/>
              <a:gd name="connsiteY3591" fmla="*/ 30956 h 448122"/>
              <a:gd name="connsiteX3592" fmla="*/ 277837 w 447236"/>
              <a:gd name="connsiteY3592" fmla="*/ 30956 h 448122"/>
              <a:gd name="connsiteX3593" fmla="*/ 264636 w 447236"/>
              <a:gd name="connsiteY3593" fmla="*/ 30956 h 448122"/>
              <a:gd name="connsiteX3594" fmla="*/ 261566 w 447236"/>
              <a:gd name="connsiteY3594" fmla="*/ 32182 h 448122"/>
              <a:gd name="connsiteX3595" fmla="*/ 260645 w 447236"/>
              <a:gd name="connsiteY3595" fmla="*/ 34941 h 448122"/>
              <a:gd name="connsiteX3596" fmla="*/ 260645 w 447236"/>
              <a:gd name="connsiteY3596" fmla="*/ 41377 h 448122"/>
              <a:gd name="connsiteX3597" fmla="*/ 260645 w 447236"/>
              <a:gd name="connsiteY3597" fmla="*/ 41990 h 448122"/>
              <a:gd name="connsiteX3598" fmla="*/ 260645 w 447236"/>
              <a:gd name="connsiteY3598" fmla="*/ 42296 h 448122"/>
              <a:gd name="connsiteX3599" fmla="*/ 260645 w 447236"/>
              <a:gd name="connsiteY3599" fmla="*/ 48733 h 448122"/>
              <a:gd name="connsiteX3600" fmla="*/ 261566 w 447236"/>
              <a:gd name="connsiteY3600" fmla="*/ 51491 h 448122"/>
              <a:gd name="connsiteX3601" fmla="*/ 264636 w 447236"/>
              <a:gd name="connsiteY3601" fmla="*/ 52717 h 448122"/>
              <a:gd name="connsiteX3602" fmla="*/ 264943 w 447236"/>
              <a:gd name="connsiteY3602" fmla="*/ 52717 h 448122"/>
              <a:gd name="connsiteX3603" fmla="*/ 267706 w 447236"/>
              <a:gd name="connsiteY3603" fmla="*/ 51491 h 448122"/>
              <a:gd name="connsiteX3604" fmla="*/ 268934 w 447236"/>
              <a:gd name="connsiteY3604" fmla="*/ 48733 h 448122"/>
              <a:gd name="connsiteX3605" fmla="*/ 268934 w 447236"/>
              <a:gd name="connsiteY3605" fmla="*/ 42296 h 448122"/>
              <a:gd name="connsiteX3606" fmla="*/ 268934 w 447236"/>
              <a:gd name="connsiteY3606" fmla="*/ 41990 h 448122"/>
              <a:gd name="connsiteX3607" fmla="*/ 268934 w 447236"/>
              <a:gd name="connsiteY3607" fmla="*/ 41377 h 448122"/>
              <a:gd name="connsiteX3608" fmla="*/ 268934 w 447236"/>
              <a:gd name="connsiteY3608" fmla="*/ 34941 h 448122"/>
              <a:gd name="connsiteX3609" fmla="*/ 267706 w 447236"/>
              <a:gd name="connsiteY3609" fmla="*/ 32182 h 448122"/>
              <a:gd name="connsiteX3610" fmla="*/ 264943 w 447236"/>
              <a:gd name="connsiteY3610" fmla="*/ 30956 h 448122"/>
              <a:gd name="connsiteX3611" fmla="*/ 264636 w 447236"/>
              <a:gd name="connsiteY3611" fmla="*/ 30956 h 448122"/>
              <a:gd name="connsiteX3612" fmla="*/ 251128 w 447236"/>
              <a:gd name="connsiteY3612" fmla="*/ 30956 h 448122"/>
              <a:gd name="connsiteX3613" fmla="*/ 248365 w 447236"/>
              <a:gd name="connsiteY3613" fmla="*/ 32182 h 448122"/>
              <a:gd name="connsiteX3614" fmla="*/ 247137 w 447236"/>
              <a:gd name="connsiteY3614" fmla="*/ 34941 h 448122"/>
              <a:gd name="connsiteX3615" fmla="*/ 247137 w 447236"/>
              <a:gd name="connsiteY3615" fmla="*/ 41377 h 448122"/>
              <a:gd name="connsiteX3616" fmla="*/ 247137 w 447236"/>
              <a:gd name="connsiteY3616" fmla="*/ 41990 h 448122"/>
              <a:gd name="connsiteX3617" fmla="*/ 247137 w 447236"/>
              <a:gd name="connsiteY3617" fmla="*/ 42296 h 448122"/>
              <a:gd name="connsiteX3618" fmla="*/ 247137 w 447236"/>
              <a:gd name="connsiteY3618" fmla="*/ 48733 h 448122"/>
              <a:gd name="connsiteX3619" fmla="*/ 248365 w 447236"/>
              <a:gd name="connsiteY3619" fmla="*/ 51491 h 448122"/>
              <a:gd name="connsiteX3620" fmla="*/ 251128 w 447236"/>
              <a:gd name="connsiteY3620" fmla="*/ 52717 h 448122"/>
              <a:gd name="connsiteX3621" fmla="*/ 251435 w 447236"/>
              <a:gd name="connsiteY3621" fmla="*/ 52717 h 448122"/>
              <a:gd name="connsiteX3622" fmla="*/ 254198 w 447236"/>
              <a:gd name="connsiteY3622" fmla="*/ 51491 h 448122"/>
              <a:gd name="connsiteX3623" fmla="*/ 255426 w 447236"/>
              <a:gd name="connsiteY3623" fmla="*/ 48733 h 448122"/>
              <a:gd name="connsiteX3624" fmla="*/ 255426 w 447236"/>
              <a:gd name="connsiteY3624" fmla="*/ 42296 h 448122"/>
              <a:gd name="connsiteX3625" fmla="*/ 255426 w 447236"/>
              <a:gd name="connsiteY3625" fmla="*/ 41990 h 448122"/>
              <a:gd name="connsiteX3626" fmla="*/ 255426 w 447236"/>
              <a:gd name="connsiteY3626" fmla="*/ 41377 h 448122"/>
              <a:gd name="connsiteX3627" fmla="*/ 255426 w 447236"/>
              <a:gd name="connsiteY3627" fmla="*/ 34941 h 448122"/>
              <a:gd name="connsiteX3628" fmla="*/ 254198 w 447236"/>
              <a:gd name="connsiteY3628" fmla="*/ 32182 h 448122"/>
              <a:gd name="connsiteX3629" fmla="*/ 251435 w 447236"/>
              <a:gd name="connsiteY3629" fmla="*/ 30956 h 448122"/>
              <a:gd name="connsiteX3630" fmla="*/ 251128 w 447236"/>
              <a:gd name="connsiteY3630" fmla="*/ 30956 h 448122"/>
              <a:gd name="connsiteX3631" fmla="*/ 237928 w 447236"/>
              <a:gd name="connsiteY3631" fmla="*/ 30956 h 448122"/>
              <a:gd name="connsiteX3632" fmla="*/ 235165 w 447236"/>
              <a:gd name="connsiteY3632" fmla="*/ 32182 h 448122"/>
              <a:gd name="connsiteX3633" fmla="*/ 233937 w 447236"/>
              <a:gd name="connsiteY3633" fmla="*/ 34941 h 448122"/>
              <a:gd name="connsiteX3634" fmla="*/ 233937 w 447236"/>
              <a:gd name="connsiteY3634" fmla="*/ 41377 h 448122"/>
              <a:gd name="connsiteX3635" fmla="*/ 233937 w 447236"/>
              <a:gd name="connsiteY3635" fmla="*/ 41990 h 448122"/>
              <a:gd name="connsiteX3636" fmla="*/ 233937 w 447236"/>
              <a:gd name="connsiteY3636" fmla="*/ 42296 h 448122"/>
              <a:gd name="connsiteX3637" fmla="*/ 233937 w 447236"/>
              <a:gd name="connsiteY3637" fmla="*/ 48733 h 448122"/>
              <a:gd name="connsiteX3638" fmla="*/ 235165 w 447236"/>
              <a:gd name="connsiteY3638" fmla="*/ 51491 h 448122"/>
              <a:gd name="connsiteX3639" fmla="*/ 237928 w 447236"/>
              <a:gd name="connsiteY3639" fmla="*/ 52717 h 448122"/>
              <a:gd name="connsiteX3640" fmla="*/ 238235 w 447236"/>
              <a:gd name="connsiteY3640" fmla="*/ 52717 h 448122"/>
              <a:gd name="connsiteX3641" fmla="*/ 240998 w 447236"/>
              <a:gd name="connsiteY3641" fmla="*/ 51491 h 448122"/>
              <a:gd name="connsiteX3642" fmla="*/ 242225 w 447236"/>
              <a:gd name="connsiteY3642" fmla="*/ 48733 h 448122"/>
              <a:gd name="connsiteX3643" fmla="*/ 242225 w 447236"/>
              <a:gd name="connsiteY3643" fmla="*/ 42296 h 448122"/>
              <a:gd name="connsiteX3644" fmla="*/ 242225 w 447236"/>
              <a:gd name="connsiteY3644" fmla="*/ 41990 h 448122"/>
              <a:gd name="connsiteX3645" fmla="*/ 242225 w 447236"/>
              <a:gd name="connsiteY3645" fmla="*/ 41377 h 448122"/>
              <a:gd name="connsiteX3646" fmla="*/ 242225 w 447236"/>
              <a:gd name="connsiteY3646" fmla="*/ 34941 h 448122"/>
              <a:gd name="connsiteX3647" fmla="*/ 240998 w 447236"/>
              <a:gd name="connsiteY3647" fmla="*/ 32182 h 448122"/>
              <a:gd name="connsiteX3648" fmla="*/ 238235 w 447236"/>
              <a:gd name="connsiteY3648" fmla="*/ 30956 h 448122"/>
              <a:gd name="connsiteX3649" fmla="*/ 237928 w 447236"/>
              <a:gd name="connsiteY3649" fmla="*/ 30956 h 448122"/>
              <a:gd name="connsiteX3650" fmla="*/ 224420 w 447236"/>
              <a:gd name="connsiteY3650" fmla="*/ 30956 h 448122"/>
              <a:gd name="connsiteX3651" fmla="*/ 221657 w 447236"/>
              <a:gd name="connsiteY3651" fmla="*/ 32182 h 448122"/>
              <a:gd name="connsiteX3652" fmla="*/ 220736 w 447236"/>
              <a:gd name="connsiteY3652" fmla="*/ 34941 h 448122"/>
              <a:gd name="connsiteX3653" fmla="*/ 220736 w 447236"/>
              <a:gd name="connsiteY3653" fmla="*/ 41377 h 448122"/>
              <a:gd name="connsiteX3654" fmla="*/ 220736 w 447236"/>
              <a:gd name="connsiteY3654" fmla="*/ 41990 h 448122"/>
              <a:gd name="connsiteX3655" fmla="*/ 220736 w 447236"/>
              <a:gd name="connsiteY3655" fmla="*/ 42296 h 448122"/>
              <a:gd name="connsiteX3656" fmla="*/ 220736 w 447236"/>
              <a:gd name="connsiteY3656" fmla="*/ 48733 h 448122"/>
              <a:gd name="connsiteX3657" fmla="*/ 221657 w 447236"/>
              <a:gd name="connsiteY3657" fmla="*/ 51491 h 448122"/>
              <a:gd name="connsiteX3658" fmla="*/ 224420 w 447236"/>
              <a:gd name="connsiteY3658" fmla="*/ 52717 h 448122"/>
              <a:gd name="connsiteX3659" fmla="*/ 225034 w 447236"/>
              <a:gd name="connsiteY3659" fmla="*/ 52717 h 448122"/>
              <a:gd name="connsiteX3660" fmla="*/ 227797 w 447236"/>
              <a:gd name="connsiteY3660" fmla="*/ 51491 h 448122"/>
              <a:gd name="connsiteX3661" fmla="*/ 228718 w 447236"/>
              <a:gd name="connsiteY3661" fmla="*/ 48733 h 448122"/>
              <a:gd name="connsiteX3662" fmla="*/ 228718 w 447236"/>
              <a:gd name="connsiteY3662" fmla="*/ 42296 h 448122"/>
              <a:gd name="connsiteX3663" fmla="*/ 228718 w 447236"/>
              <a:gd name="connsiteY3663" fmla="*/ 41990 h 448122"/>
              <a:gd name="connsiteX3664" fmla="*/ 228718 w 447236"/>
              <a:gd name="connsiteY3664" fmla="*/ 41377 h 448122"/>
              <a:gd name="connsiteX3665" fmla="*/ 228718 w 447236"/>
              <a:gd name="connsiteY3665" fmla="*/ 34941 h 448122"/>
              <a:gd name="connsiteX3666" fmla="*/ 227797 w 447236"/>
              <a:gd name="connsiteY3666" fmla="*/ 32182 h 448122"/>
              <a:gd name="connsiteX3667" fmla="*/ 225034 w 447236"/>
              <a:gd name="connsiteY3667" fmla="*/ 30956 h 448122"/>
              <a:gd name="connsiteX3668" fmla="*/ 224420 w 447236"/>
              <a:gd name="connsiteY3668" fmla="*/ 30956 h 448122"/>
              <a:gd name="connsiteX3669" fmla="*/ 220429 w 447236"/>
              <a:gd name="connsiteY3669" fmla="*/ 27278 h 448122"/>
              <a:gd name="connsiteX3670" fmla="*/ 219508 w 447236"/>
              <a:gd name="connsiteY3670" fmla="*/ 28198 h 448122"/>
              <a:gd name="connsiteX3671" fmla="*/ 220429 w 447236"/>
              <a:gd name="connsiteY3671" fmla="*/ 28811 h 448122"/>
              <a:gd name="connsiteX3672" fmla="*/ 282748 w 447236"/>
              <a:gd name="connsiteY3672" fmla="*/ 28811 h 448122"/>
              <a:gd name="connsiteX3673" fmla="*/ 283669 w 447236"/>
              <a:gd name="connsiteY3673" fmla="*/ 28198 h 448122"/>
              <a:gd name="connsiteX3674" fmla="*/ 282748 w 447236"/>
              <a:gd name="connsiteY3674" fmla="*/ 27278 h 448122"/>
              <a:gd name="connsiteX3675" fmla="*/ 220429 w 447236"/>
              <a:gd name="connsiteY3675" fmla="*/ 27278 h 448122"/>
              <a:gd name="connsiteX3676" fmla="*/ 148931 w 447236"/>
              <a:gd name="connsiteY3676" fmla="*/ 22462 h 448122"/>
              <a:gd name="connsiteX3677" fmla="*/ 188501 w 447236"/>
              <a:gd name="connsiteY3677" fmla="*/ 22462 h 448122"/>
              <a:gd name="connsiteX3678" fmla="*/ 201997 w 447236"/>
              <a:gd name="connsiteY3678" fmla="*/ 38379 h 448122"/>
              <a:gd name="connsiteX3679" fmla="*/ 201997 w 447236"/>
              <a:gd name="connsiteY3679" fmla="*/ 63172 h 448122"/>
              <a:gd name="connsiteX3680" fmla="*/ 188194 w 447236"/>
              <a:gd name="connsiteY3680" fmla="*/ 79088 h 448122"/>
              <a:gd name="connsiteX3681" fmla="*/ 148624 w 447236"/>
              <a:gd name="connsiteY3681" fmla="*/ 79088 h 448122"/>
              <a:gd name="connsiteX3682" fmla="*/ 135128 w 447236"/>
              <a:gd name="connsiteY3682" fmla="*/ 62866 h 448122"/>
              <a:gd name="connsiteX3683" fmla="*/ 135128 w 447236"/>
              <a:gd name="connsiteY3683" fmla="*/ 38073 h 448122"/>
              <a:gd name="connsiteX3684" fmla="*/ 148931 w 447236"/>
              <a:gd name="connsiteY3684" fmla="*/ 22462 h 448122"/>
              <a:gd name="connsiteX3685" fmla="*/ 148318 w 447236"/>
              <a:gd name="connsiteY3685" fmla="*/ 20932 h 448122"/>
              <a:gd name="connsiteX3686" fmla="*/ 133594 w 447236"/>
              <a:gd name="connsiteY3686" fmla="*/ 37767 h 448122"/>
              <a:gd name="connsiteX3687" fmla="*/ 133594 w 447236"/>
              <a:gd name="connsiteY3687" fmla="*/ 63478 h 448122"/>
              <a:gd name="connsiteX3688" fmla="*/ 148011 w 447236"/>
              <a:gd name="connsiteY3688" fmla="*/ 80313 h 448122"/>
              <a:gd name="connsiteX3689" fmla="*/ 188807 w 447236"/>
              <a:gd name="connsiteY3689" fmla="*/ 80313 h 448122"/>
              <a:gd name="connsiteX3690" fmla="*/ 203531 w 447236"/>
              <a:gd name="connsiteY3690" fmla="*/ 63478 h 448122"/>
              <a:gd name="connsiteX3691" fmla="*/ 203531 w 447236"/>
              <a:gd name="connsiteY3691" fmla="*/ 37767 h 448122"/>
              <a:gd name="connsiteX3692" fmla="*/ 189114 w 447236"/>
              <a:gd name="connsiteY3692" fmla="*/ 20932 h 448122"/>
              <a:gd name="connsiteX3693" fmla="*/ 188807 w 447236"/>
              <a:gd name="connsiteY3693" fmla="*/ 20932 h 448122"/>
              <a:gd name="connsiteX3694" fmla="*/ 148318 w 447236"/>
              <a:gd name="connsiteY3694" fmla="*/ 20932 h 448122"/>
              <a:gd name="connsiteX3695" fmla="*/ 274767 w 447236"/>
              <a:gd name="connsiteY3695" fmla="*/ 14712 h 448122"/>
              <a:gd name="connsiteX3696" fmla="*/ 281214 w 447236"/>
              <a:gd name="connsiteY3696" fmla="*/ 14712 h 448122"/>
              <a:gd name="connsiteX3697" fmla="*/ 281214 w 447236"/>
              <a:gd name="connsiteY3697" fmla="*/ 21148 h 448122"/>
              <a:gd name="connsiteX3698" fmla="*/ 280293 w 447236"/>
              <a:gd name="connsiteY3698" fmla="*/ 23294 h 448122"/>
              <a:gd name="connsiteX3699" fmla="*/ 278144 w 447236"/>
              <a:gd name="connsiteY3699" fmla="*/ 24213 h 448122"/>
              <a:gd name="connsiteX3700" fmla="*/ 277837 w 447236"/>
              <a:gd name="connsiteY3700" fmla="*/ 24213 h 448122"/>
              <a:gd name="connsiteX3701" fmla="*/ 275688 w 447236"/>
              <a:gd name="connsiteY3701" fmla="*/ 23294 h 448122"/>
              <a:gd name="connsiteX3702" fmla="*/ 274767 w 447236"/>
              <a:gd name="connsiteY3702" fmla="*/ 21148 h 448122"/>
              <a:gd name="connsiteX3703" fmla="*/ 274767 w 447236"/>
              <a:gd name="connsiteY3703" fmla="*/ 14712 h 448122"/>
              <a:gd name="connsiteX3704" fmla="*/ 261259 w 447236"/>
              <a:gd name="connsiteY3704" fmla="*/ 14712 h 448122"/>
              <a:gd name="connsiteX3705" fmla="*/ 268013 w 447236"/>
              <a:gd name="connsiteY3705" fmla="*/ 14712 h 448122"/>
              <a:gd name="connsiteX3706" fmla="*/ 268013 w 447236"/>
              <a:gd name="connsiteY3706" fmla="*/ 21148 h 448122"/>
              <a:gd name="connsiteX3707" fmla="*/ 267092 w 447236"/>
              <a:gd name="connsiteY3707" fmla="*/ 23294 h 448122"/>
              <a:gd name="connsiteX3708" fmla="*/ 264943 w 447236"/>
              <a:gd name="connsiteY3708" fmla="*/ 24213 h 448122"/>
              <a:gd name="connsiteX3709" fmla="*/ 264636 w 447236"/>
              <a:gd name="connsiteY3709" fmla="*/ 24213 h 448122"/>
              <a:gd name="connsiteX3710" fmla="*/ 262180 w 447236"/>
              <a:gd name="connsiteY3710" fmla="*/ 23294 h 448122"/>
              <a:gd name="connsiteX3711" fmla="*/ 261259 w 447236"/>
              <a:gd name="connsiteY3711" fmla="*/ 21148 h 448122"/>
              <a:gd name="connsiteX3712" fmla="*/ 261259 w 447236"/>
              <a:gd name="connsiteY3712" fmla="*/ 14712 h 448122"/>
              <a:gd name="connsiteX3713" fmla="*/ 248058 w 447236"/>
              <a:gd name="connsiteY3713" fmla="*/ 14712 h 448122"/>
              <a:gd name="connsiteX3714" fmla="*/ 254505 w 447236"/>
              <a:gd name="connsiteY3714" fmla="*/ 14712 h 448122"/>
              <a:gd name="connsiteX3715" fmla="*/ 254505 w 447236"/>
              <a:gd name="connsiteY3715" fmla="*/ 21148 h 448122"/>
              <a:gd name="connsiteX3716" fmla="*/ 253584 w 447236"/>
              <a:gd name="connsiteY3716" fmla="*/ 23294 h 448122"/>
              <a:gd name="connsiteX3717" fmla="*/ 251435 w 447236"/>
              <a:gd name="connsiteY3717" fmla="*/ 24213 h 448122"/>
              <a:gd name="connsiteX3718" fmla="*/ 251128 w 447236"/>
              <a:gd name="connsiteY3718" fmla="*/ 24213 h 448122"/>
              <a:gd name="connsiteX3719" fmla="*/ 248979 w 447236"/>
              <a:gd name="connsiteY3719" fmla="*/ 23294 h 448122"/>
              <a:gd name="connsiteX3720" fmla="*/ 248058 w 447236"/>
              <a:gd name="connsiteY3720" fmla="*/ 21148 h 448122"/>
              <a:gd name="connsiteX3721" fmla="*/ 248058 w 447236"/>
              <a:gd name="connsiteY3721" fmla="*/ 14712 h 448122"/>
              <a:gd name="connsiteX3722" fmla="*/ 234858 w 447236"/>
              <a:gd name="connsiteY3722" fmla="*/ 14712 h 448122"/>
              <a:gd name="connsiteX3723" fmla="*/ 241305 w 447236"/>
              <a:gd name="connsiteY3723" fmla="*/ 14712 h 448122"/>
              <a:gd name="connsiteX3724" fmla="*/ 241305 w 447236"/>
              <a:gd name="connsiteY3724" fmla="*/ 21148 h 448122"/>
              <a:gd name="connsiteX3725" fmla="*/ 240384 w 447236"/>
              <a:gd name="connsiteY3725" fmla="*/ 23294 h 448122"/>
              <a:gd name="connsiteX3726" fmla="*/ 238235 w 447236"/>
              <a:gd name="connsiteY3726" fmla="*/ 24213 h 448122"/>
              <a:gd name="connsiteX3727" fmla="*/ 237928 w 447236"/>
              <a:gd name="connsiteY3727" fmla="*/ 24213 h 448122"/>
              <a:gd name="connsiteX3728" fmla="*/ 235779 w 447236"/>
              <a:gd name="connsiteY3728" fmla="*/ 23294 h 448122"/>
              <a:gd name="connsiteX3729" fmla="*/ 234858 w 447236"/>
              <a:gd name="connsiteY3729" fmla="*/ 21148 h 448122"/>
              <a:gd name="connsiteX3730" fmla="*/ 234858 w 447236"/>
              <a:gd name="connsiteY3730" fmla="*/ 14712 h 448122"/>
              <a:gd name="connsiteX3731" fmla="*/ 221350 w 447236"/>
              <a:gd name="connsiteY3731" fmla="*/ 14712 h 448122"/>
              <a:gd name="connsiteX3732" fmla="*/ 228104 w 447236"/>
              <a:gd name="connsiteY3732" fmla="*/ 14712 h 448122"/>
              <a:gd name="connsiteX3733" fmla="*/ 228104 w 447236"/>
              <a:gd name="connsiteY3733" fmla="*/ 21148 h 448122"/>
              <a:gd name="connsiteX3734" fmla="*/ 227183 w 447236"/>
              <a:gd name="connsiteY3734" fmla="*/ 23294 h 448122"/>
              <a:gd name="connsiteX3735" fmla="*/ 225034 w 447236"/>
              <a:gd name="connsiteY3735" fmla="*/ 24213 h 448122"/>
              <a:gd name="connsiteX3736" fmla="*/ 224420 w 447236"/>
              <a:gd name="connsiteY3736" fmla="*/ 24213 h 448122"/>
              <a:gd name="connsiteX3737" fmla="*/ 222271 w 447236"/>
              <a:gd name="connsiteY3737" fmla="*/ 23294 h 448122"/>
              <a:gd name="connsiteX3738" fmla="*/ 221350 w 447236"/>
              <a:gd name="connsiteY3738" fmla="*/ 21148 h 448122"/>
              <a:gd name="connsiteX3739" fmla="*/ 221350 w 447236"/>
              <a:gd name="connsiteY3739" fmla="*/ 14712 h 448122"/>
              <a:gd name="connsiteX3740" fmla="*/ 159590 w 447236"/>
              <a:gd name="connsiteY3740" fmla="*/ 5899 h 448122"/>
              <a:gd name="connsiteX3741" fmla="*/ 156521 w 447236"/>
              <a:gd name="connsiteY3741" fmla="*/ 7121 h 448122"/>
              <a:gd name="connsiteX3742" fmla="*/ 155294 w 447236"/>
              <a:gd name="connsiteY3742" fmla="*/ 10785 h 448122"/>
              <a:gd name="connsiteX3743" fmla="*/ 155294 w 447236"/>
              <a:gd name="connsiteY3743" fmla="*/ 17565 h 448122"/>
              <a:gd name="connsiteX3744" fmla="*/ 163671 w 447236"/>
              <a:gd name="connsiteY3744" fmla="*/ 17565 h 448122"/>
              <a:gd name="connsiteX3745" fmla="*/ 163249 w 447236"/>
              <a:gd name="connsiteY3745" fmla="*/ 16925 h 448122"/>
              <a:gd name="connsiteX3746" fmla="*/ 163249 w 447236"/>
              <a:gd name="connsiteY3746" fmla="*/ 15991 h 448122"/>
              <a:gd name="connsiteX3747" fmla="*/ 163865 w 447236"/>
              <a:gd name="connsiteY3747" fmla="*/ 15056 h 448122"/>
              <a:gd name="connsiteX3748" fmla="*/ 172805 w 447236"/>
              <a:gd name="connsiteY3748" fmla="*/ 15056 h 448122"/>
              <a:gd name="connsiteX3749" fmla="*/ 173729 w 447236"/>
              <a:gd name="connsiteY3749" fmla="*/ 15991 h 448122"/>
              <a:gd name="connsiteX3750" fmla="*/ 173729 w 447236"/>
              <a:gd name="connsiteY3750" fmla="*/ 16925 h 448122"/>
              <a:gd name="connsiteX3751" fmla="*/ 173097 w 447236"/>
              <a:gd name="connsiteY3751" fmla="*/ 17565 h 448122"/>
              <a:gd name="connsiteX3752" fmla="*/ 181684 w 447236"/>
              <a:gd name="connsiteY3752" fmla="*/ 17565 h 448122"/>
              <a:gd name="connsiteX3753" fmla="*/ 181684 w 447236"/>
              <a:gd name="connsiteY3753" fmla="*/ 12389 h 448122"/>
              <a:gd name="connsiteX3754" fmla="*/ 181684 w 447236"/>
              <a:gd name="connsiteY3754" fmla="*/ 11396 h 448122"/>
              <a:gd name="connsiteX3755" fmla="*/ 180150 w 447236"/>
              <a:gd name="connsiteY3755" fmla="*/ 7426 h 448122"/>
              <a:gd name="connsiteX3756" fmla="*/ 176774 w 447236"/>
              <a:gd name="connsiteY3756" fmla="*/ 5899 h 448122"/>
              <a:gd name="connsiteX3757" fmla="*/ 159590 w 447236"/>
              <a:gd name="connsiteY3757" fmla="*/ 5899 h 448122"/>
              <a:gd name="connsiteX3758" fmla="*/ 277837 w 447236"/>
              <a:gd name="connsiteY3758" fmla="*/ 3371 h 448122"/>
              <a:gd name="connsiteX3759" fmla="*/ 275074 w 447236"/>
              <a:gd name="connsiteY3759" fmla="*/ 4597 h 448122"/>
              <a:gd name="connsiteX3760" fmla="*/ 273846 w 447236"/>
              <a:gd name="connsiteY3760" fmla="*/ 7356 h 448122"/>
              <a:gd name="connsiteX3761" fmla="*/ 273846 w 447236"/>
              <a:gd name="connsiteY3761" fmla="*/ 13792 h 448122"/>
              <a:gd name="connsiteX3762" fmla="*/ 273846 w 447236"/>
              <a:gd name="connsiteY3762" fmla="*/ 14405 h 448122"/>
              <a:gd name="connsiteX3763" fmla="*/ 273846 w 447236"/>
              <a:gd name="connsiteY3763" fmla="*/ 14712 h 448122"/>
              <a:gd name="connsiteX3764" fmla="*/ 273846 w 447236"/>
              <a:gd name="connsiteY3764" fmla="*/ 21148 h 448122"/>
              <a:gd name="connsiteX3765" fmla="*/ 275074 w 447236"/>
              <a:gd name="connsiteY3765" fmla="*/ 23907 h 448122"/>
              <a:gd name="connsiteX3766" fmla="*/ 277837 w 447236"/>
              <a:gd name="connsiteY3766" fmla="*/ 25133 h 448122"/>
              <a:gd name="connsiteX3767" fmla="*/ 278144 w 447236"/>
              <a:gd name="connsiteY3767" fmla="*/ 25133 h 448122"/>
              <a:gd name="connsiteX3768" fmla="*/ 280907 w 447236"/>
              <a:gd name="connsiteY3768" fmla="*/ 23907 h 448122"/>
              <a:gd name="connsiteX3769" fmla="*/ 282134 w 447236"/>
              <a:gd name="connsiteY3769" fmla="*/ 21148 h 448122"/>
              <a:gd name="connsiteX3770" fmla="*/ 282134 w 447236"/>
              <a:gd name="connsiteY3770" fmla="*/ 14712 h 448122"/>
              <a:gd name="connsiteX3771" fmla="*/ 282134 w 447236"/>
              <a:gd name="connsiteY3771" fmla="*/ 14405 h 448122"/>
              <a:gd name="connsiteX3772" fmla="*/ 282134 w 447236"/>
              <a:gd name="connsiteY3772" fmla="*/ 13792 h 448122"/>
              <a:gd name="connsiteX3773" fmla="*/ 282134 w 447236"/>
              <a:gd name="connsiteY3773" fmla="*/ 7356 h 448122"/>
              <a:gd name="connsiteX3774" fmla="*/ 280907 w 447236"/>
              <a:gd name="connsiteY3774" fmla="*/ 4597 h 448122"/>
              <a:gd name="connsiteX3775" fmla="*/ 278144 w 447236"/>
              <a:gd name="connsiteY3775" fmla="*/ 3371 h 448122"/>
              <a:gd name="connsiteX3776" fmla="*/ 277837 w 447236"/>
              <a:gd name="connsiteY3776" fmla="*/ 3371 h 448122"/>
              <a:gd name="connsiteX3777" fmla="*/ 264636 w 447236"/>
              <a:gd name="connsiteY3777" fmla="*/ 3371 h 448122"/>
              <a:gd name="connsiteX3778" fmla="*/ 261566 w 447236"/>
              <a:gd name="connsiteY3778" fmla="*/ 4597 h 448122"/>
              <a:gd name="connsiteX3779" fmla="*/ 260645 w 447236"/>
              <a:gd name="connsiteY3779" fmla="*/ 7356 h 448122"/>
              <a:gd name="connsiteX3780" fmla="*/ 260645 w 447236"/>
              <a:gd name="connsiteY3780" fmla="*/ 13792 h 448122"/>
              <a:gd name="connsiteX3781" fmla="*/ 260645 w 447236"/>
              <a:gd name="connsiteY3781" fmla="*/ 14405 h 448122"/>
              <a:gd name="connsiteX3782" fmla="*/ 260645 w 447236"/>
              <a:gd name="connsiteY3782" fmla="*/ 14712 h 448122"/>
              <a:gd name="connsiteX3783" fmla="*/ 260645 w 447236"/>
              <a:gd name="connsiteY3783" fmla="*/ 21148 h 448122"/>
              <a:gd name="connsiteX3784" fmla="*/ 261566 w 447236"/>
              <a:gd name="connsiteY3784" fmla="*/ 23907 h 448122"/>
              <a:gd name="connsiteX3785" fmla="*/ 264636 w 447236"/>
              <a:gd name="connsiteY3785" fmla="*/ 25133 h 448122"/>
              <a:gd name="connsiteX3786" fmla="*/ 264943 w 447236"/>
              <a:gd name="connsiteY3786" fmla="*/ 25133 h 448122"/>
              <a:gd name="connsiteX3787" fmla="*/ 267706 w 447236"/>
              <a:gd name="connsiteY3787" fmla="*/ 23907 h 448122"/>
              <a:gd name="connsiteX3788" fmla="*/ 268934 w 447236"/>
              <a:gd name="connsiteY3788" fmla="*/ 21148 h 448122"/>
              <a:gd name="connsiteX3789" fmla="*/ 268934 w 447236"/>
              <a:gd name="connsiteY3789" fmla="*/ 14712 h 448122"/>
              <a:gd name="connsiteX3790" fmla="*/ 268934 w 447236"/>
              <a:gd name="connsiteY3790" fmla="*/ 14405 h 448122"/>
              <a:gd name="connsiteX3791" fmla="*/ 268934 w 447236"/>
              <a:gd name="connsiteY3791" fmla="*/ 13792 h 448122"/>
              <a:gd name="connsiteX3792" fmla="*/ 268934 w 447236"/>
              <a:gd name="connsiteY3792" fmla="*/ 7356 h 448122"/>
              <a:gd name="connsiteX3793" fmla="*/ 267706 w 447236"/>
              <a:gd name="connsiteY3793" fmla="*/ 4597 h 448122"/>
              <a:gd name="connsiteX3794" fmla="*/ 264943 w 447236"/>
              <a:gd name="connsiteY3794" fmla="*/ 3371 h 448122"/>
              <a:gd name="connsiteX3795" fmla="*/ 264636 w 447236"/>
              <a:gd name="connsiteY3795" fmla="*/ 3371 h 448122"/>
              <a:gd name="connsiteX3796" fmla="*/ 251128 w 447236"/>
              <a:gd name="connsiteY3796" fmla="*/ 3371 h 448122"/>
              <a:gd name="connsiteX3797" fmla="*/ 248365 w 447236"/>
              <a:gd name="connsiteY3797" fmla="*/ 4597 h 448122"/>
              <a:gd name="connsiteX3798" fmla="*/ 247137 w 447236"/>
              <a:gd name="connsiteY3798" fmla="*/ 7356 h 448122"/>
              <a:gd name="connsiteX3799" fmla="*/ 247137 w 447236"/>
              <a:gd name="connsiteY3799" fmla="*/ 13792 h 448122"/>
              <a:gd name="connsiteX3800" fmla="*/ 247137 w 447236"/>
              <a:gd name="connsiteY3800" fmla="*/ 14405 h 448122"/>
              <a:gd name="connsiteX3801" fmla="*/ 247137 w 447236"/>
              <a:gd name="connsiteY3801" fmla="*/ 14712 h 448122"/>
              <a:gd name="connsiteX3802" fmla="*/ 247137 w 447236"/>
              <a:gd name="connsiteY3802" fmla="*/ 21148 h 448122"/>
              <a:gd name="connsiteX3803" fmla="*/ 248365 w 447236"/>
              <a:gd name="connsiteY3803" fmla="*/ 23907 h 448122"/>
              <a:gd name="connsiteX3804" fmla="*/ 251128 w 447236"/>
              <a:gd name="connsiteY3804" fmla="*/ 25133 h 448122"/>
              <a:gd name="connsiteX3805" fmla="*/ 251435 w 447236"/>
              <a:gd name="connsiteY3805" fmla="*/ 25133 h 448122"/>
              <a:gd name="connsiteX3806" fmla="*/ 254198 w 447236"/>
              <a:gd name="connsiteY3806" fmla="*/ 23907 h 448122"/>
              <a:gd name="connsiteX3807" fmla="*/ 255426 w 447236"/>
              <a:gd name="connsiteY3807" fmla="*/ 21148 h 448122"/>
              <a:gd name="connsiteX3808" fmla="*/ 255426 w 447236"/>
              <a:gd name="connsiteY3808" fmla="*/ 14712 h 448122"/>
              <a:gd name="connsiteX3809" fmla="*/ 255426 w 447236"/>
              <a:gd name="connsiteY3809" fmla="*/ 14405 h 448122"/>
              <a:gd name="connsiteX3810" fmla="*/ 255426 w 447236"/>
              <a:gd name="connsiteY3810" fmla="*/ 13792 h 448122"/>
              <a:gd name="connsiteX3811" fmla="*/ 255426 w 447236"/>
              <a:gd name="connsiteY3811" fmla="*/ 7356 h 448122"/>
              <a:gd name="connsiteX3812" fmla="*/ 254198 w 447236"/>
              <a:gd name="connsiteY3812" fmla="*/ 4597 h 448122"/>
              <a:gd name="connsiteX3813" fmla="*/ 251435 w 447236"/>
              <a:gd name="connsiteY3813" fmla="*/ 3371 h 448122"/>
              <a:gd name="connsiteX3814" fmla="*/ 251128 w 447236"/>
              <a:gd name="connsiteY3814" fmla="*/ 3371 h 448122"/>
              <a:gd name="connsiteX3815" fmla="*/ 237928 w 447236"/>
              <a:gd name="connsiteY3815" fmla="*/ 3371 h 448122"/>
              <a:gd name="connsiteX3816" fmla="*/ 235165 w 447236"/>
              <a:gd name="connsiteY3816" fmla="*/ 4597 h 448122"/>
              <a:gd name="connsiteX3817" fmla="*/ 233937 w 447236"/>
              <a:gd name="connsiteY3817" fmla="*/ 7356 h 448122"/>
              <a:gd name="connsiteX3818" fmla="*/ 233937 w 447236"/>
              <a:gd name="connsiteY3818" fmla="*/ 13792 h 448122"/>
              <a:gd name="connsiteX3819" fmla="*/ 233937 w 447236"/>
              <a:gd name="connsiteY3819" fmla="*/ 14405 h 448122"/>
              <a:gd name="connsiteX3820" fmla="*/ 233937 w 447236"/>
              <a:gd name="connsiteY3820" fmla="*/ 14712 h 448122"/>
              <a:gd name="connsiteX3821" fmla="*/ 233937 w 447236"/>
              <a:gd name="connsiteY3821" fmla="*/ 21148 h 448122"/>
              <a:gd name="connsiteX3822" fmla="*/ 235165 w 447236"/>
              <a:gd name="connsiteY3822" fmla="*/ 23907 h 448122"/>
              <a:gd name="connsiteX3823" fmla="*/ 237928 w 447236"/>
              <a:gd name="connsiteY3823" fmla="*/ 25133 h 448122"/>
              <a:gd name="connsiteX3824" fmla="*/ 238235 w 447236"/>
              <a:gd name="connsiteY3824" fmla="*/ 25133 h 448122"/>
              <a:gd name="connsiteX3825" fmla="*/ 240998 w 447236"/>
              <a:gd name="connsiteY3825" fmla="*/ 23907 h 448122"/>
              <a:gd name="connsiteX3826" fmla="*/ 242225 w 447236"/>
              <a:gd name="connsiteY3826" fmla="*/ 21148 h 448122"/>
              <a:gd name="connsiteX3827" fmla="*/ 242225 w 447236"/>
              <a:gd name="connsiteY3827" fmla="*/ 14712 h 448122"/>
              <a:gd name="connsiteX3828" fmla="*/ 242225 w 447236"/>
              <a:gd name="connsiteY3828" fmla="*/ 14405 h 448122"/>
              <a:gd name="connsiteX3829" fmla="*/ 242225 w 447236"/>
              <a:gd name="connsiteY3829" fmla="*/ 13792 h 448122"/>
              <a:gd name="connsiteX3830" fmla="*/ 242225 w 447236"/>
              <a:gd name="connsiteY3830" fmla="*/ 7356 h 448122"/>
              <a:gd name="connsiteX3831" fmla="*/ 240998 w 447236"/>
              <a:gd name="connsiteY3831" fmla="*/ 4597 h 448122"/>
              <a:gd name="connsiteX3832" fmla="*/ 238235 w 447236"/>
              <a:gd name="connsiteY3832" fmla="*/ 3371 h 448122"/>
              <a:gd name="connsiteX3833" fmla="*/ 237928 w 447236"/>
              <a:gd name="connsiteY3833" fmla="*/ 3371 h 448122"/>
              <a:gd name="connsiteX3834" fmla="*/ 224420 w 447236"/>
              <a:gd name="connsiteY3834" fmla="*/ 3371 h 448122"/>
              <a:gd name="connsiteX3835" fmla="*/ 221657 w 447236"/>
              <a:gd name="connsiteY3835" fmla="*/ 4597 h 448122"/>
              <a:gd name="connsiteX3836" fmla="*/ 220736 w 447236"/>
              <a:gd name="connsiteY3836" fmla="*/ 7356 h 448122"/>
              <a:gd name="connsiteX3837" fmla="*/ 220736 w 447236"/>
              <a:gd name="connsiteY3837" fmla="*/ 13792 h 448122"/>
              <a:gd name="connsiteX3838" fmla="*/ 220736 w 447236"/>
              <a:gd name="connsiteY3838" fmla="*/ 14405 h 448122"/>
              <a:gd name="connsiteX3839" fmla="*/ 220736 w 447236"/>
              <a:gd name="connsiteY3839" fmla="*/ 14712 h 448122"/>
              <a:gd name="connsiteX3840" fmla="*/ 220736 w 447236"/>
              <a:gd name="connsiteY3840" fmla="*/ 21148 h 448122"/>
              <a:gd name="connsiteX3841" fmla="*/ 221657 w 447236"/>
              <a:gd name="connsiteY3841" fmla="*/ 23907 h 448122"/>
              <a:gd name="connsiteX3842" fmla="*/ 224420 w 447236"/>
              <a:gd name="connsiteY3842" fmla="*/ 25133 h 448122"/>
              <a:gd name="connsiteX3843" fmla="*/ 225034 w 447236"/>
              <a:gd name="connsiteY3843" fmla="*/ 25133 h 448122"/>
              <a:gd name="connsiteX3844" fmla="*/ 227797 w 447236"/>
              <a:gd name="connsiteY3844" fmla="*/ 23907 h 448122"/>
              <a:gd name="connsiteX3845" fmla="*/ 228718 w 447236"/>
              <a:gd name="connsiteY3845" fmla="*/ 21148 h 448122"/>
              <a:gd name="connsiteX3846" fmla="*/ 228718 w 447236"/>
              <a:gd name="connsiteY3846" fmla="*/ 14712 h 448122"/>
              <a:gd name="connsiteX3847" fmla="*/ 228718 w 447236"/>
              <a:gd name="connsiteY3847" fmla="*/ 14405 h 448122"/>
              <a:gd name="connsiteX3848" fmla="*/ 228718 w 447236"/>
              <a:gd name="connsiteY3848" fmla="*/ 13792 h 448122"/>
              <a:gd name="connsiteX3849" fmla="*/ 228718 w 447236"/>
              <a:gd name="connsiteY3849" fmla="*/ 7356 h 448122"/>
              <a:gd name="connsiteX3850" fmla="*/ 227797 w 447236"/>
              <a:gd name="connsiteY3850" fmla="*/ 4597 h 448122"/>
              <a:gd name="connsiteX3851" fmla="*/ 225034 w 447236"/>
              <a:gd name="connsiteY3851" fmla="*/ 3371 h 448122"/>
              <a:gd name="connsiteX3852" fmla="*/ 224420 w 447236"/>
              <a:gd name="connsiteY3852" fmla="*/ 3371 h 448122"/>
              <a:gd name="connsiteX3853" fmla="*/ 294376 w 447236"/>
              <a:gd name="connsiteY3853" fmla="*/ 1624 h 448122"/>
              <a:gd name="connsiteX3854" fmla="*/ 315815 w 447236"/>
              <a:gd name="connsiteY3854" fmla="*/ 1624 h 448122"/>
              <a:gd name="connsiteX3855" fmla="*/ 317346 w 447236"/>
              <a:gd name="connsiteY3855" fmla="*/ 3154 h 448122"/>
              <a:gd name="connsiteX3856" fmla="*/ 317346 w 447236"/>
              <a:gd name="connsiteY3856" fmla="*/ 4071 h 448122"/>
              <a:gd name="connsiteX3857" fmla="*/ 315815 w 447236"/>
              <a:gd name="connsiteY3857" fmla="*/ 5601 h 448122"/>
              <a:gd name="connsiteX3858" fmla="*/ 312446 w 447236"/>
              <a:gd name="connsiteY3858" fmla="*/ 5601 h 448122"/>
              <a:gd name="connsiteX3859" fmla="*/ 312446 w 447236"/>
              <a:gd name="connsiteY3859" fmla="*/ 18451 h 448122"/>
              <a:gd name="connsiteX3860" fmla="*/ 310998 w 447236"/>
              <a:gd name="connsiteY3860" fmla="*/ 18451 h 448122"/>
              <a:gd name="connsiteX3861" fmla="*/ 310998 w 447236"/>
              <a:gd name="connsiteY3861" fmla="*/ 24925 h 448122"/>
              <a:gd name="connsiteX3862" fmla="*/ 310998 w 447236"/>
              <a:gd name="connsiteY3862" fmla="*/ 26040 h 448122"/>
              <a:gd name="connsiteX3863" fmla="*/ 309770 w 447236"/>
              <a:gd name="connsiteY3863" fmla="*/ 28807 h 448122"/>
              <a:gd name="connsiteX3864" fmla="*/ 307005 w 447236"/>
              <a:gd name="connsiteY3864" fmla="*/ 31882 h 448122"/>
              <a:gd name="connsiteX3865" fmla="*/ 306084 w 447236"/>
              <a:gd name="connsiteY3865" fmla="*/ 33727 h 448122"/>
              <a:gd name="connsiteX3866" fmla="*/ 307005 w 447236"/>
              <a:gd name="connsiteY3866" fmla="*/ 35572 h 448122"/>
              <a:gd name="connsiteX3867" fmla="*/ 309770 w 447236"/>
              <a:gd name="connsiteY3867" fmla="*/ 38648 h 448122"/>
              <a:gd name="connsiteX3868" fmla="*/ 310998 w 447236"/>
              <a:gd name="connsiteY3868" fmla="*/ 41415 h 448122"/>
              <a:gd name="connsiteX3869" fmla="*/ 310998 w 447236"/>
              <a:gd name="connsiteY3869" fmla="*/ 48709 h 448122"/>
              <a:gd name="connsiteX3870" fmla="*/ 312446 w 447236"/>
              <a:gd name="connsiteY3870" fmla="*/ 48709 h 448122"/>
              <a:gd name="connsiteX3871" fmla="*/ 312446 w 447236"/>
              <a:gd name="connsiteY3871" fmla="*/ 61362 h 448122"/>
              <a:gd name="connsiteX3872" fmla="*/ 315815 w 447236"/>
              <a:gd name="connsiteY3872" fmla="*/ 61362 h 448122"/>
              <a:gd name="connsiteX3873" fmla="*/ 317346 w 447236"/>
              <a:gd name="connsiteY3873" fmla="*/ 62905 h 448122"/>
              <a:gd name="connsiteX3874" fmla="*/ 317346 w 447236"/>
              <a:gd name="connsiteY3874" fmla="*/ 63831 h 448122"/>
              <a:gd name="connsiteX3875" fmla="*/ 315815 w 447236"/>
              <a:gd name="connsiteY3875" fmla="*/ 65683 h 448122"/>
              <a:gd name="connsiteX3876" fmla="*/ 294376 w 447236"/>
              <a:gd name="connsiteY3876" fmla="*/ 65683 h 448122"/>
              <a:gd name="connsiteX3877" fmla="*/ 292844 w 447236"/>
              <a:gd name="connsiteY3877" fmla="*/ 63831 h 448122"/>
              <a:gd name="connsiteX3878" fmla="*/ 292844 w 447236"/>
              <a:gd name="connsiteY3878" fmla="*/ 62905 h 448122"/>
              <a:gd name="connsiteX3879" fmla="*/ 294376 w 447236"/>
              <a:gd name="connsiteY3879" fmla="*/ 61362 h 448122"/>
              <a:gd name="connsiteX3880" fmla="*/ 297745 w 447236"/>
              <a:gd name="connsiteY3880" fmla="*/ 61362 h 448122"/>
              <a:gd name="connsiteX3881" fmla="*/ 297745 w 447236"/>
              <a:gd name="connsiteY3881" fmla="*/ 48709 h 448122"/>
              <a:gd name="connsiteX3882" fmla="*/ 299633 w 447236"/>
              <a:gd name="connsiteY3882" fmla="*/ 48709 h 448122"/>
              <a:gd name="connsiteX3883" fmla="*/ 299633 w 447236"/>
              <a:gd name="connsiteY3883" fmla="*/ 42530 h 448122"/>
              <a:gd name="connsiteX3884" fmla="*/ 299633 w 447236"/>
              <a:gd name="connsiteY3884" fmla="*/ 41415 h 448122"/>
              <a:gd name="connsiteX3885" fmla="*/ 300555 w 447236"/>
              <a:gd name="connsiteY3885" fmla="*/ 38648 h 448122"/>
              <a:gd name="connsiteX3886" fmla="*/ 303319 w 447236"/>
              <a:gd name="connsiteY3886" fmla="*/ 35572 h 448122"/>
              <a:gd name="connsiteX3887" fmla="*/ 304241 w 447236"/>
              <a:gd name="connsiteY3887" fmla="*/ 33727 h 448122"/>
              <a:gd name="connsiteX3888" fmla="*/ 303319 w 447236"/>
              <a:gd name="connsiteY3888" fmla="*/ 31882 h 448122"/>
              <a:gd name="connsiteX3889" fmla="*/ 300555 w 447236"/>
              <a:gd name="connsiteY3889" fmla="*/ 28807 h 448122"/>
              <a:gd name="connsiteX3890" fmla="*/ 299633 w 447236"/>
              <a:gd name="connsiteY3890" fmla="*/ 26040 h 448122"/>
              <a:gd name="connsiteX3891" fmla="*/ 299633 w 447236"/>
              <a:gd name="connsiteY3891" fmla="*/ 18451 h 448122"/>
              <a:gd name="connsiteX3892" fmla="*/ 299582 w 447236"/>
              <a:gd name="connsiteY3892" fmla="*/ 18451 h 448122"/>
              <a:gd name="connsiteX3893" fmla="*/ 297745 w 447236"/>
              <a:gd name="connsiteY3893" fmla="*/ 18451 h 448122"/>
              <a:gd name="connsiteX3894" fmla="*/ 297745 w 447236"/>
              <a:gd name="connsiteY3894" fmla="*/ 5601 h 448122"/>
              <a:gd name="connsiteX3895" fmla="*/ 294376 w 447236"/>
              <a:gd name="connsiteY3895" fmla="*/ 5601 h 448122"/>
              <a:gd name="connsiteX3896" fmla="*/ 292844 w 447236"/>
              <a:gd name="connsiteY3896" fmla="*/ 4071 h 448122"/>
              <a:gd name="connsiteX3897" fmla="*/ 292844 w 447236"/>
              <a:gd name="connsiteY3897" fmla="*/ 3154 h 448122"/>
              <a:gd name="connsiteX3898" fmla="*/ 294376 w 447236"/>
              <a:gd name="connsiteY3898" fmla="*/ 1624 h 448122"/>
              <a:gd name="connsiteX3899" fmla="*/ 159590 w 447236"/>
              <a:gd name="connsiteY3899" fmla="*/ 1624 h 448122"/>
              <a:gd name="connsiteX3900" fmla="*/ 176774 w 447236"/>
              <a:gd name="connsiteY3900" fmla="*/ 1624 h 448122"/>
              <a:gd name="connsiteX3901" fmla="*/ 183525 w 447236"/>
              <a:gd name="connsiteY3901" fmla="*/ 4372 h 448122"/>
              <a:gd name="connsiteX3902" fmla="*/ 185980 w 447236"/>
              <a:gd name="connsiteY3902" fmla="*/ 11396 h 448122"/>
              <a:gd name="connsiteX3903" fmla="*/ 185980 w 447236"/>
              <a:gd name="connsiteY3903" fmla="*/ 17565 h 448122"/>
              <a:gd name="connsiteX3904" fmla="*/ 190849 w 447236"/>
              <a:gd name="connsiteY3904" fmla="*/ 17565 h 448122"/>
              <a:gd name="connsiteX3905" fmla="*/ 191568 w 447236"/>
              <a:gd name="connsiteY3905" fmla="*/ 17565 h 448122"/>
              <a:gd name="connsiteX3906" fmla="*/ 207825 w 447236"/>
              <a:gd name="connsiteY3906" fmla="*/ 36236 h 448122"/>
              <a:gd name="connsiteX3907" fmla="*/ 207825 w 447236"/>
              <a:gd name="connsiteY3907" fmla="*/ 65315 h 448122"/>
              <a:gd name="connsiteX3908" fmla="*/ 191568 w 447236"/>
              <a:gd name="connsiteY3908" fmla="*/ 83986 h 448122"/>
              <a:gd name="connsiteX3909" fmla="*/ 188860 w 447236"/>
              <a:gd name="connsiteY3909" fmla="*/ 83986 h 448122"/>
              <a:gd name="connsiteX3910" fmla="*/ 189079 w 447236"/>
              <a:gd name="connsiteY3910" fmla="*/ 84318 h 448122"/>
              <a:gd name="connsiteX3911" fmla="*/ 189079 w 447236"/>
              <a:gd name="connsiteY3911" fmla="*/ 86163 h 448122"/>
              <a:gd name="connsiteX3912" fmla="*/ 188470 w 447236"/>
              <a:gd name="connsiteY3912" fmla="*/ 87086 h 448122"/>
              <a:gd name="connsiteX3913" fmla="*/ 185122 w 447236"/>
              <a:gd name="connsiteY3913" fmla="*/ 87086 h 448122"/>
              <a:gd name="connsiteX3914" fmla="*/ 184208 w 447236"/>
              <a:gd name="connsiteY3914" fmla="*/ 86163 h 448122"/>
              <a:gd name="connsiteX3915" fmla="*/ 184208 w 447236"/>
              <a:gd name="connsiteY3915" fmla="*/ 84318 h 448122"/>
              <a:gd name="connsiteX3916" fmla="*/ 184538 w 447236"/>
              <a:gd name="connsiteY3916" fmla="*/ 83986 h 448122"/>
              <a:gd name="connsiteX3917" fmla="*/ 164968 w 447236"/>
              <a:gd name="connsiteY3917" fmla="*/ 83986 h 448122"/>
              <a:gd name="connsiteX3918" fmla="*/ 152579 w 447236"/>
              <a:gd name="connsiteY3918" fmla="*/ 83986 h 448122"/>
              <a:gd name="connsiteX3919" fmla="*/ 152917 w 447236"/>
              <a:gd name="connsiteY3919" fmla="*/ 84318 h 448122"/>
              <a:gd name="connsiteX3920" fmla="*/ 152917 w 447236"/>
              <a:gd name="connsiteY3920" fmla="*/ 86163 h 448122"/>
              <a:gd name="connsiteX3921" fmla="*/ 151979 w 447236"/>
              <a:gd name="connsiteY3921" fmla="*/ 87086 h 448122"/>
              <a:gd name="connsiteX3922" fmla="*/ 148541 w 447236"/>
              <a:gd name="connsiteY3922" fmla="*/ 87086 h 448122"/>
              <a:gd name="connsiteX3923" fmla="*/ 147603 w 447236"/>
              <a:gd name="connsiteY3923" fmla="*/ 86163 h 448122"/>
              <a:gd name="connsiteX3924" fmla="*/ 147603 w 447236"/>
              <a:gd name="connsiteY3924" fmla="*/ 84318 h 448122"/>
              <a:gd name="connsiteX3925" fmla="*/ 147941 w 447236"/>
              <a:gd name="connsiteY3925" fmla="*/ 83986 h 448122"/>
              <a:gd name="connsiteX3926" fmla="*/ 146276 w 447236"/>
              <a:gd name="connsiteY3926" fmla="*/ 83986 h 448122"/>
              <a:gd name="connsiteX3927" fmla="*/ 145557 w 447236"/>
              <a:gd name="connsiteY3927" fmla="*/ 83986 h 448122"/>
              <a:gd name="connsiteX3928" fmla="*/ 129300 w 447236"/>
              <a:gd name="connsiteY3928" fmla="*/ 65008 h 448122"/>
              <a:gd name="connsiteX3929" fmla="*/ 129300 w 447236"/>
              <a:gd name="connsiteY3929" fmla="*/ 35930 h 448122"/>
              <a:gd name="connsiteX3930" fmla="*/ 145557 w 447236"/>
              <a:gd name="connsiteY3930" fmla="*/ 17565 h 448122"/>
              <a:gd name="connsiteX3931" fmla="*/ 150998 w 447236"/>
              <a:gd name="connsiteY3931" fmla="*/ 17565 h 448122"/>
              <a:gd name="connsiteX3932" fmla="*/ 150998 w 447236"/>
              <a:gd name="connsiteY3932" fmla="*/ 11854 h 448122"/>
              <a:gd name="connsiteX3933" fmla="*/ 150998 w 447236"/>
              <a:gd name="connsiteY3933" fmla="*/ 10785 h 448122"/>
              <a:gd name="connsiteX3934" fmla="*/ 153453 w 447236"/>
              <a:gd name="connsiteY3934" fmla="*/ 4372 h 448122"/>
              <a:gd name="connsiteX3935" fmla="*/ 159590 w 447236"/>
              <a:gd name="connsiteY3935" fmla="*/ 1624 h 448122"/>
              <a:gd name="connsiteX3936" fmla="*/ 216438 w 447236"/>
              <a:gd name="connsiteY3936" fmla="*/ 0 h 448122"/>
              <a:gd name="connsiteX3937" fmla="*/ 286739 w 447236"/>
              <a:gd name="connsiteY3937" fmla="*/ 0 h 448122"/>
              <a:gd name="connsiteX3938" fmla="*/ 291958 w 447236"/>
              <a:gd name="connsiteY3938" fmla="*/ 4904 h 448122"/>
              <a:gd name="connsiteX3939" fmla="*/ 291958 w 447236"/>
              <a:gd name="connsiteY3939" fmla="*/ 51185 h 448122"/>
              <a:gd name="connsiteX3940" fmla="*/ 286739 w 447236"/>
              <a:gd name="connsiteY3940" fmla="*/ 56089 h 448122"/>
              <a:gd name="connsiteX3941" fmla="*/ 216438 w 447236"/>
              <a:gd name="connsiteY3941" fmla="*/ 56089 h 448122"/>
              <a:gd name="connsiteX3942" fmla="*/ 211219 w 447236"/>
              <a:gd name="connsiteY3942" fmla="*/ 51185 h 448122"/>
              <a:gd name="connsiteX3943" fmla="*/ 211219 w 447236"/>
              <a:gd name="connsiteY3943" fmla="*/ 4904 h 448122"/>
              <a:gd name="connsiteX3944" fmla="*/ 216438 w 447236"/>
              <a:gd name="connsiteY3944" fmla="*/ 0 h 448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</a:cxnLst>
            <a:rect l="l" t="t" r="r" b="b"/>
            <a:pathLst>
              <a:path w="447236" h="448122">
                <a:moveTo>
                  <a:pt x="155052" y="428506"/>
                </a:moveTo>
                <a:cubicBezTo>
                  <a:pt x="154439" y="428506"/>
                  <a:pt x="153825" y="429119"/>
                  <a:pt x="153825" y="430038"/>
                </a:cubicBezTo>
                <a:cubicBezTo>
                  <a:pt x="153825" y="433716"/>
                  <a:pt x="153825" y="433716"/>
                  <a:pt x="153825" y="433716"/>
                </a:cubicBezTo>
                <a:cubicBezTo>
                  <a:pt x="153825" y="434329"/>
                  <a:pt x="154439" y="434942"/>
                  <a:pt x="155052" y="434942"/>
                </a:cubicBezTo>
                <a:cubicBezTo>
                  <a:pt x="161189" y="434942"/>
                  <a:pt x="161189" y="434942"/>
                  <a:pt x="161189" y="434942"/>
                </a:cubicBezTo>
                <a:cubicBezTo>
                  <a:pt x="161803" y="434942"/>
                  <a:pt x="162417" y="434329"/>
                  <a:pt x="162417" y="433716"/>
                </a:cubicBezTo>
                <a:cubicBezTo>
                  <a:pt x="162417" y="430038"/>
                  <a:pt x="162417" y="430038"/>
                  <a:pt x="162417" y="430038"/>
                </a:cubicBezTo>
                <a:cubicBezTo>
                  <a:pt x="162417" y="429119"/>
                  <a:pt x="161803" y="428506"/>
                  <a:pt x="161189" y="428506"/>
                </a:cubicBezTo>
                <a:cubicBezTo>
                  <a:pt x="155052" y="428506"/>
                  <a:pt x="155052" y="428506"/>
                  <a:pt x="155052" y="428506"/>
                </a:cubicBezTo>
                <a:close/>
                <a:moveTo>
                  <a:pt x="144312" y="428506"/>
                </a:moveTo>
                <a:cubicBezTo>
                  <a:pt x="143698" y="428506"/>
                  <a:pt x="143085" y="429119"/>
                  <a:pt x="143085" y="430038"/>
                </a:cubicBezTo>
                <a:cubicBezTo>
                  <a:pt x="143085" y="433716"/>
                  <a:pt x="143085" y="433716"/>
                  <a:pt x="143085" y="433716"/>
                </a:cubicBezTo>
                <a:cubicBezTo>
                  <a:pt x="143085" y="434329"/>
                  <a:pt x="143698" y="434942"/>
                  <a:pt x="144312" y="434942"/>
                </a:cubicBezTo>
                <a:cubicBezTo>
                  <a:pt x="150449" y="434942"/>
                  <a:pt x="150449" y="434942"/>
                  <a:pt x="150449" y="434942"/>
                </a:cubicBezTo>
                <a:cubicBezTo>
                  <a:pt x="151063" y="434942"/>
                  <a:pt x="151677" y="434329"/>
                  <a:pt x="151677" y="433716"/>
                </a:cubicBezTo>
                <a:cubicBezTo>
                  <a:pt x="151677" y="430038"/>
                  <a:pt x="151677" y="430038"/>
                  <a:pt x="151677" y="430038"/>
                </a:cubicBezTo>
                <a:cubicBezTo>
                  <a:pt x="151677" y="429119"/>
                  <a:pt x="151063" y="428506"/>
                  <a:pt x="150449" y="428506"/>
                </a:cubicBezTo>
                <a:cubicBezTo>
                  <a:pt x="144312" y="428506"/>
                  <a:pt x="144312" y="428506"/>
                  <a:pt x="144312" y="428506"/>
                </a:cubicBezTo>
                <a:close/>
                <a:moveTo>
                  <a:pt x="133572" y="428506"/>
                </a:moveTo>
                <a:cubicBezTo>
                  <a:pt x="132958" y="428506"/>
                  <a:pt x="132345" y="429119"/>
                  <a:pt x="132345" y="430038"/>
                </a:cubicBezTo>
                <a:cubicBezTo>
                  <a:pt x="132345" y="433716"/>
                  <a:pt x="132345" y="433716"/>
                  <a:pt x="132345" y="433716"/>
                </a:cubicBezTo>
                <a:cubicBezTo>
                  <a:pt x="132345" y="434329"/>
                  <a:pt x="132958" y="434942"/>
                  <a:pt x="133572" y="434942"/>
                </a:cubicBezTo>
                <a:cubicBezTo>
                  <a:pt x="139709" y="434942"/>
                  <a:pt x="139709" y="434942"/>
                  <a:pt x="139709" y="434942"/>
                </a:cubicBezTo>
                <a:cubicBezTo>
                  <a:pt x="140323" y="434942"/>
                  <a:pt x="140937" y="434329"/>
                  <a:pt x="140937" y="433716"/>
                </a:cubicBezTo>
                <a:cubicBezTo>
                  <a:pt x="140937" y="430038"/>
                  <a:pt x="140937" y="430038"/>
                  <a:pt x="140937" y="430038"/>
                </a:cubicBezTo>
                <a:cubicBezTo>
                  <a:pt x="140937" y="429119"/>
                  <a:pt x="140323" y="428506"/>
                  <a:pt x="139709" y="428506"/>
                </a:cubicBezTo>
                <a:cubicBezTo>
                  <a:pt x="133572" y="428506"/>
                  <a:pt x="133572" y="428506"/>
                  <a:pt x="133572" y="428506"/>
                </a:cubicBezTo>
                <a:close/>
                <a:moveTo>
                  <a:pt x="213492" y="421388"/>
                </a:moveTo>
                <a:lnTo>
                  <a:pt x="213946" y="422000"/>
                </a:lnTo>
                <a:cubicBezTo>
                  <a:pt x="214253" y="422000"/>
                  <a:pt x="214253" y="422000"/>
                  <a:pt x="214253" y="422307"/>
                </a:cubicBezTo>
                <a:cubicBezTo>
                  <a:pt x="213946" y="422919"/>
                  <a:pt x="213639" y="423225"/>
                  <a:pt x="213024" y="423838"/>
                </a:cubicBezTo>
                <a:lnTo>
                  <a:pt x="212533" y="423674"/>
                </a:lnTo>
                <a:close/>
                <a:moveTo>
                  <a:pt x="234451" y="420576"/>
                </a:moveTo>
                <a:lnTo>
                  <a:pt x="234389" y="425298"/>
                </a:lnTo>
                <a:lnTo>
                  <a:pt x="234499" y="425160"/>
                </a:lnTo>
                <a:cubicBezTo>
                  <a:pt x="235113" y="423628"/>
                  <a:pt x="235420" y="422403"/>
                  <a:pt x="235113" y="421484"/>
                </a:cubicBezTo>
                <a:cubicBezTo>
                  <a:pt x="235113" y="421177"/>
                  <a:pt x="235113" y="420871"/>
                  <a:pt x="234806" y="420871"/>
                </a:cubicBezTo>
                <a:close/>
                <a:moveTo>
                  <a:pt x="232056" y="420445"/>
                </a:moveTo>
                <a:lnTo>
                  <a:pt x="231459" y="420871"/>
                </a:lnTo>
                <a:cubicBezTo>
                  <a:pt x="231459" y="420871"/>
                  <a:pt x="231152" y="421177"/>
                  <a:pt x="231152" y="421484"/>
                </a:cubicBezTo>
                <a:cubicBezTo>
                  <a:pt x="231152" y="422403"/>
                  <a:pt x="231152" y="423628"/>
                  <a:pt x="232073" y="425160"/>
                </a:cubicBezTo>
                <a:lnTo>
                  <a:pt x="232141" y="425248"/>
                </a:lnTo>
                <a:close/>
                <a:moveTo>
                  <a:pt x="170985" y="417599"/>
                </a:moveTo>
                <a:lnTo>
                  <a:pt x="171995" y="420044"/>
                </a:lnTo>
                <a:lnTo>
                  <a:pt x="171262" y="420775"/>
                </a:lnTo>
                <a:cubicBezTo>
                  <a:pt x="171262" y="420775"/>
                  <a:pt x="170954" y="421082"/>
                  <a:pt x="170954" y="421082"/>
                </a:cubicBezTo>
                <a:cubicBezTo>
                  <a:pt x="170647" y="420163"/>
                  <a:pt x="170033" y="419550"/>
                  <a:pt x="169726" y="418938"/>
                </a:cubicBezTo>
                <a:close/>
                <a:moveTo>
                  <a:pt x="155052" y="416859"/>
                </a:moveTo>
                <a:cubicBezTo>
                  <a:pt x="154439" y="416859"/>
                  <a:pt x="153825" y="417472"/>
                  <a:pt x="153825" y="418085"/>
                </a:cubicBezTo>
                <a:cubicBezTo>
                  <a:pt x="153825" y="422069"/>
                  <a:pt x="153825" y="422069"/>
                  <a:pt x="153825" y="422069"/>
                </a:cubicBezTo>
                <a:cubicBezTo>
                  <a:pt x="153825" y="422682"/>
                  <a:pt x="154439" y="423295"/>
                  <a:pt x="155052" y="423295"/>
                </a:cubicBezTo>
                <a:cubicBezTo>
                  <a:pt x="161189" y="423295"/>
                  <a:pt x="161189" y="423295"/>
                  <a:pt x="161189" y="423295"/>
                </a:cubicBezTo>
                <a:cubicBezTo>
                  <a:pt x="161803" y="423295"/>
                  <a:pt x="162417" y="422682"/>
                  <a:pt x="162417" y="422069"/>
                </a:cubicBezTo>
                <a:cubicBezTo>
                  <a:pt x="162417" y="418085"/>
                  <a:pt x="162417" y="418085"/>
                  <a:pt x="162417" y="418085"/>
                </a:cubicBezTo>
                <a:cubicBezTo>
                  <a:pt x="162417" y="417472"/>
                  <a:pt x="161803" y="416859"/>
                  <a:pt x="161189" y="416859"/>
                </a:cubicBezTo>
                <a:cubicBezTo>
                  <a:pt x="155052" y="416859"/>
                  <a:pt x="155052" y="416859"/>
                  <a:pt x="155052" y="416859"/>
                </a:cubicBezTo>
                <a:close/>
                <a:moveTo>
                  <a:pt x="144312" y="416859"/>
                </a:moveTo>
                <a:cubicBezTo>
                  <a:pt x="143698" y="416859"/>
                  <a:pt x="143085" y="417472"/>
                  <a:pt x="143085" y="418085"/>
                </a:cubicBezTo>
                <a:cubicBezTo>
                  <a:pt x="143085" y="422069"/>
                  <a:pt x="143085" y="422069"/>
                  <a:pt x="143085" y="422069"/>
                </a:cubicBezTo>
                <a:cubicBezTo>
                  <a:pt x="143085" y="422682"/>
                  <a:pt x="143698" y="423295"/>
                  <a:pt x="144312" y="423295"/>
                </a:cubicBezTo>
                <a:cubicBezTo>
                  <a:pt x="150449" y="423295"/>
                  <a:pt x="150449" y="423295"/>
                  <a:pt x="150449" y="423295"/>
                </a:cubicBezTo>
                <a:cubicBezTo>
                  <a:pt x="151063" y="423295"/>
                  <a:pt x="151677" y="422682"/>
                  <a:pt x="151677" y="422069"/>
                </a:cubicBezTo>
                <a:cubicBezTo>
                  <a:pt x="151677" y="418085"/>
                  <a:pt x="151677" y="418085"/>
                  <a:pt x="151677" y="418085"/>
                </a:cubicBezTo>
                <a:cubicBezTo>
                  <a:pt x="151677" y="417472"/>
                  <a:pt x="151063" y="416859"/>
                  <a:pt x="150449" y="416859"/>
                </a:cubicBezTo>
                <a:cubicBezTo>
                  <a:pt x="144312" y="416859"/>
                  <a:pt x="144312" y="416859"/>
                  <a:pt x="144312" y="416859"/>
                </a:cubicBezTo>
                <a:close/>
                <a:moveTo>
                  <a:pt x="133572" y="416859"/>
                </a:moveTo>
                <a:cubicBezTo>
                  <a:pt x="132958" y="416859"/>
                  <a:pt x="132345" y="417472"/>
                  <a:pt x="132345" y="418085"/>
                </a:cubicBezTo>
                <a:cubicBezTo>
                  <a:pt x="132345" y="422069"/>
                  <a:pt x="132345" y="422069"/>
                  <a:pt x="132345" y="422069"/>
                </a:cubicBezTo>
                <a:cubicBezTo>
                  <a:pt x="132345" y="422682"/>
                  <a:pt x="132958" y="423295"/>
                  <a:pt x="133572" y="423295"/>
                </a:cubicBezTo>
                <a:cubicBezTo>
                  <a:pt x="139709" y="423295"/>
                  <a:pt x="139709" y="423295"/>
                  <a:pt x="139709" y="423295"/>
                </a:cubicBezTo>
                <a:cubicBezTo>
                  <a:pt x="140323" y="423295"/>
                  <a:pt x="140937" y="422682"/>
                  <a:pt x="140937" y="422069"/>
                </a:cubicBezTo>
                <a:cubicBezTo>
                  <a:pt x="140937" y="418085"/>
                  <a:pt x="140937" y="418085"/>
                  <a:pt x="140937" y="418085"/>
                </a:cubicBezTo>
                <a:cubicBezTo>
                  <a:pt x="140937" y="417472"/>
                  <a:pt x="140323" y="416859"/>
                  <a:pt x="139709" y="416859"/>
                </a:cubicBezTo>
                <a:cubicBezTo>
                  <a:pt x="133572" y="416859"/>
                  <a:pt x="133572" y="416859"/>
                  <a:pt x="133572" y="416859"/>
                </a:cubicBezTo>
                <a:close/>
                <a:moveTo>
                  <a:pt x="287340" y="416486"/>
                </a:moveTo>
                <a:cubicBezTo>
                  <a:pt x="285192" y="416486"/>
                  <a:pt x="283658" y="418325"/>
                  <a:pt x="283658" y="420164"/>
                </a:cubicBezTo>
                <a:cubicBezTo>
                  <a:pt x="283658" y="422309"/>
                  <a:pt x="285192" y="423842"/>
                  <a:pt x="287340" y="423842"/>
                </a:cubicBezTo>
                <a:cubicBezTo>
                  <a:pt x="289488" y="423842"/>
                  <a:pt x="291023" y="422309"/>
                  <a:pt x="291023" y="420164"/>
                </a:cubicBezTo>
                <a:cubicBezTo>
                  <a:pt x="291023" y="418325"/>
                  <a:pt x="289488" y="416486"/>
                  <a:pt x="287340" y="416486"/>
                </a:cubicBezTo>
                <a:close/>
                <a:moveTo>
                  <a:pt x="231869" y="409869"/>
                </a:moveTo>
                <a:lnTo>
                  <a:pt x="229587" y="411067"/>
                </a:lnTo>
                <a:cubicBezTo>
                  <a:pt x="228973" y="411680"/>
                  <a:pt x="229280" y="412599"/>
                  <a:pt x="229587" y="413212"/>
                </a:cubicBezTo>
                <a:lnTo>
                  <a:pt x="231962" y="415108"/>
                </a:lnTo>
                <a:close/>
                <a:moveTo>
                  <a:pt x="234594" y="409812"/>
                </a:moveTo>
                <a:lnTo>
                  <a:pt x="234524" y="415123"/>
                </a:lnTo>
                <a:lnTo>
                  <a:pt x="236678" y="413212"/>
                </a:lnTo>
                <a:cubicBezTo>
                  <a:pt x="237292" y="412599"/>
                  <a:pt x="237292" y="411680"/>
                  <a:pt x="236985" y="411067"/>
                </a:cubicBezTo>
                <a:close/>
                <a:moveTo>
                  <a:pt x="155052" y="405211"/>
                </a:moveTo>
                <a:cubicBezTo>
                  <a:pt x="154439" y="405211"/>
                  <a:pt x="153825" y="405824"/>
                  <a:pt x="153825" y="406437"/>
                </a:cubicBezTo>
                <a:cubicBezTo>
                  <a:pt x="153825" y="410116"/>
                  <a:pt x="153825" y="410116"/>
                  <a:pt x="153825" y="410116"/>
                </a:cubicBezTo>
                <a:cubicBezTo>
                  <a:pt x="153825" y="411035"/>
                  <a:pt x="154439" y="411648"/>
                  <a:pt x="155052" y="411648"/>
                </a:cubicBezTo>
                <a:cubicBezTo>
                  <a:pt x="161189" y="411648"/>
                  <a:pt x="161189" y="411648"/>
                  <a:pt x="161189" y="411648"/>
                </a:cubicBezTo>
                <a:cubicBezTo>
                  <a:pt x="161803" y="411648"/>
                  <a:pt x="162417" y="411035"/>
                  <a:pt x="162417" y="410116"/>
                </a:cubicBezTo>
                <a:cubicBezTo>
                  <a:pt x="162417" y="406437"/>
                  <a:pt x="162417" y="406437"/>
                  <a:pt x="162417" y="406437"/>
                </a:cubicBezTo>
                <a:cubicBezTo>
                  <a:pt x="162417" y="405824"/>
                  <a:pt x="161803" y="405211"/>
                  <a:pt x="161189" y="405211"/>
                </a:cubicBezTo>
                <a:cubicBezTo>
                  <a:pt x="155052" y="405211"/>
                  <a:pt x="155052" y="405211"/>
                  <a:pt x="155052" y="405211"/>
                </a:cubicBezTo>
                <a:close/>
                <a:moveTo>
                  <a:pt x="144312" y="405211"/>
                </a:moveTo>
                <a:cubicBezTo>
                  <a:pt x="143698" y="405211"/>
                  <a:pt x="143085" y="405824"/>
                  <a:pt x="143085" y="406437"/>
                </a:cubicBezTo>
                <a:cubicBezTo>
                  <a:pt x="143085" y="410116"/>
                  <a:pt x="143085" y="410116"/>
                  <a:pt x="143085" y="410116"/>
                </a:cubicBezTo>
                <a:cubicBezTo>
                  <a:pt x="143085" y="411035"/>
                  <a:pt x="143698" y="411648"/>
                  <a:pt x="144312" y="411648"/>
                </a:cubicBezTo>
                <a:cubicBezTo>
                  <a:pt x="150449" y="411648"/>
                  <a:pt x="150449" y="411648"/>
                  <a:pt x="150449" y="411648"/>
                </a:cubicBezTo>
                <a:cubicBezTo>
                  <a:pt x="151063" y="411648"/>
                  <a:pt x="151677" y="411035"/>
                  <a:pt x="151677" y="410116"/>
                </a:cubicBezTo>
                <a:cubicBezTo>
                  <a:pt x="151677" y="406437"/>
                  <a:pt x="151677" y="406437"/>
                  <a:pt x="151677" y="406437"/>
                </a:cubicBezTo>
                <a:cubicBezTo>
                  <a:pt x="151677" y="405824"/>
                  <a:pt x="151063" y="405211"/>
                  <a:pt x="150449" y="405211"/>
                </a:cubicBezTo>
                <a:cubicBezTo>
                  <a:pt x="144312" y="405211"/>
                  <a:pt x="144312" y="405211"/>
                  <a:pt x="144312" y="405211"/>
                </a:cubicBezTo>
                <a:close/>
                <a:moveTo>
                  <a:pt x="133572" y="405211"/>
                </a:moveTo>
                <a:cubicBezTo>
                  <a:pt x="132958" y="405211"/>
                  <a:pt x="132345" y="405824"/>
                  <a:pt x="132345" y="406437"/>
                </a:cubicBezTo>
                <a:cubicBezTo>
                  <a:pt x="132345" y="410116"/>
                  <a:pt x="132345" y="410116"/>
                  <a:pt x="132345" y="410116"/>
                </a:cubicBezTo>
                <a:cubicBezTo>
                  <a:pt x="132345" y="411035"/>
                  <a:pt x="132958" y="411648"/>
                  <a:pt x="133572" y="411648"/>
                </a:cubicBezTo>
                <a:cubicBezTo>
                  <a:pt x="139709" y="411648"/>
                  <a:pt x="139709" y="411648"/>
                  <a:pt x="139709" y="411648"/>
                </a:cubicBezTo>
                <a:cubicBezTo>
                  <a:pt x="140323" y="411648"/>
                  <a:pt x="140937" y="411035"/>
                  <a:pt x="140937" y="410116"/>
                </a:cubicBezTo>
                <a:cubicBezTo>
                  <a:pt x="140937" y="406437"/>
                  <a:pt x="140937" y="406437"/>
                  <a:pt x="140937" y="406437"/>
                </a:cubicBezTo>
                <a:cubicBezTo>
                  <a:pt x="140937" y="405824"/>
                  <a:pt x="140323" y="405211"/>
                  <a:pt x="139709" y="405211"/>
                </a:cubicBezTo>
                <a:cubicBezTo>
                  <a:pt x="133572" y="405211"/>
                  <a:pt x="133572" y="405211"/>
                  <a:pt x="133572" y="405211"/>
                </a:cubicBezTo>
                <a:close/>
                <a:moveTo>
                  <a:pt x="186886" y="398533"/>
                </a:moveTo>
                <a:lnTo>
                  <a:pt x="186935" y="398568"/>
                </a:lnTo>
                <a:lnTo>
                  <a:pt x="189341" y="428431"/>
                </a:lnTo>
                <a:cubicBezTo>
                  <a:pt x="189686" y="432719"/>
                  <a:pt x="189686" y="432719"/>
                  <a:pt x="189686" y="432719"/>
                </a:cubicBezTo>
                <a:cubicBezTo>
                  <a:pt x="189686" y="433331"/>
                  <a:pt x="190301" y="433943"/>
                  <a:pt x="191222" y="433943"/>
                </a:cubicBezTo>
                <a:cubicBezTo>
                  <a:pt x="191529" y="433943"/>
                  <a:pt x="192143" y="433331"/>
                  <a:pt x="192143" y="433025"/>
                </a:cubicBezTo>
                <a:cubicBezTo>
                  <a:pt x="197670" y="418019"/>
                  <a:pt x="197670" y="418019"/>
                  <a:pt x="197670" y="418019"/>
                </a:cubicBezTo>
                <a:cubicBezTo>
                  <a:pt x="200741" y="425981"/>
                  <a:pt x="200741" y="425981"/>
                  <a:pt x="200741" y="425981"/>
                </a:cubicBezTo>
                <a:cubicBezTo>
                  <a:pt x="201048" y="426594"/>
                  <a:pt x="201663" y="426900"/>
                  <a:pt x="202584" y="426900"/>
                </a:cubicBezTo>
                <a:cubicBezTo>
                  <a:pt x="202584" y="426594"/>
                  <a:pt x="202891" y="426594"/>
                  <a:pt x="203198" y="426288"/>
                </a:cubicBezTo>
                <a:cubicBezTo>
                  <a:pt x="208111" y="418019"/>
                  <a:pt x="208111" y="418019"/>
                  <a:pt x="208111" y="418019"/>
                </a:cubicBezTo>
                <a:cubicBezTo>
                  <a:pt x="212103" y="423531"/>
                  <a:pt x="212103" y="423531"/>
                  <a:pt x="212103" y="423531"/>
                </a:cubicBezTo>
                <a:lnTo>
                  <a:pt x="212533" y="423674"/>
                </a:lnTo>
                <a:lnTo>
                  <a:pt x="211374" y="426441"/>
                </a:lnTo>
                <a:cubicBezTo>
                  <a:pt x="206346" y="433101"/>
                  <a:pt x="199667" y="439762"/>
                  <a:pt x="193064" y="446499"/>
                </a:cubicBezTo>
                <a:cubicBezTo>
                  <a:pt x="186309" y="439762"/>
                  <a:pt x="179630" y="433101"/>
                  <a:pt x="174639" y="426441"/>
                </a:cubicBezTo>
                <a:lnTo>
                  <a:pt x="171995" y="420044"/>
                </a:lnTo>
                <a:lnTo>
                  <a:pt x="174639" y="417407"/>
                </a:lnTo>
                <a:cubicBezTo>
                  <a:pt x="176482" y="423225"/>
                  <a:pt x="176482" y="423225"/>
                  <a:pt x="176482" y="423225"/>
                </a:cubicBezTo>
                <a:cubicBezTo>
                  <a:pt x="176482" y="423838"/>
                  <a:pt x="177403" y="424144"/>
                  <a:pt x="178017" y="423838"/>
                </a:cubicBezTo>
                <a:cubicBezTo>
                  <a:pt x="178324" y="423838"/>
                  <a:pt x="178631" y="423531"/>
                  <a:pt x="178939" y="423225"/>
                </a:cubicBezTo>
                <a:cubicBezTo>
                  <a:pt x="182931" y="410823"/>
                  <a:pt x="184927" y="404621"/>
                  <a:pt x="185925" y="401521"/>
                </a:cubicBezTo>
                <a:close/>
                <a:moveTo>
                  <a:pt x="231662" y="398173"/>
                </a:moveTo>
                <a:lnTo>
                  <a:pt x="231459" y="398200"/>
                </a:lnTo>
                <a:cubicBezTo>
                  <a:pt x="228696" y="398813"/>
                  <a:pt x="227928" y="399809"/>
                  <a:pt x="228273" y="400881"/>
                </a:cubicBezTo>
                <a:lnTo>
                  <a:pt x="231766" y="404021"/>
                </a:lnTo>
                <a:close/>
                <a:moveTo>
                  <a:pt x="234748" y="398152"/>
                </a:moveTo>
                <a:lnTo>
                  <a:pt x="234670" y="404089"/>
                </a:lnTo>
                <a:lnTo>
                  <a:pt x="234806" y="404021"/>
                </a:lnTo>
                <a:cubicBezTo>
                  <a:pt x="237876" y="402183"/>
                  <a:pt x="240332" y="399426"/>
                  <a:pt x="235113" y="398200"/>
                </a:cubicBezTo>
                <a:close/>
                <a:moveTo>
                  <a:pt x="185694" y="394439"/>
                </a:moveTo>
                <a:cubicBezTo>
                  <a:pt x="186923" y="395052"/>
                  <a:pt x="188151" y="395970"/>
                  <a:pt x="189379" y="397195"/>
                </a:cubicBezTo>
                <a:lnTo>
                  <a:pt x="189659" y="400544"/>
                </a:lnTo>
                <a:lnTo>
                  <a:pt x="186935" y="398568"/>
                </a:lnTo>
                <a:lnTo>
                  <a:pt x="186923" y="398420"/>
                </a:lnTo>
                <a:lnTo>
                  <a:pt x="186886" y="398533"/>
                </a:lnTo>
                <a:lnTo>
                  <a:pt x="184834" y="397045"/>
                </a:lnTo>
                <a:close/>
                <a:moveTo>
                  <a:pt x="155052" y="393564"/>
                </a:moveTo>
                <a:cubicBezTo>
                  <a:pt x="154439" y="393564"/>
                  <a:pt x="153825" y="394177"/>
                  <a:pt x="153825" y="394790"/>
                </a:cubicBezTo>
                <a:cubicBezTo>
                  <a:pt x="153825" y="398468"/>
                  <a:pt x="153825" y="398468"/>
                  <a:pt x="153825" y="398468"/>
                </a:cubicBezTo>
                <a:cubicBezTo>
                  <a:pt x="153825" y="399081"/>
                  <a:pt x="154439" y="399694"/>
                  <a:pt x="155052" y="399694"/>
                </a:cubicBezTo>
                <a:cubicBezTo>
                  <a:pt x="161189" y="399694"/>
                  <a:pt x="161189" y="399694"/>
                  <a:pt x="161189" y="399694"/>
                </a:cubicBezTo>
                <a:cubicBezTo>
                  <a:pt x="161803" y="399694"/>
                  <a:pt x="162417" y="399081"/>
                  <a:pt x="162417" y="398468"/>
                </a:cubicBezTo>
                <a:cubicBezTo>
                  <a:pt x="162417" y="394790"/>
                  <a:pt x="162417" y="394790"/>
                  <a:pt x="162417" y="394790"/>
                </a:cubicBezTo>
                <a:cubicBezTo>
                  <a:pt x="162417" y="394177"/>
                  <a:pt x="161803" y="393564"/>
                  <a:pt x="161189" y="393564"/>
                </a:cubicBezTo>
                <a:cubicBezTo>
                  <a:pt x="155052" y="393564"/>
                  <a:pt x="155052" y="393564"/>
                  <a:pt x="155052" y="393564"/>
                </a:cubicBezTo>
                <a:close/>
                <a:moveTo>
                  <a:pt x="144312" y="393564"/>
                </a:moveTo>
                <a:cubicBezTo>
                  <a:pt x="143698" y="393564"/>
                  <a:pt x="143085" y="394177"/>
                  <a:pt x="143085" y="394790"/>
                </a:cubicBezTo>
                <a:cubicBezTo>
                  <a:pt x="143085" y="398468"/>
                  <a:pt x="143085" y="398468"/>
                  <a:pt x="143085" y="398468"/>
                </a:cubicBezTo>
                <a:cubicBezTo>
                  <a:pt x="143085" y="399081"/>
                  <a:pt x="143698" y="399694"/>
                  <a:pt x="144312" y="399694"/>
                </a:cubicBezTo>
                <a:cubicBezTo>
                  <a:pt x="150449" y="399694"/>
                  <a:pt x="150449" y="399694"/>
                  <a:pt x="150449" y="399694"/>
                </a:cubicBezTo>
                <a:cubicBezTo>
                  <a:pt x="151063" y="399694"/>
                  <a:pt x="151677" y="399081"/>
                  <a:pt x="151677" y="398468"/>
                </a:cubicBezTo>
                <a:cubicBezTo>
                  <a:pt x="151677" y="394790"/>
                  <a:pt x="151677" y="394790"/>
                  <a:pt x="151677" y="394790"/>
                </a:cubicBezTo>
                <a:cubicBezTo>
                  <a:pt x="151677" y="394177"/>
                  <a:pt x="151063" y="393564"/>
                  <a:pt x="150449" y="393564"/>
                </a:cubicBezTo>
                <a:cubicBezTo>
                  <a:pt x="144312" y="393564"/>
                  <a:pt x="144312" y="393564"/>
                  <a:pt x="144312" y="393564"/>
                </a:cubicBezTo>
                <a:close/>
                <a:moveTo>
                  <a:pt x="133572" y="393564"/>
                </a:moveTo>
                <a:cubicBezTo>
                  <a:pt x="132958" y="393564"/>
                  <a:pt x="132345" y="394177"/>
                  <a:pt x="132345" y="394790"/>
                </a:cubicBezTo>
                <a:cubicBezTo>
                  <a:pt x="132345" y="398468"/>
                  <a:pt x="132345" y="398468"/>
                  <a:pt x="132345" y="398468"/>
                </a:cubicBezTo>
                <a:cubicBezTo>
                  <a:pt x="132345" y="399081"/>
                  <a:pt x="132958" y="399694"/>
                  <a:pt x="133572" y="399694"/>
                </a:cubicBezTo>
                <a:cubicBezTo>
                  <a:pt x="139709" y="399694"/>
                  <a:pt x="139709" y="399694"/>
                  <a:pt x="139709" y="399694"/>
                </a:cubicBezTo>
                <a:cubicBezTo>
                  <a:pt x="140323" y="399694"/>
                  <a:pt x="140937" y="399081"/>
                  <a:pt x="140937" y="398468"/>
                </a:cubicBezTo>
                <a:cubicBezTo>
                  <a:pt x="140937" y="394790"/>
                  <a:pt x="140937" y="394790"/>
                  <a:pt x="140937" y="394790"/>
                </a:cubicBezTo>
                <a:cubicBezTo>
                  <a:pt x="140937" y="394177"/>
                  <a:pt x="140323" y="393564"/>
                  <a:pt x="139709" y="393564"/>
                </a:cubicBezTo>
                <a:close/>
                <a:moveTo>
                  <a:pt x="206269" y="393214"/>
                </a:moveTo>
                <a:cubicBezTo>
                  <a:pt x="213639" y="393214"/>
                  <a:pt x="219780" y="399033"/>
                  <a:pt x="219780" y="406382"/>
                </a:cubicBezTo>
                <a:lnTo>
                  <a:pt x="213492" y="421388"/>
                </a:lnTo>
                <a:lnTo>
                  <a:pt x="209378" y="415837"/>
                </a:lnTo>
                <a:cubicBezTo>
                  <a:pt x="208725" y="414957"/>
                  <a:pt x="208725" y="414957"/>
                  <a:pt x="208725" y="414957"/>
                </a:cubicBezTo>
                <a:cubicBezTo>
                  <a:pt x="208725" y="414957"/>
                  <a:pt x="208725" y="414957"/>
                  <a:pt x="208418" y="414651"/>
                </a:cubicBezTo>
                <a:cubicBezTo>
                  <a:pt x="207804" y="414344"/>
                  <a:pt x="207190" y="414651"/>
                  <a:pt x="206883" y="415263"/>
                </a:cubicBezTo>
                <a:cubicBezTo>
                  <a:pt x="202277" y="422919"/>
                  <a:pt x="202277" y="422919"/>
                  <a:pt x="202277" y="422919"/>
                </a:cubicBezTo>
                <a:cubicBezTo>
                  <a:pt x="198592" y="413732"/>
                  <a:pt x="198592" y="413732"/>
                  <a:pt x="198592" y="413732"/>
                </a:cubicBezTo>
                <a:cubicBezTo>
                  <a:pt x="198592" y="413426"/>
                  <a:pt x="198285" y="413119"/>
                  <a:pt x="197978" y="413119"/>
                </a:cubicBezTo>
                <a:cubicBezTo>
                  <a:pt x="197363" y="412813"/>
                  <a:pt x="196442" y="413119"/>
                  <a:pt x="196442" y="414038"/>
                </a:cubicBezTo>
                <a:cubicBezTo>
                  <a:pt x="191836" y="426594"/>
                  <a:pt x="191836" y="426594"/>
                  <a:pt x="191836" y="426594"/>
                </a:cubicBezTo>
                <a:cubicBezTo>
                  <a:pt x="190608" y="411894"/>
                  <a:pt x="189993" y="404545"/>
                  <a:pt x="189686" y="400870"/>
                </a:cubicBezTo>
                <a:lnTo>
                  <a:pt x="189659" y="400544"/>
                </a:lnTo>
                <a:lnTo>
                  <a:pt x="193064" y="403014"/>
                </a:lnTo>
                <a:cubicBezTo>
                  <a:pt x="196442" y="396276"/>
                  <a:pt x="199513" y="393214"/>
                  <a:pt x="206269" y="393214"/>
                </a:cubicBezTo>
                <a:close/>
                <a:moveTo>
                  <a:pt x="179553" y="393214"/>
                </a:moveTo>
                <a:lnTo>
                  <a:pt x="184834" y="397045"/>
                </a:lnTo>
                <a:lnTo>
                  <a:pt x="178708" y="415608"/>
                </a:lnTo>
                <a:cubicBezTo>
                  <a:pt x="177710" y="418632"/>
                  <a:pt x="177710" y="418632"/>
                  <a:pt x="177710" y="418632"/>
                </a:cubicBezTo>
                <a:cubicBezTo>
                  <a:pt x="176175" y="414651"/>
                  <a:pt x="176175" y="414651"/>
                  <a:pt x="176175" y="414651"/>
                </a:cubicBezTo>
                <a:cubicBezTo>
                  <a:pt x="176175" y="414344"/>
                  <a:pt x="176175" y="414038"/>
                  <a:pt x="175868" y="414038"/>
                </a:cubicBezTo>
                <a:cubicBezTo>
                  <a:pt x="175561" y="413426"/>
                  <a:pt x="174639" y="413426"/>
                  <a:pt x="174332" y="414038"/>
                </a:cubicBezTo>
                <a:lnTo>
                  <a:pt x="170985" y="417599"/>
                </a:lnTo>
                <a:lnTo>
                  <a:pt x="166348" y="406382"/>
                </a:lnTo>
                <a:cubicBezTo>
                  <a:pt x="166348" y="399033"/>
                  <a:pt x="172183" y="393214"/>
                  <a:pt x="179553" y="393214"/>
                </a:cubicBezTo>
                <a:close/>
                <a:moveTo>
                  <a:pt x="237599" y="389009"/>
                </a:moveTo>
                <a:lnTo>
                  <a:pt x="238765" y="389009"/>
                </a:lnTo>
                <a:lnTo>
                  <a:pt x="238520" y="389315"/>
                </a:lnTo>
                <a:cubicBezTo>
                  <a:pt x="238213" y="389315"/>
                  <a:pt x="237906" y="389315"/>
                  <a:pt x="237599" y="389009"/>
                </a:cubicBezTo>
                <a:close/>
                <a:moveTo>
                  <a:pt x="228700" y="388854"/>
                </a:moveTo>
                <a:lnTo>
                  <a:pt x="228973" y="389009"/>
                </a:lnTo>
                <a:cubicBezTo>
                  <a:pt x="228666" y="389315"/>
                  <a:pt x="228359" y="389315"/>
                  <a:pt x="228052" y="389315"/>
                </a:cubicBezTo>
                <a:lnTo>
                  <a:pt x="227806" y="389009"/>
                </a:lnTo>
                <a:lnTo>
                  <a:pt x="228666" y="389009"/>
                </a:lnTo>
                <a:close/>
                <a:moveTo>
                  <a:pt x="240669" y="385333"/>
                </a:moveTo>
                <a:cubicBezTo>
                  <a:pt x="240362" y="385333"/>
                  <a:pt x="240055" y="385333"/>
                  <a:pt x="239441" y="385639"/>
                </a:cubicBezTo>
                <a:cubicBezTo>
                  <a:pt x="238827" y="385639"/>
                  <a:pt x="238827" y="386252"/>
                  <a:pt x="238827" y="386252"/>
                </a:cubicBezTo>
                <a:cubicBezTo>
                  <a:pt x="239134" y="386558"/>
                  <a:pt x="239441" y="386558"/>
                  <a:pt x="240055" y="386252"/>
                </a:cubicBezTo>
                <a:cubicBezTo>
                  <a:pt x="240362" y="385945"/>
                  <a:pt x="240669" y="385639"/>
                  <a:pt x="240669" y="385333"/>
                </a:cubicBezTo>
                <a:close/>
                <a:moveTo>
                  <a:pt x="225903" y="385333"/>
                </a:moveTo>
                <a:cubicBezTo>
                  <a:pt x="225596" y="385639"/>
                  <a:pt x="225903" y="385945"/>
                  <a:pt x="226517" y="386252"/>
                </a:cubicBezTo>
                <a:cubicBezTo>
                  <a:pt x="226824" y="386558"/>
                  <a:pt x="227438" y="386558"/>
                  <a:pt x="227438" y="386252"/>
                </a:cubicBezTo>
                <a:cubicBezTo>
                  <a:pt x="227745" y="386252"/>
                  <a:pt x="227438" y="385639"/>
                  <a:pt x="226824" y="385639"/>
                </a:cubicBezTo>
                <a:cubicBezTo>
                  <a:pt x="226517" y="385333"/>
                  <a:pt x="225903" y="385333"/>
                  <a:pt x="225903" y="385333"/>
                </a:cubicBezTo>
                <a:close/>
                <a:moveTo>
                  <a:pt x="242746" y="365317"/>
                </a:moveTo>
                <a:cubicBezTo>
                  <a:pt x="243666" y="365317"/>
                  <a:pt x="244280" y="365623"/>
                  <a:pt x="244894" y="365623"/>
                </a:cubicBezTo>
                <a:cubicBezTo>
                  <a:pt x="246429" y="366235"/>
                  <a:pt x="247656" y="366847"/>
                  <a:pt x="249191" y="367153"/>
                </a:cubicBezTo>
                <a:cubicBezTo>
                  <a:pt x="251646" y="368070"/>
                  <a:pt x="255022" y="368376"/>
                  <a:pt x="257478" y="368376"/>
                </a:cubicBezTo>
                <a:cubicBezTo>
                  <a:pt x="263309" y="368376"/>
                  <a:pt x="269448" y="368376"/>
                  <a:pt x="275279" y="368376"/>
                </a:cubicBezTo>
                <a:cubicBezTo>
                  <a:pt x="273438" y="372048"/>
                  <a:pt x="268220" y="373577"/>
                  <a:pt x="264230" y="372660"/>
                </a:cubicBezTo>
                <a:cubicBezTo>
                  <a:pt x="264537" y="373883"/>
                  <a:pt x="263923" y="374801"/>
                  <a:pt x="263002" y="375413"/>
                </a:cubicBezTo>
                <a:cubicBezTo>
                  <a:pt x="261775" y="376331"/>
                  <a:pt x="259933" y="376331"/>
                  <a:pt x="258399" y="375719"/>
                </a:cubicBezTo>
                <a:cubicBezTo>
                  <a:pt x="258092" y="377555"/>
                  <a:pt x="257171" y="378778"/>
                  <a:pt x="255022" y="379390"/>
                </a:cubicBezTo>
                <a:cubicBezTo>
                  <a:pt x="254716" y="379390"/>
                  <a:pt x="254409" y="379390"/>
                  <a:pt x="253795" y="379390"/>
                </a:cubicBezTo>
                <a:cubicBezTo>
                  <a:pt x="253181" y="379390"/>
                  <a:pt x="252567" y="379390"/>
                  <a:pt x="251953" y="379084"/>
                </a:cubicBezTo>
                <a:cubicBezTo>
                  <a:pt x="251033" y="379084"/>
                  <a:pt x="250726" y="378778"/>
                  <a:pt x="249805" y="378167"/>
                </a:cubicBezTo>
                <a:cubicBezTo>
                  <a:pt x="249498" y="379084"/>
                  <a:pt x="249191" y="380308"/>
                  <a:pt x="248270" y="380920"/>
                </a:cubicBezTo>
                <a:cubicBezTo>
                  <a:pt x="247043" y="381532"/>
                  <a:pt x="245508" y="381226"/>
                  <a:pt x="244587" y="380614"/>
                </a:cubicBezTo>
                <a:cubicBezTo>
                  <a:pt x="243973" y="381226"/>
                  <a:pt x="243973" y="381226"/>
                  <a:pt x="243666" y="381532"/>
                </a:cubicBezTo>
                <a:cubicBezTo>
                  <a:pt x="242132" y="382144"/>
                  <a:pt x="239676" y="381226"/>
                  <a:pt x="238142" y="380920"/>
                </a:cubicBezTo>
                <a:cubicBezTo>
                  <a:pt x="237528" y="380614"/>
                  <a:pt x="237221" y="380614"/>
                  <a:pt x="236607" y="380614"/>
                </a:cubicBezTo>
                <a:cubicBezTo>
                  <a:pt x="236607" y="376943"/>
                  <a:pt x="236607" y="373271"/>
                  <a:pt x="236607" y="369600"/>
                </a:cubicBezTo>
                <a:cubicBezTo>
                  <a:pt x="238449" y="369600"/>
                  <a:pt x="238756" y="369600"/>
                  <a:pt x="239676" y="368376"/>
                </a:cubicBezTo>
                <a:cubicBezTo>
                  <a:pt x="240290" y="367458"/>
                  <a:pt x="239983" y="366541"/>
                  <a:pt x="240904" y="365929"/>
                </a:cubicBezTo>
                <a:cubicBezTo>
                  <a:pt x="241518" y="365623"/>
                  <a:pt x="242132" y="365317"/>
                  <a:pt x="242746" y="365317"/>
                </a:cubicBezTo>
                <a:close/>
                <a:moveTo>
                  <a:pt x="223839" y="365317"/>
                </a:moveTo>
                <a:cubicBezTo>
                  <a:pt x="224146" y="365317"/>
                  <a:pt x="224760" y="365623"/>
                  <a:pt x="225373" y="365929"/>
                </a:cubicBezTo>
                <a:cubicBezTo>
                  <a:pt x="226601" y="366541"/>
                  <a:pt x="226294" y="367458"/>
                  <a:pt x="226908" y="368376"/>
                </a:cubicBezTo>
                <a:cubicBezTo>
                  <a:pt x="227829" y="369600"/>
                  <a:pt x="228136" y="369600"/>
                  <a:pt x="229670" y="369600"/>
                </a:cubicBezTo>
                <a:cubicBezTo>
                  <a:pt x="229670" y="373271"/>
                  <a:pt x="229670" y="376943"/>
                  <a:pt x="229670" y="380614"/>
                </a:cubicBezTo>
                <a:cubicBezTo>
                  <a:pt x="229363" y="380614"/>
                  <a:pt x="228749" y="380614"/>
                  <a:pt x="228136" y="380920"/>
                </a:cubicBezTo>
                <a:cubicBezTo>
                  <a:pt x="226601" y="381226"/>
                  <a:pt x="224453" y="382144"/>
                  <a:pt x="222918" y="381532"/>
                </a:cubicBezTo>
                <a:cubicBezTo>
                  <a:pt x="222304" y="381226"/>
                  <a:pt x="222304" y="381226"/>
                  <a:pt x="221997" y="380614"/>
                </a:cubicBezTo>
                <a:cubicBezTo>
                  <a:pt x="220770" y="381226"/>
                  <a:pt x="219542" y="381532"/>
                  <a:pt x="218314" y="380920"/>
                </a:cubicBezTo>
                <a:cubicBezTo>
                  <a:pt x="217087" y="380308"/>
                  <a:pt x="216780" y="379084"/>
                  <a:pt x="216473" y="378167"/>
                </a:cubicBezTo>
                <a:cubicBezTo>
                  <a:pt x="215859" y="378778"/>
                  <a:pt x="215245" y="379084"/>
                  <a:pt x="214631" y="379084"/>
                </a:cubicBezTo>
                <a:cubicBezTo>
                  <a:pt x="213710" y="379390"/>
                  <a:pt x="213403" y="379390"/>
                  <a:pt x="212790" y="379390"/>
                </a:cubicBezTo>
                <a:cubicBezTo>
                  <a:pt x="212176" y="379390"/>
                  <a:pt x="211562" y="379390"/>
                  <a:pt x="211255" y="379390"/>
                </a:cubicBezTo>
                <a:cubicBezTo>
                  <a:pt x="209413" y="378778"/>
                  <a:pt x="208493" y="377555"/>
                  <a:pt x="208186" y="375719"/>
                </a:cubicBezTo>
                <a:cubicBezTo>
                  <a:pt x="206651" y="376331"/>
                  <a:pt x="204810" y="376331"/>
                  <a:pt x="203275" y="375413"/>
                </a:cubicBezTo>
                <a:cubicBezTo>
                  <a:pt x="202661" y="374801"/>
                  <a:pt x="202047" y="373883"/>
                  <a:pt x="202047" y="372660"/>
                </a:cubicBezTo>
                <a:cubicBezTo>
                  <a:pt x="198057" y="373577"/>
                  <a:pt x="193147" y="372048"/>
                  <a:pt x="190998" y="368376"/>
                </a:cubicBezTo>
                <a:cubicBezTo>
                  <a:pt x="197137" y="368376"/>
                  <a:pt x="202968" y="368376"/>
                  <a:pt x="208800" y="368376"/>
                </a:cubicBezTo>
                <a:cubicBezTo>
                  <a:pt x="211562" y="368376"/>
                  <a:pt x="214631" y="368070"/>
                  <a:pt x="217087" y="367153"/>
                </a:cubicBezTo>
                <a:cubicBezTo>
                  <a:pt x="218621" y="366847"/>
                  <a:pt x="219849" y="366235"/>
                  <a:pt x="221383" y="365623"/>
                </a:cubicBezTo>
                <a:cubicBezTo>
                  <a:pt x="222304" y="365623"/>
                  <a:pt x="222918" y="365317"/>
                  <a:pt x="223839" y="365317"/>
                </a:cubicBezTo>
                <a:close/>
                <a:moveTo>
                  <a:pt x="147381" y="360155"/>
                </a:moveTo>
                <a:cubicBezTo>
                  <a:pt x="150449" y="360155"/>
                  <a:pt x="153211" y="361381"/>
                  <a:pt x="155052" y="363220"/>
                </a:cubicBezTo>
                <a:cubicBezTo>
                  <a:pt x="157200" y="365366"/>
                  <a:pt x="158428" y="368124"/>
                  <a:pt x="158428" y="371189"/>
                </a:cubicBezTo>
                <a:cubicBezTo>
                  <a:pt x="158428" y="374254"/>
                  <a:pt x="157200" y="376706"/>
                  <a:pt x="155052" y="378852"/>
                </a:cubicBezTo>
                <a:cubicBezTo>
                  <a:pt x="153211" y="380691"/>
                  <a:pt x="150449" y="381917"/>
                  <a:pt x="147381" y="381917"/>
                </a:cubicBezTo>
                <a:cubicBezTo>
                  <a:pt x="144312" y="381917"/>
                  <a:pt x="141550" y="380691"/>
                  <a:pt x="139709" y="378852"/>
                </a:cubicBezTo>
                <a:cubicBezTo>
                  <a:pt x="137561" y="376706"/>
                  <a:pt x="136334" y="374254"/>
                  <a:pt x="136334" y="371189"/>
                </a:cubicBezTo>
                <a:cubicBezTo>
                  <a:pt x="136334" y="368124"/>
                  <a:pt x="137561" y="365366"/>
                  <a:pt x="139709" y="363220"/>
                </a:cubicBezTo>
                <a:cubicBezTo>
                  <a:pt x="141550" y="361381"/>
                  <a:pt x="144312" y="360155"/>
                  <a:pt x="147381" y="360155"/>
                </a:cubicBezTo>
                <a:close/>
                <a:moveTo>
                  <a:pt x="233293" y="358970"/>
                </a:moveTo>
                <a:cubicBezTo>
                  <a:pt x="235769" y="358970"/>
                  <a:pt x="237935" y="360806"/>
                  <a:pt x="237935" y="363561"/>
                </a:cubicBezTo>
                <a:cubicBezTo>
                  <a:pt x="237935" y="365397"/>
                  <a:pt x="237007" y="367233"/>
                  <a:pt x="235150" y="367845"/>
                </a:cubicBezTo>
                <a:lnTo>
                  <a:pt x="234823" y="392548"/>
                </a:lnTo>
                <a:lnTo>
                  <a:pt x="244967" y="390235"/>
                </a:lnTo>
                <a:cubicBezTo>
                  <a:pt x="245581" y="389622"/>
                  <a:pt x="246195" y="388703"/>
                  <a:pt x="245581" y="387784"/>
                </a:cubicBezTo>
                <a:cubicBezTo>
                  <a:pt x="245274" y="387477"/>
                  <a:pt x="244967" y="387171"/>
                  <a:pt x="244353" y="387171"/>
                </a:cubicBezTo>
                <a:cubicBezTo>
                  <a:pt x="244046" y="387477"/>
                  <a:pt x="242511" y="388703"/>
                  <a:pt x="241590" y="389009"/>
                </a:cubicBezTo>
                <a:lnTo>
                  <a:pt x="238765" y="389009"/>
                </a:lnTo>
                <a:lnTo>
                  <a:pt x="239748" y="387784"/>
                </a:lnTo>
                <a:cubicBezTo>
                  <a:pt x="239134" y="388396"/>
                  <a:pt x="238213" y="388703"/>
                  <a:pt x="237599" y="389009"/>
                </a:cubicBezTo>
                <a:cubicBezTo>
                  <a:pt x="236678" y="388703"/>
                  <a:pt x="236678" y="387171"/>
                  <a:pt x="237292" y="386252"/>
                </a:cubicBezTo>
                <a:cubicBezTo>
                  <a:pt x="237599" y="385333"/>
                  <a:pt x="238520" y="384414"/>
                  <a:pt x="239134" y="383801"/>
                </a:cubicBezTo>
                <a:cubicBezTo>
                  <a:pt x="239748" y="383495"/>
                  <a:pt x="240362" y="383495"/>
                  <a:pt x="240976" y="383188"/>
                </a:cubicBezTo>
                <a:cubicBezTo>
                  <a:pt x="243125" y="382882"/>
                  <a:pt x="246502" y="383495"/>
                  <a:pt x="248037" y="384414"/>
                </a:cubicBezTo>
                <a:cubicBezTo>
                  <a:pt x="249572" y="385639"/>
                  <a:pt x="250186" y="387171"/>
                  <a:pt x="249879" y="388703"/>
                </a:cubicBezTo>
                <a:cubicBezTo>
                  <a:pt x="249879" y="390235"/>
                  <a:pt x="249265" y="391460"/>
                  <a:pt x="248344" y="392379"/>
                </a:cubicBezTo>
                <a:lnTo>
                  <a:pt x="241319" y="396399"/>
                </a:lnTo>
                <a:lnTo>
                  <a:pt x="242481" y="404327"/>
                </a:lnTo>
                <a:lnTo>
                  <a:pt x="237578" y="406880"/>
                </a:lnTo>
                <a:lnTo>
                  <a:pt x="240055" y="408004"/>
                </a:lnTo>
                <a:cubicBezTo>
                  <a:pt x="242818" y="409842"/>
                  <a:pt x="242818" y="412599"/>
                  <a:pt x="241590" y="415356"/>
                </a:cubicBezTo>
                <a:cubicBezTo>
                  <a:pt x="240669" y="416888"/>
                  <a:pt x="239748" y="417501"/>
                  <a:pt x="237906" y="418114"/>
                </a:cubicBezTo>
                <a:lnTo>
                  <a:pt x="235841" y="418702"/>
                </a:lnTo>
                <a:lnTo>
                  <a:pt x="239718" y="422403"/>
                </a:lnTo>
                <a:lnTo>
                  <a:pt x="235034" y="429001"/>
                </a:lnTo>
                <a:lnTo>
                  <a:pt x="236678" y="431134"/>
                </a:lnTo>
                <a:cubicBezTo>
                  <a:pt x="238520" y="433202"/>
                  <a:pt x="240208" y="434964"/>
                  <a:pt x="240362" y="435270"/>
                </a:cubicBezTo>
                <a:cubicBezTo>
                  <a:pt x="239441" y="435576"/>
                  <a:pt x="238213" y="434657"/>
                  <a:pt x="237906" y="434657"/>
                </a:cubicBezTo>
                <a:lnTo>
                  <a:pt x="234303" y="431781"/>
                </a:lnTo>
                <a:lnTo>
                  <a:pt x="234236" y="436834"/>
                </a:lnTo>
                <a:cubicBezTo>
                  <a:pt x="234221" y="437929"/>
                  <a:pt x="234221" y="437929"/>
                  <a:pt x="234221" y="437929"/>
                </a:cubicBezTo>
                <a:cubicBezTo>
                  <a:pt x="234221" y="445274"/>
                  <a:pt x="232365" y="446498"/>
                  <a:pt x="232365" y="437929"/>
                </a:cubicBezTo>
                <a:lnTo>
                  <a:pt x="232252" y="431549"/>
                </a:lnTo>
                <a:lnTo>
                  <a:pt x="228359" y="434657"/>
                </a:lnTo>
                <a:cubicBezTo>
                  <a:pt x="228359" y="434657"/>
                  <a:pt x="227131" y="435576"/>
                  <a:pt x="225903" y="435270"/>
                </a:cubicBezTo>
                <a:cubicBezTo>
                  <a:pt x="226056" y="434964"/>
                  <a:pt x="227822" y="433202"/>
                  <a:pt x="229740" y="431134"/>
                </a:cubicBezTo>
                <a:lnTo>
                  <a:pt x="231343" y="429122"/>
                </a:lnTo>
                <a:lnTo>
                  <a:pt x="226853" y="422403"/>
                </a:lnTo>
                <a:lnTo>
                  <a:pt x="230695" y="418735"/>
                </a:lnTo>
                <a:lnTo>
                  <a:pt x="228359" y="418114"/>
                </a:lnTo>
                <a:cubicBezTo>
                  <a:pt x="226824" y="417501"/>
                  <a:pt x="225596" y="416888"/>
                  <a:pt x="224982" y="415356"/>
                </a:cubicBezTo>
                <a:cubicBezTo>
                  <a:pt x="223446" y="412599"/>
                  <a:pt x="223753" y="409842"/>
                  <a:pt x="226517" y="408004"/>
                </a:cubicBezTo>
                <a:lnTo>
                  <a:pt x="228945" y="406902"/>
                </a:lnTo>
                <a:lnTo>
                  <a:pt x="223783" y="404327"/>
                </a:lnTo>
                <a:lnTo>
                  <a:pt x="225066" y="396349"/>
                </a:lnTo>
                <a:lnTo>
                  <a:pt x="218227" y="392379"/>
                </a:lnTo>
                <a:cubicBezTo>
                  <a:pt x="216999" y="391460"/>
                  <a:pt x="216385" y="390235"/>
                  <a:pt x="216385" y="388703"/>
                </a:cubicBezTo>
                <a:cubicBezTo>
                  <a:pt x="216385" y="387171"/>
                  <a:pt x="216692" y="385639"/>
                  <a:pt x="218227" y="384414"/>
                </a:cubicBezTo>
                <a:cubicBezTo>
                  <a:pt x="220069" y="383495"/>
                  <a:pt x="223446" y="382882"/>
                  <a:pt x="225289" y="383188"/>
                </a:cubicBezTo>
                <a:cubicBezTo>
                  <a:pt x="225903" y="383495"/>
                  <a:pt x="226517" y="383495"/>
                  <a:pt x="227131" y="383801"/>
                </a:cubicBezTo>
                <a:cubicBezTo>
                  <a:pt x="228052" y="384414"/>
                  <a:pt x="228666" y="385333"/>
                  <a:pt x="229280" y="386252"/>
                </a:cubicBezTo>
                <a:lnTo>
                  <a:pt x="228700" y="388854"/>
                </a:lnTo>
                <a:lnTo>
                  <a:pt x="226824" y="387784"/>
                </a:lnTo>
                <a:lnTo>
                  <a:pt x="227806" y="389009"/>
                </a:lnTo>
                <a:lnTo>
                  <a:pt x="224675" y="389009"/>
                </a:lnTo>
                <a:cubicBezTo>
                  <a:pt x="223753" y="388703"/>
                  <a:pt x="222525" y="387477"/>
                  <a:pt x="221911" y="387171"/>
                </a:cubicBezTo>
                <a:cubicBezTo>
                  <a:pt x="221604" y="387171"/>
                  <a:pt x="220990" y="387477"/>
                  <a:pt x="220683" y="387784"/>
                </a:cubicBezTo>
                <a:cubicBezTo>
                  <a:pt x="220069" y="388703"/>
                  <a:pt x="220683" y="389622"/>
                  <a:pt x="221604" y="390235"/>
                </a:cubicBezTo>
                <a:lnTo>
                  <a:pt x="231564" y="392573"/>
                </a:lnTo>
                <a:lnTo>
                  <a:pt x="231281" y="376606"/>
                </a:lnTo>
                <a:cubicBezTo>
                  <a:pt x="231127" y="367845"/>
                  <a:pt x="231127" y="367845"/>
                  <a:pt x="231127" y="367845"/>
                </a:cubicBezTo>
                <a:cubicBezTo>
                  <a:pt x="229579" y="367233"/>
                  <a:pt x="228341" y="365397"/>
                  <a:pt x="228341" y="363561"/>
                </a:cubicBezTo>
                <a:cubicBezTo>
                  <a:pt x="228341" y="360806"/>
                  <a:pt x="230508" y="358970"/>
                  <a:pt x="233293" y="358970"/>
                </a:cubicBezTo>
                <a:close/>
                <a:moveTo>
                  <a:pt x="147381" y="358929"/>
                </a:moveTo>
                <a:cubicBezTo>
                  <a:pt x="144005" y="358929"/>
                  <a:pt x="140937" y="360155"/>
                  <a:pt x="138789" y="362301"/>
                </a:cubicBezTo>
                <a:cubicBezTo>
                  <a:pt x="136334" y="364753"/>
                  <a:pt x="135106" y="367818"/>
                  <a:pt x="135106" y="371189"/>
                </a:cubicBezTo>
                <a:cubicBezTo>
                  <a:pt x="135106" y="374561"/>
                  <a:pt x="136334" y="377626"/>
                  <a:pt x="138789" y="379771"/>
                </a:cubicBezTo>
                <a:cubicBezTo>
                  <a:pt x="140937" y="381917"/>
                  <a:pt x="144005" y="383449"/>
                  <a:pt x="147381" y="383449"/>
                </a:cubicBezTo>
                <a:cubicBezTo>
                  <a:pt x="150756" y="383449"/>
                  <a:pt x="153825" y="381917"/>
                  <a:pt x="155973" y="379771"/>
                </a:cubicBezTo>
                <a:cubicBezTo>
                  <a:pt x="158428" y="377626"/>
                  <a:pt x="159655" y="374561"/>
                  <a:pt x="159655" y="371189"/>
                </a:cubicBezTo>
                <a:cubicBezTo>
                  <a:pt x="159655" y="367818"/>
                  <a:pt x="158428" y="364753"/>
                  <a:pt x="155973" y="362301"/>
                </a:cubicBezTo>
                <a:cubicBezTo>
                  <a:pt x="153825" y="360155"/>
                  <a:pt x="150756" y="358929"/>
                  <a:pt x="147381" y="358929"/>
                </a:cubicBezTo>
                <a:close/>
                <a:moveTo>
                  <a:pt x="292250" y="353965"/>
                </a:moveTo>
                <a:cubicBezTo>
                  <a:pt x="287954" y="353965"/>
                  <a:pt x="284271" y="357336"/>
                  <a:pt x="284271" y="361933"/>
                </a:cubicBezTo>
                <a:cubicBezTo>
                  <a:pt x="284271" y="366224"/>
                  <a:pt x="287954" y="369595"/>
                  <a:pt x="292250" y="369595"/>
                </a:cubicBezTo>
                <a:cubicBezTo>
                  <a:pt x="296547" y="369595"/>
                  <a:pt x="299922" y="366224"/>
                  <a:pt x="299922" y="361933"/>
                </a:cubicBezTo>
                <a:cubicBezTo>
                  <a:pt x="299922" y="357336"/>
                  <a:pt x="296547" y="353965"/>
                  <a:pt x="292250" y="353965"/>
                </a:cubicBezTo>
                <a:close/>
                <a:moveTo>
                  <a:pt x="248047" y="347918"/>
                </a:moveTo>
                <a:cubicBezTo>
                  <a:pt x="247740" y="347918"/>
                  <a:pt x="247434" y="347918"/>
                  <a:pt x="247128" y="348224"/>
                </a:cubicBezTo>
                <a:cubicBezTo>
                  <a:pt x="246822" y="348531"/>
                  <a:pt x="246515" y="349143"/>
                  <a:pt x="246515" y="349449"/>
                </a:cubicBezTo>
                <a:cubicBezTo>
                  <a:pt x="246515" y="349756"/>
                  <a:pt x="246822" y="350368"/>
                  <a:pt x="247128" y="350674"/>
                </a:cubicBezTo>
                <a:cubicBezTo>
                  <a:pt x="247434" y="350674"/>
                  <a:pt x="247740" y="350981"/>
                  <a:pt x="248047" y="350981"/>
                </a:cubicBezTo>
                <a:cubicBezTo>
                  <a:pt x="248659" y="350981"/>
                  <a:pt x="248966" y="350674"/>
                  <a:pt x="249272" y="350674"/>
                </a:cubicBezTo>
                <a:cubicBezTo>
                  <a:pt x="249578" y="350368"/>
                  <a:pt x="249578" y="349756"/>
                  <a:pt x="249578" y="349449"/>
                </a:cubicBezTo>
                <a:cubicBezTo>
                  <a:pt x="249578" y="349143"/>
                  <a:pt x="249578" y="348531"/>
                  <a:pt x="249272" y="348224"/>
                </a:cubicBezTo>
                <a:cubicBezTo>
                  <a:pt x="248966" y="347918"/>
                  <a:pt x="248659" y="347918"/>
                  <a:pt x="248047" y="347918"/>
                </a:cubicBezTo>
                <a:close/>
                <a:moveTo>
                  <a:pt x="248047" y="343324"/>
                </a:moveTo>
                <a:cubicBezTo>
                  <a:pt x="251416" y="343324"/>
                  <a:pt x="254172" y="346080"/>
                  <a:pt x="254172" y="349449"/>
                </a:cubicBezTo>
                <a:cubicBezTo>
                  <a:pt x="254172" y="352818"/>
                  <a:pt x="251416" y="355575"/>
                  <a:pt x="248047" y="355575"/>
                </a:cubicBezTo>
                <a:cubicBezTo>
                  <a:pt x="244678" y="355575"/>
                  <a:pt x="241921" y="352818"/>
                  <a:pt x="241921" y="349449"/>
                </a:cubicBezTo>
                <a:cubicBezTo>
                  <a:pt x="241921" y="346080"/>
                  <a:pt x="244678" y="343324"/>
                  <a:pt x="248047" y="343324"/>
                </a:cubicBezTo>
                <a:close/>
                <a:moveTo>
                  <a:pt x="248047" y="342037"/>
                </a:moveTo>
                <a:cubicBezTo>
                  <a:pt x="245603" y="342037"/>
                  <a:pt x="243159" y="343260"/>
                  <a:pt x="241327" y="344788"/>
                </a:cubicBezTo>
                <a:cubicBezTo>
                  <a:pt x="239494" y="346621"/>
                  <a:pt x="238578" y="349066"/>
                  <a:pt x="238578" y="351817"/>
                </a:cubicBezTo>
                <a:cubicBezTo>
                  <a:pt x="238578" y="354262"/>
                  <a:pt x="239494" y="356706"/>
                  <a:pt x="241327" y="358540"/>
                </a:cubicBezTo>
                <a:cubicBezTo>
                  <a:pt x="243159" y="360068"/>
                  <a:pt x="245603" y="361290"/>
                  <a:pt x="248047" y="361290"/>
                </a:cubicBezTo>
                <a:cubicBezTo>
                  <a:pt x="250796" y="361290"/>
                  <a:pt x="253240" y="360068"/>
                  <a:pt x="255072" y="358540"/>
                </a:cubicBezTo>
                <a:cubicBezTo>
                  <a:pt x="256600" y="356706"/>
                  <a:pt x="257821" y="354262"/>
                  <a:pt x="257821" y="351817"/>
                </a:cubicBezTo>
                <a:cubicBezTo>
                  <a:pt x="257821" y="349066"/>
                  <a:pt x="256600" y="346621"/>
                  <a:pt x="255072" y="344788"/>
                </a:cubicBezTo>
                <a:cubicBezTo>
                  <a:pt x="253240" y="343260"/>
                  <a:pt x="250796" y="342037"/>
                  <a:pt x="248047" y="342037"/>
                </a:cubicBezTo>
                <a:close/>
                <a:moveTo>
                  <a:pt x="201047" y="341678"/>
                </a:moveTo>
                <a:cubicBezTo>
                  <a:pt x="200125" y="342597"/>
                  <a:pt x="200125" y="343823"/>
                  <a:pt x="201047" y="344743"/>
                </a:cubicBezTo>
                <a:cubicBezTo>
                  <a:pt x="201970" y="345356"/>
                  <a:pt x="203200" y="345356"/>
                  <a:pt x="203815" y="344743"/>
                </a:cubicBezTo>
                <a:cubicBezTo>
                  <a:pt x="204737" y="343823"/>
                  <a:pt x="204737" y="342597"/>
                  <a:pt x="203815" y="341678"/>
                </a:cubicBezTo>
                <a:cubicBezTo>
                  <a:pt x="203200" y="341064"/>
                  <a:pt x="201970" y="341064"/>
                  <a:pt x="201047" y="341678"/>
                </a:cubicBezTo>
                <a:close/>
                <a:moveTo>
                  <a:pt x="213417" y="338850"/>
                </a:moveTo>
                <a:lnTo>
                  <a:pt x="205895" y="346348"/>
                </a:lnTo>
                <a:lnTo>
                  <a:pt x="203073" y="349162"/>
                </a:lnTo>
                <a:lnTo>
                  <a:pt x="208922" y="355034"/>
                </a:lnTo>
                <a:cubicBezTo>
                  <a:pt x="212729" y="358855"/>
                  <a:pt x="212729" y="358855"/>
                  <a:pt x="212729" y="358855"/>
                </a:cubicBezTo>
                <a:cubicBezTo>
                  <a:pt x="214267" y="360078"/>
                  <a:pt x="216112" y="360995"/>
                  <a:pt x="217958" y="360995"/>
                </a:cubicBezTo>
                <a:cubicBezTo>
                  <a:pt x="219803" y="360995"/>
                  <a:pt x="221649" y="360078"/>
                  <a:pt x="223187" y="358855"/>
                </a:cubicBezTo>
                <a:cubicBezTo>
                  <a:pt x="224417" y="357327"/>
                  <a:pt x="225032" y="355493"/>
                  <a:pt x="225032" y="353659"/>
                </a:cubicBezTo>
                <a:cubicBezTo>
                  <a:pt x="225032" y="351825"/>
                  <a:pt x="224417" y="349991"/>
                  <a:pt x="223187" y="348462"/>
                </a:cubicBezTo>
                <a:close/>
                <a:moveTo>
                  <a:pt x="196435" y="337079"/>
                </a:moveTo>
                <a:cubicBezTo>
                  <a:pt x="195512" y="337999"/>
                  <a:pt x="195512" y="339225"/>
                  <a:pt x="196435" y="340145"/>
                </a:cubicBezTo>
                <a:cubicBezTo>
                  <a:pt x="197050" y="340758"/>
                  <a:pt x="198587" y="340758"/>
                  <a:pt x="199202" y="340145"/>
                </a:cubicBezTo>
                <a:cubicBezTo>
                  <a:pt x="200125" y="339225"/>
                  <a:pt x="200125" y="337999"/>
                  <a:pt x="199202" y="337079"/>
                </a:cubicBezTo>
                <a:cubicBezTo>
                  <a:pt x="198587" y="336466"/>
                  <a:pt x="197050" y="336466"/>
                  <a:pt x="196435" y="337079"/>
                </a:cubicBezTo>
                <a:close/>
                <a:moveTo>
                  <a:pt x="205967" y="336773"/>
                </a:moveTo>
                <a:cubicBezTo>
                  <a:pt x="205352" y="337386"/>
                  <a:pt x="205352" y="338918"/>
                  <a:pt x="205967" y="339532"/>
                </a:cubicBezTo>
                <a:cubicBezTo>
                  <a:pt x="206890" y="340451"/>
                  <a:pt x="208120" y="340451"/>
                  <a:pt x="209042" y="339532"/>
                </a:cubicBezTo>
                <a:cubicBezTo>
                  <a:pt x="209657" y="338918"/>
                  <a:pt x="209657" y="337386"/>
                  <a:pt x="209042" y="336773"/>
                </a:cubicBezTo>
                <a:cubicBezTo>
                  <a:pt x="208120" y="335853"/>
                  <a:pt x="206890" y="335853"/>
                  <a:pt x="205967" y="336773"/>
                </a:cubicBezTo>
                <a:close/>
                <a:moveTo>
                  <a:pt x="201355" y="332174"/>
                </a:moveTo>
                <a:cubicBezTo>
                  <a:pt x="200740" y="332787"/>
                  <a:pt x="200740" y="334014"/>
                  <a:pt x="201355" y="334933"/>
                </a:cubicBezTo>
                <a:cubicBezTo>
                  <a:pt x="202277" y="335853"/>
                  <a:pt x="203507" y="335853"/>
                  <a:pt x="204430" y="334933"/>
                </a:cubicBezTo>
                <a:cubicBezTo>
                  <a:pt x="205045" y="334014"/>
                  <a:pt x="205045" y="332787"/>
                  <a:pt x="204430" y="332174"/>
                </a:cubicBezTo>
                <a:cubicBezTo>
                  <a:pt x="203507" y="331255"/>
                  <a:pt x="202277" y="331255"/>
                  <a:pt x="201355" y="332174"/>
                </a:cubicBezTo>
                <a:close/>
                <a:moveTo>
                  <a:pt x="153802" y="323988"/>
                </a:moveTo>
                <a:cubicBezTo>
                  <a:pt x="150721" y="325213"/>
                  <a:pt x="148257" y="328583"/>
                  <a:pt x="148257" y="332259"/>
                </a:cubicBezTo>
                <a:cubicBezTo>
                  <a:pt x="148257" y="335935"/>
                  <a:pt x="150721" y="338999"/>
                  <a:pt x="153802" y="340224"/>
                </a:cubicBezTo>
                <a:cubicBezTo>
                  <a:pt x="149797" y="339611"/>
                  <a:pt x="146717" y="336241"/>
                  <a:pt x="146717" y="332259"/>
                </a:cubicBezTo>
                <a:cubicBezTo>
                  <a:pt x="146717" y="327970"/>
                  <a:pt x="149797" y="324601"/>
                  <a:pt x="153802" y="323988"/>
                </a:cubicBezTo>
                <a:close/>
                <a:moveTo>
                  <a:pt x="262733" y="321184"/>
                </a:moveTo>
                <a:cubicBezTo>
                  <a:pt x="266122" y="321184"/>
                  <a:pt x="267970" y="323022"/>
                  <a:pt x="269818" y="326393"/>
                </a:cubicBezTo>
                <a:cubicBezTo>
                  <a:pt x="271667" y="323022"/>
                  <a:pt x="273515" y="321184"/>
                  <a:pt x="276903" y="321184"/>
                </a:cubicBezTo>
                <a:cubicBezTo>
                  <a:pt x="280908" y="321184"/>
                  <a:pt x="283988" y="324248"/>
                  <a:pt x="283988" y="328232"/>
                </a:cubicBezTo>
                <a:cubicBezTo>
                  <a:pt x="283988" y="335280"/>
                  <a:pt x="276903" y="342328"/>
                  <a:pt x="269818" y="349376"/>
                </a:cubicBezTo>
                <a:cubicBezTo>
                  <a:pt x="262733" y="342328"/>
                  <a:pt x="255648" y="335280"/>
                  <a:pt x="255648" y="328232"/>
                </a:cubicBezTo>
                <a:cubicBezTo>
                  <a:pt x="255648" y="324248"/>
                  <a:pt x="258729" y="321184"/>
                  <a:pt x="262733" y="321184"/>
                </a:cubicBezTo>
                <a:close/>
                <a:moveTo>
                  <a:pt x="147603" y="320888"/>
                </a:moveTo>
                <a:cubicBezTo>
                  <a:pt x="143336" y="322731"/>
                  <a:pt x="140289" y="327031"/>
                  <a:pt x="140289" y="332253"/>
                </a:cubicBezTo>
                <a:cubicBezTo>
                  <a:pt x="140289" y="337168"/>
                  <a:pt x="143336" y="341469"/>
                  <a:pt x="147603" y="343619"/>
                </a:cubicBezTo>
                <a:cubicBezTo>
                  <a:pt x="142117" y="342697"/>
                  <a:pt x="138156" y="337783"/>
                  <a:pt x="138156" y="332253"/>
                </a:cubicBezTo>
                <a:cubicBezTo>
                  <a:pt x="138156" y="326417"/>
                  <a:pt x="142117" y="321809"/>
                  <a:pt x="147603" y="320888"/>
                </a:cubicBezTo>
                <a:close/>
                <a:moveTo>
                  <a:pt x="157200" y="320003"/>
                </a:moveTo>
                <a:cubicBezTo>
                  <a:pt x="160883" y="320003"/>
                  <a:pt x="160883" y="320003"/>
                  <a:pt x="160883" y="320003"/>
                </a:cubicBezTo>
                <a:cubicBezTo>
                  <a:pt x="161803" y="320003"/>
                  <a:pt x="162110" y="320616"/>
                  <a:pt x="162110" y="321229"/>
                </a:cubicBezTo>
                <a:cubicBezTo>
                  <a:pt x="162110" y="351573"/>
                  <a:pt x="162110" y="351573"/>
                  <a:pt x="162110" y="351573"/>
                </a:cubicBezTo>
                <a:cubicBezTo>
                  <a:pt x="163644" y="352799"/>
                  <a:pt x="164872" y="354638"/>
                  <a:pt x="164872" y="356477"/>
                </a:cubicBezTo>
                <a:cubicBezTo>
                  <a:pt x="164872" y="444751"/>
                  <a:pt x="164872" y="444751"/>
                  <a:pt x="164872" y="444751"/>
                </a:cubicBezTo>
                <a:cubicBezTo>
                  <a:pt x="164872" y="446590"/>
                  <a:pt x="163337" y="448122"/>
                  <a:pt x="161496" y="448122"/>
                </a:cubicBezTo>
                <a:cubicBezTo>
                  <a:pt x="133265" y="448122"/>
                  <a:pt x="133265" y="448122"/>
                  <a:pt x="133265" y="448122"/>
                </a:cubicBezTo>
                <a:cubicBezTo>
                  <a:pt x="131424" y="448122"/>
                  <a:pt x="129890" y="446590"/>
                  <a:pt x="129890" y="444751"/>
                </a:cubicBezTo>
                <a:cubicBezTo>
                  <a:pt x="129890" y="357396"/>
                  <a:pt x="129890" y="357396"/>
                  <a:pt x="129890" y="357396"/>
                </a:cubicBezTo>
                <a:cubicBezTo>
                  <a:pt x="129890" y="353412"/>
                  <a:pt x="133265" y="350347"/>
                  <a:pt x="136948" y="350347"/>
                </a:cubicBezTo>
                <a:cubicBezTo>
                  <a:pt x="155973" y="350347"/>
                  <a:pt x="155973" y="350347"/>
                  <a:pt x="155973" y="350347"/>
                </a:cubicBezTo>
                <a:cubicBezTo>
                  <a:pt x="155973" y="321229"/>
                  <a:pt x="155973" y="321229"/>
                  <a:pt x="155973" y="321229"/>
                </a:cubicBezTo>
                <a:cubicBezTo>
                  <a:pt x="155973" y="320616"/>
                  <a:pt x="156587" y="320003"/>
                  <a:pt x="157200" y="320003"/>
                </a:cubicBezTo>
                <a:close/>
                <a:moveTo>
                  <a:pt x="295319" y="317800"/>
                </a:moveTo>
                <a:cubicBezTo>
                  <a:pt x="304219" y="320559"/>
                  <a:pt x="304219" y="320559"/>
                  <a:pt x="304219" y="320559"/>
                </a:cubicBezTo>
                <a:cubicBezTo>
                  <a:pt x="304526" y="320559"/>
                  <a:pt x="304833" y="321172"/>
                  <a:pt x="304833" y="321785"/>
                </a:cubicBezTo>
                <a:cubicBezTo>
                  <a:pt x="303912" y="323930"/>
                  <a:pt x="303912" y="323930"/>
                  <a:pt x="303912" y="323930"/>
                </a:cubicBezTo>
                <a:cubicBezTo>
                  <a:pt x="303912" y="324543"/>
                  <a:pt x="303298" y="324849"/>
                  <a:pt x="302991" y="324543"/>
                </a:cubicBezTo>
                <a:cubicBezTo>
                  <a:pt x="302378" y="324543"/>
                  <a:pt x="302378" y="324543"/>
                  <a:pt x="302378" y="324543"/>
                </a:cubicBezTo>
                <a:cubicBezTo>
                  <a:pt x="298081" y="338028"/>
                  <a:pt x="298081" y="338028"/>
                  <a:pt x="298081" y="338028"/>
                </a:cubicBezTo>
                <a:cubicBezTo>
                  <a:pt x="299002" y="338334"/>
                  <a:pt x="299002" y="338334"/>
                  <a:pt x="299002" y="338334"/>
                </a:cubicBezTo>
                <a:cubicBezTo>
                  <a:pt x="300536" y="338641"/>
                  <a:pt x="301150" y="340173"/>
                  <a:pt x="300843" y="341706"/>
                </a:cubicBezTo>
                <a:cubicBezTo>
                  <a:pt x="299002" y="347835"/>
                  <a:pt x="299002" y="347835"/>
                  <a:pt x="299002" y="347835"/>
                </a:cubicBezTo>
                <a:cubicBezTo>
                  <a:pt x="300536" y="348142"/>
                  <a:pt x="302071" y="349368"/>
                  <a:pt x="303605" y="350593"/>
                </a:cubicBezTo>
                <a:cubicBezTo>
                  <a:pt x="327235" y="370514"/>
                  <a:pt x="321711" y="409131"/>
                  <a:pt x="299002" y="425374"/>
                </a:cubicBezTo>
                <a:cubicBezTo>
                  <a:pt x="307901" y="440392"/>
                  <a:pt x="307901" y="440392"/>
                  <a:pt x="307901" y="440392"/>
                </a:cubicBezTo>
                <a:cubicBezTo>
                  <a:pt x="312505" y="440392"/>
                  <a:pt x="312505" y="440392"/>
                  <a:pt x="312505" y="440392"/>
                </a:cubicBezTo>
                <a:cubicBezTo>
                  <a:pt x="313425" y="440392"/>
                  <a:pt x="314039" y="441004"/>
                  <a:pt x="314039" y="441924"/>
                </a:cubicBezTo>
                <a:cubicBezTo>
                  <a:pt x="314039" y="444376"/>
                  <a:pt x="314039" y="444376"/>
                  <a:pt x="314039" y="444376"/>
                </a:cubicBezTo>
                <a:cubicBezTo>
                  <a:pt x="314039" y="445295"/>
                  <a:pt x="313425" y="445908"/>
                  <a:pt x="312505" y="445908"/>
                </a:cubicBezTo>
                <a:cubicBezTo>
                  <a:pt x="243456" y="445908"/>
                  <a:pt x="243456" y="445908"/>
                  <a:pt x="243456" y="445908"/>
                </a:cubicBezTo>
                <a:cubicBezTo>
                  <a:pt x="242535" y="445908"/>
                  <a:pt x="241921" y="445295"/>
                  <a:pt x="241921" y="444376"/>
                </a:cubicBezTo>
                <a:cubicBezTo>
                  <a:pt x="241921" y="441924"/>
                  <a:pt x="241921" y="441924"/>
                  <a:pt x="241921" y="441924"/>
                </a:cubicBezTo>
                <a:cubicBezTo>
                  <a:pt x="241921" y="441004"/>
                  <a:pt x="242535" y="440392"/>
                  <a:pt x="243456" y="440392"/>
                </a:cubicBezTo>
                <a:cubicBezTo>
                  <a:pt x="280896" y="440392"/>
                  <a:pt x="280896" y="440392"/>
                  <a:pt x="280896" y="440392"/>
                </a:cubicBezTo>
                <a:cubicBezTo>
                  <a:pt x="280896" y="432730"/>
                  <a:pt x="280896" y="432730"/>
                  <a:pt x="280896" y="432730"/>
                </a:cubicBezTo>
                <a:cubicBezTo>
                  <a:pt x="276292" y="433649"/>
                  <a:pt x="271075" y="433956"/>
                  <a:pt x="273224" y="429052"/>
                </a:cubicBezTo>
                <a:cubicBezTo>
                  <a:pt x="273530" y="428132"/>
                  <a:pt x="273530" y="428132"/>
                  <a:pt x="273530" y="428132"/>
                </a:cubicBezTo>
                <a:cubicBezTo>
                  <a:pt x="270155" y="427213"/>
                  <a:pt x="270155" y="427213"/>
                  <a:pt x="270155" y="427213"/>
                </a:cubicBezTo>
                <a:cubicBezTo>
                  <a:pt x="268620" y="427826"/>
                  <a:pt x="265858" y="428132"/>
                  <a:pt x="262789" y="427519"/>
                </a:cubicBezTo>
                <a:cubicBezTo>
                  <a:pt x="257572" y="426600"/>
                  <a:pt x="253276" y="423842"/>
                  <a:pt x="253276" y="421083"/>
                </a:cubicBezTo>
                <a:cubicBezTo>
                  <a:pt x="253276" y="418325"/>
                  <a:pt x="257572" y="417099"/>
                  <a:pt x="262789" y="418019"/>
                </a:cubicBezTo>
                <a:cubicBezTo>
                  <a:pt x="268006" y="419245"/>
                  <a:pt x="271996" y="422003"/>
                  <a:pt x="271996" y="424761"/>
                </a:cubicBezTo>
                <a:cubicBezTo>
                  <a:pt x="271996" y="425068"/>
                  <a:pt x="271996" y="425374"/>
                  <a:pt x="271996" y="425681"/>
                </a:cubicBezTo>
                <a:cubicBezTo>
                  <a:pt x="274451" y="426294"/>
                  <a:pt x="274451" y="426294"/>
                  <a:pt x="274451" y="426294"/>
                </a:cubicBezTo>
                <a:cubicBezTo>
                  <a:pt x="277213" y="420164"/>
                  <a:pt x="279668" y="414341"/>
                  <a:pt x="282430" y="408211"/>
                </a:cubicBezTo>
                <a:cubicBezTo>
                  <a:pt x="251742" y="400243"/>
                  <a:pt x="251742" y="400243"/>
                  <a:pt x="251742" y="400243"/>
                </a:cubicBezTo>
                <a:cubicBezTo>
                  <a:pt x="251128" y="399937"/>
                  <a:pt x="250821" y="399324"/>
                  <a:pt x="250821" y="398711"/>
                </a:cubicBezTo>
                <a:cubicBezTo>
                  <a:pt x="251742" y="395952"/>
                  <a:pt x="251742" y="395952"/>
                  <a:pt x="251742" y="395952"/>
                </a:cubicBezTo>
                <a:cubicBezTo>
                  <a:pt x="251742" y="395339"/>
                  <a:pt x="252355" y="395033"/>
                  <a:pt x="252969" y="395033"/>
                </a:cubicBezTo>
                <a:cubicBezTo>
                  <a:pt x="291330" y="405147"/>
                  <a:pt x="291330" y="405147"/>
                  <a:pt x="291330" y="405147"/>
                </a:cubicBezTo>
                <a:cubicBezTo>
                  <a:pt x="291943" y="405453"/>
                  <a:pt x="292250" y="406066"/>
                  <a:pt x="292250" y="406679"/>
                </a:cubicBezTo>
                <a:cubicBezTo>
                  <a:pt x="291637" y="408518"/>
                  <a:pt x="291637" y="408518"/>
                  <a:pt x="291637" y="408518"/>
                </a:cubicBezTo>
                <a:cubicBezTo>
                  <a:pt x="292864" y="408518"/>
                  <a:pt x="293785" y="408518"/>
                  <a:pt x="294705" y="408518"/>
                </a:cubicBezTo>
                <a:cubicBezTo>
                  <a:pt x="305446" y="408518"/>
                  <a:pt x="309436" y="395646"/>
                  <a:pt x="307901" y="388290"/>
                </a:cubicBezTo>
                <a:cubicBezTo>
                  <a:pt x="306060" y="377870"/>
                  <a:pt x="293785" y="381548"/>
                  <a:pt x="288568" y="380015"/>
                </a:cubicBezTo>
                <a:cubicBezTo>
                  <a:pt x="285806" y="389210"/>
                  <a:pt x="285806" y="389210"/>
                  <a:pt x="285806" y="389210"/>
                </a:cubicBezTo>
                <a:cubicBezTo>
                  <a:pt x="285499" y="390435"/>
                  <a:pt x="283964" y="391355"/>
                  <a:pt x="282430" y="391048"/>
                </a:cubicBezTo>
                <a:cubicBezTo>
                  <a:pt x="281816" y="390742"/>
                  <a:pt x="281816" y="390742"/>
                  <a:pt x="281816" y="390742"/>
                </a:cubicBezTo>
                <a:cubicBezTo>
                  <a:pt x="280589" y="394726"/>
                  <a:pt x="280589" y="394726"/>
                  <a:pt x="280589" y="394726"/>
                </a:cubicBezTo>
                <a:cubicBezTo>
                  <a:pt x="280282" y="395339"/>
                  <a:pt x="279361" y="395952"/>
                  <a:pt x="278747" y="395646"/>
                </a:cubicBezTo>
                <a:cubicBezTo>
                  <a:pt x="273224" y="393807"/>
                  <a:pt x="273224" y="393807"/>
                  <a:pt x="273224" y="393807"/>
                </a:cubicBezTo>
                <a:cubicBezTo>
                  <a:pt x="272610" y="393807"/>
                  <a:pt x="271996" y="392887"/>
                  <a:pt x="272303" y="391968"/>
                </a:cubicBezTo>
                <a:cubicBezTo>
                  <a:pt x="273530" y="387984"/>
                  <a:pt x="273530" y="387984"/>
                  <a:pt x="273530" y="387984"/>
                </a:cubicBezTo>
                <a:cubicBezTo>
                  <a:pt x="272917" y="387984"/>
                  <a:pt x="272917" y="387984"/>
                  <a:pt x="272917" y="387984"/>
                </a:cubicBezTo>
                <a:cubicBezTo>
                  <a:pt x="271382" y="387371"/>
                  <a:pt x="270768" y="385838"/>
                  <a:pt x="271075" y="384612"/>
                </a:cubicBezTo>
                <a:cubicBezTo>
                  <a:pt x="286113" y="337108"/>
                  <a:pt x="286113" y="337108"/>
                  <a:pt x="286113" y="337108"/>
                </a:cubicBezTo>
                <a:cubicBezTo>
                  <a:pt x="286726" y="335576"/>
                  <a:pt x="287954" y="334963"/>
                  <a:pt x="289488" y="335270"/>
                </a:cubicBezTo>
                <a:cubicBezTo>
                  <a:pt x="290102" y="335576"/>
                  <a:pt x="290102" y="335576"/>
                  <a:pt x="290102" y="335576"/>
                </a:cubicBezTo>
                <a:cubicBezTo>
                  <a:pt x="294399" y="321785"/>
                  <a:pt x="294399" y="321785"/>
                  <a:pt x="294399" y="321785"/>
                </a:cubicBezTo>
                <a:cubicBezTo>
                  <a:pt x="293785" y="321785"/>
                  <a:pt x="293785" y="321785"/>
                  <a:pt x="293785" y="321785"/>
                </a:cubicBezTo>
                <a:cubicBezTo>
                  <a:pt x="293478" y="321478"/>
                  <a:pt x="293171" y="321172"/>
                  <a:pt x="293171" y="320559"/>
                </a:cubicBezTo>
                <a:cubicBezTo>
                  <a:pt x="294092" y="318413"/>
                  <a:pt x="294092" y="318413"/>
                  <a:pt x="294092" y="318413"/>
                </a:cubicBezTo>
                <a:cubicBezTo>
                  <a:pt x="294092" y="317800"/>
                  <a:pt x="294705" y="317494"/>
                  <a:pt x="295319" y="317800"/>
                </a:cubicBezTo>
                <a:close/>
                <a:moveTo>
                  <a:pt x="187507" y="316060"/>
                </a:moveTo>
                <a:cubicBezTo>
                  <a:pt x="185661" y="316060"/>
                  <a:pt x="183508" y="316671"/>
                  <a:pt x="182278" y="318199"/>
                </a:cubicBezTo>
                <a:cubicBezTo>
                  <a:pt x="180740" y="319728"/>
                  <a:pt x="180125" y="321562"/>
                  <a:pt x="180125" y="323396"/>
                </a:cubicBezTo>
                <a:cubicBezTo>
                  <a:pt x="180125" y="325230"/>
                  <a:pt x="180740" y="327064"/>
                  <a:pt x="182278" y="328287"/>
                </a:cubicBezTo>
                <a:lnTo>
                  <a:pt x="191887" y="337934"/>
                </a:lnTo>
                <a:lnTo>
                  <a:pt x="199452" y="330392"/>
                </a:lnTo>
                <a:lnTo>
                  <a:pt x="202119" y="327734"/>
                </a:lnTo>
                <a:lnTo>
                  <a:pt x="196273" y="321982"/>
                </a:lnTo>
                <a:cubicBezTo>
                  <a:pt x="192428" y="318199"/>
                  <a:pt x="192428" y="318199"/>
                  <a:pt x="192428" y="318199"/>
                </a:cubicBezTo>
                <a:cubicBezTo>
                  <a:pt x="191198" y="316671"/>
                  <a:pt x="189352" y="316060"/>
                  <a:pt x="187507" y="316060"/>
                </a:cubicBezTo>
                <a:close/>
                <a:moveTo>
                  <a:pt x="143027" y="315427"/>
                </a:moveTo>
                <a:cubicBezTo>
                  <a:pt x="136621" y="318181"/>
                  <a:pt x="132045" y="324608"/>
                  <a:pt x="132045" y="332259"/>
                </a:cubicBezTo>
                <a:cubicBezTo>
                  <a:pt x="132045" y="339604"/>
                  <a:pt x="136621" y="346031"/>
                  <a:pt x="143027" y="348785"/>
                </a:cubicBezTo>
                <a:cubicBezTo>
                  <a:pt x="135096" y="347255"/>
                  <a:pt x="129300" y="340522"/>
                  <a:pt x="129300" y="332259"/>
                </a:cubicBezTo>
                <a:cubicBezTo>
                  <a:pt x="129300" y="323690"/>
                  <a:pt x="135096" y="316957"/>
                  <a:pt x="143027" y="315427"/>
                </a:cubicBezTo>
                <a:close/>
                <a:moveTo>
                  <a:pt x="187507" y="314837"/>
                </a:moveTo>
                <a:cubicBezTo>
                  <a:pt x="189660" y="314837"/>
                  <a:pt x="191813" y="315448"/>
                  <a:pt x="193351" y="317282"/>
                </a:cubicBezTo>
                <a:lnTo>
                  <a:pt x="203040" y="326815"/>
                </a:lnTo>
                <a:lnTo>
                  <a:pt x="208581" y="321291"/>
                </a:lnTo>
                <a:cubicBezTo>
                  <a:pt x="212425" y="317459"/>
                  <a:pt x="212425" y="317459"/>
                  <a:pt x="212425" y="317459"/>
                </a:cubicBezTo>
                <a:cubicBezTo>
                  <a:pt x="215500" y="314394"/>
                  <a:pt x="220420" y="314394"/>
                  <a:pt x="223495" y="317459"/>
                </a:cubicBezTo>
                <a:cubicBezTo>
                  <a:pt x="226570" y="320525"/>
                  <a:pt x="226570" y="325737"/>
                  <a:pt x="223495" y="328802"/>
                </a:cubicBezTo>
                <a:lnTo>
                  <a:pt x="214338" y="337931"/>
                </a:lnTo>
                <a:lnTo>
                  <a:pt x="220265" y="343762"/>
                </a:lnTo>
                <a:cubicBezTo>
                  <a:pt x="224110" y="347545"/>
                  <a:pt x="224110" y="347545"/>
                  <a:pt x="224110" y="347545"/>
                </a:cubicBezTo>
                <a:cubicBezTo>
                  <a:pt x="225647" y="349379"/>
                  <a:pt x="226570" y="351519"/>
                  <a:pt x="226570" y="353659"/>
                </a:cubicBezTo>
                <a:cubicBezTo>
                  <a:pt x="226570" y="355799"/>
                  <a:pt x="225647" y="357938"/>
                  <a:pt x="224110" y="359772"/>
                </a:cubicBezTo>
                <a:cubicBezTo>
                  <a:pt x="222264" y="361301"/>
                  <a:pt x="220111" y="362218"/>
                  <a:pt x="217958" y="362218"/>
                </a:cubicBezTo>
                <a:cubicBezTo>
                  <a:pt x="215805" y="362218"/>
                  <a:pt x="213652" y="361301"/>
                  <a:pt x="211806" y="359772"/>
                </a:cubicBezTo>
                <a:lnTo>
                  <a:pt x="202151" y="350080"/>
                </a:lnTo>
                <a:lnTo>
                  <a:pt x="196858" y="355358"/>
                </a:lnTo>
                <a:cubicBezTo>
                  <a:pt x="193052" y="359151"/>
                  <a:pt x="193052" y="359151"/>
                  <a:pt x="193052" y="359151"/>
                </a:cubicBezTo>
                <a:cubicBezTo>
                  <a:pt x="189977" y="362217"/>
                  <a:pt x="184749" y="362217"/>
                  <a:pt x="181674" y="359151"/>
                </a:cubicBezTo>
                <a:cubicBezTo>
                  <a:pt x="178599" y="356086"/>
                  <a:pt x="178599" y="351181"/>
                  <a:pt x="181674" y="348115"/>
                </a:cubicBezTo>
                <a:lnTo>
                  <a:pt x="190966" y="338852"/>
                </a:lnTo>
                <a:lnTo>
                  <a:pt x="185161" y="333025"/>
                </a:lnTo>
                <a:cubicBezTo>
                  <a:pt x="181355" y="329204"/>
                  <a:pt x="181355" y="329204"/>
                  <a:pt x="181355" y="329204"/>
                </a:cubicBezTo>
                <a:cubicBezTo>
                  <a:pt x="179509" y="327676"/>
                  <a:pt x="178894" y="325536"/>
                  <a:pt x="178894" y="323396"/>
                </a:cubicBezTo>
                <a:cubicBezTo>
                  <a:pt x="178894" y="320951"/>
                  <a:pt x="179509" y="318811"/>
                  <a:pt x="181355" y="317282"/>
                </a:cubicBezTo>
                <a:cubicBezTo>
                  <a:pt x="182893" y="315448"/>
                  <a:pt x="185046" y="314837"/>
                  <a:pt x="187507" y="314837"/>
                </a:cubicBezTo>
                <a:close/>
                <a:moveTo>
                  <a:pt x="199820" y="314087"/>
                </a:moveTo>
                <a:lnTo>
                  <a:pt x="199821" y="314088"/>
                </a:lnTo>
                <a:cubicBezTo>
                  <a:pt x="200129" y="314088"/>
                  <a:pt x="200437" y="314088"/>
                  <a:pt x="200745" y="314088"/>
                </a:cubicBezTo>
                <a:cubicBezTo>
                  <a:pt x="201052" y="314088"/>
                  <a:pt x="201360" y="314088"/>
                  <a:pt x="201668" y="314088"/>
                </a:cubicBezTo>
                <a:lnTo>
                  <a:pt x="201668" y="314087"/>
                </a:lnTo>
                <a:close/>
                <a:moveTo>
                  <a:pt x="200992" y="313129"/>
                </a:moveTo>
                <a:lnTo>
                  <a:pt x="201020" y="313168"/>
                </a:lnTo>
                <a:lnTo>
                  <a:pt x="201030" y="313154"/>
                </a:lnTo>
                <a:close/>
                <a:moveTo>
                  <a:pt x="174725" y="312657"/>
                </a:moveTo>
                <a:lnTo>
                  <a:pt x="170648" y="314394"/>
                </a:lnTo>
                <a:lnTo>
                  <a:pt x="167607" y="313487"/>
                </a:lnTo>
                <a:lnTo>
                  <a:pt x="167664" y="313611"/>
                </a:lnTo>
                <a:cubicBezTo>
                  <a:pt x="168584" y="314224"/>
                  <a:pt x="169503" y="314530"/>
                  <a:pt x="170422" y="314530"/>
                </a:cubicBezTo>
                <a:cubicBezTo>
                  <a:pt x="170422" y="314530"/>
                  <a:pt x="170422" y="314530"/>
                  <a:pt x="170728" y="314530"/>
                </a:cubicBezTo>
                <a:cubicBezTo>
                  <a:pt x="172567" y="314224"/>
                  <a:pt x="173486" y="313917"/>
                  <a:pt x="174712" y="312691"/>
                </a:cubicBezTo>
                <a:close/>
                <a:moveTo>
                  <a:pt x="429011" y="310428"/>
                </a:moveTo>
                <a:lnTo>
                  <a:pt x="431286" y="315733"/>
                </a:lnTo>
                <a:lnTo>
                  <a:pt x="436819" y="318222"/>
                </a:lnTo>
                <a:close/>
                <a:moveTo>
                  <a:pt x="445918" y="310340"/>
                </a:moveTo>
                <a:lnTo>
                  <a:pt x="437999" y="318244"/>
                </a:lnTo>
                <a:lnTo>
                  <a:pt x="443862" y="315733"/>
                </a:lnTo>
                <a:close/>
                <a:moveTo>
                  <a:pt x="196064" y="304479"/>
                </a:moveTo>
                <a:lnTo>
                  <a:pt x="195491" y="305201"/>
                </a:lnTo>
                <a:lnTo>
                  <a:pt x="195511" y="305230"/>
                </a:lnTo>
                <a:lnTo>
                  <a:pt x="195511" y="305203"/>
                </a:lnTo>
                <a:close/>
                <a:moveTo>
                  <a:pt x="130397" y="303117"/>
                </a:moveTo>
                <a:cubicBezTo>
                  <a:pt x="127941" y="303117"/>
                  <a:pt x="125792" y="304957"/>
                  <a:pt x="125792" y="307409"/>
                </a:cubicBezTo>
                <a:cubicBezTo>
                  <a:pt x="125792" y="309862"/>
                  <a:pt x="127941" y="312009"/>
                  <a:pt x="130397" y="312009"/>
                </a:cubicBezTo>
                <a:cubicBezTo>
                  <a:pt x="132852" y="312009"/>
                  <a:pt x="135001" y="309862"/>
                  <a:pt x="135001" y="307409"/>
                </a:cubicBezTo>
                <a:cubicBezTo>
                  <a:pt x="135001" y="304957"/>
                  <a:pt x="132852" y="303117"/>
                  <a:pt x="130397" y="303117"/>
                </a:cubicBezTo>
                <a:close/>
                <a:moveTo>
                  <a:pt x="63789" y="303117"/>
                </a:moveTo>
                <a:cubicBezTo>
                  <a:pt x="61334" y="303117"/>
                  <a:pt x="59185" y="304957"/>
                  <a:pt x="59185" y="307409"/>
                </a:cubicBezTo>
                <a:cubicBezTo>
                  <a:pt x="59185" y="309862"/>
                  <a:pt x="61334" y="312009"/>
                  <a:pt x="63789" y="312009"/>
                </a:cubicBezTo>
                <a:cubicBezTo>
                  <a:pt x="66245" y="312009"/>
                  <a:pt x="68086" y="309862"/>
                  <a:pt x="68086" y="307409"/>
                </a:cubicBezTo>
                <a:cubicBezTo>
                  <a:pt x="68086" y="304957"/>
                  <a:pt x="66245" y="303117"/>
                  <a:pt x="63789" y="303117"/>
                </a:cubicBezTo>
                <a:close/>
                <a:moveTo>
                  <a:pt x="178187" y="302387"/>
                </a:moveTo>
                <a:lnTo>
                  <a:pt x="178036" y="302459"/>
                </a:lnTo>
                <a:cubicBezTo>
                  <a:pt x="178036" y="303071"/>
                  <a:pt x="178036" y="303377"/>
                  <a:pt x="178036" y="303989"/>
                </a:cubicBezTo>
                <a:lnTo>
                  <a:pt x="177034" y="306777"/>
                </a:lnTo>
                <a:lnTo>
                  <a:pt x="178082" y="304109"/>
                </a:lnTo>
                <a:cubicBezTo>
                  <a:pt x="178082" y="303496"/>
                  <a:pt x="178082" y="303189"/>
                  <a:pt x="178082" y="302576"/>
                </a:cubicBezTo>
                <a:close/>
                <a:moveTo>
                  <a:pt x="171035" y="298898"/>
                </a:moveTo>
                <a:lnTo>
                  <a:pt x="170360" y="299262"/>
                </a:lnTo>
                <a:lnTo>
                  <a:pt x="165383" y="305771"/>
                </a:lnTo>
                <a:lnTo>
                  <a:pt x="165212" y="306254"/>
                </a:lnTo>
                <a:lnTo>
                  <a:pt x="165326" y="305845"/>
                </a:lnTo>
                <a:lnTo>
                  <a:pt x="165107" y="306131"/>
                </a:lnTo>
                <a:lnTo>
                  <a:pt x="165216" y="306268"/>
                </a:lnTo>
                <a:lnTo>
                  <a:pt x="165212" y="306254"/>
                </a:lnTo>
                <a:lnTo>
                  <a:pt x="165219" y="306271"/>
                </a:lnTo>
                <a:lnTo>
                  <a:pt x="170658" y="313102"/>
                </a:lnTo>
                <a:lnTo>
                  <a:pt x="171035" y="313304"/>
                </a:lnTo>
                <a:lnTo>
                  <a:pt x="171126" y="313251"/>
                </a:lnTo>
                <a:lnTo>
                  <a:pt x="176497" y="306131"/>
                </a:lnTo>
                <a:lnTo>
                  <a:pt x="171422" y="299124"/>
                </a:lnTo>
                <a:close/>
                <a:moveTo>
                  <a:pt x="170956" y="298481"/>
                </a:moveTo>
                <a:lnTo>
                  <a:pt x="171021" y="298571"/>
                </a:lnTo>
                <a:lnTo>
                  <a:pt x="170865" y="298600"/>
                </a:lnTo>
                <a:close/>
                <a:moveTo>
                  <a:pt x="170728" y="298285"/>
                </a:moveTo>
                <a:lnTo>
                  <a:pt x="167848" y="299171"/>
                </a:lnTo>
                <a:lnTo>
                  <a:pt x="170865" y="298600"/>
                </a:lnTo>
                <a:lnTo>
                  <a:pt x="170771" y="298723"/>
                </a:lnTo>
                <a:lnTo>
                  <a:pt x="171035" y="298591"/>
                </a:lnTo>
                <a:lnTo>
                  <a:pt x="171037" y="298593"/>
                </a:lnTo>
                <a:lnTo>
                  <a:pt x="171021" y="298571"/>
                </a:lnTo>
                <a:lnTo>
                  <a:pt x="172530" y="298285"/>
                </a:lnTo>
                <a:close/>
                <a:moveTo>
                  <a:pt x="201344" y="297872"/>
                </a:moveTo>
                <a:lnTo>
                  <a:pt x="195819" y="305203"/>
                </a:lnTo>
                <a:cubicBezTo>
                  <a:pt x="195819" y="305509"/>
                  <a:pt x="195819" y="305509"/>
                  <a:pt x="195819" y="305509"/>
                </a:cubicBezTo>
                <a:lnTo>
                  <a:pt x="195903" y="305796"/>
                </a:lnTo>
                <a:lnTo>
                  <a:pt x="200260" y="312074"/>
                </a:lnTo>
                <a:lnTo>
                  <a:pt x="201036" y="313145"/>
                </a:lnTo>
                <a:lnTo>
                  <a:pt x="206549" y="305201"/>
                </a:lnTo>
                <a:close/>
                <a:moveTo>
                  <a:pt x="187199" y="297544"/>
                </a:moveTo>
                <a:lnTo>
                  <a:pt x="186903" y="297838"/>
                </a:lnTo>
                <a:lnTo>
                  <a:pt x="187345" y="297544"/>
                </a:lnTo>
                <a:close/>
                <a:moveTo>
                  <a:pt x="201360" y="296625"/>
                </a:moveTo>
                <a:lnTo>
                  <a:pt x="196797" y="297693"/>
                </a:lnTo>
                <a:lnTo>
                  <a:pt x="201617" y="296625"/>
                </a:lnTo>
                <a:close/>
                <a:moveTo>
                  <a:pt x="180534" y="294020"/>
                </a:moveTo>
                <a:lnTo>
                  <a:pt x="180498" y="294197"/>
                </a:lnTo>
                <a:cubicBezTo>
                  <a:pt x="180498" y="294503"/>
                  <a:pt x="180498" y="295115"/>
                  <a:pt x="180190" y="295727"/>
                </a:cubicBezTo>
                <a:lnTo>
                  <a:pt x="180236" y="295788"/>
                </a:lnTo>
                <a:lnTo>
                  <a:pt x="180534" y="294300"/>
                </a:lnTo>
                <a:close/>
                <a:moveTo>
                  <a:pt x="104306" y="292692"/>
                </a:moveTo>
                <a:cubicBezTo>
                  <a:pt x="104306" y="292692"/>
                  <a:pt x="104306" y="292692"/>
                  <a:pt x="104613" y="292692"/>
                </a:cubicBezTo>
                <a:cubicBezTo>
                  <a:pt x="104613" y="292692"/>
                  <a:pt x="104613" y="292692"/>
                  <a:pt x="105227" y="292692"/>
                </a:cubicBezTo>
                <a:cubicBezTo>
                  <a:pt x="105227" y="292692"/>
                  <a:pt x="105534" y="292692"/>
                  <a:pt x="105534" y="292692"/>
                </a:cubicBezTo>
                <a:cubicBezTo>
                  <a:pt x="105534" y="292692"/>
                  <a:pt x="105534" y="292999"/>
                  <a:pt x="105534" y="292999"/>
                </a:cubicBezTo>
                <a:cubicBezTo>
                  <a:pt x="105534" y="292999"/>
                  <a:pt x="105534" y="293305"/>
                  <a:pt x="105534" y="293305"/>
                </a:cubicBezTo>
                <a:cubicBezTo>
                  <a:pt x="105534" y="293612"/>
                  <a:pt x="105227" y="293612"/>
                  <a:pt x="105227" y="293612"/>
                </a:cubicBezTo>
                <a:cubicBezTo>
                  <a:pt x="105227" y="293612"/>
                  <a:pt x="105227" y="293612"/>
                  <a:pt x="104920" y="293612"/>
                </a:cubicBezTo>
                <a:cubicBezTo>
                  <a:pt x="104920" y="293612"/>
                  <a:pt x="104920" y="293612"/>
                  <a:pt x="104306" y="293612"/>
                </a:cubicBezTo>
                <a:cubicBezTo>
                  <a:pt x="104306" y="293612"/>
                  <a:pt x="104306" y="293612"/>
                  <a:pt x="104306" y="293305"/>
                </a:cubicBezTo>
                <a:cubicBezTo>
                  <a:pt x="104306" y="293305"/>
                  <a:pt x="104306" y="293305"/>
                  <a:pt x="104306" y="292999"/>
                </a:cubicBezTo>
                <a:cubicBezTo>
                  <a:pt x="104306" y="292999"/>
                  <a:pt x="104306" y="292999"/>
                  <a:pt x="104306" y="292692"/>
                </a:cubicBezTo>
                <a:close/>
                <a:moveTo>
                  <a:pt x="117812" y="291159"/>
                </a:moveTo>
                <a:cubicBezTo>
                  <a:pt x="117812" y="291159"/>
                  <a:pt x="117812" y="291159"/>
                  <a:pt x="117812" y="291772"/>
                </a:cubicBezTo>
                <a:cubicBezTo>
                  <a:pt x="117812" y="291772"/>
                  <a:pt x="117812" y="291772"/>
                  <a:pt x="117812" y="292692"/>
                </a:cubicBezTo>
                <a:cubicBezTo>
                  <a:pt x="117812" y="292692"/>
                  <a:pt x="117812" y="292692"/>
                  <a:pt x="117198" y="292692"/>
                </a:cubicBezTo>
                <a:cubicBezTo>
                  <a:pt x="117198" y="292692"/>
                  <a:pt x="117198" y="292692"/>
                  <a:pt x="117505" y="291772"/>
                </a:cubicBezTo>
                <a:cubicBezTo>
                  <a:pt x="117505" y="291772"/>
                  <a:pt x="117505" y="291772"/>
                  <a:pt x="117812" y="291159"/>
                </a:cubicBezTo>
                <a:close/>
                <a:moveTo>
                  <a:pt x="95098" y="291159"/>
                </a:moveTo>
                <a:cubicBezTo>
                  <a:pt x="95098" y="291159"/>
                  <a:pt x="95098" y="291159"/>
                  <a:pt x="95405" y="291159"/>
                </a:cubicBezTo>
                <a:cubicBezTo>
                  <a:pt x="95405" y="291159"/>
                  <a:pt x="95405" y="291159"/>
                  <a:pt x="95405" y="291772"/>
                </a:cubicBezTo>
                <a:cubicBezTo>
                  <a:pt x="95405" y="291772"/>
                  <a:pt x="95405" y="291772"/>
                  <a:pt x="95405" y="292692"/>
                </a:cubicBezTo>
                <a:cubicBezTo>
                  <a:pt x="95405" y="292692"/>
                  <a:pt x="95405" y="292692"/>
                  <a:pt x="95098" y="292692"/>
                </a:cubicBezTo>
                <a:cubicBezTo>
                  <a:pt x="95098" y="292692"/>
                  <a:pt x="95098" y="292692"/>
                  <a:pt x="94791" y="292692"/>
                </a:cubicBezTo>
                <a:cubicBezTo>
                  <a:pt x="94791" y="292692"/>
                  <a:pt x="94791" y="292692"/>
                  <a:pt x="94484" y="292692"/>
                </a:cubicBezTo>
                <a:cubicBezTo>
                  <a:pt x="94484" y="292692"/>
                  <a:pt x="94484" y="292692"/>
                  <a:pt x="94791" y="291772"/>
                </a:cubicBezTo>
                <a:cubicBezTo>
                  <a:pt x="94791" y="291772"/>
                  <a:pt x="94791" y="291772"/>
                  <a:pt x="95098" y="291159"/>
                </a:cubicBezTo>
                <a:close/>
                <a:moveTo>
                  <a:pt x="104613" y="290546"/>
                </a:moveTo>
                <a:cubicBezTo>
                  <a:pt x="104613" y="290546"/>
                  <a:pt x="104613" y="290546"/>
                  <a:pt x="104920" y="290546"/>
                </a:cubicBezTo>
                <a:cubicBezTo>
                  <a:pt x="104920" y="290546"/>
                  <a:pt x="104920" y="290546"/>
                  <a:pt x="105534" y="290546"/>
                </a:cubicBezTo>
                <a:cubicBezTo>
                  <a:pt x="105534" y="290546"/>
                  <a:pt x="105841" y="290546"/>
                  <a:pt x="105841" y="290852"/>
                </a:cubicBezTo>
                <a:cubicBezTo>
                  <a:pt x="105841" y="291159"/>
                  <a:pt x="105841" y="291466"/>
                  <a:pt x="105841" y="291466"/>
                </a:cubicBezTo>
                <a:cubicBezTo>
                  <a:pt x="105534" y="291466"/>
                  <a:pt x="105534" y="291466"/>
                  <a:pt x="105227" y="291466"/>
                </a:cubicBezTo>
                <a:cubicBezTo>
                  <a:pt x="105227" y="291466"/>
                  <a:pt x="105227" y="291466"/>
                  <a:pt x="104613" y="291466"/>
                </a:cubicBezTo>
                <a:cubicBezTo>
                  <a:pt x="104613" y="291159"/>
                  <a:pt x="104613" y="291159"/>
                  <a:pt x="104613" y="291159"/>
                </a:cubicBezTo>
                <a:cubicBezTo>
                  <a:pt x="104613" y="290852"/>
                  <a:pt x="104613" y="290852"/>
                  <a:pt x="104613" y="290852"/>
                </a:cubicBezTo>
                <a:cubicBezTo>
                  <a:pt x="104613" y="290852"/>
                  <a:pt x="104613" y="290852"/>
                  <a:pt x="104613" y="290546"/>
                </a:cubicBezTo>
                <a:close/>
                <a:moveTo>
                  <a:pt x="129476" y="289626"/>
                </a:moveTo>
                <a:cubicBezTo>
                  <a:pt x="129476" y="289932"/>
                  <a:pt x="129476" y="289932"/>
                  <a:pt x="129476" y="289932"/>
                </a:cubicBezTo>
                <a:cubicBezTo>
                  <a:pt x="128555" y="294532"/>
                  <a:pt x="128555" y="294532"/>
                  <a:pt x="128555" y="294532"/>
                </a:cubicBezTo>
                <a:cubicBezTo>
                  <a:pt x="128555" y="294532"/>
                  <a:pt x="128555" y="294532"/>
                  <a:pt x="128862" y="294532"/>
                </a:cubicBezTo>
                <a:cubicBezTo>
                  <a:pt x="131624" y="294532"/>
                  <a:pt x="131624" y="294532"/>
                  <a:pt x="131624" y="294532"/>
                </a:cubicBezTo>
                <a:cubicBezTo>
                  <a:pt x="131931" y="294532"/>
                  <a:pt x="131931" y="294532"/>
                  <a:pt x="131931" y="294532"/>
                </a:cubicBezTo>
                <a:cubicBezTo>
                  <a:pt x="131931" y="293918"/>
                  <a:pt x="131931" y="293918"/>
                  <a:pt x="131931" y="293918"/>
                </a:cubicBezTo>
                <a:cubicBezTo>
                  <a:pt x="131931" y="293612"/>
                  <a:pt x="131931" y="293612"/>
                  <a:pt x="131931" y="293612"/>
                </a:cubicBezTo>
                <a:cubicBezTo>
                  <a:pt x="130090" y="293612"/>
                  <a:pt x="130090" y="293612"/>
                  <a:pt x="130090" y="293612"/>
                </a:cubicBezTo>
                <a:cubicBezTo>
                  <a:pt x="130090" y="293612"/>
                  <a:pt x="130090" y="293612"/>
                  <a:pt x="129783" y="293612"/>
                </a:cubicBezTo>
                <a:cubicBezTo>
                  <a:pt x="129783" y="293305"/>
                  <a:pt x="129783" y="293305"/>
                  <a:pt x="129783" y="293305"/>
                </a:cubicBezTo>
                <a:cubicBezTo>
                  <a:pt x="130090" y="292692"/>
                  <a:pt x="130090" y="292692"/>
                  <a:pt x="130090" y="292692"/>
                </a:cubicBezTo>
                <a:cubicBezTo>
                  <a:pt x="131624" y="292692"/>
                  <a:pt x="131624" y="292692"/>
                  <a:pt x="131624" y="292692"/>
                </a:cubicBezTo>
                <a:cubicBezTo>
                  <a:pt x="131624" y="292692"/>
                  <a:pt x="131624" y="292385"/>
                  <a:pt x="131931" y="292385"/>
                </a:cubicBezTo>
                <a:cubicBezTo>
                  <a:pt x="131931" y="291772"/>
                  <a:pt x="131931" y="291772"/>
                  <a:pt x="131931" y="291772"/>
                </a:cubicBezTo>
                <a:cubicBezTo>
                  <a:pt x="131931" y="291772"/>
                  <a:pt x="131931" y="291466"/>
                  <a:pt x="131624" y="291466"/>
                </a:cubicBezTo>
                <a:cubicBezTo>
                  <a:pt x="130397" y="291466"/>
                  <a:pt x="130397" y="291466"/>
                  <a:pt x="130397" y="291466"/>
                </a:cubicBezTo>
                <a:cubicBezTo>
                  <a:pt x="130397" y="291159"/>
                  <a:pt x="130397" y="291159"/>
                  <a:pt x="130397" y="291159"/>
                </a:cubicBezTo>
                <a:cubicBezTo>
                  <a:pt x="130397" y="290852"/>
                  <a:pt x="130397" y="290852"/>
                  <a:pt x="130397" y="290852"/>
                </a:cubicBezTo>
                <a:cubicBezTo>
                  <a:pt x="130397" y="290546"/>
                  <a:pt x="130397" y="290546"/>
                  <a:pt x="130397" y="290546"/>
                </a:cubicBezTo>
                <a:cubicBezTo>
                  <a:pt x="130397" y="290546"/>
                  <a:pt x="130397" y="290546"/>
                  <a:pt x="130703" y="290546"/>
                </a:cubicBezTo>
                <a:cubicBezTo>
                  <a:pt x="132238" y="290546"/>
                  <a:pt x="132238" y="290546"/>
                  <a:pt x="132238" y="290546"/>
                </a:cubicBezTo>
                <a:cubicBezTo>
                  <a:pt x="132238" y="290546"/>
                  <a:pt x="132238" y="290546"/>
                  <a:pt x="132545" y="290546"/>
                </a:cubicBezTo>
                <a:cubicBezTo>
                  <a:pt x="132545" y="289932"/>
                  <a:pt x="132545" y="289932"/>
                  <a:pt x="132545" y="289932"/>
                </a:cubicBezTo>
                <a:cubicBezTo>
                  <a:pt x="132545" y="289626"/>
                  <a:pt x="132545" y="289626"/>
                  <a:pt x="132238" y="289626"/>
                </a:cubicBezTo>
                <a:cubicBezTo>
                  <a:pt x="129783" y="289626"/>
                  <a:pt x="129783" y="289626"/>
                  <a:pt x="129783" y="289626"/>
                </a:cubicBezTo>
                <a:cubicBezTo>
                  <a:pt x="129476" y="289626"/>
                  <a:pt x="129476" y="289626"/>
                  <a:pt x="129476" y="289626"/>
                </a:cubicBezTo>
                <a:close/>
                <a:moveTo>
                  <a:pt x="126099" y="289626"/>
                </a:moveTo>
                <a:cubicBezTo>
                  <a:pt x="125792" y="289626"/>
                  <a:pt x="125792" y="289932"/>
                  <a:pt x="125485" y="289932"/>
                </a:cubicBezTo>
                <a:cubicBezTo>
                  <a:pt x="125485" y="290239"/>
                  <a:pt x="125485" y="290239"/>
                  <a:pt x="125178" y="290546"/>
                </a:cubicBezTo>
                <a:cubicBezTo>
                  <a:pt x="125178" y="290852"/>
                  <a:pt x="125178" y="290852"/>
                  <a:pt x="125178" y="291159"/>
                </a:cubicBezTo>
                <a:cubicBezTo>
                  <a:pt x="124565" y="292999"/>
                  <a:pt x="124565" y="292999"/>
                  <a:pt x="124565" y="292999"/>
                </a:cubicBezTo>
                <a:cubicBezTo>
                  <a:pt x="124565" y="293305"/>
                  <a:pt x="124565" y="293612"/>
                  <a:pt x="124565" y="293612"/>
                </a:cubicBezTo>
                <a:cubicBezTo>
                  <a:pt x="124872" y="293918"/>
                  <a:pt x="124872" y="293918"/>
                  <a:pt x="124872" y="294225"/>
                </a:cubicBezTo>
                <a:cubicBezTo>
                  <a:pt x="125178" y="294225"/>
                  <a:pt x="125178" y="294532"/>
                  <a:pt x="125485" y="294532"/>
                </a:cubicBezTo>
                <a:cubicBezTo>
                  <a:pt x="125792" y="294532"/>
                  <a:pt x="125792" y="294532"/>
                  <a:pt x="126099" y="294532"/>
                </a:cubicBezTo>
                <a:cubicBezTo>
                  <a:pt x="126406" y="294532"/>
                  <a:pt x="126713" y="294532"/>
                  <a:pt x="127020" y="294532"/>
                </a:cubicBezTo>
                <a:cubicBezTo>
                  <a:pt x="127327" y="294532"/>
                  <a:pt x="127634" y="294225"/>
                  <a:pt x="127941" y="294225"/>
                </a:cubicBezTo>
                <a:cubicBezTo>
                  <a:pt x="127941" y="293918"/>
                  <a:pt x="127941" y="293918"/>
                  <a:pt x="127941" y="293918"/>
                </a:cubicBezTo>
                <a:cubicBezTo>
                  <a:pt x="127327" y="293305"/>
                  <a:pt x="127327" y="293305"/>
                  <a:pt x="127327" y="293305"/>
                </a:cubicBezTo>
                <a:cubicBezTo>
                  <a:pt x="127327" y="293305"/>
                  <a:pt x="127020" y="293305"/>
                  <a:pt x="127020" y="293305"/>
                </a:cubicBezTo>
                <a:cubicBezTo>
                  <a:pt x="127020" y="293305"/>
                  <a:pt x="126713" y="293612"/>
                  <a:pt x="126713" y="293612"/>
                </a:cubicBezTo>
                <a:cubicBezTo>
                  <a:pt x="126713" y="293612"/>
                  <a:pt x="126406" y="293612"/>
                  <a:pt x="126406" y="293612"/>
                </a:cubicBezTo>
                <a:cubicBezTo>
                  <a:pt x="126099" y="293612"/>
                  <a:pt x="126099" y="293612"/>
                  <a:pt x="126099" y="293612"/>
                </a:cubicBezTo>
                <a:cubicBezTo>
                  <a:pt x="125792" y="293305"/>
                  <a:pt x="125792" y="293305"/>
                  <a:pt x="125792" y="293305"/>
                </a:cubicBezTo>
                <a:cubicBezTo>
                  <a:pt x="125792" y="292999"/>
                  <a:pt x="125792" y="292999"/>
                  <a:pt x="125792" y="292999"/>
                </a:cubicBezTo>
                <a:cubicBezTo>
                  <a:pt x="126099" y="291159"/>
                  <a:pt x="126099" y="291159"/>
                  <a:pt x="126099" y="291159"/>
                </a:cubicBezTo>
                <a:cubicBezTo>
                  <a:pt x="126406" y="290852"/>
                  <a:pt x="126406" y="290852"/>
                  <a:pt x="126406" y="290852"/>
                </a:cubicBezTo>
                <a:cubicBezTo>
                  <a:pt x="126406" y="290546"/>
                  <a:pt x="126406" y="290546"/>
                  <a:pt x="126406" y="290546"/>
                </a:cubicBezTo>
                <a:cubicBezTo>
                  <a:pt x="126713" y="290546"/>
                  <a:pt x="126713" y="290546"/>
                  <a:pt x="126713" y="290546"/>
                </a:cubicBezTo>
                <a:cubicBezTo>
                  <a:pt x="127020" y="290546"/>
                  <a:pt x="127020" y="290546"/>
                  <a:pt x="127020" y="290546"/>
                </a:cubicBezTo>
                <a:cubicBezTo>
                  <a:pt x="127327" y="290546"/>
                  <a:pt x="127327" y="290852"/>
                  <a:pt x="127634" y="290852"/>
                </a:cubicBezTo>
                <a:cubicBezTo>
                  <a:pt x="127941" y="290852"/>
                  <a:pt x="127941" y="290852"/>
                  <a:pt x="127941" y="290852"/>
                </a:cubicBezTo>
                <a:cubicBezTo>
                  <a:pt x="128248" y="290546"/>
                  <a:pt x="128248" y="290546"/>
                  <a:pt x="128248" y="290546"/>
                </a:cubicBezTo>
                <a:cubicBezTo>
                  <a:pt x="128248" y="290239"/>
                  <a:pt x="128248" y="290239"/>
                  <a:pt x="128248" y="290239"/>
                </a:cubicBezTo>
                <a:cubicBezTo>
                  <a:pt x="128248" y="289932"/>
                  <a:pt x="127941" y="289626"/>
                  <a:pt x="127634" y="289626"/>
                </a:cubicBezTo>
                <a:cubicBezTo>
                  <a:pt x="127327" y="289626"/>
                  <a:pt x="127020" y="289626"/>
                  <a:pt x="127020" y="289626"/>
                </a:cubicBezTo>
                <a:cubicBezTo>
                  <a:pt x="126713" y="289626"/>
                  <a:pt x="126406" y="289626"/>
                  <a:pt x="126099" y="289626"/>
                </a:cubicBezTo>
                <a:close/>
                <a:moveTo>
                  <a:pt x="120881" y="289626"/>
                </a:moveTo>
                <a:cubicBezTo>
                  <a:pt x="120881" y="289626"/>
                  <a:pt x="120574" y="289626"/>
                  <a:pt x="120574" y="289932"/>
                </a:cubicBezTo>
                <a:cubicBezTo>
                  <a:pt x="119653" y="294532"/>
                  <a:pt x="119653" y="294532"/>
                  <a:pt x="119653" y="294532"/>
                </a:cubicBezTo>
                <a:cubicBezTo>
                  <a:pt x="119960" y="294532"/>
                  <a:pt x="119960" y="294532"/>
                  <a:pt x="119960" y="294532"/>
                </a:cubicBezTo>
                <a:cubicBezTo>
                  <a:pt x="120574" y="294532"/>
                  <a:pt x="120574" y="294532"/>
                  <a:pt x="120574" y="294532"/>
                </a:cubicBezTo>
                <a:cubicBezTo>
                  <a:pt x="120881" y="294532"/>
                  <a:pt x="120881" y="294532"/>
                  <a:pt x="120881" y="294532"/>
                </a:cubicBezTo>
                <a:cubicBezTo>
                  <a:pt x="121495" y="292079"/>
                  <a:pt x="121495" y="292079"/>
                  <a:pt x="121495" y="292079"/>
                </a:cubicBezTo>
                <a:cubicBezTo>
                  <a:pt x="122416" y="294532"/>
                  <a:pt x="122416" y="294532"/>
                  <a:pt x="122416" y="294532"/>
                </a:cubicBezTo>
                <a:cubicBezTo>
                  <a:pt x="122723" y="294532"/>
                  <a:pt x="122723" y="294532"/>
                  <a:pt x="122723" y="294532"/>
                </a:cubicBezTo>
                <a:cubicBezTo>
                  <a:pt x="123337" y="294532"/>
                  <a:pt x="123337" y="294532"/>
                  <a:pt x="123337" y="294532"/>
                </a:cubicBezTo>
                <a:cubicBezTo>
                  <a:pt x="124258" y="289932"/>
                  <a:pt x="124258" y="289932"/>
                  <a:pt x="124258" y="289932"/>
                </a:cubicBezTo>
                <a:cubicBezTo>
                  <a:pt x="124258" y="289626"/>
                  <a:pt x="124258" y="289626"/>
                  <a:pt x="124258" y="289626"/>
                </a:cubicBezTo>
                <a:cubicBezTo>
                  <a:pt x="123337" y="289626"/>
                  <a:pt x="123337" y="289626"/>
                  <a:pt x="123337" y="289626"/>
                </a:cubicBezTo>
                <a:cubicBezTo>
                  <a:pt x="123337" y="289626"/>
                  <a:pt x="123337" y="289626"/>
                  <a:pt x="123337" y="289932"/>
                </a:cubicBezTo>
                <a:cubicBezTo>
                  <a:pt x="122723" y="292385"/>
                  <a:pt x="122723" y="292385"/>
                  <a:pt x="122723" y="292385"/>
                </a:cubicBezTo>
                <a:cubicBezTo>
                  <a:pt x="121802" y="289932"/>
                  <a:pt x="121802" y="289932"/>
                  <a:pt x="121802" y="289932"/>
                </a:cubicBezTo>
                <a:cubicBezTo>
                  <a:pt x="121495" y="289626"/>
                  <a:pt x="121495" y="289626"/>
                  <a:pt x="121495" y="289626"/>
                </a:cubicBezTo>
                <a:cubicBezTo>
                  <a:pt x="120881" y="289626"/>
                  <a:pt x="120881" y="289626"/>
                  <a:pt x="120881" y="289626"/>
                </a:cubicBezTo>
                <a:close/>
                <a:moveTo>
                  <a:pt x="117198" y="289626"/>
                </a:moveTo>
                <a:cubicBezTo>
                  <a:pt x="115356" y="294532"/>
                  <a:pt x="115356" y="294532"/>
                  <a:pt x="115356" y="294532"/>
                </a:cubicBezTo>
                <a:cubicBezTo>
                  <a:pt x="116277" y="294532"/>
                  <a:pt x="116277" y="294532"/>
                  <a:pt x="116277" y="294532"/>
                </a:cubicBezTo>
                <a:cubicBezTo>
                  <a:pt x="116584" y="294532"/>
                  <a:pt x="116584" y="294532"/>
                  <a:pt x="116584" y="294532"/>
                </a:cubicBezTo>
                <a:cubicBezTo>
                  <a:pt x="116584" y="293918"/>
                  <a:pt x="116584" y="293918"/>
                  <a:pt x="116584" y="293918"/>
                </a:cubicBezTo>
                <a:cubicBezTo>
                  <a:pt x="116891" y="293612"/>
                  <a:pt x="116891" y="293612"/>
                  <a:pt x="116891" y="293612"/>
                </a:cubicBezTo>
                <a:cubicBezTo>
                  <a:pt x="117812" y="293612"/>
                  <a:pt x="117812" y="293612"/>
                  <a:pt x="117812" y="293612"/>
                </a:cubicBezTo>
                <a:cubicBezTo>
                  <a:pt x="118119" y="293918"/>
                  <a:pt x="118119" y="293918"/>
                  <a:pt x="118119" y="293918"/>
                </a:cubicBezTo>
                <a:cubicBezTo>
                  <a:pt x="118119" y="294532"/>
                  <a:pt x="118119" y="294532"/>
                  <a:pt x="118119" y="294532"/>
                </a:cubicBezTo>
                <a:cubicBezTo>
                  <a:pt x="119040" y="294532"/>
                  <a:pt x="119040" y="294532"/>
                  <a:pt x="119040" y="294532"/>
                </a:cubicBezTo>
                <a:cubicBezTo>
                  <a:pt x="119040" y="289626"/>
                  <a:pt x="119040" y="289626"/>
                  <a:pt x="119040" y="289626"/>
                </a:cubicBezTo>
                <a:cubicBezTo>
                  <a:pt x="118733" y="289626"/>
                  <a:pt x="118733" y="289626"/>
                  <a:pt x="118733" y="289626"/>
                </a:cubicBezTo>
                <a:cubicBezTo>
                  <a:pt x="117505" y="289626"/>
                  <a:pt x="117505" y="289626"/>
                  <a:pt x="117505" y="289626"/>
                </a:cubicBezTo>
                <a:cubicBezTo>
                  <a:pt x="117198" y="289626"/>
                  <a:pt x="117198" y="289626"/>
                  <a:pt x="117198" y="289626"/>
                </a:cubicBezTo>
                <a:close/>
                <a:moveTo>
                  <a:pt x="112901" y="289626"/>
                </a:moveTo>
                <a:cubicBezTo>
                  <a:pt x="112901" y="289932"/>
                  <a:pt x="112901" y="289932"/>
                  <a:pt x="112901" y="289932"/>
                </a:cubicBezTo>
                <a:cubicBezTo>
                  <a:pt x="111980" y="294532"/>
                  <a:pt x="111980" y="294532"/>
                  <a:pt x="111980" y="294532"/>
                </a:cubicBezTo>
                <a:cubicBezTo>
                  <a:pt x="114742" y="294532"/>
                  <a:pt x="114742" y="294532"/>
                  <a:pt x="114742" y="294532"/>
                </a:cubicBezTo>
                <a:cubicBezTo>
                  <a:pt x="115049" y="294532"/>
                  <a:pt x="115049" y="294532"/>
                  <a:pt x="115049" y="294532"/>
                </a:cubicBezTo>
                <a:cubicBezTo>
                  <a:pt x="115356" y="293918"/>
                  <a:pt x="115356" y="293918"/>
                  <a:pt x="115356" y="293918"/>
                </a:cubicBezTo>
                <a:cubicBezTo>
                  <a:pt x="115049" y="293612"/>
                  <a:pt x="115049" y="293612"/>
                  <a:pt x="115049" y="293612"/>
                </a:cubicBezTo>
                <a:cubicBezTo>
                  <a:pt x="113515" y="293612"/>
                  <a:pt x="113515" y="293612"/>
                  <a:pt x="113515" y="293612"/>
                </a:cubicBezTo>
                <a:cubicBezTo>
                  <a:pt x="113208" y="293612"/>
                  <a:pt x="113208" y="293612"/>
                  <a:pt x="113208" y="293612"/>
                </a:cubicBezTo>
                <a:cubicBezTo>
                  <a:pt x="113208" y="293305"/>
                  <a:pt x="113208" y="293305"/>
                  <a:pt x="113208" y="293305"/>
                </a:cubicBezTo>
                <a:cubicBezTo>
                  <a:pt x="113821" y="289932"/>
                  <a:pt x="113821" y="289932"/>
                  <a:pt x="113821" y="289932"/>
                </a:cubicBezTo>
                <a:cubicBezTo>
                  <a:pt x="113821" y="289626"/>
                  <a:pt x="113821" y="289626"/>
                  <a:pt x="113821" y="289626"/>
                </a:cubicBezTo>
                <a:cubicBezTo>
                  <a:pt x="112901" y="289626"/>
                  <a:pt x="112901" y="289626"/>
                  <a:pt x="112901" y="289626"/>
                </a:cubicBezTo>
                <a:close/>
                <a:moveTo>
                  <a:pt x="108296" y="289626"/>
                </a:moveTo>
                <a:cubicBezTo>
                  <a:pt x="108296" y="289932"/>
                  <a:pt x="108296" y="289932"/>
                  <a:pt x="108296" y="289932"/>
                </a:cubicBezTo>
                <a:cubicBezTo>
                  <a:pt x="107683" y="292999"/>
                  <a:pt x="107683" y="292999"/>
                  <a:pt x="107683" y="292999"/>
                </a:cubicBezTo>
                <a:cubicBezTo>
                  <a:pt x="107683" y="293305"/>
                  <a:pt x="107376" y="293305"/>
                  <a:pt x="107683" y="293612"/>
                </a:cubicBezTo>
                <a:cubicBezTo>
                  <a:pt x="107683" y="293918"/>
                  <a:pt x="107683" y="293918"/>
                  <a:pt x="107989" y="294225"/>
                </a:cubicBezTo>
                <a:cubicBezTo>
                  <a:pt x="107989" y="294225"/>
                  <a:pt x="108296" y="294532"/>
                  <a:pt x="108296" y="294532"/>
                </a:cubicBezTo>
                <a:cubicBezTo>
                  <a:pt x="108603" y="294532"/>
                  <a:pt x="108910" y="294532"/>
                  <a:pt x="109217" y="294532"/>
                </a:cubicBezTo>
                <a:cubicBezTo>
                  <a:pt x="109524" y="294532"/>
                  <a:pt x="109831" y="294532"/>
                  <a:pt x="110138" y="294532"/>
                </a:cubicBezTo>
                <a:cubicBezTo>
                  <a:pt x="110138" y="294532"/>
                  <a:pt x="110445" y="294225"/>
                  <a:pt x="110445" y="294225"/>
                </a:cubicBezTo>
                <a:cubicBezTo>
                  <a:pt x="110752" y="293918"/>
                  <a:pt x="110752" y="293918"/>
                  <a:pt x="111059" y="293612"/>
                </a:cubicBezTo>
                <a:cubicBezTo>
                  <a:pt x="111059" y="293305"/>
                  <a:pt x="111059" y="293305"/>
                  <a:pt x="111059" y="292999"/>
                </a:cubicBezTo>
                <a:cubicBezTo>
                  <a:pt x="111673" y="289932"/>
                  <a:pt x="111673" y="289932"/>
                  <a:pt x="111673" y="289932"/>
                </a:cubicBezTo>
                <a:cubicBezTo>
                  <a:pt x="111673" y="289626"/>
                  <a:pt x="111673" y="289626"/>
                  <a:pt x="111673" y="289626"/>
                </a:cubicBezTo>
                <a:cubicBezTo>
                  <a:pt x="110752" y="289626"/>
                  <a:pt x="110752" y="289626"/>
                  <a:pt x="110752" y="289626"/>
                </a:cubicBezTo>
                <a:cubicBezTo>
                  <a:pt x="110445" y="289932"/>
                  <a:pt x="110445" y="289932"/>
                  <a:pt x="110445" y="289932"/>
                </a:cubicBezTo>
                <a:cubicBezTo>
                  <a:pt x="109831" y="292999"/>
                  <a:pt x="109831" y="292999"/>
                  <a:pt x="109831" y="292999"/>
                </a:cubicBezTo>
                <a:cubicBezTo>
                  <a:pt x="109831" y="293305"/>
                  <a:pt x="109831" y="293305"/>
                  <a:pt x="109831" y="293612"/>
                </a:cubicBezTo>
                <a:cubicBezTo>
                  <a:pt x="109524" y="293612"/>
                  <a:pt x="109524" y="293612"/>
                  <a:pt x="109217" y="293612"/>
                </a:cubicBezTo>
                <a:cubicBezTo>
                  <a:pt x="108910" y="293612"/>
                  <a:pt x="108910" y="293612"/>
                  <a:pt x="108910" y="293612"/>
                </a:cubicBezTo>
                <a:cubicBezTo>
                  <a:pt x="108603" y="293305"/>
                  <a:pt x="108603" y="293305"/>
                  <a:pt x="108603" y="292999"/>
                </a:cubicBezTo>
                <a:cubicBezTo>
                  <a:pt x="109217" y="289932"/>
                  <a:pt x="109217" y="289932"/>
                  <a:pt x="109217" y="289932"/>
                </a:cubicBezTo>
                <a:cubicBezTo>
                  <a:pt x="109217" y="289626"/>
                  <a:pt x="109217" y="289626"/>
                  <a:pt x="109217" y="289626"/>
                </a:cubicBezTo>
                <a:cubicBezTo>
                  <a:pt x="108296" y="289626"/>
                  <a:pt x="108296" y="289626"/>
                  <a:pt x="108296" y="289626"/>
                </a:cubicBezTo>
                <a:close/>
                <a:moveTo>
                  <a:pt x="103692" y="289626"/>
                </a:moveTo>
                <a:cubicBezTo>
                  <a:pt x="103692" y="289932"/>
                  <a:pt x="103692" y="289932"/>
                  <a:pt x="103692" y="289932"/>
                </a:cubicBezTo>
                <a:cubicBezTo>
                  <a:pt x="102771" y="294532"/>
                  <a:pt x="102771" y="294532"/>
                  <a:pt x="102771" y="294532"/>
                </a:cubicBezTo>
                <a:cubicBezTo>
                  <a:pt x="102771" y="294532"/>
                  <a:pt x="102771" y="294532"/>
                  <a:pt x="103078" y="294532"/>
                </a:cubicBezTo>
                <a:cubicBezTo>
                  <a:pt x="105227" y="294532"/>
                  <a:pt x="105227" y="294532"/>
                  <a:pt x="105227" y="294532"/>
                </a:cubicBezTo>
                <a:cubicBezTo>
                  <a:pt x="105227" y="294532"/>
                  <a:pt x="105534" y="294532"/>
                  <a:pt x="105841" y="294532"/>
                </a:cubicBezTo>
                <a:cubicBezTo>
                  <a:pt x="105841" y="294532"/>
                  <a:pt x="106148" y="294225"/>
                  <a:pt x="106148" y="294225"/>
                </a:cubicBezTo>
                <a:cubicBezTo>
                  <a:pt x="106455" y="293918"/>
                  <a:pt x="106455" y="293918"/>
                  <a:pt x="106762" y="293612"/>
                </a:cubicBezTo>
                <a:cubicBezTo>
                  <a:pt x="106762" y="293305"/>
                  <a:pt x="106762" y="293305"/>
                  <a:pt x="106762" y="292999"/>
                </a:cubicBezTo>
                <a:cubicBezTo>
                  <a:pt x="106762" y="292692"/>
                  <a:pt x="106762" y="292692"/>
                  <a:pt x="106762" y="292385"/>
                </a:cubicBezTo>
                <a:cubicBezTo>
                  <a:pt x="106455" y="292385"/>
                  <a:pt x="106455" y="292079"/>
                  <a:pt x="106148" y="292079"/>
                </a:cubicBezTo>
                <a:cubicBezTo>
                  <a:pt x="106455" y="292079"/>
                  <a:pt x="106455" y="291772"/>
                  <a:pt x="106762" y="291772"/>
                </a:cubicBezTo>
                <a:cubicBezTo>
                  <a:pt x="106762" y="291772"/>
                  <a:pt x="106762" y="291772"/>
                  <a:pt x="106762" y="291466"/>
                </a:cubicBezTo>
                <a:cubicBezTo>
                  <a:pt x="107069" y="291466"/>
                  <a:pt x="107069" y="291159"/>
                  <a:pt x="107069" y="291159"/>
                </a:cubicBezTo>
                <a:cubicBezTo>
                  <a:pt x="107069" y="291159"/>
                  <a:pt x="107069" y="290852"/>
                  <a:pt x="107069" y="290852"/>
                </a:cubicBezTo>
                <a:cubicBezTo>
                  <a:pt x="107069" y="290546"/>
                  <a:pt x="107069" y="290239"/>
                  <a:pt x="106762" y="289932"/>
                </a:cubicBezTo>
                <a:cubicBezTo>
                  <a:pt x="106455" y="289626"/>
                  <a:pt x="106148" y="289626"/>
                  <a:pt x="105534" y="289626"/>
                </a:cubicBezTo>
                <a:cubicBezTo>
                  <a:pt x="103999" y="289626"/>
                  <a:pt x="103999" y="289626"/>
                  <a:pt x="103999" y="289626"/>
                </a:cubicBezTo>
                <a:cubicBezTo>
                  <a:pt x="103692" y="289626"/>
                  <a:pt x="103692" y="289626"/>
                  <a:pt x="103692" y="289626"/>
                </a:cubicBezTo>
                <a:close/>
                <a:moveTo>
                  <a:pt x="98167" y="289626"/>
                </a:moveTo>
                <a:cubicBezTo>
                  <a:pt x="98167" y="289932"/>
                  <a:pt x="98167" y="289932"/>
                  <a:pt x="98167" y="289932"/>
                </a:cubicBezTo>
                <a:cubicBezTo>
                  <a:pt x="97860" y="290546"/>
                  <a:pt x="97860" y="291466"/>
                  <a:pt x="97553" y="292079"/>
                </a:cubicBezTo>
                <a:cubicBezTo>
                  <a:pt x="97553" y="292999"/>
                  <a:pt x="97246" y="293612"/>
                  <a:pt x="97246" y="294532"/>
                </a:cubicBezTo>
                <a:cubicBezTo>
                  <a:pt x="98167" y="294532"/>
                  <a:pt x="98167" y="294532"/>
                  <a:pt x="98167" y="294532"/>
                </a:cubicBezTo>
                <a:cubicBezTo>
                  <a:pt x="98474" y="294225"/>
                  <a:pt x="98474" y="293918"/>
                  <a:pt x="98474" y="293612"/>
                </a:cubicBezTo>
                <a:cubicBezTo>
                  <a:pt x="98474" y="292999"/>
                  <a:pt x="98474" y="292692"/>
                  <a:pt x="98781" y="292385"/>
                </a:cubicBezTo>
                <a:cubicBezTo>
                  <a:pt x="98781" y="293305"/>
                  <a:pt x="98781" y="293305"/>
                  <a:pt x="98781" y="293305"/>
                </a:cubicBezTo>
                <a:cubicBezTo>
                  <a:pt x="99088" y="294225"/>
                  <a:pt x="99088" y="294225"/>
                  <a:pt x="99088" y="294225"/>
                </a:cubicBezTo>
                <a:cubicBezTo>
                  <a:pt x="99088" y="294532"/>
                  <a:pt x="99088" y="294532"/>
                  <a:pt x="99088" y="294532"/>
                </a:cubicBezTo>
                <a:cubicBezTo>
                  <a:pt x="99395" y="294532"/>
                  <a:pt x="99395" y="294532"/>
                  <a:pt x="99395" y="294532"/>
                </a:cubicBezTo>
                <a:cubicBezTo>
                  <a:pt x="99702" y="294532"/>
                  <a:pt x="99702" y="294532"/>
                  <a:pt x="99702" y="294532"/>
                </a:cubicBezTo>
                <a:cubicBezTo>
                  <a:pt x="100009" y="294225"/>
                  <a:pt x="100009" y="294225"/>
                  <a:pt x="100009" y="294225"/>
                </a:cubicBezTo>
                <a:cubicBezTo>
                  <a:pt x="100623" y="293305"/>
                  <a:pt x="100623" y="293305"/>
                  <a:pt x="100623" y="293305"/>
                </a:cubicBezTo>
                <a:cubicBezTo>
                  <a:pt x="100930" y="292385"/>
                  <a:pt x="100930" y="292385"/>
                  <a:pt x="100930" y="292385"/>
                </a:cubicBezTo>
                <a:cubicBezTo>
                  <a:pt x="101237" y="292385"/>
                  <a:pt x="101237" y="292385"/>
                  <a:pt x="101237" y="292385"/>
                </a:cubicBezTo>
                <a:cubicBezTo>
                  <a:pt x="100930" y="292692"/>
                  <a:pt x="100930" y="292999"/>
                  <a:pt x="100930" y="293305"/>
                </a:cubicBezTo>
                <a:cubicBezTo>
                  <a:pt x="100930" y="293918"/>
                  <a:pt x="100623" y="294225"/>
                  <a:pt x="100623" y="294532"/>
                </a:cubicBezTo>
                <a:cubicBezTo>
                  <a:pt x="100930" y="294532"/>
                  <a:pt x="100930" y="294532"/>
                  <a:pt x="100930" y="294532"/>
                </a:cubicBezTo>
                <a:cubicBezTo>
                  <a:pt x="101544" y="294532"/>
                  <a:pt x="101544" y="294532"/>
                  <a:pt x="101544" y="294532"/>
                </a:cubicBezTo>
                <a:cubicBezTo>
                  <a:pt x="101851" y="294532"/>
                  <a:pt x="101851" y="294532"/>
                  <a:pt x="101851" y="294532"/>
                </a:cubicBezTo>
                <a:cubicBezTo>
                  <a:pt x="102771" y="289932"/>
                  <a:pt x="102771" y="289932"/>
                  <a:pt x="102771" y="289932"/>
                </a:cubicBezTo>
                <a:cubicBezTo>
                  <a:pt x="102771" y="289626"/>
                  <a:pt x="102771" y="289626"/>
                  <a:pt x="102771" y="289626"/>
                </a:cubicBezTo>
                <a:cubicBezTo>
                  <a:pt x="102464" y="289626"/>
                  <a:pt x="102464" y="289626"/>
                  <a:pt x="102464" y="289626"/>
                </a:cubicBezTo>
                <a:cubicBezTo>
                  <a:pt x="101851" y="289626"/>
                  <a:pt x="101851" y="289626"/>
                  <a:pt x="101851" y="289626"/>
                </a:cubicBezTo>
                <a:cubicBezTo>
                  <a:pt x="101851" y="289626"/>
                  <a:pt x="101851" y="289626"/>
                  <a:pt x="101544" y="289626"/>
                </a:cubicBezTo>
                <a:cubicBezTo>
                  <a:pt x="101544" y="289626"/>
                  <a:pt x="101544" y="289626"/>
                  <a:pt x="101544" y="289932"/>
                </a:cubicBezTo>
                <a:cubicBezTo>
                  <a:pt x="100623" y="291466"/>
                  <a:pt x="100623" y="291466"/>
                  <a:pt x="100623" y="291466"/>
                </a:cubicBezTo>
                <a:cubicBezTo>
                  <a:pt x="100316" y="291466"/>
                  <a:pt x="100316" y="291772"/>
                  <a:pt x="100316" y="292079"/>
                </a:cubicBezTo>
                <a:cubicBezTo>
                  <a:pt x="100009" y="292079"/>
                  <a:pt x="100009" y="292385"/>
                  <a:pt x="99702" y="292692"/>
                </a:cubicBezTo>
                <a:cubicBezTo>
                  <a:pt x="99395" y="291466"/>
                  <a:pt x="99395" y="291466"/>
                  <a:pt x="99395" y="291466"/>
                </a:cubicBezTo>
                <a:cubicBezTo>
                  <a:pt x="99088" y="289932"/>
                  <a:pt x="99088" y="289932"/>
                  <a:pt x="99088" y="289932"/>
                </a:cubicBezTo>
                <a:cubicBezTo>
                  <a:pt x="99088" y="289626"/>
                  <a:pt x="99088" y="289626"/>
                  <a:pt x="99088" y="289626"/>
                </a:cubicBezTo>
                <a:cubicBezTo>
                  <a:pt x="99088" y="289626"/>
                  <a:pt x="99088" y="289626"/>
                  <a:pt x="98781" y="289626"/>
                </a:cubicBezTo>
                <a:cubicBezTo>
                  <a:pt x="98167" y="289626"/>
                  <a:pt x="98167" y="289626"/>
                  <a:pt x="98167" y="289626"/>
                </a:cubicBezTo>
                <a:close/>
                <a:moveTo>
                  <a:pt x="94791" y="289626"/>
                </a:moveTo>
                <a:cubicBezTo>
                  <a:pt x="92642" y="294532"/>
                  <a:pt x="92642" y="294532"/>
                  <a:pt x="92642" y="294532"/>
                </a:cubicBezTo>
                <a:cubicBezTo>
                  <a:pt x="92642" y="294532"/>
                  <a:pt x="92642" y="294532"/>
                  <a:pt x="92949" y="294532"/>
                </a:cubicBezTo>
                <a:cubicBezTo>
                  <a:pt x="93563" y="294532"/>
                  <a:pt x="93563" y="294532"/>
                  <a:pt x="93563" y="294532"/>
                </a:cubicBezTo>
                <a:cubicBezTo>
                  <a:pt x="93870" y="294532"/>
                  <a:pt x="93870" y="294532"/>
                  <a:pt x="93870" y="294532"/>
                </a:cubicBezTo>
                <a:cubicBezTo>
                  <a:pt x="94177" y="293918"/>
                  <a:pt x="94177" y="293918"/>
                  <a:pt x="94177" y="293918"/>
                </a:cubicBezTo>
                <a:cubicBezTo>
                  <a:pt x="94177" y="293612"/>
                  <a:pt x="94177" y="293612"/>
                  <a:pt x="94177" y="293612"/>
                </a:cubicBezTo>
                <a:cubicBezTo>
                  <a:pt x="95098" y="293612"/>
                  <a:pt x="95098" y="293612"/>
                  <a:pt x="95098" y="293612"/>
                </a:cubicBezTo>
                <a:cubicBezTo>
                  <a:pt x="95405" y="293612"/>
                  <a:pt x="95405" y="293612"/>
                  <a:pt x="95405" y="293612"/>
                </a:cubicBezTo>
                <a:cubicBezTo>
                  <a:pt x="95405" y="293918"/>
                  <a:pt x="95405" y="293918"/>
                  <a:pt x="95405" y="293918"/>
                </a:cubicBezTo>
                <a:cubicBezTo>
                  <a:pt x="95405" y="294532"/>
                  <a:pt x="95405" y="294532"/>
                  <a:pt x="95405" y="294532"/>
                </a:cubicBezTo>
                <a:cubicBezTo>
                  <a:pt x="95712" y="294532"/>
                  <a:pt x="95712" y="294532"/>
                  <a:pt x="95712" y="294532"/>
                </a:cubicBezTo>
                <a:cubicBezTo>
                  <a:pt x="96326" y="294532"/>
                  <a:pt x="96326" y="294532"/>
                  <a:pt x="96326" y="294532"/>
                </a:cubicBezTo>
                <a:cubicBezTo>
                  <a:pt x="96632" y="294532"/>
                  <a:pt x="96632" y="294532"/>
                  <a:pt x="96632" y="294532"/>
                </a:cubicBezTo>
                <a:cubicBezTo>
                  <a:pt x="96326" y="289626"/>
                  <a:pt x="96326" y="289626"/>
                  <a:pt x="96326" y="289626"/>
                </a:cubicBezTo>
                <a:cubicBezTo>
                  <a:pt x="96019" y="289626"/>
                  <a:pt x="96019" y="289626"/>
                  <a:pt x="96019" y="289626"/>
                </a:cubicBezTo>
                <a:cubicBezTo>
                  <a:pt x="95098" y="289626"/>
                  <a:pt x="95098" y="289626"/>
                  <a:pt x="95098" y="289626"/>
                </a:cubicBezTo>
                <a:cubicBezTo>
                  <a:pt x="94791" y="289626"/>
                  <a:pt x="94791" y="289626"/>
                  <a:pt x="94791" y="289626"/>
                </a:cubicBezTo>
                <a:close/>
                <a:moveTo>
                  <a:pt x="191034" y="283383"/>
                </a:moveTo>
                <a:lnTo>
                  <a:pt x="192828" y="292905"/>
                </a:lnTo>
                <a:lnTo>
                  <a:pt x="192432" y="291723"/>
                </a:lnTo>
                <a:lnTo>
                  <a:pt x="191466" y="286111"/>
                </a:lnTo>
                <a:close/>
                <a:moveTo>
                  <a:pt x="289502" y="279549"/>
                </a:moveTo>
                <a:cubicBezTo>
                  <a:pt x="289196" y="279549"/>
                  <a:pt x="289196" y="279855"/>
                  <a:pt x="289196" y="279855"/>
                </a:cubicBezTo>
                <a:cubicBezTo>
                  <a:pt x="289196" y="280162"/>
                  <a:pt x="289196" y="280162"/>
                  <a:pt x="289502" y="280162"/>
                </a:cubicBezTo>
                <a:cubicBezTo>
                  <a:pt x="295301" y="280162"/>
                  <a:pt x="295301" y="280162"/>
                  <a:pt x="295301" y="280162"/>
                </a:cubicBezTo>
                <a:cubicBezTo>
                  <a:pt x="295606" y="280162"/>
                  <a:pt x="295911" y="280162"/>
                  <a:pt x="295911" y="279855"/>
                </a:cubicBezTo>
                <a:cubicBezTo>
                  <a:pt x="295911" y="279855"/>
                  <a:pt x="295606" y="279549"/>
                  <a:pt x="295301" y="279549"/>
                </a:cubicBezTo>
                <a:cubicBezTo>
                  <a:pt x="289502" y="279549"/>
                  <a:pt x="289502" y="279549"/>
                  <a:pt x="289502" y="279549"/>
                </a:cubicBezTo>
                <a:close/>
                <a:moveTo>
                  <a:pt x="190141" y="277736"/>
                </a:moveTo>
                <a:lnTo>
                  <a:pt x="191034" y="283383"/>
                </a:lnTo>
                <a:lnTo>
                  <a:pt x="190585" y="280999"/>
                </a:lnTo>
                <a:close/>
                <a:moveTo>
                  <a:pt x="289502" y="275870"/>
                </a:moveTo>
                <a:cubicBezTo>
                  <a:pt x="289196" y="275870"/>
                  <a:pt x="289196" y="276177"/>
                  <a:pt x="289196" y="276177"/>
                </a:cubicBezTo>
                <a:cubicBezTo>
                  <a:pt x="289196" y="276483"/>
                  <a:pt x="289196" y="276790"/>
                  <a:pt x="289502" y="276790"/>
                </a:cubicBezTo>
                <a:cubicBezTo>
                  <a:pt x="295301" y="276790"/>
                  <a:pt x="295301" y="276790"/>
                  <a:pt x="295301" y="276790"/>
                </a:cubicBezTo>
                <a:cubicBezTo>
                  <a:pt x="295606" y="276790"/>
                  <a:pt x="295911" y="276483"/>
                  <a:pt x="295911" y="276177"/>
                </a:cubicBezTo>
                <a:cubicBezTo>
                  <a:pt x="295911" y="276177"/>
                  <a:pt x="295606" y="275870"/>
                  <a:pt x="295301" y="275870"/>
                </a:cubicBezTo>
                <a:cubicBezTo>
                  <a:pt x="289502" y="275870"/>
                  <a:pt x="289502" y="275870"/>
                  <a:pt x="289502" y="275870"/>
                </a:cubicBezTo>
                <a:close/>
                <a:moveTo>
                  <a:pt x="371594" y="274689"/>
                </a:moveTo>
                <a:lnTo>
                  <a:pt x="376166" y="282575"/>
                </a:lnTo>
                <a:lnTo>
                  <a:pt x="380738" y="274689"/>
                </a:lnTo>
                <a:close/>
                <a:moveTo>
                  <a:pt x="289502" y="272498"/>
                </a:moveTo>
                <a:cubicBezTo>
                  <a:pt x="289196" y="272498"/>
                  <a:pt x="289196" y="272498"/>
                  <a:pt x="289196" y="272804"/>
                </a:cubicBezTo>
                <a:cubicBezTo>
                  <a:pt x="289196" y="273111"/>
                  <a:pt x="289196" y="273111"/>
                  <a:pt x="289502" y="273111"/>
                </a:cubicBezTo>
                <a:cubicBezTo>
                  <a:pt x="295301" y="273111"/>
                  <a:pt x="295301" y="273111"/>
                  <a:pt x="295301" y="273111"/>
                </a:cubicBezTo>
                <a:cubicBezTo>
                  <a:pt x="295606" y="273111"/>
                  <a:pt x="295911" y="273111"/>
                  <a:pt x="295911" y="272804"/>
                </a:cubicBezTo>
                <a:cubicBezTo>
                  <a:pt x="295911" y="272498"/>
                  <a:pt x="295606" y="272498"/>
                  <a:pt x="295301" y="272498"/>
                </a:cubicBezTo>
                <a:cubicBezTo>
                  <a:pt x="289502" y="272498"/>
                  <a:pt x="289502" y="272498"/>
                  <a:pt x="289502" y="272498"/>
                </a:cubicBezTo>
                <a:close/>
                <a:moveTo>
                  <a:pt x="289502" y="269126"/>
                </a:moveTo>
                <a:cubicBezTo>
                  <a:pt x="289196" y="269126"/>
                  <a:pt x="289196" y="269126"/>
                  <a:pt x="289196" y="269432"/>
                </a:cubicBezTo>
                <a:cubicBezTo>
                  <a:pt x="289196" y="269739"/>
                  <a:pt x="289196" y="269739"/>
                  <a:pt x="289502" y="269739"/>
                </a:cubicBezTo>
                <a:cubicBezTo>
                  <a:pt x="295301" y="269739"/>
                  <a:pt x="295301" y="269739"/>
                  <a:pt x="295301" y="269739"/>
                </a:cubicBezTo>
                <a:cubicBezTo>
                  <a:pt x="295606" y="269739"/>
                  <a:pt x="295911" y="269739"/>
                  <a:pt x="295911" y="269432"/>
                </a:cubicBezTo>
                <a:cubicBezTo>
                  <a:pt x="295911" y="269126"/>
                  <a:pt x="295606" y="269126"/>
                  <a:pt x="295301" y="269126"/>
                </a:cubicBezTo>
                <a:cubicBezTo>
                  <a:pt x="289502" y="269126"/>
                  <a:pt x="289502" y="269126"/>
                  <a:pt x="289502" y="269126"/>
                </a:cubicBezTo>
                <a:close/>
                <a:moveTo>
                  <a:pt x="2454" y="269052"/>
                </a:moveTo>
                <a:cubicBezTo>
                  <a:pt x="1841" y="269052"/>
                  <a:pt x="1227" y="269665"/>
                  <a:pt x="1227" y="270278"/>
                </a:cubicBezTo>
                <a:cubicBezTo>
                  <a:pt x="1227" y="294794"/>
                  <a:pt x="1227" y="294794"/>
                  <a:pt x="1227" y="294794"/>
                </a:cubicBezTo>
                <a:cubicBezTo>
                  <a:pt x="1227" y="295713"/>
                  <a:pt x="1841" y="296326"/>
                  <a:pt x="2454" y="296326"/>
                </a:cubicBezTo>
                <a:cubicBezTo>
                  <a:pt x="36512" y="296326"/>
                  <a:pt x="36512" y="296326"/>
                  <a:pt x="36512" y="296326"/>
                </a:cubicBezTo>
                <a:cubicBezTo>
                  <a:pt x="37126" y="296326"/>
                  <a:pt x="37739" y="295713"/>
                  <a:pt x="37739" y="294794"/>
                </a:cubicBezTo>
                <a:cubicBezTo>
                  <a:pt x="37739" y="270278"/>
                  <a:pt x="37739" y="270278"/>
                  <a:pt x="37739" y="270278"/>
                </a:cubicBezTo>
                <a:cubicBezTo>
                  <a:pt x="37739" y="269665"/>
                  <a:pt x="37126" y="269052"/>
                  <a:pt x="36512" y="269052"/>
                </a:cubicBezTo>
                <a:close/>
                <a:moveTo>
                  <a:pt x="133830" y="267309"/>
                </a:moveTo>
                <a:cubicBezTo>
                  <a:pt x="135988" y="267309"/>
                  <a:pt x="135988" y="267309"/>
                  <a:pt x="135988" y="267309"/>
                </a:cubicBezTo>
                <a:cubicBezTo>
                  <a:pt x="136297" y="267309"/>
                  <a:pt x="136605" y="267614"/>
                  <a:pt x="136605" y="267919"/>
                </a:cubicBezTo>
                <a:cubicBezTo>
                  <a:pt x="136605" y="272193"/>
                  <a:pt x="136605" y="272193"/>
                  <a:pt x="136605" y="272193"/>
                </a:cubicBezTo>
                <a:cubicBezTo>
                  <a:pt x="140922" y="272193"/>
                  <a:pt x="140922" y="272193"/>
                  <a:pt x="140922" y="272193"/>
                </a:cubicBezTo>
                <a:cubicBezTo>
                  <a:pt x="141538" y="272193"/>
                  <a:pt x="141847" y="272499"/>
                  <a:pt x="141847" y="273109"/>
                </a:cubicBezTo>
                <a:cubicBezTo>
                  <a:pt x="141847" y="274941"/>
                  <a:pt x="141847" y="274941"/>
                  <a:pt x="141847" y="274941"/>
                </a:cubicBezTo>
                <a:cubicBezTo>
                  <a:pt x="141847" y="275551"/>
                  <a:pt x="141538" y="275857"/>
                  <a:pt x="140922" y="275857"/>
                </a:cubicBezTo>
                <a:cubicBezTo>
                  <a:pt x="136605" y="275857"/>
                  <a:pt x="136605" y="275857"/>
                  <a:pt x="136605" y="275857"/>
                </a:cubicBezTo>
                <a:cubicBezTo>
                  <a:pt x="136605" y="280130"/>
                  <a:pt x="136605" y="280130"/>
                  <a:pt x="136605" y="280130"/>
                </a:cubicBezTo>
                <a:cubicBezTo>
                  <a:pt x="136605" y="280436"/>
                  <a:pt x="136297" y="280741"/>
                  <a:pt x="135988" y="280741"/>
                </a:cubicBezTo>
                <a:cubicBezTo>
                  <a:pt x="133830" y="280741"/>
                  <a:pt x="133830" y="280741"/>
                  <a:pt x="133830" y="280741"/>
                </a:cubicBezTo>
                <a:cubicBezTo>
                  <a:pt x="133522" y="280741"/>
                  <a:pt x="133213" y="280436"/>
                  <a:pt x="133213" y="280130"/>
                </a:cubicBezTo>
                <a:cubicBezTo>
                  <a:pt x="133213" y="275857"/>
                  <a:pt x="133213" y="275857"/>
                  <a:pt x="133213" y="275857"/>
                </a:cubicBezTo>
                <a:cubicBezTo>
                  <a:pt x="128588" y="275857"/>
                  <a:pt x="128588" y="275857"/>
                  <a:pt x="128588" y="275857"/>
                </a:cubicBezTo>
                <a:cubicBezTo>
                  <a:pt x="128280" y="275857"/>
                  <a:pt x="127972" y="275551"/>
                  <a:pt x="127972" y="274941"/>
                </a:cubicBezTo>
                <a:cubicBezTo>
                  <a:pt x="127972" y="273109"/>
                  <a:pt x="127972" y="273109"/>
                  <a:pt x="127972" y="273109"/>
                </a:cubicBezTo>
                <a:cubicBezTo>
                  <a:pt x="127972" y="272499"/>
                  <a:pt x="128280" y="272193"/>
                  <a:pt x="128588" y="272193"/>
                </a:cubicBezTo>
                <a:cubicBezTo>
                  <a:pt x="133213" y="272193"/>
                  <a:pt x="133213" y="272193"/>
                  <a:pt x="133213" y="272193"/>
                </a:cubicBezTo>
                <a:cubicBezTo>
                  <a:pt x="133213" y="267919"/>
                  <a:pt x="133213" y="267919"/>
                  <a:pt x="133213" y="267919"/>
                </a:cubicBezTo>
                <a:cubicBezTo>
                  <a:pt x="133213" y="267614"/>
                  <a:pt x="133522" y="267309"/>
                  <a:pt x="133830" y="267309"/>
                </a:cubicBezTo>
                <a:close/>
                <a:moveTo>
                  <a:pt x="289502" y="265447"/>
                </a:moveTo>
                <a:cubicBezTo>
                  <a:pt x="289196" y="265447"/>
                  <a:pt x="289196" y="265753"/>
                  <a:pt x="289196" y="266060"/>
                </a:cubicBezTo>
                <a:cubicBezTo>
                  <a:pt x="289196" y="266060"/>
                  <a:pt x="289196" y="266367"/>
                  <a:pt x="289502" y="266367"/>
                </a:cubicBezTo>
                <a:cubicBezTo>
                  <a:pt x="295301" y="266367"/>
                  <a:pt x="295301" y="266367"/>
                  <a:pt x="295301" y="266367"/>
                </a:cubicBezTo>
                <a:cubicBezTo>
                  <a:pt x="295606" y="266367"/>
                  <a:pt x="295911" y="266060"/>
                  <a:pt x="295911" y="266060"/>
                </a:cubicBezTo>
                <a:cubicBezTo>
                  <a:pt x="295911" y="265753"/>
                  <a:pt x="295606" y="265447"/>
                  <a:pt x="295301" y="265447"/>
                </a:cubicBezTo>
                <a:cubicBezTo>
                  <a:pt x="289502" y="265447"/>
                  <a:pt x="289502" y="265447"/>
                  <a:pt x="289502" y="265447"/>
                </a:cubicBezTo>
                <a:close/>
                <a:moveTo>
                  <a:pt x="366202" y="265390"/>
                </a:moveTo>
                <a:lnTo>
                  <a:pt x="366203" y="265390"/>
                </a:lnTo>
                <a:lnTo>
                  <a:pt x="386128" y="265390"/>
                </a:lnTo>
                <a:lnTo>
                  <a:pt x="386117" y="265410"/>
                </a:lnTo>
                <a:lnTo>
                  <a:pt x="386129" y="265390"/>
                </a:lnTo>
                <a:lnTo>
                  <a:pt x="394099" y="269670"/>
                </a:lnTo>
                <a:lnTo>
                  <a:pt x="381431" y="291656"/>
                </a:lnTo>
                <a:lnTo>
                  <a:pt x="394099" y="313508"/>
                </a:lnTo>
                <a:lnTo>
                  <a:pt x="386129" y="318084"/>
                </a:lnTo>
                <a:lnTo>
                  <a:pt x="376166" y="300793"/>
                </a:lnTo>
                <a:lnTo>
                  <a:pt x="366203" y="318084"/>
                </a:lnTo>
                <a:lnTo>
                  <a:pt x="358232" y="313508"/>
                </a:lnTo>
                <a:lnTo>
                  <a:pt x="370901" y="291656"/>
                </a:lnTo>
                <a:lnTo>
                  <a:pt x="358232" y="269670"/>
                </a:lnTo>
                <a:lnTo>
                  <a:pt x="366202" y="265390"/>
                </a:lnTo>
                <a:close/>
                <a:moveTo>
                  <a:pt x="255242" y="265156"/>
                </a:moveTo>
                <a:lnTo>
                  <a:pt x="256863" y="277787"/>
                </a:lnTo>
                <a:lnTo>
                  <a:pt x="257817" y="278581"/>
                </a:lnTo>
                <a:cubicBezTo>
                  <a:pt x="257817" y="280111"/>
                  <a:pt x="257817" y="281642"/>
                  <a:pt x="257817" y="282866"/>
                </a:cubicBezTo>
                <a:cubicBezTo>
                  <a:pt x="258124" y="287765"/>
                  <a:pt x="258430" y="291821"/>
                  <a:pt x="256936" y="294959"/>
                </a:cubicBezTo>
                <a:lnTo>
                  <a:pt x="246556" y="300804"/>
                </a:lnTo>
                <a:lnTo>
                  <a:pt x="247394" y="304703"/>
                </a:lnTo>
                <a:cubicBezTo>
                  <a:pt x="247702" y="305317"/>
                  <a:pt x="247702" y="305317"/>
                  <a:pt x="247702" y="305317"/>
                </a:cubicBezTo>
                <a:cubicBezTo>
                  <a:pt x="248932" y="308383"/>
                  <a:pt x="249239" y="308689"/>
                  <a:pt x="251699" y="311142"/>
                </a:cubicBezTo>
                <a:cubicBezTo>
                  <a:pt x="252314" y="311449"/>
                  <a:pt x="252622" y="311755"/>
                  <a:pt x="252929" y="312062"/>
                </a:cubicBezTo>
                <a:cubicBezTo>
                  <a:pt x="255389" y="313595"/>
                  <a:pt x="256312" y="314208"/>
                  <a:pt x="259694" y="314208"/>
                </a:cubicBezTo>
                <a:cubicBezTo>
                  <a:pt x="262462" y="314208"/>
                  <a:pt x="264922" y="313901"/>
                  <a:pt x="267075" y="312982"/>
                </a:cubicBezTo>
                <a:cubicBezTo>
                  <a:pt x="269227" y="311755"/>
                  <a:pt x="271380" y="310222"/>
                  <a:pt x="272917" y="308383"/>
                </a:cubicBezTo>
                <a:cubicBezTo>
                  <a:pt x="276300" y="304703"/>
                  <a:pt x="277530" y="300411"/>
                  <a:pt x="277837" y="296119"/>
                </a:cubicBezTo>
                <a:cubicBezTo>
                  <a:pt x="277837" y="291520"/>
                  <a:pt x="276607" y="286614"/>
                  <a:pt x="273840" y="282321"/>
                </a:cubicBezTo>
                <a:cubicBezTo>
                  <a:pt x="272302" y="280175"/>
                  <a:pt x="270765" y="278029"/>
                  <a:pt x="268920" y="275883"/>
                </a:cubicBezTo>
                <a:lnTo>
                  <a:pt x="266578" y="273771"/>
                </a:lnTo>
                <a:lnTo>
                  <a:pt x="264553" y="279826"/>
                </a:lnTo>
                <a:cubicBezTo>
                  <a:pt x="264553" y="283810"/>
                  <a:pt x="266091" y="288100"/>
                  <a:pt x="267936" y="291471"/>
                </a:cubicBezTo>
                <a:lnTo>
                  <a:pt x="270830" y="295509"/>
                </a:lnTo>
                <a:lnTo>
                  <a:pt x="271949" y="295509"/>
                </a:lnTo>
                <a:cubicBezTo>
                  <a:pt x="274680" y="298842"/>
                  <a:pt x="274680" y="298842"/>
                  <a:pt x="274680" y="298842"/>
                </a:cubicBezTo>
                <a:cubicBezTo>
                  <a:pt x="274983" y="299145"/>
                  <a:pt x="274680" y="299448"/>
                  <a:pt x="274376" y="299751"/>
                </a:cubicBezTo>
                <a:cubicBezTo>
                  <a:pt x="273770" y="300660"/>
                  <a:pt x="273770" y="300660"/>
                  <a:pt x="273770" y="300660"/>
                </a:cubicBezTo>
                <a:cubicBezTo>
                  <a:pt x="273163" y="300963"/>
                  <a:pt x="272860" y="300660"/>
                  <a:pt x="272556" y="300357"/>
                </a:cubicBezTo>
                <a:cubicBezTo>
                  <a:pt x="269826" y="297327"/>
                  <a:pt x="269826" y="297327"/>
                  <a:pt x="269826" y="297327"/>
                </a:cubicBezTo>
                <a:cubicBezTo>
                  <a:pt x="269522" y="297024"/>
                  <a:pt x="269522" y="296418"/>
                  <a:pt x="269826" y="296115"/>
                </a:cubicBezTo>
                <a:lnTo>
                  <a:pt x="270080" y="295945"/>
                </a:lnTo>
                <a:lnTo>
                  <a:pt x="267013" y="291778"/>
                </a:lnTo>
                <a:cubicBezTo>
                  <a:pt x="265168" y="288407"/>
                  <a:pt x="263631" y="284116"/>
                  <a:pt x="263323" y="279826"/>
                </a:cubicBezTo>
                <a:lnTo>
                  <a:pt x="265779" y="273049"/>
                </a:lnTo>
                <a:lnTo>
                  <a:pt x="262462" y="270057"/>
                </a:lnTo>
                <a:cubicBezTo>
                  <a:pt x="261232" y="268831"/>
                  <a:pt x="260002" y="267911"/>
                  <a:pt x="258464" y="266991"/>
                </a:cubicBezTo>
                <a:close/>
                <a:moveTo>
                  <a:pt x="134694" y="264484"/>
                </a:moveTo>
                <a:cubicBezTo>
                  <a:pt x="129476" y="264484"/>
                  <a:pt x="125178" y="268776"/>
                  <a:pt x="125178" y="273989"/>
                </a:cubicBezTo>
                <a:cubicBezTo>
                  <a:pt x="125178" y="279508"/>
                  <a:pt x="129476" y="283800"/>
                  <a:pt x="134694" y="283800"/>
                </a:cubicBezTo>
                <a:cubicBezTo>
                  <a:pt x="140219" y="283800"/>
                  <a:pt x="144516" y="279508"/>
                  <a:pt x="144516" y="273989"/>
                </a:cubicBezTo>
                <a:cubicBezTo>
                  <a:pt x="144516" y="268776"/>
                  <a:pt x="140219" y="264484"/>
                  <a:pt x="134694" y="264484"/>
                </a:cubicBezTo>
                <a:close/>
                <a:moveTo>
                  <a:pt x="75146" y="264484"/>
                </a:moveTo>
                <a:cubicBezTo>
                  <a:pt x="73612" y="264484"/>
                  <a:pt x="72384" y="264790"/>
                  <a:pt x="71770" y="265403"/>
                </a:cubicBezTo>
                <a:cubicBezTo>
                  <a:pt x="57036" y="280121"/>
                  <a:pt x="57036" y="280121"/>
                  <a:pt x="57036" y="280121"/>
                </a:cubicBezTo>
                <a:cubicBezTo>
                  <a:pt x="56729" y="280427"/>
                  <a:pt x="56423" y="281041"/>
                  <a:pt x="56423" y="281347"/>
                </a:cubicBezTo>
                <a:cubicBezTo>
                  <a:pt x="56423" y="281961"/>
                  <a:pt x="56423" y="281961"/>
                  <a:pt x="56423" y="281961"/>
                </a:cubicBezTo>
                <a:cubicBezTo>
                  <a:pt x="56423" y="282267"/>
                  <a:pt x="56423" y="282267"/>
                  <a:pt x="56423" y="282267"/>
                </a:cubicBezTo>
                <a:cubicBezTo>
                  <a:pt x="56423" y="283494"/>
                  <a:pt x="58264" y="283494"/>
                  <a:pt x="60413" y="283494"/>
                </a:cubicBezTo>
                <a:cubicBezTo>
                  <a:pt x="77295" y="283494"/>
                  <a:pt x="77295" y="283494"/>
                  <a:pt x="77295" y="283494"/>
                </a:cubicBezTo>
                <a:cubicBezTo>
                  <a:pt x="77295" y="264484"/>
                  <a:pt x="77295" y="264484"/>
                  <a:pt x="77295" y="264484"/>
                </a:cubicBezTo>
                <a:cubicBezTo>
                  <a:pt x="75146" y="264484"/>
                  <a:pt x="75146" y="264484"/>
                  <a:pt x="75146" y="264484"/>
                </a:cubicBezTo>
                <a:close/>
                <a:moveTo>
                  <a:pt x="84969" y="263870"/>
                </a:moveTo>
                <a:cubicBezTo>
                  <a:pt x="84355" y="263870"/>
                  <a:pt x="83434" y="264484"/>
                  <a:pt x="83434" y="265403"/>
                </a:cubicBezTo>
                <a:cubicBezTo>
                  <a:pt x="83434" y="281961"/>
                  <a:pt x="83434" y="281961"/>
                  <a:pt x="83434" y="281961"/>
                </a:cubicBezTo>
                <a:cubicBezTo>
                  <a:pt x="83434" y="282880"/>
                  <a:pt x="84355" y="283494"/>
                  <a:pt x="84969" y="283494"/>
                </a:cubicBezTo>
                <a:cubicBezTo>
                  <a:pt x="112594" y="283494"/>
                  <a:pt x="112594" y="283494"/>
                  <a:pt x="112594" y="283494"/>
                </a:cubicBezTo>
                <a:cubicBezTo>
                  <a:pt x="113515" y="283494"/>
                  <a:pt x="114128" y="282880"/>
                  <a:pt x="114128" y="281961"/>
                </a:cubicBezTo>
                <a:cubicBezTo>
                  <a:pt x="114128" y="265403"/>
                  <a:pt x="114128" y="265403"/>
                  <a:pt x="114128" y="265403"/>
                </a:cubicBezTo>
                <a:cubicBezTo>
                  <a:pt x="114128" y="264484"/>
                  <a:pt x="113515" y="263870"/>
                  <a:pt x="112594" y="263870"/>
                </a:cubicBezTo>
                <a:cubicBezTo>
                  <a:pt x="84969" y="263870"/>
                  <a:pt x="84969" y="263870"/>
                  <a:pt x="84969" y="263870"/>
                </a:cubicBezTo>
                <a:close/>
                <a:moveTo>
                  <a:pt x="245549" y="262392"/>
                </a:moveTo>
                <a:cubicBezTo>
                  <a:pt x="243089" y="262086"/>
                  <a:pt x="240322" y="262392"/>
                  <a:pt x="237862" y="263006"/>
                </a:cubicBezTo>
                <a:lnTo>
                  <a:pt x="236595" y="263848"/>
                </a:lnTo>
                <a:lnTo>
                  <a:pt x="236421" y="264568"/>
                </a:lnTo>
                <a:lnTo>
                  <a:pt x="234660" y="278095"/>
                </a:lnTo>
                <a:lnTo>
                  <a:pt x="235146" y="278581"/>
                </a:lnTo>
                <a:cubicBezTo>
                  <a:pt x="235146" y="280417"/>
                  <a:pt x="235146" y="281642"/>
                  <a:pt x="235146" y="283173"/>
                </a:cubicBezTo>
                <a:cubicBezTo>
                  <a:pt x="234840" y="287152"/>
                  <a:pt x="234609" y="290520"/>
                  <a:pt x="235836" y="293122"/>
                </a:cubicBezTo>
                <a:lnTo>
                  <a:pt x="244951" y="298298"/>
                </a:lnTo>
                <a:lnTo>
                  <a:pt x="253947" y="293122"/>
                </a:lnTo>
                <a:cubicBezTo>
                  <a:pt x="255135" y="290520"/>
                  <a:pt x="254905" y="287152"/>
                  <a:pt x="254751" y="283173"/>
                </a:cubicBezTo>
                <a:cubicBezTo>
                  <a:pt x="254751" y="281642"/>
                  <a:pt x="254445" y="280417"/>
                  <a:pt x="254445" y="278581"/>
                </a:cubicBezTo>
                <a:lnTo>
                  <a:pt x="255583" y="277444"/>
                </a:lnTo>
                <a:lnTo>
                  <a:pt x="253895" y="264568"/>
                </a:lnTo>
                <a:lnTo>
                  <a:pt x="253868" y="264466"/>
                </a:lnTo>
                <a:close/>
                <a:moveTo>
                  <a:pt x="289502" y="262075"/>
                </a:moveTo>
                <a:cubicBezTo>
                  <a:pt x="289196" y="262075"/>
                  <a:pt x="289196" y="262075"/>
                  <a:pt x="289196" y="262381"/>
                </a:cubicBezTo>
                <a:cubicBezTo>
                  <a:pt x="289196" y="262381"/>
                  <a:pt x="289196" y="262688"/>
                  <a:pt x="289502" y="262688"/>
                </a:cubicBezTo>
                <a:cubicBezTo>
                  <a:pt x="295301" y="262688"/>
                  <a:pt x="295301" y="262688"/>
                  <a:pt x="295301" y="262688"/>
                </a:cubicBezTo>
                <a:cubicBezTo>
                  <a:pt x="295606" y="262688"/>
                  <a:pt x="295911" y="262381"/>
                  <a:pt x="295911" y="262381"/>
                </a:cubicBezTo>
                <a:cubicBezTo>
                  <a:pt x="295911" y="262075"/>
                  <a:pt x="295606" y="262075"/>
                  <a:pt x="295301" y="262075"/>
                </a:cubicBezTo>
                <a:cubicBezTo>
                  <a:pt x="289502" y="262075"/>
                  <a:pt x="289502" y="262075"/>
                  <a:pt x="289502" y="262075"/>
                </a:cubicBezTo>
                <a:close/>
                <a:moveTo>
                  <a:pt x="187888" y="261809"/>
                </a:moveTo>
                <a:lnTo>
                  <a:pt x="186980" y="262458"/>
                </a:lnTo>
                <a:lnTo>
                  <a:pt x="187958" y="261809"/>
                </a:lnTo>
                <a:close/>
                <a:moveTo>
                  <a:pt x="156502" y="260519"/>
                </a:moveTo>
                <a:cubicBezTo>
                  <a:pt x="156502" y="260519"/>
                  <a:pt x="156502" y="263888"/>
                  <a:pt x="156502" y="267870"/>
                </a:cubicBezTo>
                <a:cubicBezTo>
                  <a:pt x="156808" y="273077"/>
                  <a:pt x="157115" y="279815"/>
                  <a:pt x="157421" y="280734"/>
                </a:cubicBezTo>
                <a:cubicBezTo>
                  <a:pt x="157421" y="281960"/>
                  <a:pt x="157421" y="282878"/>
                  <a:pt x="157727" y="284104"/>
                </a:cubicBezTo>
                <a:cubicBezTo>
                  <a:pt x="158033" y="287473"/>
                  <a:pt x="158339" y="290842"/>
                  <a:pt x="158645" y="294211"/>
                </a:cubicBezTo>
                <a:cubicBezTo>
                  <a:pt x="158952" y="295130"/>
                  <a:pt x="158952" y="295743"/>
                  <a:pt x="158952" y="296662"/>
                </a:cubicBezTo>
                <a:cubicBezTo>
                  <a:pt x="158952" y="297274"/>
                  <a:pt x="159258" y="298806"/>
                  <a:pt x="159564" y="300950"/>
                </a:cubicBezTo>
                <a:cubicBezTo>
                  <a:pt x="159870" y="298806"/>
                  <a:pt x="159870" y="297274"/>
                  <a:pt x="160176" y="296662"/>
                </a:cubicBezTo>
                <a:cubicBezTo>
                  <a:pt x="160176" y="295743"/>
                  <a:pt x="160176" y="295130"/>
                  <a:pt x="160176" y="294211"/>
                </a:cubicBezTo>
                <a:cubicBezTo>
                  <a:pt x="160482" y="290842"/>
                  <a:pt x="161095" y="287473"/>
                  <a:pt x="161401" y="284104"/>
                </a:cubicBezTo>
                <a:cubicBezTo>
                  <a:pt x="161401" y="282878"/>
                  <a:pt x="161707" y="281960"/>
                  <a:pt x="161707" y="280734"/>
                </a:cubicBezTo>
                <a:cubicBezTo>
                  <a:pt x="161707" y="279815"/>
                  <a:pt x="162319" y="273077"/>
                  <a:pt x="162319" y="267870"/>
                </a:cubicBezTo>
                <a:cubicBezTo>
                  <a:pt x="162625" y="263888"/>
                  <a:pt x="162625" y="260519"/>
                  <a:pt x="162625" y="260519"/>
                </a:cubicBezTo>
                <a:cubicBezTo>
                  <a:pt x="163544" y="260825"/>
                  <a:pt x="162625" y="286554"/>
                  <a:pt x="162319" y="289004"/>
                </a:cubicBezTo>
                <a:cubicBezTo>
                  <a:pt x="162013" y="291148"/>
                  <a:pt x="162013" y="293292"/>
                  <a:pt x="161707" y="295436"/>
                </a:cubicBezTo>
                <a:cubicBezTo>
                  <a:pt x="161707" y="296049"/>
                  <a:pt x="161707" y="296662"/>
                  <a:pt x="161401" y="296968"/>
                </a:cubicBezTo>
                <a:cubicBezTo>
                  <a:pt x="161401" y="297274"/>
                  <a:pt x="161095" y="297274"/>
                  <a:pt x="161095" y="297581"/>
                </a:cubicBezTo>
                <a:cubicBezTo>
                  <a:pt x="160176" y="301562"/>
                  <a:pt x="160176" y="304932"/>
                  <a:pt x="160176" y="308301"/>
                </a:cubicBezTo>
                <a:cubicBezTo>
                  <a:pt x="160176" y="311364"/>
                  <a:pt x="160176" y="313508"/>
                  <a:pt x="159564" y="313508"/>
                </a:cubicBezTo>
                <a:cubicBezTo>
                  <a:pt x="158645" y="313508"/>
                  <a:pt x="158645" y="311364"/>
                  <a:pt x="158952" y="308301"/>
                </a:cubicBezTo>
                <a:cubicBezTo>
                  <a:pt x="158645" y="304932"/>
                  <a:pt x="158645" y="301562"/>
                  <a:pt x="158033" y="297581"/>
                </a:cubicBezTo>
                <a:cubicBezTo>
                  <a:pt x="158033" y="297274"/>
                  <a:pt x="157727" y="297274"/>
                  <a:pt x="157421" y="296968"/>
                </a:cubicBezTo>
                <a:cubicBezTo>
                  <a:pt x="157421" y="296662"/>
                  <a:pt x="157421" y="296049"/>
                  <a:pt x="157421" y="295436"/>
                </a:cubicBezTo>
                <a:cubicBezTo>
                  <a:pt x="157115" y="293292"/>
                  <a:pt x="156808" y="291148"/>
                  <a:pt x="156808" y="289004"/>
                </a:cubicBezTo>
                <a:cubicBezTo>
                  <a:pt x="156502" y="286554"/>
                  <a:pt x="155278" y="260825"/>
                  <a:pt x="156502" y="260519"/>
                </a:cubicBezTo>
                <a:close/>
                <a:moveTo>
                  <a:pt x="289502" y="258396"/>
                </a:moveTo>
                <a:cubicBezTo>
                  <a:pt x="289196" y="258396"/>
                  <a:pt x="289196" y="258703"/>
                  <a:pt x="289196" y="258703"/>
                </a:cubicBezTo>
                <a:cubicBezTo>
                  <a:pt x="289196" y="259009"/>
                  <a:pt x="289196" y="259316"/>
                  <a:pt x="289502" y="259316"/>
                </a:cubicBezTo>
                <a:cubicBezTo>
                  <a:pt x="295301" y="259316"/>
                  <a:pt x="295301" y="259316"/>
                  <a:pt x="295301" y="259316"/>
                </a:cubicBezTo>
                <a:cubicBezTo>
                  <a:pt x="295606" y="259316"/>
                  <a:pt x="295911" y="259009"/>
                  <a:pt x="295911" y="258703"/>
                </a:cubicBezTo>
                <a:cubicBezTo>
                  <a:pt x="295911" y="258703"/>
                  <a:pt x="295606" y="258396"/>
                  <a:pt x="295301" y="258396"/>
                </a:cubicBezTo>
                <a:cubicBezTo>
                  <a:pt x="289502" y="258396"/>
                  <a:pt x="289502" y="258396"/>
                  <a:pt x="289502" y="258396"/>
                </a:cubicBezTo>
                <a:close/>
                <a:moveTo>
                  <a:pt x="289502" y="255024"/>
                </a:moveTo>
                <a:cubicBezTo>
                  <a:pt x="289196" y="255024"/>
                  <a:pt x="289196" y="255024"/>
                  <a:pt x="289196" y="255330"/>
                </a:cubicBezTo>
                <a:cubicBezTo>
                  <a:pt x="289196" y="255637"/>
                  <a:pt x="289196" y="255637"/>
                  <a:pt x="289502" y="255637"/>
                </a:cubicBezTo>
                <a:cubicBezTo>
                  <a:pt x="295301" y="255637"/>
                  <a:pt x="295301" y="255637"/>
                  <a:pt x="295301" y="255637"/>
                </a:cubicBezTo>
                <a:cubicBezTo>
                  <a:pt x="295606" y="255637"/>
                  <a:pt x="295911" y="255637"/>
                  <a:pt x="295911" y="255330"/>
                </a:cubicBezTo>
                <a:cubicBezTo>
                  <a:pt x="295911" y="255024"/>
                  <a:pt x="295606" y="255024"/>
                  <a:pt x="295301" y="255024"/>
                </a:cubicBezTo>
                <a:cubicBezTo>
                  <a:pt x="289502" y="255024"/>
                  <a:pt x="289502" y="255024"/>
                  <a:pt x="289502" y="255024"/>
                </a:cubicBezTo>
                <a:close/>
                <a:moveTo>
                  <a:pt x="84355" y="253139"/>
                </a:moveTo>
                <a:cubicBezTo>
                  <a:pt x="88038" y="253139"/>
                  <a:pt x="88038" y="253139"/>
                  <a:pt x="88038" y="253139"/>
                </a:cubicBezTo>
                <a:cubicBezTo>
                  <a:pt x="89880" y="253139"/>
                  <a:pt x="91721" y="254672"/>
                  <a:pt x="91721" y="256818"/>
                </a:cubicBezTo>
                <a:cubicBezTo>
                  <a:pt x="91721" y="259271"/>
                  <a:pt x="91721" y="259271"/>
                  <a:pt x="91721" y="259271"/>
                </a:cubicBezTo>
                <a:cubicBezTo>
                  <a:pt x="146665" y="259271"/>
                  <a:pt x="146665" y="259271"/>
                  <a:pt x="146665" y="259271"/>
                </a:cubicBezTo>
                <a:cubicBezTo>
                  <a:pt x="149734" y="259271"/>
                  <a:pt x="151883" y="261724"/>
                  <a:pt x="151883" y="264484"/>
                </a:cubicBezTo>
                <a:cubicBezTo>
                  <a:pt x="151883" y="302197"/>
                  <a:pt x="151883" y="302197"/>
                  <a:pt x="151883" y="302197"/>
                </a:cubicBezTo>
                <a:cubicBezTo>
                  <a:pt x="151883" y="305263"/>
                  <a:pt x="149734" y="307409"/>
                  <a:pt x="146665" y="307409"/>
                </a:cubicBezTo>
                <a:cubicBezTo>
                  <a:pt x="139298" y="307409"/>
                  <a:pt x="139298" y="307409"/>
                  <a:pt x="139298" y="307409"/>
                </a:cubicBezTo>
                <a:cubicBezTo>
                  <a:pt x="139298" y="312622"/>
                  <a:pt x="135308" y="316608"/>
                  <a:pt x="130397" y="316608"/>
                </a:cubicBezTo>
                <a:cubicBezTo>
                  <a:pt x="125485" y="316608"/>
                  <a:pt x="121495" y="312622"/>
                  <a:pt x="121495" y="307409"/>
                </a:cubicBezTo>
                <a:cubicBezTo>
                  <a:pt x="80364" y="307409"/>
                  <a:pt x="80364" y="307409"/>
                  <a:pt x="80364" y="307409"/>
                </a:cubicBezTo>
                <a:cubicBezTo>
                  <a:pt x="72691" y="307409"/>
                  <a:pt x="72691" y="307409"/>
                  <a:pt x="72691" y="307409"/>
                </a:cubicBezTo>
                <a:cubicBezTo>
                  <a:pt x="72691" y="312622"/>
                  <a:pt x="68700" y="316608"/>
                  <a:pt x="63789" y="316608"/>
                </a:cubicBezTo>
                <a:cubicBezTo>
                  <a:pt x="58878" y="316608"/>
                  <a:pt x="54581" y="312622"/>
                  <a:pt x="54581" y="307409"/>
                </a:cubicBezTo>
                <a:cubicBezTo>
                  <a:pt x="50898" y="307409"/>
                  <a:pt x="50898" y="307409"/>
                  <a:pt x="50898" y="307409"/>
                </a:cubicBezTo>
                <a:cubicBezTo>
                  <a:pt x="46907" y="307409"/>
                  <a:pt x="43838" y="305263"/>
                  <a:pt x="43838" y="302197"/>
                </a:cubicBezTo>
                <a:cubicBezTo>
                  <a:pt x="43838" y="301277"/>
                  <a:pt x="43838" y="301277"/>
                  <a:pt x="43838" y="301277"/>
                </a:cubicBezTo>
                <a:cubicBezTo>
                  <a:pt x="43838" y="291466"/>
                  <a:pt x="43838" y="291466"/>
                  <a:pt x="43838" y="291466"/>
                </a:cubicBezTo>
                <a:cubicBezTo>
                  <a:pt x="43838" y="290546"/>
                  <a:pt x="44452" y="289319"/>
                  <a:pt x="45372" y="288399"/>
                </a:cubicBezTo>
                <a:cubicBezTo>
                  <a:pt x="70849" y="261417"/>
                  <a:pt x="70849" y="261417"/>
                  <a:pt x="70849" y="261417"/>
                </a:cubicBezTo>
                <a:cubicBezTo>
                  <a:pt x="72077" y="260191"/>
                  <a:pt x="73918" y="259271"/>
                  <a:pt x="76374" y="259271"/>
                </a:cubicBezTo>
                <a:cubicBezTo>
                  <a:pt x="80364" y="259271"/>
                  <a:pt x="80364" y="259271"/>
                  <a:pt x="80364" y="259271"/>
                </a:cubicBezTo>
                <a:cubicBezTo>
                  <a:pt x="80671" y="259271"/>
                  <a:pt x="80671" y="259271"/>
                  <a:pt x="80671" y="259271"/>
                </a:cubicBezTo>
                <a:cubicBezTo>
                  <a:pt x="80671" y="256818"/>
                  <a:pt x="80671" y="256818"/>
                  <a:pt x="80671" y="256818"/>
                </a:cubicBezTo>
                <a:cubicBezTo>
                  <a:pt x="80671" y="254672"/>
                  <a:pt x="82513" y="253139"/>
                  <a:pt x="84355" y="253139"/>
                </a:cubicBezTo>
                <a:close/>
                <a:moveTo>
                  <a:pt x="337952" y="252548"/>
                </a:moveTo>
                <a:cubicBezTo>
                  <a:pt x="337952" y="252548"/>
                  <a:pt x="337952" y="252548"/>
                  <a:pt x="340407" y="252548"/>
                </a:cubicBezTo>
                <a:cubicBezTo>
                  <a:pt x="340714" y="252854"/>
                  <a:pt x="341021" y="253467"/>
                  <a:pt x="341021" y="253773"/>
                </a:cubicBezTo>
                <a:cubicBezTo>
                  <a:pt x="341021" y="253773"/>
                  <a:pt x="341021" y="253773"/>
                  <a:pt x="342555" y="275213"/>
                </a:cubicBezTo>
                <a:cubicBezTo>
                  <a:pt x="342862" y="278276"/>
                  <a:pt x="344704" y="280727"/>
                  <a:pt x="347466" y="281952"/>
                </a:cubicBezTo>
                <a:cubicBezTo>
                  <a:pt x="354218" y="285015"/>
                  <a:pt x="358822" y="292059"/>
                  <a:pt x="358822" y="299410"/>
                </a:cubicBezTo>
                <a:cubicBezTo>
                  <a:pt x="358822" y="307068"/>
                  <a:pt x="354525" y="313500"/>
                  <a:pt x="348387" y="316869"/>
                </a:cubicBezTo>
                <a:cubicBezTo>
                  <a:pt x="346852" y="317482"/>
                  <a:pt x="345625" y="317788"/>
                  <a:pt x="344090" y="317788"/>
                </a:cubicBezTo>
                <a:cubicBezTo>
                  <a:pt x="344090" y="317788"/>
                  <a:pt x="344090" y="317788"/>
                  <a:pt x="335189" y="317788"/>
                </a:cubicBezTo>
                <a:cubicBezTo>
                  <a:pt x="333655" y="317788"/>
                  <a:pt x="332120" y="317482"/>
                  <a:pt x="330892" y="316869"/>
                </a:cubicBezTo>
                <a:cubicBezTo>
                  <a:pt x="324447" y="313500"/>
                  <a:pt x="320150" y="307068"/>
                  <a:pt x="320150" y="299410"/>
                </a:cubicBezTo>
                <a:cubicBezTo>
                  <a:pt x="320150" y="292059"/>
                  <a:pt x="324754" y="285321"/>
                  <a:pt x="331199" y="282258"/>
                </a:cubicBezTo>
                <a:cubicBezTo>
                  <a:pt x="333655" y="281033"/>
                  <a:pt x="335496" y="278583"/>
                  <a:pt x="335803" y="275520"/>
                </a:cubicBezTo>
                <a:cubicBezTo>
                  <a:pt x="335803" y="275520"/>
                  <a:pt x="335803" y="275520"/>
                  <a:pt x="337338" y="253773"/>
                </a:cubicBezTo>
                <a:cubicBezTo>
                  <a:pt x="337338" y="253467"/>
                  <a:pt x="337645" y="252854"/>
                  <a:pt x="337952" y="252548"/>
                </a:cubicBezTo>
                <a:close/>
                <a:moveTo>
                  <a:pt x="289502" y="251039"/>
                </a:moveTo>
                <a:cubicBezTo>
                  <a:pt x="289196" y="251039"/>
                  <a:pt x="289196" y="251345"/>
                  <a:pt x="289196" y="251652"/>
                </a:cubicBezTo>
                <a:cubicBezTo>
                  <a:pt x="289196" y="251652"/>
                  <a:pt x="289196" y="251958"/>
                  <a:pt x="289502" y="251958"/>
                </a:cubicBezTo>
                <a:cubicBezTo>
                  <a:pt x="295301" y="251958"/>
                  <a:pt x="295301" y="251958"/>
                  <a:pt x="295301" y="251958"/>
                </a:cubicBezTo>
                <a:cubicBezTo>
                  <a:pt x="295606" y="251958"/>
                  <a:pt x="295911" y="251652"/>
                  <a:pt x="295911" y="251652"/>
                </a:cubicBezTo>
                <a:cubicBezTo>
                  <a:pt x="295911" y="251345"/>
                  <a:pt x="295606" y="251039"/>
                  <a:pt x="295301" y="251039"/>
                </a:cubicBezTo>
                <a:cubicBezTo>
                  <a:pt x="289502" y="251039"/>
                  <a:pt x="289502" y="251039"/>
                  <a:pt x="289502" y="251039"/>
                </a:cubicBezTo>
                <a:close/>
                <a:moveTo>
                  <a:pt x="187885" y="250936"/>
                </a:moveTo>
                <a:lnTo>
                  <a:pt x="187885" y="261504"/>
                </a:lnTo>
                <a:lnTo>
                  <a:pt x="187888" y="261503"/>
                </a:lnTo>
                <a:lnTo>
                  <a:pt x="187888" y="251081"/>
                </a:lnTo>
                <a:close/>
                <a:moveTo>
                  <a:pt x="185683" y="250402"/>
                </a:moveTo>
                <a:lnTo>
                  <a:pt x="185684" y="250433"/>
                </a:lnTo>
                <a:lnTo>
                  <a:pt x="185684" y="250433"/>
                </a:lnTo>
                <a:close/>
                <a:moveTo>
                  <a:pt x="351931" y="248299"/>
                </a:moveTo>
                <a:lnTo>
                  <a:pt x="352344" y="249826"/>
                </a:lnTo>
                <a:cubicBezTo>
                  <a:pt x="354493" y="253201"/>
                  <a:pt x="357562" y="255963"/>
                  <a:pt x="360938" y="257804"/>
                </a:cubicBezTo>
                <a:cubicBezTo>
                  <a:pt x="381196" y="257804"/>
                  <a:pt x="381196" y="257804"/>
                  <a:pt x="381196" y="257804"/>
                </a:cubicBezTo>
                <a:cubicBezTo>
                  <a:pt x="384879" y="255963"/>
                  <a:pt x="387949" y="253201"/>
                  <a:pt x="389790" y="249826"/>
                </a:cubicBezTo>
                <a:lnTo>
                  <a:pt x="389800" y="249791"/>
                </a:lnTo>
                <a:lnTo>
                  <a:pt x="381264" y="257714"/>
                </a:lnTo>
                <a:cubicBezTo>
                  <a:pt x="381264" y="257714"/>
                  <a:pt x="381264" y="257714"/>
                  <a:pt x="361020" y="257714"/>
                </a:cubicBezTo>
                <a:cubicBezTo>
                  <a:pt x="357646" y="255875"/>
                  <a:pt x="354579" y="253116"/>
                  <a:pt x="352432" y="249743"/>
                </a:cubicBezTo>
                <a:close/>
                <a:moveTo>
                  <a:pt x="289502" y="247360"/>
                </a:moveTo>
                <a:cubicBezTo>
                  <a:pt x="289196" y="247360"/>
                  <a:pt x="289196" y="247666"/>
                  <a:pt x="289196" y="247973"/>
                </a:cubicBezTo>
                <a:cubicBezTo>
                  <a:pt x="289196" y="247973"/>
                  <a:pt x="289196" y="248279"/>
                  <a:pt x="289502" y="248279"/>
                </a:cubicBezTo>
                <a:cubicBezTo>
                  <a:pt x="295301" y="248279"/>
                  <a:pt x="295301" y="248279"/>
                  <a:pt x="295301" y="248279"/>
                </a:cubicBezTo>
                <a:cubicBezTo>
                  <a:pt x="295606" y="248279"/>
                  <a:pt x="295911" y="247973"/>
                  <a:pt x="295911" y="247973"/>
                </a:cubicBezTo>
                <a:cubicBezTo>
                  <a:pt x="295911" y="247666"/>
                  <a:pt x="295606" y="247360"/>
                  <a:pt x="295301" y="247360"/>
                </a:cubicBezTo>
                <a:cubicBezTo>
                  <a:pt x="289502" y="247360"/>
                  <a:pt x="289502" y="247360"/>
                  <a:pt x="289502" y="247360"/>
                </a:cubicBezTo>
                <a:close/>
                <a:moveTo>
                  <a:pt x="289502" y="243988"/>
                </a:moveTo>
                <a:cubicBezTo>
                  <a:pt x="289196" y="243988"/>
                  <a:pt x="289196" y="244294"/>
                  <a:pt x="289196" y="244601"/>
                </a:cubicBezTo>
                <a:cubicBezTo>
                  <a:pt x="289196" y="244601"/>
                  <a:pt x="289196" y="244907"/>
                  <a:pt x="289502" y="244907"/>
                </a:cubicBezTo>
                <a:cubicBezTo>
                  <a:pt x="295301" y="244907"/>
                  <a:pt x="295301" y="244907"/>
                  <a:pt x="295301" y="244907"/>
                </a:cubicBezTo>
                <a:cubicBezTo>
                  <a:pt x="295606" y="244907"/>
                  <a:pt x="295911" y="244601"/>
                  <a:pt x="295911" y="244601"/>
                </a:cubicBezTo>
                <a:cubicBezTo>
                  <a:pt x="295911" y="244294"/>
                  <a:pt x="295606" y="243988"/>
                  <a:pt x="295301" y="243988"/>
                </a:cubicBezTo>
                <a:cubicBezTo>
                  <a:pt x="289502" y="243988"/>
                  <a:pt x="289502" y="243988"/>
                  <a:pt x="289502" y="243988"/>
                </a:cubicBezTo>
                <a:close/>
                <a:moveTo>
                  <a:pt x="245054" y="240858"/>
                </a:moveTo>
                <a:lnTo>
                  <a:pt x="241012" y="245557"/>
                </a:lnTo>
                <a:lnTo>
                  <a:pt x="237393" y="260542"/>
                </a:lnTo>
                <a:lnTo>
                  <a:pt x="245857" y="259939"/>
                </a:lnTo>
                <a:lnTo>
                  <a:pt x="253201" y="261892"/>
                </a:lnTo>
                <a:lnTo>
                  <a:pt x="248963" y="245557"/>
                </a:lnTo>
                <a:close/>
                <a:moveTo>
                  <a:pt x="289502" y="240309"/>
                </a:moveTo>
                <a:cubicBezTo>
                  <a:pt x="289196" y="240309"/>
                  <a:pt x="289196" y="240309"/>
                  <a:pt x="289196" y="240615"/>
                </a:cubicBezTo>
                <a:cubicBezTo>
                  <a:pt x="289196" y="240922"/>
                  <a:pt x="289196" y="240922"/>
                  <a:pt x="289502" y="240922"/>
                </a:cubicBezTo>
                <a:cubicBezTo>
                  <a:pt x="295301" y="240922"/>
                  <a:pt x="295301" y="240922"/>
                  <a:pt x="295301" y="240922"/>
                </a:cubicBezTo>
                <a:cubicBezTo>
                  <a:pt x="295606" y="240922"/>
                  <a:pt x="295911" y="240922"/>
                  <a:pt x="295911" y="240615"/>
                </a:cubicBezTo>
                <a:cubicBezTo>
                  <a:pt x="295911" y="240309"/>
                  <a:pt x="295606" y="240309"/>
                  <a:pt x="295301" y="240309"/>
                </a:cubicBezTo>
                <a:cubicBezTo>
                  <a:pt x="289502" y="240309"/>
                  <a:pt x="289502" y="240309"/>
                  <a:pt x="289502" y="240309"/>
                </a:cubicBezTo>
                <a:close/>
                <a:moveTo>
                  <a:pt x="205020" y="238723"/>
                </a:moveTo>
                <a:lnTo>
                  <a:pt x="204103" y="239395"/>
                </a:lnTo>
                <a:cubicBezTo>
                  <a:pt x="202262" y="242151"/>
                  <a:pt x="201342" y="243683"/>
                  <a:pt x="202262" y="247053"/>
                </a:cubicBezTo>
                <a:cubicBezTo>
                  <a:pt x="202569" y="248891"/>
                  <a:pt x="202876" y="248891"/>
                  <a:pt x="204103" y="250729"/>
                </a:cubicBezTo>
                <a:lnTo>
                  <a:pt x="205040" y="251633"/>
                </a:lnTo>
                <a:lnTo>
                  <a:pt x="205040" y="248268"/>
                </a:lnTo>
                <a:lnTo>
                  <a:pt x="205020" y="248268"/>
                </a:lnTo>
                <a:close/>
                <a:moveTo>
                  <a:pt x="11966" y="236875"/>
                </a:moveTo>
                <a:cubicBezTo>
                  <a:pt x="27307" y="236875"/>
                  <a:pt x="27307" y="236875"/>
                  <a:pt x="27307" y="236875"/>
                </a:cubicBezTo>
                <a:cubicBezTo>
                  <a:pt x="27614" y="241166"/>
                  <a:pt x="27001" y="241472"/>
                  <a:pt x="29762" y="244843"/>
                </a:cubicBezTo>
                <a:cubicBezTo>
                  <a:pt x="36819" y="251585"/>
                  <a:pt x="38967" y="261698"/>
                  <a:pt x="38967" y="270891"/>
                </a:cubicBezTo>
                <a:cubicBezTo>
                  <a:pt x="38660" y="314407"/>
                  <a:pt x="38660" y="314407"/>
                  <a:pt x="38660" y="314407"/>
                </a:cubicBezTo>
                <a:cubicBezTo>
                  <a:pt x="38660" y="316552"/>
                  <a:pt x="36819" y="318084"/>
                  <a:pt x="34978" y="318084"/>
                </a:cubicBezTo>
                <a:cubicBezTo>
                  <a:pt x="3988" y="318084"/>
                  <a:pt x="3988" y="318084"/>
                  <a:pt x="3988" y="318084"/>
                </a:cubicBezTo>
                <a:cubicBezTo>
                  <a:pt x="2148" y="318084"/>
                  <a:pt x="307" y="316552"/>
                  <a:pt x="307" y="314407"/>
                </a:cubicBezTo>
                <a:cubicBezTo>
                  <a:pt x="0" y="270891"/>
                  <a:pt x="0" y="270891"/>
                  <a:pt x="0" y="270891"/>
                </a:cubicBezTo>
                <a:cubicBezTo>
                  <a:pt x="0" y="261698"/>
                  <a:pt x="2148" y="251585"/>
                  <a:pt x="9205" y="244843"/>
                </a:cubicBezTo>
                <a:cubicBezTo>
                  <a:pt x="11966" y="241472"/>
                  <a:pt x="11352" y="241166"/>
                  <a:pt x="11966" y="236875"/>
                </a:cubicBezTo>
                <a:close/>
                <a:moveTo>
                  <a:pt x="184543" y="231534"/>
                </a:moveTo>
                <a:lnTo>
                  <a:pt x="185354" y="239304"/>
                </a:lnTo>
                <a:lnTo>
                  <a:pt x="185094" y="233901"/>
                </a:lnTo>
                <a:cubicBezTo>
                  <a:pt x="184799" y="232983"/>
                  <a:pt x="184799" y="232370"/>
                  <a:pt x="184799" y="232064"/>
                </a:cubicBezTo>
                <a:close/>
                <a:moveTo>
                  <a:pt x="186969" y="230851"/>
                </a:moveTo>
                <a:cubicBezTo>
                  <a:pt x="187275" y="230851"/>
                  <a:pt x="187275" y="231157"/>
                  <a:pt x="187275" y="231157"/>
                </a:cubicBezTo>
                <a:lnTo>
                  <a:pt x="187270" y="231157"/>
                </a:lnTo>
                <a:lnTo>
                  <a:pt x="187307" y="231287"/>
                </a:lnTo>
                <a:lnTo>
                  <a:pt x="187275" y="231157"/>
                </a:lnTo>
                <a:cubicBezTo>
                  <a:pt x="187581" y="231464"/>
                  <a:pt x="187581" y="231770"/>
                  <a:pt x="187888" y="232077"/>
                </a:cubicBezTo>
                <a:cubicBezTo>
                  <a:pt x="187888" y="232690"/>
                  <a:pt x="187888" y="232997"/>
                  <a:pt x="187888" y="233303"/>
                </a:cubicBezTo>
                <a:cubicBezTo>
                  <a:pt x="188194" y="239433"/>
                  <a:pt x="188194" y="245257"/>
                  <a:pt x="188194" y="251081"/>
                </a:cubicBezTo>
                <a:cubicBezTo>
                  <a:pt x="188194" y="254453"/>
                  <a:pt x="188194" y="258131"/>
                  <a:pt x="188194" y="261809"/>
                </a:cubicBezTo>
                <a:lnTo>
                  <a:pt x="188135" y="261809"/>
                </a:lnTo>
                <a:lnTo>
                  <a:pt x="189007" y="269397"/>
                </a:lnTo>
                <a:lnTo>
                  <a:pt x="190141" y="277736"/>
                </a:lnTo>
                <a:lnTo>
                  <a:pt x="188895" y="269852"/>
                </a:lnTo>
                <a:lnTo>
                  <a:pt x="187840" y="262193"/>
                </a:lnTo>
                <a:lnTo>
                  <a:pt x="188122" y="262006"/>
                </a:lnTo>
                <a:cubicBezTo>
                  <a:pt x="187815" y="262006"/>
                  <a:pt x="187815" y="262006"/>
                  <a:pt x="187815" y="262006"/>
                </a:cubicBezTo>
                <a:lnTo>
                  <a:pt x="187840" y="262193"/>
                </a:lnTo>
                <a:lnTo>
                  <a:pt x="187839" y="262194"/>
                </a:lnTo>
                <a:lnTo>
                  <a:pt x="188824" y="269402"/>
                </a:lnTo>
                <a:lnTo>
                  <a:pt x="188895" y="269852"/>
                </a:lnTo>
                <a:lnTo>
                  <a:pt x="190008" y="277937"/>
                </a:lnTo>
                <a:lnTo>
                  <a:pt x="190585" y="280999"/>
                </a:lnTo>
                <a:lnTo>
                  <a:pt x="190585" y="281001"/>
                </a:lnTo>
                <a:lnTo>
                  <a:pt x="191466" y="286111"/>
                </a:lnTo>
                <a:lnTo>
                  <a:pt x="192347" y="291685"/>
                </a:lnTo>
                <a:lnTo>
                  <a:pt x="192846" y="293001"/>
                </a:lnTo>
                <a:lnTo>
                  <a:pt x="192828" y="292905"/>
                </a:lnTo>
                <a:lnTo>
                  <a:pt x="192967" y="293318"/>
                </a:lnTo>
                <a:lnTo>
                  <a:pt x="194444" y="297210"/>
                </a:lnTo>
                <a:lnTo>
                  <a:pt x="194587" y="297544"/>
                </a:lnTo>
                <a:lnTo>
                  <a:pt x="194548" y="297485"/>
                </a:lnTo>
                <a:lnTo>
                  <a:pt x="194569" y="297540"/>
                </a:lnTo>
                <a:lnTo>
                  <a:pt x="194587" y="297544"/>
                </a:lnTo>
                <a:lnTo>
                  <a:pt x="195686" y="297763"/>
                </a:lnTo>
                <a:lnTo>
                  <a:pt x="196127" y="297544"/>
                </a:lnTo>
                <a:cubicBezTo>
                  <a:pt x="197974" y="296931"/>
                  <a:pt x="199513" y="296319"/>
                  <a:pt x="201360" y="296319"/>
                </a:cubicBezTo>
                <a:cubicBezTo>
                  <a:pt x="201360" y="296319"/>
                  <a:pt x="201360" y="296319"/>
                  <a:pt x="201668" y="296319"/>
                </a:cubicBezTo>
                <a:cubicBezTo>
                  <a:pt x="203515" y="296625"/>
                  <a:pt x="205055" y="296931"/>
                  <a:pt x="206286" y="299382"/>
                </a:cubicBezTo>
                <a:cubicBezTo>
                  <a:pt x="205055" y="297238"/>
                  <a:pt x="203515" y="296931"/>
                  <a:pt x="201668" y="296625"/>
                </a:cubicBezTo>
                <a:lnTo>
                  <a:pt x="201641" y="296625"/>
                </a:lnTo>
                <a:lnTo>
                  <a:pt x="206242" y="299379"/>
                </a:lnTo>
                <a:lnTo>
                  <a:pt x="207154" y="305898"/>
                </a:lnTo>
                <a:lnTo>
                  <a:pt x="207825" y="304897"/>
                </a:lnTo>
                <a:lnTo>
                  <a:pt x="207164" y="305970"/>
                </a:lnTo>
                <a:lnTo>
                  <a:pt x="207432" y="307882"/>
                </a:lnTo>
                <a:lnTo>
                  <a:pt x="202676" y="313257"/>
                </a:lnTo>
                <a:lnTo>
                  <a:pt x="201976" y="314394"/>
                </a:lnTo>
                <a:cubicBezTo>
                  <a:pt x="201360" y="314394"/>
                  <a:pt x="201052" y="314394"/>
                  <a:pt x="200745" y="314394"/>
                </a:cubicBezTo>
                <a:cubicBezTo>
                  <a:pt x="200437" y="314394"/>
                  <a:pt x="200129" y="314394"/>
                  <a:pt x="199821" y="314394"/>
                </a:cubicBezTo>
                <a:lnTo>
                  <a:pt x="196025" y="311197"/>
                </a:lnTo>
                <a:lnTo>
                  <a:pt x="195798" y="311023"/>
                </a:lnTo>
                <a:lnTo>
                  <a:pt x="195695" y="310594"/>
                </a:lnTo>
                <a:lnTo>
                  <a:pt x="193972" y="304590"/>
                </a:lnTo>
                <a:lnTo>
                  <a:pt x="193972" y="302562"/>
                </a:lnTo>
                <a:lnTo>
                  <a:pt x="193955" y="302443"/>
                </a:lnTo>
                <a:cubicBezTo>
                  <a:pt x="193955" y="302137"/>
                  <a:pt x="193955" y="301830"/>
                  <a:pt x="193647" y="301524"/>
                </a:cubicBezTo>
                <a:lnTo>
                  <a:pt x="192114" y="299689"/>
                </a:lnTo>
                <a:lnTo>
                  <a:pt x="190893" y="299689"/>
                </a:lnTo>
                <a:cubicBezTo>
                  <a:pt x="190277" y="299689"/>
                  <a:pt x="189662" y="299689"/>
                  <a:pt x="188738" y="299995"/>
                </a:cubicBezTo>
                <a:cubicBezTo>
                  <a:pt x="188430" y="299995"/>
                  <a:pt x="188122" y="299995"/>
                  <a:pt x="188122" y="299995"/>
                </a:cubicBezTo>
                <a:cubicBezTo>
                  <a:pt x="187507" y="299995"/>
                  <a:pt x="187199" y="299995"/>
                  <a:pt x="187199" y="299689"/>
                </a:cubicBezTo>
                <a:cubicBezTo>
                  <a:pt x="186891" y="299382"/>
                  <a:pt x="186891" y="298769"/>
                  <a:pt x="186891" y="297850"/>
                </a:cubicBezTo>
                <a:cubicBezTo>
                  <a:pt x="187199" y="298769"/>
                  <a:pt x="187199" y="299076"/>
                  <a:pt x="187199" y="299382"/>
                </a:cubicBezTo>
                <a:cubicBezTo>
                  <a:pt x="187507" y="299689"/>
                  <a:pt x="187507" y="299689"/>
                  <a:pt x="188122" y="299689"/>
                </a:cubicBezTo>
                <a:cubicBezTo>
                  <a:pt x="188122" y="299689"/>
                  <a:pt x="188430" y="299689"/>
                  <a:pt x="188738" y="299689"/>
                </a:cubicBezTo>
                <a:lnTo>
                  <a:pt x="188761" y="299685"/>
                </a:lnTo>
                <a:lnTo>
                  <a:pt x="188733" y="299685"/>
                </a:lnTo>
                <a:lnTo>
                  <a:pt x="186892" y="297849"/>
                </a:lnTo>
                <a:lnTo>
                  <a:pt x="186891" y="297850"/>
                </a:lnTo>
                <a:lnTo>
                  <a:pt x="186892" y="297849"/>
                </a:lnTo>
                <a:lnTo>
                  <a:pt x="186890" y="297847"/>
                </a:lnTo>
                <a:lnTo>
                  <a:pt x="186894" y="297844"/>
                </a:lnTo>
                <a:lnTo>
                  <a:pt x="187199" y="297238"/>
                </a:lnTo>
                <a:lnTo>
                  <a:pt x="187806" y="297238"/>
                </a:lnTo>
                <a:lnTo>
                  <a:pt x="187811" y="297234"/>
                </a:lnTo>
                <a:lnTo>
                  <a:pt x="187862" y="297228"/>
                </a:lnTo>
                <a:lnTo>
                  <a:pt x="189354" y="296931"/>
                </a:lnTo>
                <a:cubicBezTo>
                  <a:pt x="189970" y="296931"/>
                  <a:pt x="190585" y="296931"/>
                  <a:pt x="190585" y="296625"/>
                </a:cubicBezTo>
                <a:cubicBezTo>
                  <a:pt x="191201" y="296625"/>
                  <a:pt x="191201" y="296012"/>
                  <a:pt x="191201" y="295400"/>
                </a:cubicBezTo>
                <a:cubicBezTo>
                  <a:pt x="191201" y="295093"/>
                  <a:pt x="191201" y="294787"/>
                  <a:pt x="191201" y="294787"/>
                </a:cubicBezTo>
                <a:lnTo>
                  <a:pt x="189694" y="284887"/>
                </a:lnTo>
                <a:lnTo>
                  <a:pt x="189654" y="284670"/>
                </a:lnTo>
                <a:lnTo>
                  <a:pt x="186993" y="267539"/>
                </a:lnTo>
                <a:lnTo>
                  <a:pt x="186318" y="263203"/>
                </a:lnTo>
                <a:lnTo>
                  <a:pt x="186320" y="263202"/>
                </a:lnTo>
                <a:lnTo>
                  <a:pt x="186296" y="263046"/>
                </a:lnTo>
                <a:lnTo>
                  <a:pt x="186281" y="262957"/>
                </a:lnTo>
                <a:lnTo>
                  <a:pt x="186280" y="262958"/>
                </a:lnTo>
                <a:lnTo>
                  <a:pt x="186318" y="263203"/>
                </a:lnTo>
                <a:lnTo>
                  <a:pt x="186275" y="263232"/>
                </a:lnTo>
                <a:lnTo>
                  <a:pt x="186275" y="262961"/>
                </a:lnTo>
                <a:lnTo>
                  <a:pt x="185743" y="263342"/>
                </a:lnTo>
                <a:cubicBezTo>
                  <a:pt x="185436" y="267020"/>
                  <a:pt x="185130" y="271311"/>
                  <a:pt x="184211" y="275296"/>
                </a:cubicBezTo>
                <a:cubicBezTo>
                  <a:pt x="183904" y="277442"/>
                  <a:pt x="183292" y="279587"/>
                  <a:pt x="182985" y="281733"/>
                </a:cubicBezTo>
                <a:cubicBezTo>
                  <a:pt x="182372" y="284798"/>
                  <a:pt x="181759" y="288170"/>
                  <a:pt x="181147" y="291235"/>
                </a:cubicBezTo>
                <a:lnTo>
                  <a:pt x="181398" y="289676"/>
                </a:lnTo>
                <a:lnTo>
                  <a:pt x="181114" y="291136"/>
                </a:lnTo>
                <a:lnTo>
                  <a:pt x="180590" y="293741"/>
                </a:lnTo>
                <a:lnTo>
                  <a:pt x="181147" y="291235"/>
                </a:lnTo>
                <a:cubicBezTo>
                  <a:pt x="181147" y="292155"/>
                  <a:pt x="180840" y="293074"/>
                  <a:pt x="180840" y="294300"/>
                </a:cubicBezTo>
                <a:cubicBezTo>
                  <a:pt x="180534" y="294913"/>
                  <a:pt x="180534" y="295220"/>
                  <a:pt x="180534" y="295833"/>
                </a:cubicBezTo>
                <a:lnTo>
                  <a:pt x="180534" y="296182"/>
                </a:lnTo>
                <a:lnTo>
                  <a:pt x="181114" y="296951"/>
                </a:lnTo>
                <a:cubicBezTo>
                  <a:pt x="181114" y="296951"/>
                  <a:pt x="181422" y="296951"/>
                  <a:pt x="181729" y="296951"/>
                </a:cubicBezTo>
                <a:cubicBezTo>
                  <a:pt x="182653" y="297257"/>
                  <a:pt x="183268" y="297257"/>
                  <a:pt x="183884" y="297257"/>
                </a:cubicBezTo>
                <a:cubicBezTo>
                  <a:pt x="184192" y="297257"/>
                  <a:pt x="184192" y="297257"/>
                  <a:pt x="184500" y="297257"/>
                </a:cubicBezTo>
                <a:lnTo>
                  <a:pt x="184500" y="297365"/>
                </a:lnTo>
                <a:lnTo>
                  <a:pt x="184517" y="297365"/>
                </a:lnTo>
                <a:cubicBezTo>
                  <a:pt x="184824" y="297365"/>
                  <a:pt x="184824" y="297365"/>
                  <a:pt x="185130" y="297672"/>
                </a:cubicBezTo>
                <a:cubicBezTo>
                  <a:pt x="185130" y="297978"/>
                  <a:pt x="185130" y="297978"/>
                  <a:pt x="185130" y="298285"/>
                </a:cubicBezTo>
                <a:cubicBezTo>
                  <a:pt x="185130" y="298591"/>
                  <a:pt x="185130" y="298898"/>
                  <a:pt x="185130" y="299204"/>
                </a:cubicBezTo>
                <a:cubicBezTo>
                  <a:pt x="184824" y="299204"/>
                  <a:pt x="184824" y="299511"/>
                  <a:pt x="184824" y="299511"/>
                </a:cubicBezTo>
                <a:cubicBezTo>
                  <a:pt x="184824" y="299511"/>
                  <a:pt x="184824" y="299511"/>
                  <a:pt x="184517" y="299511"/>
                </a:cubicBezTo>
                <a:cubicBezTo>
                  <a:pt x="184517" y="299511"/>
                  <a:pt x="184824" y="299204"/>
                  <a:pt x="184824" y="299204"/>
                </a:cubicBezTo>
                <a:cubicBezTo>
                  <a:pt x="184824" y="298898"/>
                  <a:pt x="184824" y="298591"/>
                  <a:pt x="184824" y="298285"/>
                </a:cubicBezTo>
                <a:cubicBezTo>
                  <a:pt x="184824" y="298285"/>
                  <a:pt x="184824" y="297978"/>
                  <a:pt x="184824" y="297672"/>
                </a:cubicBezTo>
                <a:cubicBezTo>
                  <a:pt x="184824" y="297672"/>
                  <a:pt x="184517" y="297672"/>
                  <a:pt x="184517" y="297672"/>
                </a:cubicBezTo>
                <a:lnTo>
                  <a:pt x="184500" y="297672"/>
                </a:lnTo>
                <a:lnTo>
                  <a:pt x="184500" y="299399"/>
                </a:lnTo>
                <a:lnTo>
                  <a:pt x="184316" y="299486"/>
                </a:lnTo>
                <a:lnTo>
                  <a:pt x="184517" y="299511"/>
                </a:lnTo>
                <a:lnTo>
                  <a:pt x="184263" y="299511"/>
                </a:lnTo>
                <a:lnTo>
                  <a:pt x="178575" y="302204"/>
                </a:lnTo>
                <a:lnTo>
                  <a:pt x="178389" y="302576"/>
                </a:lnTo>
                <a:cubicBezTo>
                  <a:pt x="178389" y="303189"/>
                  <a:pt x="178389" y="303496"/>
                  <a:pt x="178389" y="304109"/>
                </a:cubicBezTo>
                <a:cubicBezTo>
                  <a:pt x="178389" y="307787"/>
                  <a:pt x="177470" y="310546"/>
                  <a:pt x="175018" y="312998"/>
                </a:cubicBezTo>
                <a:lnTo>
                  <a:pt x="171630" y="314450"/>
                </a:lnTo>
                <a:lnTo>
                  <a:pt x="174986" y="318380"/>
                </a:lnTo>
                <a:cubicBezTo>
                  <a:pt x="174986" y="318380"/>
                  <a:pt x="174986" y="318380"/>
                  <a:pt x="174986" y="337389"/>
                </a:cubicBezTo>
                <a:cubicBezTo>
                  <a:pt x="174986" y="337389"/>
                  <a:pt x="174986" y="337389"/>
                  <a:pt x="175605" y="337389"/>
                </a:cubicBezTo>
                <a:cubicBezTo>
                  <a:pt x="176224" y="337389"/>
                  <a:pt x="176533" y="337696"/>
                  <a:pt x="176533" y="338309"/>
                </a:cubicBezTo>
                <a:cubicBezTo>
                  <a:pt x="176533" y="338309"/>
                  <a:pt x="176533" y="338309"/>
                  <a:pt x="176533" y="338922"/>
                </a:cubicBezTo>
                <a:cubicBezTo>
                  <a:pt x="176533" y="339229"/>
                  <a:pt x="176224" y="339842"/>
                  <a:pt x="175605" y="339842"/>
                </a:cubicBezTo>
                <a:cubicBezTo>
                  <a:pt x="175605" y="339842"/>
                  <a:pt x="175605" y="339842"/>
                  <a:pt x="174057" y="339842"/>
                </a:cubicBezTo>
                <a:cubicBezTo>
                  <a:pt x="174057" y="339842"/>
                  <a:pt x="174057" y="339842"/>
                  <a:pt x="174367" y="377247"/>
                </a:cubicBezTo>
                <a:cubicBezTo>
                  <a:pt x="174367" y="377247"/>
                  <a:pt x="174367" y="377247"/>
                  <a:pt x="172510" y="393804"/>
                </a:cubicBezTo>
                <a:cubicBezTo>
                  <a:pt x="172510" y="393804"/>
                  <a:pt x="172510" y="393804"/>
                  <a:pt x="170963" y="393804"/>
                </a:cubicBezTo>
                <a:cubicBezTo>
                  <a:pt x="170963" y="393804"/>
                  <a:pt x="170963" y="393804"/>
                  <a:pt x="169106" y="377247"/>
                </a:cubicBezTo>
                <a:cubicBezTo>
                  <a:pt x="169106" y="377247"/>
                  <a:pt x="169106" y="377247"/>
                  <a:pt x="169415" y="339842"/>
                </a:cubicBezTo>
                <a:lnTo>
                  <a:pt x="167868" y="339842"/>
                </a:lnTo>
                <a:cubicBezTo>
                  <a:pt x="167249" y="339842"/>
                  <a:pt x="166939" y="339229"/>
                  <a:pt x="166939" y="338922"/>
                </a:cubicBezTo>
                <a:cubicBezTo>
                  <a:pt x="166939" y="338922"/>
                  <a:pt x="166939" y="338922"/>
                  <a:pt x="166939" y="338309"/>
                </a:cubicBezTo>
                <a:cubicBezTo>
                  <a:pt x="166939" y="337696"/>
                  <a:pt x="167249" y="337389"/>
                  <a:pt x="167868" y="337389"/>
                </a:cubicBezTo>
                <a:cubicBezTo>
                  <a:pt x="167868" y="337389"/>
                  <a:pt x="167868" y="337389"/>
                  <a:pt x="168487" y="337389"/>
                </a:cubicBezTo>
                <a:cubicBezTo>
                  <a:pt x="168487" y="337389"/>
                  <a:pt x="168487" y="337389"/>
                  <a:pt x="168487" y="318380"/>
                </a:cubicBezTo>
                <a:lnTo>
                  <a:pt x="171492" y="314509"/>
                </a:lnTo>
                <a:lnTo>
                  <a:pt x="170728" y="314837"/>
                </a:lnTo>
                <a:cubicBezTo>
                  <a:pt x="170728" y="314837"/>
                  <a:pt x="170728" y="314837"/>
                  <a:pt x="170422" y="314837"/>
                </a:cubicBezTo>
                <a:cubicBezTo>
                  <a:pt x="169503" y="314837"/>
                  <a:pt x="168584" y="314224"/>
                  <a:pt x="167664" y="313917"/>
                </a:cubicBezTo>
                <a:lnTo>
                  <a:pt x="165941" y="310327"/>
                </a:lnTo>
                <a:lnTo>
                  <a:pt x="164107" y="306782"/>
                </a:lnTo>
                <a:lnTo>
                  <a:pt x="164162" y="306621"/>
                </a:lnTo>
                <a:lnTo>
                  <a:pt x="163987" y="306254"/>
                </a:lnTo>
                <a:lnTo>
                  <a:pt x="165883" y="301617"/>
                </a:lnTo>
                <a:lnTo>
                  <a:pt x="166647" y="299399"/>
                </a:lnTo>
                <a:lnTo>
                  <a:pt x="167414" y="299254"/>
                </a:lnTo>
                <a:lnTo>
                  <a:pt x="170728" y="297978"/>
                </a:lnTo>
                <a:lnTo>
                  <a:pt x="172788" y="298236"/>
                </a:lnTo>
                <a:lnTo>
                  <a:pt x="173111" y="298175"/>
                </a:lnTo>
                <a:cubicBezTo>
                  <a:pt x="174958" y="298787"/>
                  <a:pt x="175265" y="299093"/>
                  <a:pt x="176189" y="298787"/>
                </a:cubicBezTo>
                <a:lnTo>
                  <a:pt x="177981" y="297005"/>
                </a:lnTo>
                <a:lnTo>
                  <a:pt x="178082" y="296752"/>
                </a:lnTo>
                <a:cubicBezTo>
                  <a:pt x="179308" y="293381"/>
                  <a:pt x="179921" y="288783"/>
                  <a:pt x="180534" y="285411"/>
                </a:cubicBezTo>
                <a:lnTo>
                  <a:pt x="183861" y="265440"/>
                </a:lnTo>
                <a:lnTo>
                  <a:pt x="184192" y="263289"/>
                </a:lnTo>
                <a:lnTo>
                  <a:pt x="184208" y="262977"/>
                </a:lnTo>
                <a:lnTo>
                  <a:pt x="184208" y="244010"/>
                </a:lnTo>
                <a:lnTo>
                  <a:pt x="184208" y="243997"/>
                </a:lnTo>
                <a:lnTo>
                  <a:pt x="183913" y="236350"/>
                </a:lnTo>
                <a:cubicBezTo>
                  <a:pt x="183913" y="234513"/>
                  <a:pt x="183913" y="232983"/>
                  <a:pt x="184208" y="232064"/>
                </a:cubicBezTo>
                <a:cubicBezTo>
                  <a:pt x="184208" y="231758"/>
                  <a:pt x="184208" y="231452"/>
                  <a:pt x="184208" y="231452"/>
                </a:cubicBezTo>
                <a:cubicBezTo>
                  <a:pt x="184208" y="231146"/>
                  <a:pt x="184504" y="231146"/>
                  <a:pt x="184504" y="231146"/>
                </a:cubicBezTo>
                <a:cubicBezTo>
                  <a:pt x="184799" y="231146"/>
                  <a:pt x="184799" y="231146"/>
                  <a:pt x="184799" y="231146"/>
                </a:cubicBezTo>
                <a:cubicBezTo>
                  <a:pt x="184799" y="231146"/>
                  <a:pt x="185094" y="231758"/>
                  <a:pt x="185094" y="232370"/>
                </a:cubicBezTo>
                <a:cubicBezTo>
                  <a:pt x="185389" y="234207"/>
                  <a:pt x="185537" y="238340"/>
                  <a:pt x="185647" y="242205"/>
                </a:cubicBezTo>
                <a:lnTo>
                  <a:pt x="185971" y="250240"/>
                </a:lnTo>
                <a:lnTo>
                  <a:pt x="186355" y="249856"/>
                </a:lnTo>
                <a:lnTo>
                  <a:pt x="186356" y="249819"/>
                </a:lnTo>
                <a:lnTo>
                  <a:pt x="186356" y="240046"/>
                </a:lnTo>
                <a:lnTo>
                  <a:pt x="186654" y="234673"/>
                </a:lnTo>
                <a:lnTo>
                  <a:pt x="186654" y="231463"/>
                </a:lnTo>
                <a:lnTo>
                  <a:pt x="186672" y="231454"/>
                </a:lnTo>
                <a:lnTo>
                  <a:pt x="186969" y="231157"/>
                </a:lnTo>
                <a:lnTo>
                  <a:pt x="186969" y="231307"/>
                </a:lnTo>
                <a:lnTo>
                  <a:pt x="187269" y="231157"/>
                </a:lnTo>
                <a:lnTo>
                  <a:pt x="186969" y="231157"/>
                </a:lnTo>
                <a:cubicBezTo>
                  <a:pt x="186969" y="231157"/>
                  <a:pt x="186969" y="231157"/>
                  <a:pt x="186969" y="230851"/>
                </a:cubicBezTo>
                <a:close/>
                <a:moveTo>
                  <a:pt x="133540" y="228046"/>
                </a:moveTo>
                <a:cubicBezTo>
                  <a:pt x="135687" y="228046"/>
                  <a:pt x="135687" y="228046"/>
                  <a:pt x="135687" y="228046"/>
                </a:cubicBezTo>
                <a:cubicBezTo>
                  <a:pt x="136301" y="228046"/>
                  <a:pt x="136608" y="228353"/>
                  <a:pt x="136608" y="228966"/>
                </a:cubicBezTo>
                <a:cubicBezTo>
                  <a:pt x="136608" y="233875"/>
                  <a:pt x="136608" y="233875"/>
                  <a:pt x="136608" y="233875"/>
                </a:cubicBezTo>
                <a:cubicBezTo>
                  <a:pt x="141516" y="233875"/>
                  <a:pt x="141516" y="233875"/>
                  <a:pt x="141516" y="233875"/>
                </a:cubicBezTo>
                <a:cubicBezTo>
                  <a:pt x="142130" y="233875"/>
                  <a:pt x="142437" y="234182"/>
                  <a:pt x="142437" y="234488"/>
                </a:cubicBezTo>
                <a:cubicBezTo>
                  <a:pt x="142437" y="236943"/>
                  <a:pt x="142437" y="236943"/>
                  <a:pt x="142437" y="236943"/>
                </a:cubicBezTo>
                <a:cubicBezTo>
                  <a:pt x="142437" y="237556"/>
                  <a:pt x="142130" y="237863"/>
                  <a:pt x="141516" y="237863"/>
                </a:cubicBezTo>
                <a:cubicBezTo>
                  <a:pt x="136608" y="237863"/>
                  <a:pt x="136608" y="237863"/>
                  <a:pt x="136608" y="237863"/>
                </a:cubicBezTo>
                <a:cubicBezTo>
                  <a:pt x="136608" y="242772"/>
                  <a:pt x="136608" y="242772"/>
                  <a:pt x="136608" y="242772"/>
                </a:cubicBezTo>
                <a:cubicBezTo>
                  <a:pt x="136608" y="243078"/>
                  <a:pt x="136301" y="243692"/>
                  <a:pt x="135687" y="243692"/>
                </a:cubicBezTo>
                <a:cubicBezTo>
                  <a:pt x="133540" y="243692"/>
                  <a:pt x="133540" y="243692"/>
                  <a:pt x="133540" y="243692"/>
                </a:cubicBezTo>
                <a:cubicBezTo>
                  <a:pt x="132926" y="243692"/>
                  <a:pt x="132620" y="243078"/>
                  <a:pt x="132620" y="242772"/>
                </a:cubicBezTo>
                <a:cubicBezTo>
                  <a:pt x="132620" y="237863"/>
                  <a:pt x="132620" y="237863"/>
                  <a:pt x="132620" y="237863"/>
                </a:cubicBezTo>
                <a:cubicBezTo>
                  <a:pt x="127711" y="237863"/>
                  <a:pt x="127711" y="237863"/>
                  <a:pt x="127711" y="237863"/>
                </a:cubicBezTo>
                <a:cubicBezTo>
                  <a:pt x="127098" y="237863"/>
                  <a:pt x="126791" y="237556"/>
                  <a:pt x="126791" y="236943"/>
                </a:cubicBezTo>
                <a:cubicBezTo>
                  <a:pt x="126791" y="234488"/>
                  <a:pt x="126791" y="234488"/>
                  <a:pt x="126791" y="234488"/>
                </a:cubicBezTo>
                <a:cubicBezTo>
                  <a:pt x="126791" y="234182"/>
                  <a:pt x="127098" y="233875"/>
                  <a:pt x="127711" y="233875"/>
                </a:cubicBezTo>
                <a:cubicBezTo>
                  <a:pt x="132620" y="233875"/>
                  <a:pt x="132620" y="233875"/>
                  <a:pt x="132620" y="233875"/>
                </a:cubicBezTo>
                <a:cubicBezTo>
                  <a:pt x="132620" y="228966"/>
                  <a:pt x="132620" y="228966"/>
                  <a:pt x="132620" y="228966"/>
                </a:cubicBezTo>
                <a:cubicBezTo>
                  <a:pt x="132620" y="228353"/>
                  <a:pt x="132926" y="228046"/>
                  <a:pt x="133540" y="228046"/>
                </a:cubicBezTo>
                <a:close/>
                <a:moveTo>
                  <a:pt x="437421" y="225537"/>
                </a:moveTo>
                <a:cubicBezTo>
                  <a:pt x="439530" y="225537"/>
                  <a:pt x="441037" y="227073"/>
                  <a:pt x="441037" y="229225"/>
                </a:cubicBezTo>
                <a:cubicBezTo>
                  <a:pt x="441037" y="230454"/>
                  <a:pt x="440434" y="231376"/>
                  <a:pt x="439832" y="231990"/>
                </a:cubicBezTo>
                <a:lnTo>
                  <a:pt x="439832" y="236017"/>
                </a:lnTo>
                <a:lnTo>
                  <a:pt x="442929" y="236017"/>
                </a:lnTo>
                <a:cubicBezTo>
                  <a:pt x="443238" y="236017"/>
                  <a:pt x="443546" y="236312"/>
                  <a:pt x="443546" y="236312"/>
                </a:cubicBezTo>
                <a:cubicBezTo>
                  <a:pt x="443546" y="236608"/>
                  <a:pt x="443238" y="236903"/>
                  <a:pt x="442929" y="236903"/>
                </a:cubicBezTo>
                <a:lnTo>
                  <a:pt x="439832" y="236903"/>
                </a:lnTo>
                <a:lnTo>
                  <a:pt x="439832" y="239707"/>
                </a:lnTo>
                <a:lnTo>
                  <a:pt x="441170" y="239707"/>
                </a:lnTo>
                <a:cubicBezTo>
                  <a:pt x="441479" y="239707"/>
                  <a:pt x="441479" y="240002"/>
                  <a:pt x="441479" y="240002"/>
                </a:cubicBezTo>
                <a:cubicBezTo>
                  <a:pt x="441479" y="240297"/>
                  <a:pt x="441479" y="240297"/>
                  <a:pt x="441170" y="240297"/>
                </a:cubicBezTo>
                <a:lnTo>
                  <a:pt x="439832" y="240297"/>
                </a:lnTo>
                <a:lnTo>
                  <a:pt x="439832" y="243692"/>
                </a:lnTo>
                <a:lnTo>
                  <a:pt x="442929" y="243692"/>
                </a:lnTo>
                <a:cubicBezTo>
                  <a:pt x="443238" y="243692"/>
                  <a:pt x="443546" y="243987"/>
                  <a:pt x="443546" y="244283"/>
                </a:cubicBezTo>
                <a:cubicBezTo>
                  <a:pt x="443546" y="244283"/>
                  <a:pt x="443238" y="244578"/>
                  <a:pt x="442929" y="244578"/>
                </a:cubicBezTo>
                <a:lnTo>
                  <a:pt x="439832" y="244578"/>
                </a:lnTo>
                <a:lnTo>
                  <a:pt x="439832" y="247382"/>
                </a:lnTo>
                <a:lnTo>
                  <a:pt x="441170" y="247382"/>
                </a:lnTo>
                <a:cubicBezTo>
                  <a:pt x="441479" y="247382"/>
                  <a:pt x="441479" y="247677"/>
                  <a:pt x="441479" y="247677"/>
                </a:cubicBezTo>
                <a:cubicBezTo>
                  <a:pt x="441479" y="247972"/>
                  <a:pt x="441479" y="247972"/>
                  <a:pt x="441170" y="247972"/>
                </a:cubicBezTo>
                <a:lnTo>
                  <a:pt x="439832" y="247972"/>
                </a:lnTo>
                <a:lnTo>
                  <a:pt x="439832" y="251368"/>
                </a:lnTo>
                <a:lnTo>
                  <a:pt x="442929" y="251368"/>
                </a:lnTo>
                <a:cubicBezTo>
                  <a:pt x="443238" y="251368"/>
                  <a:pt x="443546" y="251663"/>
                  <a:pt x="443546" y="251663"/>
                </a:cubicBezTo>
                <a:cubicBezTo>
                  <a:pt x="443546" y="251958"/>
                  <a:pt x="443238" y="251958"/>
                  <a:pt x="442929" y="251958"/>
                </a:cubicBezTo>
                <a:lnTo>
                  <a:pt x="439832" y="251958"/>
                </a:lnTo>
                <a:lnTo>
                  <a:pt x="439832" y="255058"/>
                </a:lnTo>
                <a:lnTo>
                  <a:pt x="441170" y="255058"/>
                </a:lnTo>
                <a:cubicBezTo>
                  <a:pt x="441479" y="255058"/>
                  <a:pt x="441479" y="255058"/>
                  <a:pt x="441479" y="255353"/>
                </a:cubicBezTo>
                <a:cubicBezTo>
                  <a:pt x="441479" y="255648"/>
                  <a:pt x="441479" y="255648"/>
                  <a:pt x="441170" y="255648"/>
                </a:cubicBezTo>
                <a:lnTo>
                  <a:pt x="439832" y="255648"/>
                </a:lnTo>
                <a:lnTo>
                  <a:pt x="439832" y="259338"/>
                </a:lnTo>
                <a:lnTo>
                  <a:pt x="442929" y="259338"/>
                </a:lnTo>
                <a:cubicBezTo>
                  <a:pt x="443238" y="259338"/>
                  <a:pt x="443546" y="259338"/>
                  <a:pt x="443546" y="259633"/>
                </a:cubicBezTo>
                <a:cubicBezTo>
                  <a:pt x="443546" y="259633"/>
                  <a:pt x="443238" y="259928"/>
                  <a:pt x="442929" y="259928"/>
                </a:cubicBezTo>
                <a:lnTo>
                  <a:pt x="439832" y="259928"/>
                </a:lnTo>
                <a:lnTo>
                  <a:pt x="439832" y="263028"/>
                </a:lnTo>
                <a:lnTo>
                  <a:pt x="439856" y="263028"/>
                </a:lnTo>
                <a:lnTo>
                  <a:pt x="441170" y="263028"/>
                </a:lnTo>
                <a:cubicBezTo>
                  <a:pt x="441479" y="263028"/>
                  <a:pt x="441479" y="263028"/>
                  <a:pt x="441479" y="263323"/>
                </a:cubicBezTo>
                <a:cubicBezTo>
                  <a:pt x="441479" y="263323"/>
                  <a:pt x="441479" y="263618"/>
                  <a:pt x="441170" y="263618"/>
                </a:cubicBezTo>
                <a:lnTo>
                  <a:pt x="439856" y="263618"/>
                </a:lnTo>
                <a:lnTo>
                  <a:pt x="439856" y="266718"/>
                </a:lnTo>
                <a:lnTo>
                  <a:pt x="442929" y="266718"/>
                </a:lnTo>
                <a:cubicBezTo>
                  <a:pt x="443238" y="266718"/>
                  <a:pt x="443546" y="266718"/>
                  <a:pt x="443546" y="267013"/>
                </a:cubicBezTo>
                <a:cubicBezTo>
                  <a:pt x="443546" y="267013"/>
                  <a:pt x="443238" y="267308"/>
                  <a:pt x="442929" y="267308"/>
                </a:cubicBezTo>
                <a:lnTo>
                  <a:pt x="439856" y="267308"/>
                </a:lnTo>
                <a:lnTo>
                  <a:pt x="439856" y="269965"/>
                </a:lnTo>
                <a:lnTo>
                  <a:pt x="441170" y="269965"/>
                </a:lnTo>
                <a:cubicBezTo>
                  <a:pt x="441479" y="269965"/>
                  <a:pt x="441479" y="270309"/>
                  <a:pt x="441479" y="270654"/>
                </a:cubicBezTo>
                <a:cubicBezTo>
                  <a:pt x="441479" y="270654"/>
                  <a:pt x="441479" y="270998"/>
                  <a:pt x="441170" y="270998"/>
                </a:cubicBezTo>
                <a:lnTo>
                  <a:pt x="439856" y="270998"/>
                </a:lnTo>
                <a:lnTo>
                  <a:pt x="439856" y="274246"/>
                </a:lnTo>
                <a:lnTo>
                  <a:pt x="442929" y="274246"/>
                </a:lnTo>
                <a:cubicBezTo>
                  <a:pt x="443238" y="274246"/>
                  <a:pt x="443546" y="274246"/>
                  <a:pt x="443546" y="274615"/>
                </a:cubicBezTo>
                <a:cubicBezTo>
                  <a:pt x="443546" y="274984"/>
                  <a:pt x="443238" y="274984"/>
                  <a:pt x="442929" y="274984"/>
                </a:cubicBezTo>
                <a:lnTo>
                  <a:pt x="439856" y="274984"/>
                </a:lnTo>
                <a:lnTo>
                  <a:pt x="439856" y="277936"/>
                </a:lnTo>
                <a:lnTo>
                  <a:pt x="441170" y="277936"/>
                </a:lnTo>
                <a:cubicBezTo>
                  <a:pt x="441479" y="277936"/>
                  <a:pt x="441479" y="277936"/>
                  <a:pt x="441479" y="278305"/>
                </a:cubicBezTo>
                <a:cubicBezTo>
                  <a:pt x="441479" y="278305"/>
                  <a:pt x="441479" y="278674"/>
                  <a:pt x="441170" y="278674"/>
                </a:cubicBezTo>
                <a:lnTo>
                  <a:pt x="439856" y="278674"/>
                </a:lnTo>
                <a:lnTo>
                  <a:pt x="439856" y="281921"/>
                </a:lnTo>
                <a:lnTo>
                  <a:pt x="442929" y="281921"/>
                </a:lnTo>
                <a:cubicBezTo>
                  <a:pt x="443238" y="281921"/>
                  <a:pt x="443546" y="281921"/>
                  <a:pt x="443546" y="282290"/>
                </a:cubicBezTo>
                <a:cubicBezTo>
                  <a:pt x="443546" y="282290"/>
                  <a:pt x="443238" y="282659"/>
                  <a:pt x="442929" y="282659"/>
                </a:cubicBezTo>
                <a:lnTo>
                  <a:pt x="439856" y="282659"/>
                </a:lnTo>
                <a:lnTo>
                  <a:pt x="439856" y="285316"/>
                </a:lnTo>
                <a:lnTo>
                  <a:pt x="441170" y="285316"/>
                </a:lnTo>
                <a:cubicBezTo>
                  <a:pt x="441479" y="285316"/>
                  <a:pt x="441479" y="285611"/>
                  <a:pt x="441479" y="285611"/>
                </a:cubicBezTo>
                <a:cubicBezTo>
                  <a:pt x="441479" y="285907"/>
                  <a:pt x="441479" y="286202"/>
                  <a:pt x="441170" y="286202"/>
                </a:cubicBezTo>
                <a:lnTo>
                  <a:pt x="439856" y="286202"/>
                </a:lnTo>
                <a:lnTo>
                  <a:pt x="439856" y="289597"/>
                </a:lnTo>
                <a:lnTo>
                  <a:pt x="442929" y="289597"/>
                </a:lnTo>
                <a:cubicBezTo>
                  <a:pt x="443238" y="289597"/>
                  <a:pt x="443546" y="289597"/>
                  <a:pt x="443546" y="289892"/>
                </a:cubicBezTo>
                <a:cubicBezTo>
                  <a:pt x="443546" y="289892"/>
                  <a:pt x="443238" y="290187"/>
                  <a:pt x="442929" y="290187"/>
                </a:cubicBezTo>
                <a:lnTo>
                  <a:pt x="439856" y="290187"/>
                </a:lnTo>
                <a:lnTo>
                  <a:pt x="439856" y="292275"/>
                </a:lnTo>
                <a:lnTo>
                  <a:pt x="439856" y="293287"/>
                </a:lnTo>
                <a:lnTo>
                  <a:pt x="441170" y="293287"/>
                </a:lnTo>
                <a:cubicBezTo>
                  <a:pt x="441479" y="293287"/>
                  <a:pt x="441479" y="293287"/>
                  <a:pt x="441479" y="293582"/>
                </a:cubicBezTo>
                <a:cubicBezTo>
                  <a:pt x="441479" y="293582"/>
                  <a:pt x="441479" y="293877"/>
                  <a:pt x="441170" y="293877"/>
                </a:cubicBezTo>
                <a:lnTo>
                  <a:pt x="439856" y="293877"/>
                </a:lnTo>
                <a:lnTo>
                  <a:pt x="439856" y="296453"/>
                </a:lnTo>
                <a:cubicBezTo>
                  <a:pt x="439856" y="297680"/>
                  <a:pt x="438636" y="298600"/>
                  <a:pt x="437416" y="298600"/>
                </a:cubicBezTo>
                <a:cubicBezTo>
                  <a:pt x="436195" y="298600"/>
                  <a:pt x="435280" y="297680"/>
                  <a:pt x="435280" y="296453"/>
                </a:cubicBezTo>
                <a:lnTo>
                  <a:pt x="435280" y="293877"/>
                </a:lnTo>
                <a:lnTo>
                  <a:pt x="433058" y="293877"/>
                </a:lnTo>
                <a:cubicBezTo>
                  <a:pt x="431899" y="293877"/>
                  <a:pt x="431899" y="293877"/>
                  <a:pt x="431899" y="293877"/>
                </a:cubicBezTo>
                <a:cubicBezTo>
                  <a:pt x="431899" y="293877"/>
                  <a:pt x="431590" y="293582"/>
                  <a:pt x="431590" y="293582"/>
                </a:cubicBezTo>
                <a:cubicBezTo>
                  <a:pt x="431590" y="293287"/>
                  <a:pt x="431899" y="293287"/>
                  <a:pt x="431899" y="293287"/>
                </a:cubicBezTo>
                <a:lnTo>
                  <a:pt x="435280" y="293287"/>
                </a:lnTo>
                <a:lnTo>
                  <a:pt x="435280" y="290187"/>
                </a:lnTo>
                <a:lnTo>
                  <a:pt x="434827" y="290187"/>
                </a:lnTo>
                <a:cubicBezTo>
                  <a:pt x="433670" y="290187"/>
                  <a:pt x="433670" y="290187"/>
                  <a:pt x="433670" y="290187"/>
                </a:cubicBezTo>
                <a:cubicBezTo>
                  <a:pt x="433670" y="290187"/>
                  <a:pt x="433361" y="289892"/>
                  <a:pt x="433361" y="289892"/>
                </a:cubicBezTo>
                <a:cubicBezTo>
                  <a:pt x="433361" y="289597"/>
                  <a:pt x="433670" y="289597"/>
                  <a:pt x="433670" y="289597"/>
                </a:cubicBezTo>
                <a:lnTo>
                  <a:pt x="435280" y="289597"/>
                </a:lnTo>
                <a:lnTo>
                  <a:pt x="435280" y="286202"/>
                </a:lnTo>
                <a:lnTo>
                  <a:pt x="433058" y="286202"/>
                </a:lnTo>
                <a:cubicBezTo>
                  <a:pt x="431899" y="286202"/>
                  <a:pt x="431899" y="286202"/>
                  <a:pt x="431899" y="286202"/>
                </a:cubicBezTo>
                <a:cubicBezTo>
                  <a:pt x="431899" y="286202"/>
                  <a:pt x="431590" y="285907"/>
                  <a:pt x="431590" y="285611"/>
                </a:cubicBezTo>
                <a:cubicBezTo>
                  <a:pt x="431590" y="285611"/>
                  <a:pt x="431899" y="285316"/>
                  <a:pt x="431899" y="285316"/>
                </a:cubicBezTo>
                <a:lnTo>
                  <a:pt x="435280" y="285316"/>
                </a:lnTo>
                <a:lnTo>
                  <a:pt x="435280" y="282659"/>
                </a:lnTo>
                <a:lnTo>
                  <a:pt x="434827" y="282659"/>
                </a:lnTo>
                <a:cubicBezTo>
                  <a:pt x="433670" y="282659"/>
                  <a:pt x="433670" y="282659"/>
                  <a:pt x="433670" y="282659"/>
                </a:cubicBezTo>
                <a:cubicBezTo>
                  <a:pt x="433670" y="282659"/>
                  <a:pt x="433361" y="282290"/>
                  <a:pt x="433361" y="282290"/>
                </a:cubicBezTo>
                <a:cubicBezTo>
                  <a:pt x="433361" y="281921"/>
                  <a:pt x="433670" y="281921"/>
                  <a:pt x="433670" y="281921"/>
                </a:cubicBezTo>
                <a:lnTo>
                  <a:pt x="435280" y="281921"/>
                </a:lnTo>
                <a:lnTo>
                  <a:pt x="435280" y="278674"/>
                </a:lnTo>
                <a:lnTo>
                  <a:pt x="433058" y="278674"/>
                </a:lnTo>
                <a:cubicBezTo>
                  <a:pt x="431899" y="278674"/>
                  <a:pt x="431899" y="278674"/>
                  <a:pt x="431899" y="278674"/>
                </a:cubicBezTo>
                <a:cubicBezTo>
                  <a:pt x="431899" y="278674"/>
                  <a:pt x="431590" y="278305"/>
                  <a:pt x="431590" y="278305"/>
                </a:cubicBezTo>
                <a:cubicBezTo>
                  <a:pt x="431590" y="277936"/>
                  <a:pt x="431899" y="277936"/>
                  <a:pt x="431899" y="277936"/>
                </a:cubicBezTo>
                <a:lnTo>
                  <a:pt x="435280" y="277936"/>
                </a:lnTo>
                <a:lnTo>
                  <a:pt x="435280" y="274984"/>
                </a:lnTo>
                <a:lnTo>
                  <a:pt x="434827" y="274984"/>
                </a:lnTo>
                <a:cubicBezTo>
                  <a:pt x="433670" y="274984"/>
                  <a:pt x="433670" y="274984"/>
                  <a:pt x="433670" y="274984"/>
                </a:cubicBezTo>
                <a:cubicBezTo>
                  <a:pt x="433670" y="274984"/>
                  <a:pt x="433361" y="274984"/>
                  <a:pt x="433361" y="274615"/>
                </a:cubicBezTo>
                <a:cubicBezTo>
                  <a:pt x="433361" y="274246"/>
                  <a:pt x="433670" y="274246"/>
                  <a:pt x="433670" y="274246"/>
                </a:cubicBezTo>
                <a:lnTo>
                  <a:pt x="435280" y="274246"/>
                </a:lnTo>
                <a:lnTo>
                  <a:pt x="435280" y="270998"/>
                </a:lnTo>
                <a:lnTo>
                  <a:pt x="433058" y="270998"/>
                </a:lnTo>
                <a:cubicBezTo>
                  <a:pt x="431899" y="270998"/>
                  <a:pt x="431899" y="270998"/>
                  <a:pt x="431899" y="270998"/>
                </a:cubicBezTo>
                <a:cubicBezTo>
                  <a:pt x="431899" y="270998"/>
                  <a:pt x="431590" y="270654"/>
                  <a:pt x="431590" y="270654"/>
                </a:cubicBezTo>
                <a:cubicBezTo>
                  <a:pt x="431590" y="270309"/>
                  <a:pt x="431899" y="269965"/>
                  <a:pt x="431899" y="269965"/>
                </a:cubicBezTo>
                <a:lnTo>
                  <a:pt x="435280" y="269965"/>
                </a:lnTo>
                <a:lnTo>
                  <a:pt x="435280" y="267308"/>
                </a:lnTo>
                <a:lnTo>
                  <a:pt x="434827" y="267308"/>
                </a:lnTo>
                <a:cubicBezTo>
                  <a:pt x="433670" y="267308"/>
                  <a:pt x="433670" y="267308"/>
                  <a:pt x="433670" y="267308"/>
                </a:cubicBezTo>
                <a:cubicBezTo>
                  <a:pt x="433670" y="267308"/>
                  <a:pt x="433361" y="267013"/>
                  <a:pt x="433361" y="267013"/>
                </a:cubicBezTo>
                <a:cubicBezTo>
                  <a:pt x="433361" y="266718"/>
                  <a:pt x="433670" y="266718"/>
                  <a:pt x="433670" y="266718"/>
                </a:cubicBezTo>
                <a:lnTo>
                  <a:pt x="435280" y="266718"/>
                </a:lnTo>
                <a:lnTo>
                  <a:pt x="435280" y="263618"/>
                </a:lnTo>
                <a:lnTo>
                  <a:pt x="433058" y="263618"/>
                </a:lnTo>
                <a:cubicBezTo>
                  <a:pt x="431899" y="263618"/>
                  <a:pt x="431899" y="263618"/>
                  <a:pt x="431899" y="263618"/>
                </a:cubicBezTo>
                <a:cubicBezTo>
                  <a:pt x="431899" y="263618"/>
                  <a:pt x="431590" y="263323"/>
                  <a:pt x="431590" y="263323"/>
                </a:cubicBezTo>
                <a:cubicBezTo>
                  <a:pt x="431590" y="263028"/>
                  <a:pt x="431899" y="263028"/>
                  <a:pt x="431899" y="263028"/>
                </a:cubicBezTo>
                <a:lnTo>
                  <a:pt x="435280" y="263028"/>
                </a:lnTo>
                <a:lnTo>
                  <a:pt x="435311" y="263028"/>
                </a:lnTo>
                <a:lnTo>
                  <a:pt x="435311" y="259928"/>
                </a:lnTo>
                <a:lnTo>
                  <a:pt x="434827" y="259928"/>
                </a:lnTo>
                <a:cubicBezTo>
                  <a:pt x="433670" y="259928"/>
                  <a:pt x="433670" y="259928"/>
                  <a:pt x="433670" y="259928"/>
                </a:cubicBezTo>
                <a:cubicBezTo>
                  <a:pt x="433670" y="259928"/>
                  <a:pt x="433361" y="259633"/>
                  <a:pt x="433361" y="259633"/>
                </a:cubicBezTo>
                <a:cubicBezTo>
                  <a:pt x="433361" y="259338"/>
                  <a:pt x="433670" y="259338"/>
                  <a:pt x="433670" y="259338"/>
                </a:cubicBezTo>
                <a:lnTo>
                  <a:pt x="435311" y="259338"/>
                </a:lnTo>
                <a:lnTo>
                  <a:pt x="435311" y="255648"/>
                </a:lnTo>
                <a:lnTo>
                  <a:pt x="433058" y="255648"/>
                </a:lnTo>
                <a:cubicBezTo>
                  <a:pt x="431899" y="255648"/>
                  <a:pt x="431899" y="255648"/>
                  <a:pt x="431899" y="255648"/>
                </a:cubicBezTo>
                <a:cubicBezTo>
                  <a:pt x="431899" y="255648"/>
                  <a:pt x="431590" y="255648"/>
                  <a:pt x="431590" y="255353"/>
                </a:cubicBezTo>
                <a:cubicBezTo>
                  <a:pt x="431590" y="255058"/>
                  <a:pt x="431899" y="255058"/>
                  <a:pt x="431899" y="255058"/>
                </a:cubicBezTo>
                <a:lnTo>
                  <a:pt x="435311" y="255058"/>
                </a:lnTo>
                <a:lnTo>
                  <a:pt x="435311" y="251958"/>
                </a:lnTo>
                <a:lnTo>
                  <a:pt x="434827" y="251958"/>
                </a:lnTo>
                <a:cubicBezTo>
                  <a:pt x="433670" y="251958"/>
                  <a:pt x="433670" y="251958"/>
                  <a:pt x="433670" y="251958"/>
                </a:cubicBezTo>
                <a:cubicBezTo>
                  <a:pt x="433670" y="251958"/>
                  <a:pt x="433361" y="251958"/>
                  <a:pt x="433361" y="251663"/>
                </a:cubicBezTo>
                <a:cubicBezTo>
                  <a:pt x="433361" y="251663"/>
                  <a:pt x="433670" y="251368"/>
                  <a:pt x="433670" y="251368"/>
                </a:cubicBezTo>
                <a:lnTo>
                  <a:pt x="435311" y="251368"/>
                </a:lnTo>
                <a:lnTo>
                  <a:pt x="435311" y="247972"/>
                </a:lnTo>
                <a:lnTo>
                  <a:pt x="433058" y="247972"/>
                </a:lnTo>
                <a:cubicBezTo>
                  <a:pt x="431899" y="247972"/>
                  <a:pt x="431899" y="247972"/>
                  <a:pt x="431899" y="247972"/>
                </a:cubicBezTo>
                <a:cubicBezTo>
                  <a:pt x="431899" y="247972"/>
                  <a:pt x="431590" y="247972"/>
                  <a:pt x="431590" y="247677"/>
                </a:cubicBezTo>
                <a:cubicBezTo>
                  <a:pt x="431590" y="247677"/>
                  <a:pt x="431899" y="247382"/>
                  <a:pt x="431899" y="247382"/>
                </a:cubicBezTo>
                <a:lnTo>
                  <a:pt x="435311" y="247382"/>
                </a:lnTo>
                <a:lnTo>
                  <a:pt x="435311" y="245084"/>
                </a:lnTo>
                <a:lnTo>
                  <a:pt x="435311" y="244578"/>
                </a:lnTo>
                <a:lnTo>
                  <a:pt x="434827" y="244578"/>
                </a:lnTo>
                <a:cubicBezTo>
                  <a:pt x="433670" y="244578"/>
                  <a:pt x="433670" y="244578"/>
                  <a:pt x="433670" y="244578"/>
                </a:cubicBezTo>
                <a:cubicBezTo>
                  <a:pt x="433670" y="244578"/>
                  <a:pt x="433361" y="244283"/>
                  <a:pt x="433361" y="244283"/>
                </a:cubicBezTo>
                <a:cubicBezTo>
                  <a:pt x="433361" y="243987"/>
                  <a:pt x="433670" y="243692"/>
                  <a:pt x="433670" y="243692"/>
                </a:cubicBezTo>
                <a:lnTo>
                  <a:pt x="435311" y="243692"/>
                </a:lnTo>
                <a:lnTo>
                  <a:pt x="435311" y="240297"/>
                </a:lnTo>
                <a:lnTo>
                  <a:pt x="433058" y="240297"/>
                </a:lnTo>
                <a:cubicBezTo>
                  <a:pt x="431899" y="240297"/>
                  <a:pt x="431899" y="240297"/>
                  <a:pt x="431899" y="240297"/>
                </a:cubicBezTo>
                <a:cubicBezTo>
                  <a:pt x="431899" y="240297"/>
                  <a:pt x="431590" y="240297"/>
                  <a:pt x="431590" y="240002"/>
                </a:cubicBezTo>
                <a:cubicBezTo>
                  <a:pt x="431590" y="240002"/>
                  <a:pt x="431899" y="239707"/>
                  <a:pt x="431899" y="239707"/>
                </a:cubicBezTo>
                <a:lnTo>
                  <a:pt x="435311" y="239707"/>
                </a:lnTo>
                <a:lnTo>
                  <a:pt x="435311" y="236903"/>
                </a:lnTo>
                <a:lnTo>
                  <a:pt x="434827" y="236903"/>
                </a:lnTo>
                <a:cubicBezTo>
                  <a:pt x="433670" y="236903"/>
                  <a:pt x="433670" y="236903"/>
                  <a:pt x="433670" y="236903"/>
                </a:cubicBezTo>
                <a:cubicBezTo>
                  <a:pt x="433670" y="236903"/>
                  <a:pt x="433361" y="236608"/>
                  <a:pt x="433361" y="236312"/>
                </a:cubicBezTo>
                <a:cubicBezTo>
                  <a:pt x="433361" y="236312"/>
                  <a:pt x="433670" y="236017"/>
                  <a:pt x="433670" y="236017"/>
                </a:cubicBezTo>
                <a:lnTo>
                  <a:pt x="435311" y="236017"/>
                </a:lnTo>
                <a:lnTo>
                  <a:pt x="435311" y="235870"/>
                </a:lnTo>
                <a:cubicBezTo>
                  <a:pt x="435311" y="231990"/>
                  <a:pt x="435311" y="231990"/>
                  <a:pt x="435311" y="231990"/>
                </a:cubicBezTo>
                <a:cubicBezTo>
                  <a:pt x="434407" y="231376"/>
                  <a:pt x="433804" y="230454"/>
                  <a:pt x="433804" y="229225"/>
                </a:cubicBezTo>
                <a:cubicBezTo>
                  <a:pt x="433804" y="227073"/>
                  <a:pt x="435612" y="225537"/>
                  <a:pt x="437421" y="225537"/>
                </a:cubicBezTo>
                <a:close/>
                <a:moveTo>
                  <a:pt x="49373" y="225537"/>
                </a:moveTo>
                <a:cubicBezTo>
                  <a:pt x="50596" y="225537"/>
                  <a:pt x="51513" y="226455"/>
                  <a:pt x="51513" y="227679"/>
                </a:cubicBezTo>
                <a:cubicBezTo>
                  <a:pt x="51513" y="238083"/>
                  <a:pt x="51513" y="238083"/>
                  <a:pt x="51513" y="238083"/>
                </a:cubicBezTo>
                <a:lnTo>
                  <a:pt x="53826" y="238083"/>
                </a:lnTo>
                <a:cubicBezTo>
                  <a:pt x="55288" y="238083"/>
                  <a:pt x="55288" y="238083"/>
                  <a:pt x="55288" y="238083"/>
                </a:cubicBezTo>
                <a:cubicBezTo>
                  <a:pt x="56211" y="238083"/>
                  <a:pt x="56827" y="238394"/>
                  <a:pt x="56827" y="239327"/>
                </a:cubicBezTo>
                <a:cubicBezTo>
                  <a:pt x="56827" y="245548"/>
                  <a:pt x="56827" y="245548"/>
                  <a:pt x="56827" y="245548"/>
                </a:cubicBezTo>
                <a:cubicBezTo>
                  <a:pt x="56827" y="246170"/>
                  <a:pt x="56211" y="246792"/>
                  <a:pt x="55288" y="246792"/>
                </a:cubicBezTo>
                <a:lnTo>
                  <a:pt x="54053" y="246792"/>
                </a:lnTo>
                <a:cubicBezTo>
                  <a:pt x="55895" y="246792"/>
                  <a:pt x="57123" y="248014"/>
                  <a:pt x="57123" y="249848"/>
                </a:cubicBezTo>
                <a:cubicBezTo>
                  <a:pt x="57123" y="269714"/>
                  <a:pt x="57123" y="269714"/>
                  <a:pt x="57123" y="269714"/>
                </a:cubicBezTo>
                <a:cubicBezTo>
                  <a:pt x="57123" y="271547"/>
                  <a:pt x="55895" y="272770"/>
                  <a:pt x="54053" y="272770"/>
                </a:cubicBezTo>
                <a:cubicBezTo>
                  <a:pt x="44842" y="272770"/>
                  <a:pt x="44842" y="272770"/>
                  <a:pt x="44842" y="272770"/>
                </a:cubicBezTo>
                <a:cubicBezTo>
                  <a:pt x="43307" y="272770"/>
                  <a:pt x="41772" y="271547"/>
                  <a:pt x="41772" y="269714"/>
                </a:cubicBezTo>
                <a:cubicBezTo>
                  <a:pt x="41772" y="249848"/>
                  <a:pt x="41772" y="249848"/>
                  <a:pt x="41772" y="249848"/>
                </a:cubicBezTo>
                <a:cubicBezTo>
                  <a:pt x="41772" y="248014"/>
                  <a:pt x="43307" y="246792"/>
                  <a:pt x="44842" y="246792"/>
                </a:cubicBezTo>
                <a:lnTo>
                  <a:pt x="43593" y="246792"/>
                </a:lnTo>
                <a:cubicBezTo>
                  <a:pt x="42977" y="246792"/>
                  <a:pt x="42362" y="246170"/>
                  <a:pt x="42362" y="245548"/>
                </a:cubicBezTo>
                <a:cubicBezTo>
                  <a:pt x="42362" y="239327"/>
                  <a:pt x="42362" y="239327"/>
                  <a:pt x="42362" y="239327"/>
                </a:cubicBezTo>
                <a:cubicBezTo>
                  <a:pt x="42362" y="238394"/>
                  <a:pt x="42977" y="238083"/>
                  <a:pt x="43593" y="238083"/>
                </a:cubicBezTo>
                <a:lnTo>
                  <a:pt x="47233" y="238083"/>
                </a:lnTo>
                <a:cubicBezTo>
                  <a:pt x="47233" y="227679"/>
                  <a:pt x="47233" y="227679"/>
                  <a:pt x="47233" y="227679"/>
                </a:cubicBezTo>
                <a:cubicBezTo>
                  <a:pt x="47233" y="226455"/>
                  <a:pt x="48150" y="225537"/>
                  <a:pt x="49373" y="225537"/>
                </a:cubicBezTo>
                <a:close/>
                <a:moveTo>
                  <a:pt x="14421" y="225537"/>
                </a:moveTo>
                <a:cubicBezTo>
                  <a:pt x="24853" y="225537"/>
                  <a:pt x="24853" y="225537"/>
                  <a:pt x="24853" y="225537"/>
                </a:cubicBezTo>
                <a:cubicBezTo>
                  <a:pt x="26694" y="225537"/>
                  <a:pt x="28535" y="227069"/>
                  <a:pt x="28535" y="228908"/>
                </a:cubicBezTo>
                <a:cubicBezTo>
                  <a:pt x="28535" y="235956"/>
                  <a:pt x="28535" y="235956"/>
                  <a:pt x="28535" y="235956"/>
                </a:cubicBezTo>
                <a:cubicBezTo>
                  <a:pt x="10739" y="235956"/>
                  <a:pt x="10739" y="235956"/>
                  <a:pt x="10739" y="235956"/>
                </a:cubicBezTo>
                <a:cubicBezTo>
                  <a:pt x="10739" y="229214"/>
                  <a:pt x="10739" y="229214"/>
                  <a:pt x="10739" y="229214"/>
                </a:cubicBezTo>
                <a:cubicBezTo>
                  <a:pt x="10739" y="227069"/>
                  <a:pt x="12580" y="225537"/>
                  <a:pt x="14421" y="225537"/>
                </a:cubicBezTo>
                <a:close/>
                <a:moveTo>
                  <a:pt x="134460" y="225001"/>
                </a:moveTo>
                <a:cubicBezTo>
                  <a:pt x="128631" y="225001"/>
                  <a:pt x="123723" y="229898"/>
                  <a:pt x="123723" y="235712"/>
                </a:cubicBezTo>
                <a:cubicBezTo>
                  <a:pt x="123723" y="241833"/>
                  <a:pt x="128631" y="246424"/>
                  <a:pt x="134460" y="246424"/>
                </a:cubicBezTo>
                <a:cubicBezTo>
                  <a:pt x="140595" y="246424"/>
                  <a:pt x="145504" y="241833"/>
                  <a:pt x="145504" y="235712"/>
                </a:cubicBezTo>
                <a:cubicBezTo>
                  <a:pt x="145504" y="229898"/>
                  <a:pt x="140595" y="225001"/>
                  <a:pt x="134460" y="225001"/>
                </a:cubicBezTo>
                <a:close/>
                <a:moveTo>
                  <a:pt x="133846" y="223471"/>
                </a:moveTo>
                <a:cubicBezTo>
                  <a:pt x="150106" y="223471"/>
                  <a:pt x="164831" y="229592"/>
                  <a:pt x="173728" y="239385"/>
                </a:cubicBezTo>
                <a:cubicBezTo>
                  <a:pt x="173728" y="239385"/>
                  <a:pt x="173728" y="239385"/>
                  <a:pt x="163297" y="256829"/>
                </a:cubicBezTo>
                <a:cubicBezTo>
                  <a:pt x="155934" y="251626"/>
                  <a:pt x="145504" y="248260"/>
                  <a:pt x="133846" y="248260"/>
                </a:cubicBezTo>
                <a:cubicBezTo>
                  <a:pt x="123109" y="248260"/>
                  <a:pt x="113292" y="251320"/>
                  <a:pt x="106236" y="255911"/>
                </a:cubicBezTo>
                <a:cubicBezTo>
                  <a:pt x="106236" y="255911"/>
                  <a:pt x="106236" y="255911"/>
                  <a:pt x="95499" y="237855"/>
                </a:cubicBezTo>
                <a:cubicBezTo>
                  <a:pt x="104702" y="228980"/>
                  <a:pt x="118507" y="223471"/>
                  <a:pt x="133846" y="223471"/>
                </a:cubicBezTo>
                <a:close/>
                <a:moveTo>
                  <a:pt x="83458" y="219838"/>
                </a:moveTo>
                <a:cubicBezTo>
                  <a:pt x="85340" y="219570"/>
                  <a:pt x="87031" y="219877"/>
                  <a:pt x="87799" y="221869"/>
                </a:cubicBezTo>
                <a:cubicBezTo>
                  <a:pt x="88414" y="224015"/>
                  <a:pt x="87799" y="226468"/>
                  <a:pt x="86877" y="228613"/>
                </a:cubicBezTo>
                <a:cubicBezTo>
                  <a:pt x="86262" y="229840"/>
                  <a:pt x="85648" y="230453"/>
                  <a:pt x="85033" y="231372"/>
                </a:cubicBezTo>
                <a:cubicBezTo>
                  <a:pt x="83804" y="233518"/>
                  <a:pt x="84726" y="239343"/>
                  <a:pt x="84418" y="241795"/>
                </a:cubicBezTo>
                <a:cubicBezTo>
                  <a:pt x="84111" y="244248"/>
                  <a:pt x="83804" y="245474"/>
                  <a:pt x="83189" y="248233"/>
                </a:cubicBezTo>
                <a:cubicBezTo>
                  <a:pt x="82574" y="250072"/>
                  <a:pt x="81960" y="251912"/>
                  <a:pt x="81345" y="252525"/>
                </a:cubicBezTo>
                <a:cubicBezTo>
                  <a:pt x="81038" y="252525"/>
                  <a:pt x="80423" y="253138"/>
                  <a:pt x="80423" y="252831"/>
                </a:cubicBezTo>
                <a:cubicBezTo>
                  <a:pt x="79808" y="251605"/>
                  <a:pt x="79808" y="247007"/>
                  <a:pt x="79501" y="243328"/>
                </a:cubicBezTo>
                <a:cubicBezTo>
                  <a:pt x="79193" y="242102"/>
                  <a:pt x="78886" y="239956"/>
                  <a:pt x="78271" y="238423"/>
                </a:cubicBezTo>
                <a:cubicBezTo>
                  <a:pt x="77964" y="238117"/>
                  <a:pt x="77657" y="237810"/>
                  <a:pt x="77349" y="237810"/>
                </a:cubicBezTo>
                <a:cubicBezTo>
                  <a:pt x="76735" y="237810"/>
                  <a:pt x="76427" y="238117"/>
                  <a:pt x="76120" y="238423"/>
                </a:cubicBezTo>
                <a:cubicBezTo>
                  <a:pt x="75505" y="239956"/>
                  <a:pt x="75198" y="242102"/>
                  <a:pt x="75198" y="243328"/>
                </a:cubicBezTo>
                <a:cubicBezTo>
                  <a:pt x="74583" y="247007"/>
                  <a:pt x="74583" y="251605"/>
                  <a:pt x="73969" y="252831"/>
                </a:cubicBezTo>
                <a:cubicBezTo>
                  <a:pt x="73969" y="253138"/>
                  <a:pt x="73354" y="252525"/>
                  <a:pt x="73047" y="252525"/>
                </a:cubicBezTo>
                <a:cubicBezTo>
                  <a:pt x="72432" y="251912"/>
                  <a:pt x="71817" y="250072"/>
                  <a:pt x="71510" y="248233"/>
                </a:cubicBezTo>
                <a:cubicBezTo>
                  <a:pt x="70588" y="245474"/>
                  <a:pt x="70281" y="244248"/>
                  <a:pt x="69973" y="241795"/>
                </a:cubicBezTo>
                <a:cubicBezTo>
                  <a:pt x="69973" y="239343"/>
                  <a:pt x="70588" y="233518"/>
                  <a:pt x="69359" y="231372"/>
                </a:cubicBezTo>
                <a:cubicBezTo>
                  <a:pt x="68744" y="230453"/>
                  <a:pt x="68129" y="229840"/>
                  <a:pt x="67514" y="228613"/>
                </a:cubicBezTo>
                <a:cubicBezTo>
                  <a:pt x="66592" y="226468"/>
                  <a:pt x="65978" y="224015"/>
                  <a:pt x="66900" y="221869"/>
                </a:cubicBezTo>
                <a:cubicBezTo>
                  <a:pt x="68436" y="217271"/>
                  <a:pt x="73969" y="221869"/>
                  <a:pt x="77964" y="221256"/>
                </a:cubicBezTo>
                <a:cubicBezTo>
                  <a:pt x="79501" y="220950"/>
                  <a:pt x="81576" y="220106"/>
                  <a:pt x="83458" y="219838"/>
                </a:cubicBezTo>
                <a:close/>
                <a:moveTo>
                  <a:pt x="399708" y="215205"/>
                </a:moveTo>
                <a:lnTo>
                  <a:pt x="407089" y="228636"/>
                </a:lnTo>
                <a:lnTo>
                  <a:pt x="416831" y="228636"/>
                </a:lnTo>
                <a:lnTo>
                  <a:pt x="417716" y="238083"/>
                </a:lnTo>
                <a:lnTo>
                  <a:pt x="418371" y="238083"/>
                </a:lnTo>
                <a:cubicBezTo>
                  <a:pt x="420904" y="238083"/>
                  <a:pt x="420904" y="238083"/>
                  <a:pt x="420904" y="238083"/>
                </a:cubicBezTo>
                <a:cubicBezTo>
                  <a:pt x="421825" y="238083"/>
                  <a:pt x="422439" y="238703"/>
                  <a:pt x="422439" y="239323"/>
                </a:cubicBezTo>
                <a:cubicBezTo>
                  <a:pt x="422439" y="239943"/>
                  <a:pt x="422439" y="239943"/>
                  <a:pt x="422439" y="239943"/>
                </a:cubicBezTo>
                <a:cubicBezTo>
                  <a:pt x="422439" y="240873"/>
                  <a:pt x="421825" y="241183"/>
                  <a:pt x="420904" y="241183"/>
                </a:cubicBezTo>
                <a:lnTo>
                  <a:pt x="420223" y="241183"/>
                </a:lnTo>
                <a:cubicBezTo>
                  <a:pt x="422677" y="244250"/>
                  <a:pt x="423597" y="247318"/>
                  <a:pt x="424210" y="250692"/>
                </a:cubicBezTo>
                <a:cubicBezTo>
                  <a:pt x="424210" y="250692"/>
                  <a:pt x="424210" y="250692"/>
                  <a:pt x="424210" y="314800"/>
                </a:cubicBezTo>
                <a:cubicBezTo>
                  <a:pt x="424210" y="317561"/>
                  <a:pt x="422063" y="319708"/>
                  <a:pt x="419610" y="319708"/>
                </a:cubicBezTo>
                <a:cubicBezTo>
                  <a:pt x="419610" y="319708"/>
                  <a:pt x="419610" y="319708"/>
                  <a:pt x="410409" y="319708"/>
                </a:cubicBezTo>
                <a:cubicBezTo>
                  <a:pt x="410409" y="319708"/>
                  <a:pt x="410409" y="319708"/>
                  <a:pt x="401209" y="319708"/>
                </a:cubicBezTo>
                <a:cubicBezTo>
                  <a:pt x="398755" y="319708"/>
                  <a:pt x="396608" y="317561"/>
                  <a:pt x="396608" y="314800"/>
                </a:cubicBezTo>
                <a:cubicBezTo>
                  <a:pt x="396608" y="314800"/>
                  <a:pt x="396608" y="314800"/>
                  <a:pt x="396608" y="250692"/>
                </a:cubicBezTo>
                <a:cubicBezTo>
                  <a:pt x="397222" y="247318"/>
                  <a:pt x="398448" y="244250"/>
                  <a:pt x="400595" y="241183"/>
                </a:cubicBezTo>
                <a:lnTo>
                  <a:pt x="400641" y="241183"/>
                </a:lnTo>
                <a:cubicBezTo>
                  <a:pt x="400027" y="241183"/>
                  <a:pt x="399413" y="240873"/>
                  <a:pt x="399413" y="239943"/>
                </a:cubicBezTo>
                <a:cubicBezTo>
                  <a:pt x="399413" y="239323"/>
                  <a:pt x="399413" y="239323"/>
                  <a:pt x="399413" y="239323"/>
                </a:cubicBezTo>
                <a:cubicBezTo>
                  <a:pt x="399413" y="238703"/>
                  <a:pt x="400027" y="238083"/>
                  <a:pt x="400641" y="238083"/>
                </a:cubicBezTo>
                <a:lnTo>
                  <a:pt x="403694" y="238083"/>
                </a:lnTo>
                <a:lnTo>
                  <a:pt x="404284" y="229522"/>
                </a:lnTo>
                <a:lnTo>
                  <a:pt x="397494" y="216386"/>
                </a:lnTo>
                <a:close/>
                <a:moveTo>
                  <a:pt x="136532" y="213286"/>
                </a:moveTo>
                <a:lnTo>
                  <a:pt x="136975" y="213286"/>
                </a:lnTo>
                <a:lnTo>
                  <a:pt x="137270" y="213286"/>
                </a:lnTo>
                <a:lnTo>
                  <a:pt x="137270" y="213876"/>
                </a:lnTo>
                <a:lnTo>
                  <a:pt x="136532" y="213876"/>
                </a:lnTo>
                <a:close/>
                <a:moveTo>
                  <a:pt x="434047" y="212400"/>
                </a:moveTo>
                <a:lnTo>
                  <a:pt x="434047" y="214023"/>
                </a:lnTo>
                <a:cubicBezTo>
                  <a:pt x="434047" y="216092"/>
                  <a:pt x="434047" y="216092"/>
                  <a:pt x="434047" y="216092"/>
                </a:cubicBezTo>
                <a:cubicBezTo>
                  <a:pt x="434047" y="216705"/>
                  <a:pt x="434047" y="217318"/>
                  <a:pt x="433433" y="217932"/>
                </a:cubicBezTo>
                <a:cubicBezTo>
                  <a:pt x="433126" y="218545"/>
                  <a:pt x="432820" y="218851"/>
                  <a:pt x="432206" y="219158"/>
                </a:cubicBezTo>
                <a:cubicBezTo>
                  <a:pt x="430979" y="219771"/>
                  <a:pt x="430059" y="220691"/>
                  <a:pt x="429446" y="221917"/>
                </a:cubicBezTo>
                <a:cubicBezTo>
                  <a:pt x="428832" y="222837"/>
                  <a:pt x="428525" y="224063"/>
                  <a:pt x="428525" y="225596"/>
                </a:cubicBezTo>
                <a:cubicBezTo>
                  <a:pt x="428525" y="267445"/>
                  <a:pt x="428525" y="288370"/>
                  <a:pt x="428525" y="298832"/>
                </a:cubicBezTo>
                <a:lnTo>
                  <a:pt x="428525" y="299252"/>
                </a:lnTo>
                <a:lnTo>
                  <a:pt x="440799" y="306253"/>
                </a:lnTo>
                <a:lnTo>
                  <a:pt x="446316" y="304876"/>
                </a:lnTo>
                <a:lnTo>
                  <a:pt x="446316" y="281667"/>
                </a:lnTo>
                <a:cubicBezTo>
                  <a:pt x="446316" y="225596"/>
                  <a:pt x="446316" y="225596"/>
                  <a:pt x="446316" y="225596"/>
                </a:cubicBezTo>
                <a:cubicBezTo>
                  <a:pt x="446316" y="224370"/>
                  <a:pt x="446009" y="223144"/>
                  <a:pt x="445396" y="221917"/>
                </a:cubicBezTo>
                <a:cubicBezTo>
                  <a:pt x="444782" y="220691"/>
                  <a:pt x="443862" y="219771"/>
                  <a:pt x="442635" y="219158"/>
                </a:cubicBezTo>
                <a:cubicBezTo>
                  <a:pt x="442022" y="218851"/>
                  <a:pt x="441715" y="218545"/>
                  <a:pt x="441408" y="217932"/>
                </a:cubicBezTo>
                <a:cubicBezTo>
                  <a:pt x="441102" y="217625"/>
                  <a:pt x="440795" y="217012"/>
                  <a:pt x="440795" y="216399"/>
                </a:cubicBezTo>
                <a:lnTo>
                  <a:pt x="440795" y="212400"/>
                </a:lnTo>
                <a:lnTo>
                  <a:pt x="434764" y="212400"/>
                </a:lnTo>
                <a:close/>
                <a:moveTo>
                  <a:pt x="307625" y="212400"/>
                </a:moveTo>
                <a:cubicBezTo>
                  <a:pt x="309763" y="213013"/>
                  <a:pt x="309763" y="213320"/>
                  <a:pt x="311595" y="214546"/>
                </a:cubicBezTo>
                <a:cubicBezTo>
                  <a:pt x="315870" y="220065"/>
                  <a:pt x="313733" y="230182"/>
                  <a:pt x="313427" y="236928"/>
                </a:cubicBezTo>
                <a:cubicBezTo>
                  <a:pt x="313427" y="236928"/>
                  <a:pt x="313427" y="236928"/>
                  <a:pt x="312816" y="236928"/>
                </a:cubicBezTo>
                <a:cubicBezTo>
                  <a:pt x="312816" y="236928"/>
                  <a:pt x="312816" y="236928"/>
                  <a:pt x="312816" y="246432"/>
                </a:cubicBezTo>
                <a:cubicBezTo>
                  <a:pt x="313427" y="246432"/>
                  <a:pt x="313733" y="246432"/>
                  <a:pt x="314038" y="246739"/>
                </a:cubicBezTo>
                <a:cubicBezTo>
                  <a:pt x="314343" y="247045"/>
                  <a:pt x="314649" y="247658"/>
                  <a:pt x="314343" y="247965"/>
                </a:cubicBezTo>
                <a:cubicBezTo>
                  <a:pt x="314038" y="258389"/>
                  <a:pt x="313733" y="268813"/>
                  <a:pt x="313427" y="279238"/>
                </a:cubicBezTo>
                <a:cubicBezTo>
                  <a:pt x="313427" y="280158"/>
                  <a:pt x="313733" y="281077"/>
                  <a:pt x="313733" y="282304"/>
                </a:cubicBezTo>
                <a:cubicBezTo>
                  <a:pt x="313733" y="282304"/>
                  <a:pt x="313733" y="282304"/>
                  <a:pt x="315259" y="308978"/>
                </a:cubicBezTo>
                <a:cubicBezTo>
                  <a:pt x="315259" y="310817"/>
                  <a:pt x="313122" y="311737"/>
                  <a:pt x="311290" y="311737"/>
                </a:cubicBezTo>
                <a:cubicBezTo>
                  <a:pt x="309457" y="311737"/>
                  <a:pt x="307014" y="310817"/>
                  <a:pt x="307014" y="308978"/>
                </a:cubicBezTo>
                <a:cubicBezTo>
                  <a:pt x="307625" y="299780"/>
                  <a:pt x="308236" y="290888"/>
                  <a:pt x="308541" y="281997"/>
                </a:cubicBezTo>
                <a:cubicBezTo>
                  <a:pt x="308541" y="281077"/>
                  <a:pt x="308541" y="280158"/>
                  <a:pt x="308541" y="279238"/>
                </a:cubicBezTo>
                <a:cubicBezTo>
                  <a:pt x="308541" y="279238"/>
                  <a:pt x="308541" y="279238"/>
                  <a:pt x="307930" y="247965"/>
                </a:cubicBezTo>
                <a:cubicBezTo>
                  <a:pt x="307625" y="247658"/>
                  <a:pt x="307930" y="247045"/>
                  <a:pt x="308236" y="246739"/>
                </a:cubicBezTo>
                <a:cubicBezTo>
                  <a:pt x="308541" y="246432"/>
                  <a:pt x="308847" y="246432"/>
                  <a:pt x="309457" y="246432"/>
                </a:cubicBezTo>
                <a:cubicBezTo>
                  <a:pt x="309457" y="246432"/>
                  <a:pt x="309457" y="246432"/>
                  <a:pt x="309457" y="236928"/>
                </a:cubicBezTo>
                <a:cubicBezTo>
                  <a:pt x="309457" y="236928"/>
                  <a:pt x="309457" y="236928"/>
                  <a:pt x="309152" y="236928"/>
                </a:cubicBezTo>
                <a:cubicBezTo>
                  <a:pt x="308847" y="235088"/>
                  <a:pt x="308541" y="233248"/>
                  <a:pt x="308236" y="231102"/>
                </a:cubicBezTo>
                <a:cubicBezTo>
                  <a:pt x="307625" y="227730"/>
                  <a:pt x="307320" y="225583"/>
                  <a:pt x="307320" y="221904"/>
                </a:cubicBezTo>
                <a:cubicBezTo>
                  <a:pt x="307014" y="219452"/>
                  <a:pt x="307320" y="217305"/>
                  <a:pt x="307320" y="215159"/>
                </a:cubicBezTo>
                <a:cubicBezTo>
                  <a:pt x="307320" y="214239"/>
                  <a:pt x="307625" y="213320"/>
                  <a:pt x="307625" y="212400"/>
                </a:cubicBezTo>
                <a:close/>
                <a:moveTo>
                  <a:pt x="68707" y="212130"/>
                </a:moveTo>
                <a:cubicBezTo>
                  <a:pt x="68400" y="212130"/>
                  <a:pt x="68400" y="212437"/>
                  <a:pt x="68400" y="212437"/>
                </a:cubicBezTo>
                <a:cubicBezTo>
                  <a:pt x="68400" y="212745"/>
                  <a:pt x="68400" y="212745"/>
                  <a:pt x="68707" y="212745"/>
                </a:cubicBezTo>
                <a:lnTo>
                  <a:pt x="81921" y="212745"/>
                </a:lnTo>
                <a:cubicBezTo>
                  <a:pt x="82228" y="212745"/>
                  <a:pt x="82228" y="212745"/>
                  <a:pt x="82228" y="212437"/>
                </a:cubicBezTo>
                <a:cubicBezTo>
                  <a:pt x="82228" y="212437"/>
                  <a:pt x="82228" y="212130"/>
                  <a:pt x="81921" y="212130"/>
                </a:cubicBezTo>
                <a:cubicBezTo>
                  <a:pt x="81921" y="212130"/>
                  <a:pt x="81921" y="212130"/>
                  <a:pt x="68707" y="212130"/>
                </a:cubicBezTo>
                <a:close/>
                <a:moveTo>
                  <a:pt x="151905" y="212052"/>
                </a:moveTo>
                <a:lnTo>
                  <a:pt x="155056" y="215205"/>
                </a:lnTo>
                <a:lnTo>
                  <a:pt x="156679" y="213581"/>
                </a:lnTo>
                <a:lnTo>
                  <a:pt x="153462" y="213581"/>
                </a:lnTo>
                <a:cubicBezTo>
                  <a:pt x="153152" y="213581"/>
                  <a:pt x="152843" y="213275"/>
                  <a:pt x="152843" y="212969"/>
                </a:cubicBezTo>
                <a:cubicBezTo>
                  <a:pt x="152843" y="212052"/>
                  <a:pt x="152843" y="212052"/>
                  <a:pt x="152843" y="212052"/>
                </a:cubicBezTo>
                <a:close/>
                <a:moveTo>
                  <a:pt x="138746" y="211809"/>
                </a:moveTo>
                <a:lnTo>
                  <a:pt x="138451" y="213285"/>
                </a:lnTo>
                <a:lnTo>
                  <a:pt x="139927" y="213285"/>
                </a:lnTo>
                <a:lnTo>
                  <a:pt x="140222" y="211809"/>
                </a:lnTo>
                <a:close/>
                <a:moveTo>
                  <a:pt x="134170" y="211514"/>
                </a:moveTo>
                <a:lnTo>
                  <a:pt x="134170" y="211809"/>
                </a:lnTo>
                <a:lnTo>
                  <a:pt x="134170" y="213285"/>
                </a:lnTo>
                <a:lnTo>
                  <a:pt x="133580" y="213581"/>
                </a:lnTo>
                <a:lnTo>
                  <a:pt x="133580" y="213285"/>
                </a:lnTo>
                <a:lnTo>
                  <a:pt x="133580" y="211809"/>
                </a:lnTo>
                <a:close/>
                <a:moveTo>
                  <a:pt x="138451" y="211219"/>
                </a:moveTo>
                <a:lnTo>
                  <a:pt x="138746" y="211219"/>
                </a:lnTo>
                <a:lnTo>
                  <a:pt x="140665" y="211219"/>
                </a:lnTo>
                <a:lnTo>
                  <a:pt x="140665" y="211514"/>
                </a:lnTo>
                <a:lnTo>
                  <a:pt x="140961" y="211514"/>
                </a:lnTo>
                <a:lnTo>
                  <a:pt x="140961" y="211809"/>
                </a:lnTo>
                <a:lnTo>
                  <a:pt x="140665" y="213285"/>
                </a:lnTo>
                <a:lnTo>
                  <a:pt x="140222" y="213581"/>
                </a:lnTo>
                <a:lnTo>
                  <a:pt x="139927" y="213876"/>
                </a:lnTo>
                <a:lnTo>
                  <a:pt x="138451" y="213876"/>
                </a:lnTo>
                <a:lnTo>
                  <a:pt x="138156" y="213581"/>
                </a:lnTo>
                <a:lnTo>
                  <a:pt x="137861" y="213285"/>
                </a:lnTo>
                <a:lnTo>
                  <a:pt x="138156" y="211809"/>
                </a:lnTo>
                <a:lnTo>
                  <a:pt x="138451" y="211514"/>
                </a:lnTo>
                <a:close/>
                <a:moveTo>
                  <a:pt x="134170" y="211219"/>
                </a:moveTo>
                <a:lnTo>
                  <a:pt x="134465" y="211219"/>
                </a:lnTo>
                <a:lnTo>
                  <a:pt x="135941" y="211219"/>
                </a:lnTo>
                <a:lnTo>
                  <a:pt x="136237" y="211219"/>
                </a:lnTo>
                <a:lnTo>
                  <a:pt x="136237" y="211514"/>
                </a:lnTo>
                <a:lnTo>
                  <a:pt x="136532" y="211809"/>
                </a:lnTo>
                <a:lnTo>
                  <a:pt x="136237" y="213285"/>
                </a:lnTo>
                <a:lnTo>
                  <a:pt x="135941" y="213581"/>
                </a:lnTo>
                <a:lnTo>
                  <a:pt x="135646" y="213876"/>
                </a:lnTo>
                <a:lnTo>
                  <a:pt x="135351" y="213876"/>
                </a:lnTo>
                <a:lnTo>
                  <a:pt x="133875" y="213876"/>
                </a:lnTo>
                <a:lnTo>
                  <a:pt x="133875" y="213581"/>
                </a:lnTo>
                <a:lnTo>
                  <a:pt x="134170" y="213285"/>
                </a:lnTo>
                <a:lnTo>
                  <a:pt x="135646" y="213285"/>
                </a:lnTo>
                <a:lnTo>
                  <a:pt x="135941" y="211809"/>
                </a:lnTo>
                <a:lnTo>
                  <a:pt x="134465" y="211809"/>
                </a:lnTo>
                <a:lnTo>
                  <a:pt x="134170" y="211514"/>
                </a:lnTo>
                <a:close/>
                <a:moveTo>
                  <a:pt x="130481" y="211219"/>
                </a:moveTo>
                <a:lnTo>
                  <a:pt x="131071" y="211219"/>
                </a:lnTo>
                <a:lnTo>
                  <a:pt x="132547" y="211219"/>
                </a:lnTo>
                <a:lnTo>
                  <a:pt x="132990" y="211219"/>
                </a:lnTo>
                <a:lnTo>
                  <a:pt x="132990" y="211514"/>
                </a:lnTo>
                <a:lnTo>
                  <a:pt x="133286" y="211809"/>
                </a:lnTo>
                <a:lnTo>
                  <a:pt x="132990" y="213285"/>
                </a:lnTo>
                <a:lnTo>
                  <a:pt x="132547" y="213581"/>
                </a:lnTo>
                <a:lnTo>
                  <a:pt x="132252" y="213876"/>
                </a:lnTo>
                <a:lnTo>
                  <a:pt x="130481" y="213876"/>
                </a:lnTo>
                <a:lnTo>
                  <a:pt x="130186" y="213581"/>
                </a:lnTo>
                <a:lnTo>
                  <a:pt x="130481" y="213285"/>
                </a:lnTo>
                <a:lnTo>
                  <a:pt x="132252" y="213285"/>
                </a:lnTo>
                <a:lnTo>
                  <a:pt x="132547" y="211809"/>
                </a:lnTo>
                <a:lnTo>
                  <a:pt x="130776" y="211809"/>
                </a:lnTo>
                <a:lnTo>
                  <a:pt x="130481" y="211514"/>
                </a:lnTo>
                <a:close/>
                <a:moveTo>
                  <a:pt x="157492" y="210263"/>
                </a:moveTo>
                <a:lnTo>
                  <a:pt x="157492" y="212767"/>
                </a:lnTo>
                <a:lnTo>
                  <a:pt x="158743" y="211515"/>
                </a:lnTo>
                <a:close/>
                <a:moveTo>
                  <a:pt x="152843" y="210039"/>
                </a:moveTo>
                <a:lnTo>
                  <a:pt x="152053" y="210829"/>
                </a:lnTo>
                <a:lnTo>
                  <a:pt x="152843" y="210829"/>
                </a:lnTo>
                <a:close/>
                <a:moveTo>
                  <a:pt x="138746" y="209005"/>
                </a:moveTo>
                <a:lnTo>
                  <a:pt x="139042" y="209300"/>
                </a:lnTo>
                <a:lnTo>
                  <a:pt x="138746" y="210924"/>
                </a:lnTo>
                <a:lnTo>
                  <a:pt x="138451" y="211219"/>
                </a:lnTo>
                <a:lnTo>
                  <a:pt x="138156" y="210924"/>
                </a:lnTo>
                <a:lnTo>
                  <a:pt x="138451" y="209300"/>
                </a:lnTo>
                <a:close/>
                <a:moveTo>
                  <a:pt x="139337" y="208710"/>
                </a:moveTo>
                <a:lnTo>
                  <a:pt x="140961" y="208710"/>
                </a:lnTo>
                <a:lnTo>
                  <a:pt x="141256" y="209005"/>
                </a:lnTo>
                <a:lnTo>
                  <a:pt x="140961" y="209300"/>
                </a:lnTo>
                <a:lnTo>
                  <a:pt x="139042" y="209300"/>
                </a:lnTo>
                <a:lnTo>
                  <a:pt x="139042" y="209005"/>
                </a:lnTo>
                <a:close/>
                <a:moveTo>
                  <a:pt x="134761" y="208710"/>
                </a:moveTo>
                <a:lnTo>
                  <a:pt x="136532" y="208710"/>
                </a:lnTo>
                <a:lnTo>
                  <a:pt x="136975" y="209005"/>
                </a:lnTo>
                <a:lnTo>
                  <a:pt x="136532" y="209300"/>
                </a:lnTo>
                <a:lnTo>
                  <a:pt x="134761" y="209300"/>
                </a:lnTo>
                <a:lnTo>
                  <a:pt x="134465" y="210924"/>
                </a:lnTo>
                <a:lnTo>
                  <a:pt x="134170" y="211219"/>
                </a:lnTo>
                <a:lnTo>
                  <a:pt x="133875" y="210924"/>
                </a:lnTo>
                <a:lnTo>
                  <a:pt x="134170" y="209300"/>
                </a:lnTo>
                <a:lnTo>
                  <a:pt x="134465" y="209005"/>
                </a:lnTo>
                <a:close/>
                <a:moveTo>
                  <a:pt x="131367" y="208710"/>
                </a:moveTo>
                <a:lnTo>
                  <a:pt x="133286" y="208710"/>
                </a:lnTo>
                <a:lnTo>
                  <a:pt x="133286" y="209005"/>
                </a:lnTo>
                <a:lnTo>
                  <a:pt x="133581" y="209005"/>
                </a:lnTo>
                <a:lnTo>
                  <a:pt x="133581" y="209300"/>
                </a:lnTo>
                <a:lnTo>
                  <a:pt x="133286" y="210924"/>
                </a:lnTo>
                <a:lnTo>
                  <a:pt x="132990" y="211219"/>
                </a:lnTo>
                <a:lnTo>
                  <a:pt x="132547" y="210924"/>
                </a:lnTo>
                <a:lnTo>
                  <a:pt x="132990" y="209300"/>
                </a:lnTo>
                <a:lnTo>
                  <a:pt x="131367" y="209300"/>
                </a:lnTo>
                <a:lnTo>
                  <a:pt x="131071" y="209005"/>
                </a:lnTo>
                <a:close/>
                <a:moveTo>
                  <a:pt x="155056" y="207825"/>
                </a:moveTo>
                <a:lnTo>
                  <a:pt x="153581" y="209301"/>
                </a:lnTo>
                <a:lnTo>
                  <a:pt x="156531" y="209301"/>
                </a:lnTo>
                <a:close/>
                <a:moveTo>
                  <a:pt x="128629" y="207825"/>
                </a:moveTo>
                <a:cubicBezTo>
                  <a:pt x="128014" y="207825"/>
                  <a:pt x="127400" y="208132"/>
                  <a:pt x="127400" y="208747"/>
                </a:cubicBezTo>
                <a:cubicBezTo>
                  <a:pt x="127400" y="208747"/>
                  <a:pt x="127400" y="208747"/>
                  <a:pt x="127400" y="214282"/>
                </a:cubicBezTo>
                <a:cubicBezTo>
                  <a:pt x="127400" y="214590"/>
                  <a:pt x="128014" y="215205"/>
                  <a:pt x="128629" y="215205"/>
                </a:cubicBezTo>
                <a:cubicBezTo>
                  <a:pt x="128629" y="215205"/>
                  <a:pt x="128629" y="215205"/>
                  <a:pt x="142764" y="215205"/>
                </a:cubicBezTo>
                <a:cubicBezTo>
                  <a:pt x="143379" y="215205"/>
                  <a:pt x="143993" y="214590"/>
                  <a:pt x="143993" y="214282"/>
                </a:cubicBezTo>
                <a:cubicBezTo>
                  <a:pt x="143993" y="214282"/>
                  <a:pt x="143993" y="214282"/>
                  <a:pt x="143993" y="208747"/>
                </a:cubicBezTo>
                <a:cubicBezTo>
                  <a:pt x="143993" y="208132"/>
                  <a:pt x="143379" y="207825"/>
                  <a:pt x="142764" y="207825"/>
                </a:cubicBezTo>
                <a:cubicBezTo>
                  <a:pt x="142764" y="207825"/>
                  <a:pt x="142764" y="207825"/>
                  <a:pt x="128629" y="207825"/>
                </a:cubicBezTo>
                <a:close/>
                <a:moveTo>
                  <a:pt x="191847" y="205020"/>
                </a:moveTo>
                <a:cubicBezTo>
                  <a:pt x="191847" y="205020"/>
                  <a:pt x="192462" y="205020"/>
                  <a:pt x="192462" y="205325"/>
                </a:cubicBezTo>
                <a:cubicBezTo>
                  <a:pt x="192769" y="205630"/>
                  <a:pt x="192462" y="205935"/>
                  <a:pt x="192154" y="206240"/>
                </a:cubicBezTo>
                <a:cubicBezTo>
                  <a:pt x="191847" y="206240"/>
                  <a:pt x="191847" y="206545"/>
                  <a:pt x="191847" y="207155"/>
                </a:cubicBezTo>
                <a:cubicBezTo>
                  <a:pt x="191847" y="207460"/>
                  <a:pt x="191847" y="208071"/>
                  <a:pt x="191539" y="208681"/>
                </a:cubicBezTo>
                <a:cubicBezTo>
                  <a:pt x="191232" y="208986"/>
                  <a:pt x="190924" y="208986"/>
                  <a:pt x="190617" y="209291"/>
                </a:cubicBezTo>
                <a:cubicBezTo>
                  <a:pt x="190309" y="209291"/>
                  <a:pt x="190309" y="209291"/>
                  <a:pt x="190002" y="209596"/>
                </a:cubicBezTo>
                <a:cubicBezTo>
                  <a:pt x="189694" y="209596"/>
                  <a:pt x="189387" y="209596"/>
                  <a:pt x="189387" y="209291"/>
                </a:cubicBezTo>
                <a:cubicBezTo>
                  <a:pt x="189079" y="208681"/>
                  <a:pt x="189387" y="208376"/>
                  <a:pt x="189694" y="208376"/>
                </a:cubicBezTo>
                <a:cubicBezTo>
                  <a:pt x="189694" y="208376"/>
                  <a:pt x="190002" y="208376"/>
                  <a:pt x="190002" y="208071"/>
                </a:cubicBezTo>
                <a:cubicBezTo>
                  <a:pt x="190309" y="208071"/>
                  <a:pt x="190309" y="208071"/>
                  <a:pt x="190309" y="208071"/>
                </a:cubicBezTo>
                <a:cubicBezTo>
                  <a:pt x="190617" y="207765"/>
                  <a:pt x="190617" y="207460"/>
                  <a:pt x="190617" y="207155"/>
                </a:cubicBezTo>
                <a:cubicBezTo>
                  <a:pt x="190617" y="206240"/>
                  <a:pt x="190617" y="205630"/>
                  <a:pt x="191847" y="205020"/>
                </a:cubicBezTo>
                <a:close/>
                <a:moveTo>
                  <a:pt x="49064" y="204421"/>
                </a:moveTo>
                <a:cubicBezTo>
                  <a:pt x="49064" y="204421"/>
                  <a:pt x="49064" y="204421"/>
                  <a:pt x="49371" y="204421"/>
                </a:cubicBezTo>
                <a:cubicBezTo>
                  <a:pt x="49371" y="204421"/>
                  <a:pt x="49371" y="204421"/>
                  <a:pt x="49678" y="205953"/>
                </a:cubicBezTo>
                <a:cubicBezTo>
                  <a:pt x="49678" y="205953"/>
                  <a:pt x="49678" y="205953"/>
                  <a:pt x="49984" y="207484"/>
                </a:cubicBezTo>
                <a:cubicBezTo>
                  <a:pt x="49984" y="207484"/>
                  <a:pt x="49984" y="207484"/>
                  <a:pt x="49678" y="207484"/>
                </a:cubicBezTo>
                <a:cubicBezTo>
                  <a:pt x="49678" y="207484"/>
                  <a:pt x="49678" y="207484"/>
                  <a:pt x="48758" y="207484"/>
                </a:cubicBezTo>
                <a:cubicBezTo>
                  <a:pt x="48758" y="207484"/>
                  <a:pt x="48758" y="207484"/>
                  <a:pt x="49064" y="205953"/>
                </a:cubicBezTo>
                <a:cubicBezTo>
                  <a:pt x="49064" y="205953"/>
                  <a:pt x="49064" y="205953"/>
                  <a:pt x="49064" y="204421"/>
                </a:cubicBezTo>
                <a:close/>
                <a:moveTo>
                  <a:pt x="115108" y="204135"/>
                </a:moveTo>
                <a:cubicBezTo>
                  <a:pt x="115108" y="204135"/>
                  <a:pt x="115108" y="204135"/>
                  <a:pt x="164582" y="204135"/>
                </a:cubicBezTo>
                <a:cubicBezTo>
                  <a:pt x="166733" y="204135"/>
                  <a:pt x="168577" y="205057"/>
                  <a:pt x="169806" y="206287"/>
                </a:cubicBezTo>
                <a:cubicBezTo>
                  <a:pt x="171343" y="207517"/>
                  <a:pt x="171957" y="209362"/>
                  <a:pt x="171957" y="211515"/>
                </a:cubicBezTo>
                <a:cubicBezTo>
                  <a:pt x="171957" y="213360"/>
                  <a:pt x="171343" y="215205"/>
                  <a:pt x="169806" y="216742"/>
                </a:cubicBezTo>
                <a:cubicBezTo>
                  <a:pt x="168577" y="217972"/>
                  <a:pt x="166733" y="218895"/>
                  <a:pt x="164582" y="218895"/>
                </a:cubicBezTo>
                <a:cubicBezTo>
                  <a:pt x="164582" y="218895"/>
                  <a:pt x="164582" y="218895"/>
                  <a:pt x="114801" y="218587"/>
                </a:cubicBezTo>
                <a:cubicBezTo>
                  <a:pt x="114801" y="218587"/>
                  <a:pt x="114801" y="218587"/>
                  <a:pt x="90832" y="214282"/>
                </a:cubicBezTo>
                <a:cubicBezTo>
                  <a:pt x="87145" y="213975"/>
                  <a:pt x="83765" y="213667"/>
                  <a:pt x="80692" y="213667"/>
                </a:cubicBezTo>
                <a:cubicBezTo>
                  <a:pt x="77312" y="213360"/>
                  <a:pt x="73931" y="213360"/>
                  <a:pt x="70244" y="213360"/>
                </a:cubicBezTo>
                <a:cubicBezTo>
                  <a:pt x="69629" y="213360"/>
                  <a:pt x="68400" y="213360"/>
                  <a:pt x="67478" y="213052"/>
                </a:cubicBezTo>
                <a:cubicBezTo>
                  <a:pt x="67171" y="212745"/>
                  <a:pt x="66864" y="212437"/>
                  <a:pt x="66864" y="212130"/>
                </a:cubicBezTo>
                <a:cubicBezTo>
                  <a:pt x="66864" y="211822"/>
                  <a:pt x="67171" y="211515"/>
                  <a:pt x="67478" y="211515"/>
                </a:cubicBezTo>
                <a:cubicBezTo>
                  <a:pt x="68400" y="210900"/>
                  <a:pt x="69629" y="210900"/>
                  <a:pt x="70244" y="210900"/>
                </a:cubicBezTo>
                <a:cubicBezTo>
                  <a:pt x="73931" y="210900"/>
                  <a:pt x="77312" y="210592"/>
                  <a:pt x="80692" y="210285"/>
                </a:cubicBezTo>
                <a:cubicBezTo>
                  <a:pt x="83765" y="210285"/>
                  <a:pt x="87145" y="209670"/>
                  <a:pt x="90832" y="209362"/>
                </a:cubicBezTo>
                <a:cubicBezTo>
                  <a:pt x="90832" y="209362"/>
                  <a:pt x="90832" y="209362"/>
                  <a:pt x="115108" y="204135"/>
                </a:cubicBezTo>
                <a:close/>
                <a:moveTo>
                  <a:pt x="31274" y="203809"/>
                </a:moveTo>
                <a:cubicBezTo>
                  <a:pt x="31274" y="203809"/>
                  <a:pt x="31274" y="203809"/>
                  <a:pt x="31581" y="203809"/>
                </a:cubicBezTo>
                <a:cubicBezTo>
                  <a:pt x="31581" y="203809"/>
                  <a:pt x="31581" y="203809"/>
                  <a:pt x="32501" y="203809"/>
                </a:cubicBezTo>
                <a:cubicBezTo>
                  <a:pt x="32501" y="203809"/>
                  <a:pt x="32808" y="203809"/>
                  <a:pt x="33115" y="204115"/>
                </a:cubicBezTo>
                <a:cubicBezTo>
                  <a:pt x="33115" y="204115"/>
                  <a:pt x="33115" y="204421"/>
                  <a:pt x="33115" y="204728"/>
                </a:cubicBezTo>
                <a:cubicBezTo>
                  <a:pt x="33115" y="204728"/>
                  <a:pt x="33115" y="205034"/>
                  <a:pt x="33115" y="205340"/>
                </a:cubicBezTo>
                <a:cubicBezTo>
                  <a:pt x="32808" y="205340"/>
                  <a:pt x="32501" y="205340"/>
                  <a:pt x="32501" y="205340"/>
                </a:cubicBezTo>
                <a:cubicBezTo>
                  <a:pt x="32501" y="205340"/>
                  <a:pt x="32501" y="205340"/>
                  <a:pt x="31581" y="205340"/>
                </a:cubicBezTo>
                <a:cubicBezTo>
                  <a:pt x="31581" y="205340"/>
                  <a:pt x="31581" y="205340"/>
                  <a:pt x="31274" y="205340"/>
                </a:cubicBezTo>
                <a:cubicBezTo>
                  <a:pt x="31274" y="205340"/>
                  <a:pt x="31274" y="205340"/>
                  <a:pt x="31274" y="205034"/>
                </a:cubicBezTo>
                <a:cubicBezTo>
                  <a:pt x="31274" y="205034"/>
                  <a:pt x="31274" y="205034"/>
                  <a:pt x="31274" y="204115"/>
                </a:cubicBezTo>
                <a:cubicBezTo>
                  <a:pt x="31274" y="204115"/>
                  <a:pt x="31274" y="204115"/>
                  <a:pt x="31274" y="203809"/>
                </a:cubicBezTo>
                <a:close/>
                <a:moveTo>
                  <a:pt x="16858" y="203503"/>
                </a:moveTo>
                <a:cubicBezTo>
                  <a:pt x="17165" y="203503"/>
                  <a:pt x="17471" y="203809"/>
                  <a:pt x="17471" y="203809"/>
                </a:cubicBezTo>
                <a:cubicBezTo>
                  <a:pt x="17778" y="204115"/>
                  <a:pt x="17778" y="204421"/>
                  <a:pt x="17778" y="204728"/>
                </a:cubicBezTo>
                <a:cubicBezTo>
                  <a:pt x="17778" y="204728"/>
                  <a:pt x="17778" y="204728"/>
                  <a:pt x="17778" y="208097"/>
                </a:cubicBezTo>
                <a:cubicBezTo>
                  <a:pt x="17778" y="208403"/>
                  <a:pt x="17778" y="208709"/>
                  <a:pt x="17471" y="208709"/>
                </a:cubicBezTo>
                <a:cubicBezTo>
                  <a:pt x="17471" y="209016"/>
                  <a:pt x="17165" y="209016"/>
                  <a:pt x="16858" y="209016"/>
                </a:cubicBezTo>
                <a:cubicBezTo>
                  <a:pt x="16245" y="209016"/>
                  <a:pt x="16245" y="209016"/>
                  <a:pt x="15938" y="208709"/>
                </a:cubicBezTo>
                <a:cubicBezTo>
                  <a:pt x="15631" y="208709"/>
                  <a:pt x="15631" y="208403"/>
                  <a:pt x="15631" y="208097"/>
                </a:cubicBezTo>
                <a:cubicBezTo>
                  <a:pt x="15631" y="208097"/>
                  <a:pt x="15631" y="208097"/>
                  <a:pt x="15631" y="204728"/>
                </a:cubicBezTo>
                <a:cubicBezTo>
                  <a:pt x="15631" y="204421"/>
                  <a:pt x="15631" y="204115"/>
                  <a:pt x="15938" y="203809"/>
                </a:cubicBezTo>
                <a:cubicBezTo>
                  <a:pt x="16245" y="203809"/>
                  <a:pt x="16551" y="203503"/>
                  <a:pt x="16858" y="203503"/>
                </a:cubicBezTo>
                <a:close/>
                <a:moveTo>
                  <a:pt x="53972" y="201971"/>
                </a:moveTo>
                <a:cubicBezTo>
                  <a:pt x="53972" y="202277"/>
                  <a:pt x="53972" y="202277"/>
                  <a:pt x="53972" y="202277"/>
                </a:cubicBezTo>
                <a:cubicBezTo>
                  <a:pt x="53972" y="210547"/>
                  <a:pt x="53972" y="210547"/>
                  <a:pt x="53972" y="210547"/>
                </a:cubicBezTo>
                <a:cubicBezTo>
                  <a:pt x="53972" y="210853"/>
                  <a:pt x="53972" y="210853"/>
                  <a:pt x="54279" y="210853"/>
                </a:cubicBezTo>
                <a:cubicBezTo>
                  <a:pt x="59186" y="210853"/>
                  <a:pt x="59186" y="210853"/>
                  <a:pt x="59186" y="210853"/>
                </a:cubicBezTo>
                <a:cubicBezTo>
                  <a:pt x="59493" y="210853"/>
                  <a:pt x="59493" y="210853"/>
                  <a:pt x="59493" y="210547"/>
                </a:cubicBezTo>
                <a:cubicBezTo>
                  <a:pt x="59493" y="209322"/>
                  <a:pt x="59493" y="209322"/>
                  <a:pt x="59493" y="209322"/>
                </a:cubicBezTo>
                <a:cubicBezTo>
                  <a:pt x="59493" y="209016"/>
                  <a:pt x="59493" y="209016"/>
                  <a:pt x="59493" y="209016"/>
                </a:cubicBezTo>
                <a:lnTo>
                  <a:pt x="59186" y="209016"/>
                </a:lnTo>
                <a:cubicBezTo>
                  <a:pt x="56119" y="209016"/>
                  <a:pt x="56119" y="209016"/>
                  <a:pt x="56119" y="209016"/>
                </a:cubicBezTo>
                <a:cubicBezTo>
                  <a:pt x="55812" y="209016"/>
                  <a:pt x="55812" y="209016"/>
                  <a:pt x="55812" y="209016"/>
                </a:cubicBezTo>
                <a:cubicBezTo>
                  <a:pt x="55812" y="208709"/>
                  <a:pt x="55812" y="208709"/>
                  <a:pt x="55812" y="208709"/>
                </a:cubicBezTo>
                <a:cubicBezTo>
                  <a:pt x="55812" y="202277"/>
                  <a:pt x="55812" y="202277"/>
                  <a:pt x="55812" y="202277"/>
                </a:cubicBezTo>
                <a:cubicBezTo>
                  <a:pt x="55812" y="201971"/>
                  <a:pt x="55812" y="201971"/>
                  <a:pt x="55812" y="201971"/>
                </a:cubicBezTo>
                <a:cubicBezTo>
                  <a:pt x="55506" y="201971"/>
                  <a:pt x="55506" y="201971"/>
                  <a:pt x="55506" y="201971"/>
                </a:cubicBezTo>
                <a:cubicBezTo>
                  <a:pt x="54279" y="201971"/>
                  <a:pt x="54279" y="201971"/>
                  <a:pt x="54279" y="201971"/>
                </a:cubicBezTo>
                <a:cubicBezTo>
                  <a:pt x="53972" y="201971"/>
                  <a:pt x="53972" y="201971"/>
                  <a:pt x="53972" y="201971"/>
                </a:cubicBezTo>
                <a:close/>
                <a:moveTo>
                  <a:pt x="48144" y="201971"/>
                </a:moveTo>
                <a:cubicBezTo>
                  <a:pt x="48144" y="201971"/>
                  <a:pt x="47837" y="201971"/>
                  <a:pt x="47837" y="202277"/>
                </a:cubicBezTo>
                <a:cubicBezTo>
                  <a:pt x="45690" y="210547"/>
                  <a:pt x="45690" y="210547"/>
                  <a:pt x="45690" y="210547"/>
                </a:cubicBezTo>
                <a:cubicBezTo>
                  <a:pt x="45690" y="210853"/>
                  <a:pt x="45690" y="210853"/>
                  <a:pt x="45690" y="210853"/>
                </a:cubicBezTo>
                <a:cubicBezTo>
                  <a:pt x="45997" y="210853"/>
                  <a:pt x="45997" y="210853"/>
                  <a:pt x="45997" y="210853"/>
                </a:cubicBezTo>
                <a:cubicBezTo>
                  <a:pt x="47531" y="210853"/>
                  <a:pt x="47531" y="210853"/>
                  <a:pt x="47531" y="210853"/>
                </a:cubicBezTo>
                <a:cubicBezTo>
                  <a:pt x="47837" y="210853"/>
                  <a:pt x="47837" y="210853"/>
                  <a:pt x="47837" y="210853"/>
                </a:cubicBezTo>
                <a:cubicBezTo>
                  <a:pt x="47837" y="210547"/>
                  <a:pt x="47837" y="210547"/>
                  <a:pt x="47837" y="210547"/>
                </a:cubicBezTo>
                <a:cubicBezTo>
                  <a:pt x="48144" y="209628"/>
                  <a:pt x="48144" y="209628"/>
                  <a:pt x="48144" y="209628"/>
                </a:cubicBezTo>
                <a:cubicBezTo>
                  <a:pt x="48144" y="209322"/>
                  <a:pt x="48144" y="209322"/>
                  <a:pt x="48144" y="209322"/>
                </a:cubicBezTo>
                <a:cubicBezTo>
                  <a:pt x="48451" y="209322"/>
                  <a:pt x="48451" y="209322"/>
                  <a:pt x="48451" y="209322"/>
                </a:cubicBezTo>
                <a:cubicBezTo>
                  <a:pt x="50291" y="209322"/>
                  <a:pt x="50291" y="209322"/>
                  <a:pt x="50291" y="209322"/>
                </a:cubicBezTo>
                <a:cubicBezTo>
                  <a:pt x="50291" y="209628"/>
                  <a:pt x="50291" y="209628"/>
                  <a:pt x="50291" y="209628"/>
                </a:cubicBezTo>
                <a:cubicBezTo>
                  <a:pt x="50598" y="210547"/>
                  <a:pt x="50598" y="210547"/>
                  <a:pt x="50598" y="210547"/>
                </a:cubicBezTo>
                <a:cubicBezTo>
                  <a:pt x="50905" y="210853"/>
                  <a:pt x="50905" y="210853"/>
                  <a:pt x="50905" y="210853"/>
                </a:cubicBezTo>
                <a:cubicBezTo>
                  <a:pt x="52438" y="210853"/>
                  <a:pt x="52438" y="210853"/>
                  <a:pt x="52438" y="210853"/>
                </a:cubicBezTo>
                <a:cubicBezTo>
                  <a:pt x="52745" y="210853"/>
                  <a:pt x="52745" y="210853"/>
                  <a:pt x="52745" y="210547"/>
                </a:cubicBezTo>
                <a:cubicBezTo>
                  <a:pt x="50598" y="202277"/>
                  <a:pt x="50598" y="202277"/>
                  <a:pt x="50598" y="202277"/>
                </a:cubicBezTo>
                <a:cubicBezTo>
                  <a:pt x="50598" y="201971"/>
                  <a:pt x="50598" y="201971"/>
                  <a:pt x="50598" y="201971"/>
                </a:cubicBezTo>
                <a:cubicBezTo>
                  <a:pt x="50291" y="201971"/>
                  <a:pt x="50291" y="201971"/>
                  <a:pt x="50291" y="201971"/>
                </a:cubicBezTo>
                <a:cubicBezTo>
                  <a:pt x="48144" y="201971"/>
                  <a:pt x="48144" y="201971"/>
                  <a:pt x="48144" y="201971"/>
                </a:cubicBezTo>
                <a:close/>
                <a:moveTo>
                  <a:pt x="39863" y="201971"/>
                </a:moveTo>
                <a:cubicBezTo>
                  <a:pt x="39863" y="202277"/>
                  <a:pt x="39863" y="202277"/>
                  <a:pt x="39863" y="202277"/>
                </a:cubicBezTo>
                <a:cubicBezTo>
                  <a:pt x="39863" y="203503"/>
                  <a:pt x="39863" y="203503"/>
                  <a:pt x="39863" y="203503"/>
                </a:cubicBezTo>
                <a:cubicBezTo>
                  <a:pt x="39863" y="203809"/>
                  <a:pt x="39863" y="203809"/>
                  <a:pt x="39863" y="203809"/>
                </a:cubicBezTo>
                <a:cubicBezTo>
                  <a:pt x="40169" y="203809"/>
                  <a:pt x="40169" y="203809"/>
                  <a:pt x="40169" y="203809"/>
                </a:cubicBezTo>
                <a:cubicBezTo>
                  <a:pt x="41396" y="203809"/>
                  <a:pt x="41396" y="203809"/>
                  <a:pt x="41396" y="203809"/>
                </a:cubicBezTo>
                <a:cubicBezTo>
                  <a:pt x="41703" y="203809"/>
                  <a:pt x="41703" y="203809"/>
                  <a:pt x="41703" y="203809"/>
                </a:cubicBezTo>
                <a:cubicBezTo>
                  <a:pt x="41703" y="204115"/>
                  <a:pt x="41703" y="204115"/>
                  <a:pt x="41703" y="204115"/>
                </a:cubicBezTo>
                <a:cubicBezTo>
                  <a:pt x="41703" y="210547"/>
                  <a:pt x="41703" y="210547"/>
                  <a:pt x="41703" y="210547"/>
                </a:cubicBezTo>
                <a:cubicBezTo>
                  <a:pt x="42010" y="210853"/>
                  <a:pt x="42010" y="210853"/>
                  <a:pt x="42010" y="210853"/>
                </a:cubicBezTo>
                <a:cubicBezTo>
                  <a:pt x="43543" y="210853"/>
                  <a:pt x="43543" y="210853"/>
                  <a:pt x="43543" y="210853"/>
                </a:cubicBezTo>
                <a:cubicBezTo>
                  <a:pt x="43850" y="210853"/>
                  <a:pt x="43850" y="210853"/>
                  <a:pt x="43850" y="210547"/>
                </a:cubicBezTo>
                <a:cubicBezTo>
                  <a:pt x="43850" y="204115"/>
                  <a:pt x="43850" y="204115"/>
                  <a:pt x="43850" y="204115"/>
                </a:cubicBezTo>
                <a:cubicBezTo>
                  <a:pt x="43850" y="203809"/>
                  <a:pt x="43850" y="203809"/>
                  <a:pt x="43850" y="203809"/>
                </a:cubicBezTo>
                <a:cubicBezTo>
                  <a:pt x="44157" y="203809"/>
                  <a:pt x="44157" y="203809"/>
                  <a:pt x="44157" y="203809"/>
                </a:cubicBezTo>
                <a:cubicBezTo>
                  <a:pt x="45690" y="203809"/>
                  <a:pt x="45690" y="203809"/>
                  <a:pt x="45690" y="203809"/>
                </a:cubicBezTo>
                <a:cubicBezTo>
                  <a:pt x="45997" y="203809"/>
                  <a:pt x="45997" y="203809"/>
                  <a:pt x="45997" y="203809"/>
                </a:cubicBezTo>
                <a:cubicBezTo>
                  <a:pt x="45997" y="203503"/>
                  <a:pt x="45997" y="203503"/>
                  <a:pt x="45997" y="203503"/>
                </a:cubicBezTo>
                <a:cubicBezTo>
                  <a:pt x="45997" y="202277"/>
                  <a:pt x="45997" y="202277"/>
                  <a:pt x="45997" y="202277"/>
                </a:cubicBezTo>
                <a:cubicBezTo>
                  <a:pt x="45997" y="201971"/>
                  <a:pt x="45997" y="201971"/>
                  <a:pt x="45690" y="201971"/>
                </a:cubicBezTo>
                <a:cubicBezTo>
                  <a:pt x="40169" y="201971"/>
                  <a:pt x="40169" y="201971"/>
                  <a:pt x="40169" y="201971"/>
                </a:cubicBezTo>
                <a:cubicBezTo>
                  <a:pt x="39863" y="201971"/>
                  <a:pt x="39863" y="201971"/>
                  <a:pt x="39863" y="201971"/>
                </a:cubicBezTo>
                <a:close/>
                <a:moveTo>
                  <a:pt x="36795" y="201971"/>
                </a:moveTo>
                <a:cubicBezTo>
                  <a:pt x="36795" y="201971"/>
                  <a:pt x="36489" y="201971"/>
                  <a:pt x="36489" y="202277"/>
                </a:cubicBezTo>
                <a:cubicBezTo>
                  <a:pt x="36489" y="210547"/>
                  <a:pt x="36489" y="210547"/>
                  <a:pt x="36489" y="210547"/>
                </a:cubicBezTo>
                <a:cubicBezTo>
                  <a:pt x="36489" y="210853"/>
                  <a:pt x="36795" y="210853"/>
                  <a:pt x="36795" y="210853"/>
                </a:cubicBezTo>
                <a:cubicBezTo>
                  <a:pt x="38329" y="210853"/>
                  <a:pt x="38329" y="210853"/>
                  <a:pt x="38329" y="210853"/>
                </a:cubicBezTo>
                <a:cubicBezTo>
                  <a:pt x="38636" y="210853"/>
                  <a:pt x="38636" y="210853"/>
                  <a:pt x="38636" y="210547"/>
                </a:cubicBezTo>
                <a:cubicBezTo>
                  <a:pt x="38636" y="202277"/>
                  <a:pt x="38636" y="202277"/>
                  <a:pt x="38636" y="202277"/>
                </a:cubicBezTo>
                <a:cubicBezTo>
                  <a:pt x="38636" y="201971"/>
                  <a:pt x="38636" y="201971"/>
                  <a:pt x="38636" y="201971"/>
                </a:cubicBezTo>
                <a:cubicBezTo>
                  <a:pt x="38329" y="201971"/>
                  <a:pt x="38329" y="201971"/>
                  <a:pt x="38329" y="201971"/>
                </a:cubicBezTo>
                <a:cubicBezTo>
                  <a:pt x="36795" y="201971"/>
                  <a:pt x="36795" y="201971"/>
                  <a:pt x="36795" y="201971"/>
                </a:cubicBezTo>
                <a:close/>
                <a:moveTo>
                  <a:pt x="29434" y="201971"/>
                </a:moveTo>
                <a:cubicBezTo>
                  <a:pt x="29127" y="201971"/>
                  <a:pt x="29127" y="201971"/>
                  <a:pt x="29127" y="202277"/>
                </a:cubicBezTo>
                <a:cubicBezTo>
                  <a:pt x="29127" y="210547"/>
                  <a:pt x="29127" y="210547"/>
                  <a:pt x="29127" y="210547"/>
                </a:cubicBezTo>
                <a:cubicBezTo>
                  <a:pt x="29127" y="210853"/>
                  <a:pt x="29127" y="210853"/>
                  <a:pt x="29434" y="210853"/>
                </a:cubicBezTo>
                <a:cubicBezTo>
                  <a:pt x="30967" y="210853"/>
                  <a:pt x="30967" y="210853"/>
                  <a:pt x="30967" y="210853"/>
                </a:cubicBezTo>
                <a:cubicBezTo>
                  <a:pt x="30967" y="210853"/>
                  <a:pt x="31274" y="210853"/>
                  <a:pt x="31274" y="210547"/>
                </a:cubicBezTo>
                <a:cubicBezTo>
                  <a:pt x="31274" y="207484"/>
                  <a:pt x="31274" y="207484"/>
                  <a:pt x="31274" y="207484"/>
                </a:cubicBezTo>
                <a:cubicBezTo>
                  <a:pt x="31274" y="207178"/>
                  <a:pt x="31274" y="207178"/>
                  <a:pt x="31274" y="207178"/>
                </a:cubicBezTo>
                <a:cubicBezTo>
                  <a:pt x="31581" y="207178"/>
                  <a:pt x="31581" y="207178"/>
                  <a:pt x="31581" y="207178"/>
                </a:cubicBezTo>
                <a:cubicBezTo>
                  <a:pt x="32501" y="207178"/>
                  <a:pt x="32501" y="207178"/>
                  <a:pt x="32501" y="207178"/>
                </a:cubicBezTo>
                <a:cubicBezTo>
                  <a:pt x="32808" y="207178"/>
                  <a:pt x="33115" y="207178"/>
                  <a:pt x="33421" y="207178"/>
                </a:cubicBezTo>
                <a:cubicBezTo>
                  <a:pt x="34035" y="206872"/>
                  <a:pt x="34341" y="206872"/>
                  <a:pt x="34341" y="206565"/>
                </a:cubicBezTo>
                <a:cubicBezTo>
                  <a:pt x="34648" y="206259"/>
                  <a:pt x="34955" y="205953"/>
                  <a:pt x="34955" y="205647"/>
                </a:cubicBezTo>
                <a:cubicBezTo>
                  <a:pt x="35262" y="205340"/>
                  <a:pt x="35262" y="205034"/>
                  <a:pt x="35262" y="204728"/>
                </a:cubicBezTo>
                <a:cubicBezTo>
                  <a:pt x="35262" y="204421"/>
                  <a:pt x="35262" y="203809"/>
                  <a:pt x="34955" y="203503"/>
                </a:cubicBezTo>
                <a:cubicBezTo>
                  <a:pt x="34955" y="203196"/>
                  <a:pt x="34648" y="202890"/>
                  <a:pt x="34341" y="202584"/>
                </a:cubicBezTo>
                <a:cubicBezTo>
                  <a:pt x="34341" y="202584"/>
                  <a:pt x="34035" y="202277"/>
                  <a:pt x="33421" y="202277"/>
                </a:cubicBezTo>
                <a:cubicBezTo>
                  <a:pt x="33115" y="201971"/>
                  <a:pt x="32808" y="201971"/>
                  <a:pt x="32501" y="201971"/>
                </a:cubicBezTo>
                <a:cubicBezTo>
                  <a:pt x="29434" y="201971"/>
                  <a:pt x="29434" y="201971"/>
                  <a:pt x="29434" y="201971"/>
                </a:cubicBezTo>
                <a:close/>
                <a:moveTo>
                  <a:pt x="23299" y="201971"/>
                </a:moveTo>
                <a:cubicBezTo>
                  <a:pt x="22993" y="202277"/>
                  <a:pt x="22686" y="202277"/>
                  <a:pt x="22379" y="202584"/>
                </a:cubicBezTo>
                <a:cubicBezTo>
                  <a:pt x="22072" y="202890"/>
                  <a:pt x="22072" y="203196"/>
                  <a:pt x="21766" y="203503"/>
                </a:cubicBezTo>
                <a:cubicBezTo>
                  <a:pt x="21766" y="203809"/>
                  <a:pt x="21459" y="204115"/>
                  <a:pt x="21459" y="204421"/>
                </a:cubicBezTo>
                <a:cubicBezTo>
                  <a:pt x="21459" y="204728"/>
                  <a:pt x="21766" y="205034"/>
                  <a:pt x="21766" y="205340"/>
                </a:cubicBezTo>
                <a:cubicBezTo>
                  <a:pt x="21766" y="205647"/>
                  <a:pt x="22072" y="205953"/>
                  <a:pt x="22072" y="206259"/>
                </a:cubicBezTo>
                <a:cubicBezTo>
                  <a:pt x="22379" y="206259"/>
                  <a:pt x="22686" y="206565"/>
                  <a:pt x="22686" y="206565"/>
                </a:cubicBezTo>
                <a:cubicBezTo>
                  <a:pt x="22993" y="206872"/>
                  <a:pt x="23299" y="206872"/>
                  <a:pt x="23606" y="206872"/>
                </a:cubicBezTo>
                <a:cubicBezTo>
                  <a:pt x="24219" y="207178"/>
                  <a:pt x="24833" y="207484"/>
                  <a:pt x="25140" y="207484"/>
                </a:cubicBezTo>
                <a:cubicBezTo>
                  <a:pt x="25446" y="207791"/>
                  <a:pt x="25753" y="208097"/>
                  <a:pt x="25753" y="208403"/>
                </a:cubicBezTo>
                <a:cubicBezTo>
                  <a:pt x="25753" y="208709"/>
                  <a:pt x="25753" y="208709"/>
                  <a:pt x="25753" y="208709"/>
                </a:cubicBezTo>
                <a:cubicBezTo>
                  <a:pt x="25446" y="208709"/>
                  <a:pt x="25446" y="208709"/>
                  <a:pt x="25446" y="208709"/>
                </a:cubicBezTo>
                <a:cubicBezTo>
                  <a:pt x="25446" y="209016"/>
                  <a:pt x="25446" y="209016"/>
                  <a:pt x="25140" y="209016"/>
                </a:cubicBezTo>
                <a:cubicBezTo>
                  <a:pt x="25140" y="209016"/>
                  <a:pt x="24833" y="209016"/>
                  <a:pt x="24526" y="209016"/>
                </a:cubicBezTo>
                <a:cubicBezTo>
                  <a:pt x="24526" y="209016"/>
                  <a:pt x="24219" y="209016"/>
                  <a:pt x="24219" y="209016"/>
                </a:cubicBezTo>
                <a:cubicBezTo>
                  <a:pt x="23913" y="209016"/>
                  <a:pt x="23913" y="209016"/>
                  <a:pt x="23606" y="209016"/>
                </a:cubicBezTo>
                <a:cubicBezTo>
                  <a:pt x="23606" y="208709"/>
                  <a:pt x="23299" y="208709"/>
                  <a:pt x="22993" y="208709"/>
                </a:cubicBezTo>
                <a:cubicBezTo>
                  <a:pt x="22993" y="208709"/>
                  <a:pt x="22686" y="208403"/>
                  <a:pt x="22686" y="208403"/>
                </a:cubicBezTo>
                <a:cubicBezTo>
                  <a:pt x="22379" y="208097"/>
                  <a:pt x="22379" y="208097"/>
                  <a:pt x="22379" y="208097"/>
                </a:cubicBezTo>
                <a:cubicBezTo>
                  <a:pt x="22379" y="208097"/>
                  <a:pt x="22072" y="208403"/>
                  <a:pt x="22072" y="208403"/>
                </a:cubicBezTo>
                <a:cubicBezTo>
                  <a:pt x="21459" y="209322"/>
                  <a:pt x="21459" y="209322"/>
                  <a:pt x="21459" y="209322"/>
                </a:cubicBezTo>
                <a:cubicBezTo>
                  <a:pt x="21459" y="209322"/>
                  <a:pt x="21152" y="209322"/>
                  <a:pt x="21459" y="209628"/>
                </a:cubicBezTo>
                <a:cubicBezTo>
                  <a:pt x="21459" y="209935"/>
                  <a:pt x="21459" y="209935"/>
                  <a:pt x="21459" y="209935"/>
                </a:cubicBezTo>
                <a:cubicBezTo>
                  <a:pt x="22072" y="210241"/>
                  <a:pt x="22379" y="210547"/>
                  <a:pt x="22993" y="210547"/>
                </a:cubicBezTo>
                <a:cubicBezTo>
                  <a:pt x="23606" y="210853"/>
                  <a:pt x="24219" y="210853"/>
                  <a:pt x="24526" y="210853"/>
                </a:cubicBezTo>
                <a:cubicBezTo>
                  <a:pt x="25140" y="210853"/>
                  <a:pt x="25446" y="210853"/>
                  <a:pt x="25753" y="210853"/>
                </a:cubicBezTo>
                <a:cubicBezTo>
                  <a:pt x="26367" y="210547"/>
                  <a:pt x="26673" y="210547"/>
                  <a:pt x="26980" y="210241"/>
                </a:cubicBezTo>
                <a:cubicBezTo>
                  <a:pt x="27287" y="209935"/>
                  <a:pt x="27287" y="209628"/>
                  <a:pt x="27593" y="209322"/>
                </a:cubicBezTo>
                <a:cubicBezTo>
                  <a:pt x="27593" y="209016"/>
                  <a:pt x="27900" y="208709"/>
                  <a:pt x="27900" y="208097"/>
                </a:cubicBezTo>
                <a:cubicBezTo>
                  <a:pt x="27900" y="207791"/>
                  <a:pt x="27593" y="207484"/>
                  <a:pt x="27593" y="207178"/>
                </a:cubicBezTo>
                <a:cubicBezTo>
                  <a:pt x="27287" y="206872"/>
                  <a:pt x="26980" y="206565"/>
                  <a:pt x="26673" y="206259"/>
                </a:cubicBezTo>
                <a:cubicBezTo>
                  <a:pt x="26673" y="205953"/>
                  <a:pt x="26367" y="205953"/>
                  <a:pt x="25753" y="205647"/>
                </a:cubicBezTo>
                <a:cubicBezTo>
                  <a:pt x="25446" y="205647"/>
                  <a:pt x="25140" y="205647"/>
                  <a:pt x="24833" y="205340"/>
                </a:cubicBezTo>
                <a:cubicBezTo>
                  <a:pt x="24833" y="205340"/>
                  <a:pt x="24833" y="205340"/>
                  <a:pt x="24526" y="205340"/>
                </a:cubicBezTo>
                <a:cubicBezTo>
                  <a:pt x="24526" y="205340"/>
                  <a:pt x="24219" y="205340"/>
                  <a:pt x="24219" y="205034"/>
                </a:cubicBezTo>
                <a:cubicBezTo>
                  <a:pt x="23913" y="204728"/>
                  <a:pt x="23913" y="204728"/>
                  <a:pt x="23913" y="204728"/>
                </a:cubicBezTo>
                <a:cubicBezTo>
                  <a:pt x="23606" y="204728"/>
                  <a:pt x="23606" y="204728"/>
                  <a:pt x="23606" y="204421"/>
                </a:cubicBezTo>
                <a:cubicBezTo>
                  <a:pt x="23606" y="204115"/>
                  <a:pt x="23606" y="203809"/>
                  <a:pt x="23913" y="203809"/>
                </a:cubicBezTo>
                <a:cubicBezTo>
                  <a:pt x="24219" y="203809"/>
                  <a:pt x="24526" y="203503"/>
                  <a:pt x="24526" y="203503"/>
                </a:cubicBezTo>
                <a:cubicBezTo>
                  <a:pt x="24833" y="203503"/>
                  <a:pt x="25140" y="203809"/>
                  <a:pt x="25446" y="203809"/>
                </a:cubicBezTo>
                <a:cubicBezTo>
                  <a:pt x="25753" y="203809"/>
                  <a:pt x="26060" y="204115"/>
                  <a:pt x="26367" y="204115"/>
                </a:cubicBezTo>
                <a:cubicBezTo>
                  <a:pt x="26673" y="204115"/>
                  <a:pt x="26673" y="204115"/>
                  <a:pt x="26673" y="203809"/>
                </a:cubicBezTo>
                <a:cubicBezTo>
                  <a:pt x="27287" y="203196"/>
                  <a:pt x="27287" y="203196"/>
                  <a:pt x="27287" y="203196"/>
                </a:cubicBezTo>
                <a:cubicBezTo>
                  <a:pt x="27287" y="202890"/>
                  <a:pt x="27287" y="202890"/>
                  <a:pt x="27287" y="202584"/>
                </a:cubicBezTo>
                <a:cubicBezTo>
                  <a:pt x="26980" y="202584"/>
                  <a:pt x="26980" y="202584"/>
                  <a:pt x="26980" y="202584"/>
                </a:cubicBezTo>
                <a:cubicBezTo>
                  <a:pt x="26980" y="202277"/>
                  <a:pt x="26367" y="202277"/>
                  <a:pt x="26060" y="201971"/>
                </a:cubicBezTo>
                <a:cubicBezTo>
                  <a:pt x="25753" y="201971"/>
                  <a:pt x="25140" y="201971"/>
                  <a:pt x="24526" y="201971"/>
                </a:cubicBezTo>
                <a:cubicBezTo>
                  <a:pt x="24219" y="201971"/>
                  <a:pt x="23913" y="201971"/>
                  <a:pt x="23299" y="201971"/>
                </a:cubicBezTo>
                <a:close/>
                <a:moveTo>
                  <a:pt x="15631" y="201971"/>
                </a:moveTo>
                <a:cubicBezTo>
                  <a:pt x="15018" y="202277"/>
                  <a:pt x="14711" y="202277"/>
                  <a:pt x="14404" y="202584"/>
                </a:cubicBezTo>
                <a:cubicBezTo>
                  <a:pt x="14097" y="202890"/>
                  <a:pt x="14097" y="203196"/>
                  <a:pt x="13791" y="203503"/>
                </a:cubicBezTo>
                <a:cubicBezTo>
                  <a:pt x="13791" y="203809"/>
                  <a:pt x="13484" y="204115"/>
                  <a:pt x="13484" y="204728"/>
                </a:cubicBezTo>
                <a:cubicBezTo>
                  <a:pt x="13484" y="208097"/>
                  <a:pt x="13484" y="208097"/>
                  <a:pt x="13484" y="208097"/>
                </a:cubicBezTo>
                <a:cubicBezTo>
                  <a:pt x="13484" y="208709"/>
                  <a:pt x="13791" y="209016"/>
                  <a:pt x="13791" y="209322"/>
                </a:cubicBezTo>
                <a:cubicBezTo>
                  <a:pt x="14097" y="209628"/>
                  <a:pt x="14097" y="209935"/>
                  <a:pt x="14404" y="210241"/>
                </a:cubicBezTo>
                <a:cubicBezTo>
                  <a:pt x="14711" y="210547"/>
                  <a:pt x="15018" y="210547"/>
                  <a:pt x="15631" y="210853"/>
                </a:cubicBezTo>
                <a:cubicBezTo>
                  <a:pt x="15938" y="210853"/>
                  <a:pt x="16245" y="210853"/>
                  <a:pt x="16858" y="210853"/>
                </a:cubicBezTo>
                <a:cubicBezTo>
                  <a:pt x="17165" y="210853"/>
                  <a:pt x="17778" y="210853"/>
                  <a:pt x="18085" y="210853"/>
                </a:cubicBezTo>
                <a:cubicBezTo>
                  <a:pt x="18392" y="210547"/>
                  <a:pt x="18698" y="210547"/>
                  <a:pt x="19005" y="210241"/>
                </a:cubicBezTo>
                <a:cubicBezTo>
                  <a:pt x="19312" y="209935"/>
                  <a:pt x="19619" y="209628"/>
                  <a:pt x="19619" y="209322"/>
                </a:cubicBezTo>
                <a:cubicBezTo>
                  <a:pt x="19925" y="209016"/>
                  <a:pt x="19925" y="208709"/>
                  <a:pt x="19925" y="208097"/>
                </a:cubicBezTo>
                <a:cubicBezTo>
                  <a:pt x="19925" y="204728"/>
                  <a:pt x="19925" y="204728"/>
                  <a:pt x="19925" y="204728"/>
                </a:cubicBezTo>
                <a:cubicBezTo>
                  <a:pt x="19925" y="204115"/>
                  <a:pt x="19925" y="203809"/>
                  <a:pt x="19619" y="203503"/>
                </a:cubicBezTo>
                <a:cubicBezTo>
                  <a:pt x="19619" y="203196"/>
                  <a:pt x="19312" y="202890"/>
                  <a:pt x="19005" y="202584"/>
                </a:cubicBezTo>
                <a:cubicBezTo>
                  <a:pt x="18698" y="202277"/>
                  <a:pt x="18392" y="202277"/>
                  <a:pt x="18085" y="201971"/>
                </a:cubicBezTo>
                <a:cubicBezTo>
                  <a:pt x="17778" y="201971"/>
                  <a:pt x="17165" y="201971"/>
                  <a:pt x="16858" y="201971"/>
                </a:cubicBezTo>
                <a:cubicBezTo>
                  <a:pt x="16245" y="201971"/>
                  <a:pt x="15938" y="201971"/>
                  <a:pt x="15631" y="201971"/>
                </a:cubicBezTo>
                <a:close/>
                <a:moveTo>
                  <a:pt x="5509" y="201971"/>
                </a:moveTo>
                <a:cubicBezTo>
                  <a:pt x="5202" y="202277"/>
                  <a:pt x="5202" y="202277"/>
                  <a:pt x="5202" y="202277"/>
                </a:cubicBezTo>
                <a:cubicBezTo>
                  <a:pt x="5202" y="210547"/>
                  <a:pt x="5202" y="210547"/>
                  <a:pt x="5202" y="210547"/>
                </a:cubicBezTo>
                <a:cubicBezTo>
                  <a:pt x="5202" y="210853"/>
                  <a:pt x="5509" y="210853"/>
                  <a:pt x="5509" y="210853"/>
                </a:cubicBezTo>
                <a:cubicBezTo>
                  <a:pt x="7043" y="210853"/>
                  <a:pt x="7043" y="210853"/>
                  <a:pt x="7043" y="210853"/>
                </a:cubicBezTo>
                <a:cubicBezTo>
                  <a:pt x="7349" y="210853"/>
                  <a:pt x="7349" y="210853"/>
                  <a:pt x="7349" y="210547"/>
                </a:cubicBezTo>
                <a:cubicBezTo>
                  <a:pt x="7349" y="207484"/>
                  <a:pt x="7349" y="207484"/>
                  <a:pt x="7349" y="207484"/>
                </a:cubicBezTo>
                <a:cubicBezTo>
                  <a:pt x="7349" y="207178"/>
                  <a:pt x="7349" y="207178"/>
                  <a:pt x="7349" y="207178"/>
                </a:cubicBezTo>
                <a:cubicBezTo>
                  <a:pt x="7349" y="207178"/>
                  <a:pt x="7656" y="207178"/>
                  <a:pt x="7656" y="207178"/>
                </a:cubicBezTo>
                <a:cubicBezTo>
                  <a:pt x="9497" y="207178"/>
                  <a:pt x="9497" y="207178"/>
                  <a:pt x="9497" y="207178"/>
                </a:cubicBezTo>
                <a:cubicBezTo>
                  <a:pt x="9803" y="207178"/>
                  <a:pt x="9803" y="207178"/>
                  <a:pt x="9803" y="207178"/>
                </a:cubicBezTo>
                <a:cubicBezTo>
                  <a:pt x="9803" y="207484"/>
                  <a:pt x="9803" y="207484"/>
                  <a:pt x="9803" y="207484"/>
                </a:cubicBezTo>
                <a:cubicBezTo>
                  <a:pt x="9803" y="210547"/>
                  <a:pt x="9803" y="210547"/>
                  <a:pt x="9803" y="210547"/>
                </a:cubicBezTo>
                <a:cubicBezTo>
                  <a:pt x="9803" y="210853"/>
                  <a:pt x="9803" y="210853"/>
                  <a:pt x="10110" y="210853"/>
                </a:cubicBezTo>
                <a:cubicBezTo>
                  <a:pt x="11644" y="210853"/>
                  <a:pt x="11644" y="210853"/>
                  <a:pt x="11644" y="210853"/>
                </a:cubicBezTo>
                <a:cubicBezTo>
                  <a:pt x="11644" y="210853"/>
                  <a:pt x="11950" y="210853"/>
                  <a:pt x="11950" y="210547"/>
                </a:cubicBezTo>
                <a:cubicBezTo>
                  <a:pt x="11950" y="202277"/>
                  <a:pt x="11950" y="202277"/>
                  <a:pt x="11950" y="202277"/>
                </a:cubicBezTo>
                <a:cubicBezTo>
                  <a:pt x="11644" y="201971"/>
                  <a:pt x="11644" y="201971"/>
                  <a:pt x="11644" y="201971"/>
                </a:cubicBezTo>
                <a:cubicBezTo>
                  <a:pt x="10110" y="201971"/>
                  <a:pt x="10110" y="201971"/>
                  <a:pt x="10110" y="201971"/>
                </a:cubicBezTo>
                <a:cubicBezTo>
                  <a:pt x="9803" y="201971"/>
                  <a:pt x="9803" y="201971"/>
                  <a:pt x="9803" y="201971"/>
                </a:cubicBezTo>
                <a:cubicBezTo>
                  <a:pt x="9803" y="202277"/>
                  <a:pt x="9803" y="202277"/>
                  <a:pt x="9803" y="202277"/>
                </a:cubicBezTo>
                <a:cubicBezTo>
                  <a:pt x="9803" y="205034"/>
                  <a:pt x="9803" y="205034"/>
                  <a:pt x="9803" y="205034"/>
                </a:cubicBezTo>
                <a:cubicBezTo>
                  <a:pt x="9803" y="205034"/>
                  <a:pt x="9803" y="205340"/>
                  <a:pt x="9803" y="205340"/>
                </a:cubicBezTo>
                <a:cubicBezTo>
                  <a:pt x="9497" y="205340"/>
                  <a:pt x="9497" y="205340"/>
                  <a:pt x="9497" y="205340"/>
                </a:cubicBezTo>
                <a:cubicBezTo>
                  <a:pt x="7656" y="205340"/>
                  <a:pt x="7656" y="205340"/>
                  <a:pt x="7656" y="205340"/>
                </a:cubicBezTo>
                <a:cubicBezTo>
                  <a:pt x="7349" y="205340"/>
                  <a:pt x="7349" y="205340"/>
                  <a:pt x="7349" y="205340"/>
                </a:cubicBezTo>
                <a:cubicBezTo>
                  <a:pt x="7349" y="205340"/>
                  <a:pt x="7349" y="205034"/>
                  <a:pt x="7349" y="205034"/>
                </a:cubicBezTo>
                <a:cubicBezTo>
                  <a:pt x="7349" y="202277"/>
                  <a:pt x="7349" y="202277"/>
                  <a:pt x="7349" y="202277"/>
                </a:cubicBezTo>
                <a:cubicBezTo>
                  <a:pt x="7349" y="201971"/>
                  <a:pt x="7349" y="201971"/>
                  <a:pt x="7349" y="201971"/>
                </a:cubicBezTo>
                <a:cubicBezTo>
                  <a:pt x="7043" y="201971"/>
                  <a:pt x="7043" y="201971"/>
                  <a:pt x="7043" y="201971"/>
                </a:cubicBezTo>
                <a:cubicBezTo>
                  <a:pt x="5509" y="201971"/>
                  <a:pt x="5509" y="201971"/>
                  <a:pt x="5509" y="201971"/>
                </a:cubicBezTo>
                <a:close/>
                <a:moveTo>
                  <a:pt x="421101" y="200777"/>
                </a:moveTo>
                <a:cubicBezTo>
                  <a:pt x="424170" y="200777"/>
                  <a:pt x="429081" y="204128"/>
                  <a:pt x="429081" y="206870"/>
                </a:cubicBezTo>
                <a:cubicBezTo>
                  <a:pt x="429081" y="209307"/>
                  <a:pt x="424170" y="212963"/>
                  <a:pt x="421101" y="212963"/>
                </a:cubicBezTo>
                <a:cubicBezTo>
                  <a:pt x="418339" y="212963"/>
                  <a:pt x="415883" y="212049"/>
                  <a:pt x="414348" y="211135"/>
                </a:cubicBezTo>
                <a:cubicBezTo>
                  <a:pt x="412507" y="209917"/>
                  <a:pt x="411586" y="208393"/>
                  <a:pt x="411586" y="206870"/>
                </a:cubicBezTo>
                <a:cubicBezTo>
                  <a:pt x="411586" y="203519"/>
                  <a:pt x="415883" y="200777"/>
                  <a:pt x="421101" y="200777"/>
                </a:cubicBezTo>
                <a:close/>
                <a:moveTo>
                  <a:pt x="418339" y="199559"/>
                </a:moveTo>
                <a:cubicBezTo>
                  <a:pt x="419259" y="199559"/>
                  <a:pt x="420180" y="199864"/>
                  <a:pt x="421101" y="199864"/>
                </a:cubicBezTo>
                <a:cubicBezTo>
                  <a:pt x="415269" y="199864"/>
                  <a:pt x="410665" y="202910"/>
                  <a:pt x="410665" y="206870"/>
                </a:cubicBezTo>
                <a:cubicBezTo>
                  <a:pt x="410665" y="208698"/>
                  <a:pt x="411893" y="210526"/>
                  <a:pt x="413735" y="211744"/>
                </a:cubicBezTo>
                <a:cubicBezTo>
                  <a:pt x="415576" y="212963"/>
                  <a:pt x="418339" y="213572"/>
                  <a:pt x="421101" y="213572"/>
                </a:cubicBezTo>
                <a:cubicBezTo>
                  <a:pt x="420180" y="213877"/>
                  <a:pt x="419259" y="213877"/>
                  <a:pt x="418339" y="213877"/>
                </a:cubicBezTo>
                <a:cubicBezTo>
                  <a:pt x="413735" y="213877"/>
                  <a:pt x="409744" y="212049"/>
                  <a:pt x="408210" y="209307"/>
                </a:cubicBezTo>
                <a:cubicBezTo>
                  <a:pt x="384269" y="209307"/>
                  <a:pt x="384269" y="209307"/>
                  <a:pt x="384269" y="209307"/>
                </a:cubicBezTo>
                <a:cubicBezTo>
                  <a:pt x="383348" y="209307"/>
                  <a:pt x="382734" y="208698"/>
                  <a:pt x="382734" y="207784"/>
                </a:cubicBezTo>
                <a:cubicBezTo>
                  <a:pt x="382734" y="205652"/>
                  <a:pt x="382734" y="205652"/>
                  <a:pt x="382734" y="205652"/>
                </a:cubicBezTo>
                <a:cubicBezTo>
                  <a:pt x="382734" y="205042"/>
                  <a:pt x="383348" y="204128"/>
                  <a:pt x="384269" y="204128"/>
                </a:cubicBezTo>
                <a:lnTo>
                  <a:pt x="408210" y="204128"/>
                </a:lnTo>
                <a:cubicBezTo>
                  <a:pt x="409744" y="201691"/>
                  <a:pt x="413735" y="199559"/>
                  <a:pt x="418339" y="199559"/>
                </a:cubicBezTo>
                <a:close/>
                <a:moveTo>
                  <a:pt x="266736" y="198876"/>
                </a:moveTo>
                <a:cubicBezTo>
                  <a:pt x="266736" y="198876"/>
                  <a:pt x="266430" y="198876"/>
                  <a:pt x="266430" y="199182"/>
                </a:cubicBezTo>
                <a:cubicBezTo>
                  <a:pt x="266430" y="199182"/>
                  <a:pt x="266736" y="199489"/>
                  <a:pt x="266736" y="199489"/>
                </a:cubicBezTo>
                <a:cubicBezTo>
                  <a:pt x="274080" y="199489"/>
                  <a:pt x="274080" y="199489"/>
                  <a:pt x="274080" y="199489"/>
                </a:cubicBezTo>
                <a:cubicBezTo>
                  <a:pt x="274080" y="199489"/>
                  <a:pt x="274386" y="199182"/>
                  <a:pt x="274386" y="199182"/>
                </a:cubicBezTo>
                <a:cubicBezTo>
                  <a:pt x="274386" y="198876"/>
                  <a:pt x="274080" y="198876"/>
                  <a:pt x="274080" y="198876"/>
                </a:cubicBezTo>
                <a:cubicBezTo>
                  <a:pt x="266736" y="198876"/>
                  <a:pt x="266736" y="198876"/>
                  <a:pt x="266736" y="198876"/>
                </a:cubicBezTo>
                <a:close/>
                <a:moveTo>
                  <a:pt x="438409" y="198605"/>
                </a:moveTo>
                <a:cubicBezTo>
                  <a:pt x="438409" y="198605"/>
                  <a:pt x="438102" y="198911"/>
                  <a:pt x="438102" y="199218"/>
                </a:cubicBezTo>
                <a:cubicBezTo>
                  <a:pt x="438102" y="210561"/>
                  <a:pt x="438102" y="210561"/>
                  <a:pt x="438102" y="210561"/>
                </a:cubicBezTo>
                <a:cubicBezTo>
                  <a:pt x="438102" y="210867"/>
                  <a:pt x="438409" y="210867"/>
                  <a:pt x="438409" y="210867"/>
                </a:cubicBezTo>
                <a:cubicBezTo>
                  <a:pt x="438716" y="210867"/>
                  <a:pt x="439023" y="210867"/>
                  <a:pt x="439023" y="210561"/>
                </a:cubicBezTo>
                <a:cubicBezTo>
                  <a:pt x="439023" y="199218"/>
                  <a:pt x="439023" y="199218"/>
                  <a:pt x="439023" y="199218"/>
                </a:cubicBezTo>
                <a:cubicBezTo>
                  <a:pt x="439023" y="198911"/>
                  <a:pt x="438716" y="198605"/>
                  <a:pt x="438409" y="198605"/>
                </a:cubicBezTo>
                <a:close/>
                <a:moveTo>
                  <a:pt x="439383" y="197431"/>
                </a:moveTo>
                <a:lnTo>
                  <a:pt x="440447" y="198494"/>
                </a:lnTo>
                <a:lnTo>
                  <a:pt x="440181" y="197697"/>
                </a:lnTo>
                <a:close/>
                <a:moveTo>
                  <a:pt x="435791" y="197320"/>
                </a:moveTo>
                <a:lnTo>
                  <a:pt x="434660" y="197697"/>
                </a:lnTo>
                <a:lnTo>
                  <a:pt x="434196" y="199090"/>
                </a:lnTo>
                <a:close/>
                <a:moveTo>
                  <a:pt x="266736" y="196425"/>
                </a:moveTo>
                <a:cubicBezTo>
                  <a:pt x="266736" y="196425"/>
                  <a:pt x="266430" y="196732"/>
                  <a:pt x="266430" y="196732"/>
                </a:cubicBezTo>
                <a:cubicBezTo>
                  <a:pt x="266430" y="197038"/>
                  <a:pt x="266736" y="197038"/>
                  <a:pt x="266736" y="197038"/>
                </a:cubicBezTo>
                <a:cubicBezTo>
                  <a:pt x="274080" y="197038"/>
                  <a:pt x="274080" y="197038"/>
                  <a:pt x="274080" y="197038"/>
                </a:cubicBezTo>
                <a:cubicBezTo>
                  <a:pt x="274080" y="197038"/>
                  <a:pt x="274386" y="197038"/>
                  <a:pt x="274386" y="196732"/>
                </a:cubicBezTo>
                <a:cubicBezTo>
                  <a:pt x="274386" y="196732"/>
                  <a:pt x="274080" y="196425"/>
                  <a:pt x="274080" y="196425"/>
                </a:cubicBezTo>
                <a:cubicBezTo>
                  <a:pt x="266736" y="196425"/>
                  <a:pt x="266736" y="196425"/>
                  <a:pt x="266736" y="196425"/>
                </a:cubicBezTo>
                <a:close/>
                <a:moveTo>
                  <a:pt x="436501" y="196164"/>
                </a:moveTo>
                <a:cubicBezTo>
                  <a:pt x="438341" y="196164"/>
                  <a:pt x="438341" y="196164"/>
                  <a:pt x="438341" y="196164"/>
                </a:cubicBezTo>
                <a:cubicBezTo>
                  <a:pt x="439261" y="196164"/>
                  <a:pt x="440181" y="196470"/>
                  <a:pt x="440795" y="197084"/>
                </a:cubicBezTo>
                <a:cubicBezTo>
                  <a:pt x="441408" y="197697"/>
                  <a:pt x="441715" y="198617"/>
                  <a:pt x="441715" y="199536"/>
                </a:cubicBezTo>
                <a:cubicBezTo>
                  <a:pt x="441715" y="216399"/>
                  <a:pt x="441715" y="216399"/>
                  <a:pt x="441715" y="216399"/>
                </a:cubicBezTo>
                <a:cubicBezTo>
                  <a:pt x="441715" y="216705"/>
                  <a:pt x="442022" y="217318"/>
                  <a:pt x="442022" y="217625"/>
                </a:cubicBezTo>
                <a:cubicBezTo>
                  <a:pt x="442328" y="217932"/>
                  <a:pt x="442635" y="218238"/>
                  <a:pt x="443249" y="218545"/>
                </a:cubicBezTo>
                <a:cubicBezTo>
                  <a:pt x="444476" y="219158"/>
                  <a:pt x="445396" y="220078"/>
                  <a:pt x="446316" y="221611"/>
                </a:cubicBezTo>
                <a:cubicBezTo>
                  <a:pt x="446930" y="222837"/>
                  <a:pt x="447236" y="224063"/>
                  <a:pt x="447236" y="225596"/>
                </a:cubicBezTo>
                <a:cubicBezTo>
                  <a:pt x="447236" y="309294"/>
                  <a:pt x="447236" y="309294"/>
                  <a:pt x="447236" y="309294"/>
                </a:cubicBezTo>
                <a:cubicBezTo>
                  <a:pt x="447236" y="312054"/>
                  <a:pt x="446316" y="314506"/>
                  <a:pt x="444476" y="316346"/>
                </a:cubicBezTo>
                <a:cubicBezTo>
                  <a:pt x="442635" y="318186"/>
                  <a:pt x="440181" y="319412"/>
                  <a:pt x="437421" y="319412"/>
                </a:cubicBezTo>
                <a:cubicBezTo>
                  <a:pt x="434660" y="319412"/>
                  <a:pt x="432206" y="318186"/>
                  <a:pt x="430366" y="316346"/>
                </a:cubicBezTo>
                <a:cubicBezTo>
                  <a:pt x="428832" y="314506"/>
                  <a:pt x="427605" y="312054"/>
                  <a:pt x="427605" y="309294"/>
                </a:cubicBezTo>
                <a:cubicBezTo>
                  <a:pt x="427605" y="225596"/>
                  <a:pt x="427605" y="225596"/>
                  <a:pt x="427605" y="225596"/>
                </a:cubicBezTo>
                <a:cubicBezTo>
                  <a:pt x="427605" y="224063"/>
                  <a:pt x="427912" y="222530"/>
                  <a:pt x="428832" y="221304"/>
                </a:cubicBezTo>
                <a:cubicBezTo>
                  <a:pt x="429446" y="220078"/>
                  <a:pt x="430673" y="219158"/>
                  <a:pt x="431900" y="218545"/>
                </a:cubicBezTo>
                <a:cubicBezTo>
                  <a:pt x="432206" y="218238"/>
                  <a:pt x="432513" y="217932"/>
                  <a:pt x="432820" y="217625"/>
                </a:cubicBezTo>
                <a:cubicBezTo>
                  <a:pt x="433126" y="217012"/>
                  <a:pt x="433126" y="216705"/>
                  <a:pt x="433126" y="216092"/>
                </a:cubicBezTo>
                <a:cubicBezTo>
                  <a:pt x="433126" y="199536"/>
                  <a:pt x="433126" y="199536"/>
                  <a:pt x="433126" y="199536"/>
                </a:cubicBezTo>
                <a:cubicBezTo>
                  <a:pt x="433126" y="198617"/>
                  <a:pt x="433433" y="197697"/>
                  <a:pt x="434047" y="197084"/>
                </a:cubicBezTo>
                <a:cubicBezTo>
                  <a:pt x="434660" y="196470"/>
                  <a:pt x="435580" y="196164"/>
                  <a:pt x="436501" y="196164"/>
                </a:cubicBezTo>
                <a:close/>
                <a:moveTo>
                  <a:pt x="247684" y="194983"/>
                </a:moveTo>
                <a:cubicBezTo>
                  <a:pt x="249524" y="206302"/>
                  <a:pt x="255353" y="212114"/>
                  <a:pt x="255353" y="217621"/>
                </a:cubicBezTo>
                <a:cubicBezTo>
                  <a:pt x="255353" y="232917"/>
                  <a:pt x="239707" y="232917"/>
                  <a:pt x="239707" y="217621"/>
                </a:cubicBezTo>
                <a:cubicBezTo>
                  <a:pt x="239707" y="212114"/>
                  <a:pt x="245536" y="206302"/>
                  <a:pt x="247684" y="194983"/>
                </a:cubicBezTo>
                <a:close/>
                <a:moveTo>
                  <a:pt x="266736" y="194281"/>
                </a:moveTo>
                <a:cubicBezTo>
                  <a:pt x="266736" y="194281"/>
                  <a:pt x="266430" y="194281"/>
                  <a:pt x="266430" y="194587"/>
                </a:cubicBezTo>
                <a:cubicBezTo>
                  <a:pt x="266430" y="194587"/>
                  <a:pt x="266736" y="194894"/>
                  <a:pt x="266736" y="194894"/>
                </a:cubicBezTo>
                <a:cubicBezTo>
                  <a:pt x="274080" y="194894"/>
                  <a:pt x="274080" y="194894"/>
                  <a:pt x="274080" y="194894"/>
                </a:cubicBezTo>
                <a:cubicBezTo>
                  <a:pt x="274080" y="194894"/>
                  <a:pt x="274386" y="194587"/>
                  <a:pt x="274386" y="194587"/>
                </a:cubicBezTo>
                <a:cubicBezTo>
                  <a:pt x="274386" y="194281"/>
                  <a:pt x="274080" y="194281"/>
                  <a:pt x="274080" y="194281"/>
                </a:cubicBezTo>
                <a:cubicBezTo>
                  <a:pt x="266736" y="194281"/>
                  <a:pt x="266736" y="194281"/>
                  <a:pt x="266736" y="194281"/>
                </a:cubicBezTo>
                <a:close/>
                <a:moveTo>
                  <a:pt x="292844" y="193360"/>
                </a:moveTo>
                <a:lnTo>
                  <a:pt x="292844" y="220076"/>
                </a:lnTo>
                <a:lnTo>
                  <a:pt x="293775" y="220076"/>
                </a:lnTo>
                <a:cubicBezTo>
                  <a:pt x="294080" y="220076"/>
                  <a:pt x="294385" y="220382"/>
                  <a:pt x="294385" y="220689"/>
                </a:cubicBezTo>
                <a:cubicBezTo>
                  <a:pt x="294385" y="226820"/>
                  <a:pt x="294385" y="226820"/>
                  <a:pt x="294385" y="226820"/>
                </a:cubicBezTo>
                <a:cubicBezTo>
                  <a:pt x="294690" y="226820"/>
                  <a:pt x="294690" y="226820"/>
                  <a:pt x="294690" y="226820"/>
                </a:cubicBezTo>
                <a:cubicBezTo>
                  <a:pt x="295301" y="226820"/>
                  <a:pt x="295606" y="227127"/>
                  <a:pt x="295606" y="227740"/>
                </a:cubicBezTo>
                <a:cubicBezTo>
                  <a:pt x="295606" y="232951"/>
                  <a:pt x="295606" y="232951"/>
                  <a:pt x="295606" y="232951"/>
                </a:cubicBezTo>
                <a:lnTo>
                  <a:pt x="297132" y="232951"/>
                </a:lnTo>
                <a:cubicBezTo>
                  <a:pt x="297437" y="232951"/>
                  <a:pt x="297437" y="232951"/>
                  <a:pt x="297437" y="232951"/>
                </a:cubicBezTo>
                <a:cubicBezTo>
                  <a:pt x="297437" y="232951"/>
                  <a:pt x="297743" y="232951"/>
                  <a:pt x="297743" y="232951"/>
                </a:cubicBezTo>
                <a:cubicBezTo>
                  <a:pt x="298048" y="232951"/>
                  <a:pt x="298048" y="232951"/>
                  <a:pt x="298048" y="232951"/>
                </a:cubicBezTo>
                <a:cubicBezTo>
                  <a:pt x="298048" y="232951"/>
                  <a:pt x="298048" y="232951"/>
                  <a:pt x="298048" y="233258"/>
                </a:cubicBezTo>
                <a:cubicBezTo>
                  <a:pt x="298353" y="233258"/>
                  <a:pt x="298353" y="233258"/>
                  <a:pt x="298353" y="233258"/>
                </a:cubicBezTo>
                <a:cubicBezTo>
                  <a:pt x="298353" y="233565"/>
                  <a:pt x="298353" y="233565"/>
                  <a:pt x="298353" y="233565"/>
                </a:cubicBezTo>
                <a:cubicBezTo>
                  <a:pt x="298353" y="233871"/>
                  <a:pt x="298353" y="233871"/>
                  <a:pt x="298353" y="234178"/>
                </a:cubicBezTo>
                <a:cubicBezTo>
                  <a:pt x="298353" y="253184"/>
                  <a:pt x="298353" y="253184"/>
                  <a:pt x="298353" y="253184"/>
                </a:cubicBezTo>
                <a:cubicBezTo>
                  <a:pt x="298353" y="284147"/>
                  <a:pt x="298353" y="284147"/>
                  <a:pt x="298353" y="284147"/>
                </a:cubicBezTo>
                <a:cubicBezTo>
                  <a:pt x="299879" y="284147"/>
                  <a:pt x="299879" y="284147"/>
                  <a:pt x="299879" y="284147"/>
                </a:cubicBezTo>
                <a:cubicBezTo>
                  <a:pt x="300795" y="284147"/>
                  <a:pt x="301405" y="284760"/>
                  <a:pt x="301405" y="285680"/>
                </a:cubicBezTo>
                <a:cubicBezTo>
                  <a:pt x="301405" y="285987"/>
                  <a:pt x="301405" y="285987"/>
                  <a:pt x="301405" y="285987"/>
                </a:cubicBezTo>
                <a:cubicBezTo>
                  <a:pt x="301405" y="286906"/>
                  <a:pt x="300795" y="287826"/>
                  <a:pt x="299879" y="287826"/>
                </a:cubicBezTo>
                <a:lnTo>
                  <a:pt x="296827" y="287826"/>
                </a:lnTo>
                <a:lnTo>
                  <a:pt x="296827" y="290022"/>
                </a:lnTo>
                <a:cubicBezTo>
                  <a:pt x="296827" y="292514"/>
                  <a:pt x="296827" y="297498"/>
                  <a:pt x="296827" y="307465"/>
                </a:cubicBezTo>
                <a:cubicBezTo>
                  <a:pt x="296827" y="307465"/>
                  <a:pt x="296827" y="307465"/>
                  <a:pt x="299574" y="307465"/>
                </a:cubicBezTo>
                <a:cubicBezTo>
                  <a:pt x="300795" y="307465"/>
                  <a:pt x="301405" y="308386"/>
                  <a:pt x="301405" y="309306"/>
                </a:cubicBezTo>
                <a:cubicBezTo>
                  <a:pt x="301405" y="310532"/>
                  <a:pt x="300795" y="311146"/>
                  <a:pt x="299574" y="311146"/>
                </a:cubicBezTo>
                <a:cubicBezTo>
                  <a:pt x="299574" y="311146"/>
                  <a:pt x="299574" y="311146"/>
                  <a:pt x="285229" y="311146"/>
                </a:cubicBezTo>
                <a:cubicBezTo>
                  <a:pt x="284313" y="311146"/>
                  <a:pt x="283397" y="310532"/>
                  <a:pt x="283397" y="309306"/>
                </a:cubicBezTo>
                <a:cubicBezTo>
                  <a:pt x="283397" y="308386"/>
                  <a:pt x="284313" y="307465"/>
                  <a:pt x="285229" y="307465"/>
                </a:cubicBezTo>
                <a:cubicBezTo>
                  <a:pt x="285229" y="307465"/>
                  <a:pt x="285229" y="307465"/>
                  <a:pt x="288281" y="307465"/>
                </a:cubicBezTo>
                <a:cubicBezTo>
                  <a:pt x="288281" y="307465"/>
                  <a:pt x="288281" y="307465"/>
                  <a:pt x="288281" y="304973"/>
                </a:cubicBezTo>
                <a:lnTo>
                  <a:pt x="288281" y="287826"/>
                </a:lnTo>
                <a:lnTo>
                  <a:pt x="287060" y="287826"/>
                </a:lnTo>
                <a:cubicBezTo>
                  <a:pt x="285229" y="287826"/>
                  <a:pt x="285229" y="287826"/>
                  <a:pt x="285229" y="287826"/>
                </a:cubicBezTo>
                <a:cubicBezTo>
                  <a:pt x="284313" y="287826"/>
                  <a:pt x="283397" y="286906"/>
                  <a:pt x="283397" y="285987"/>
                </a:cubicBezTo>
                <a:cubicBezTo>
                  <a:pt x="283397" y="285680"/>
                  <a:pt x="283397" y="285680"/>
                  <a:pt x="283397" y="285680"/>
                </a:cubicBezTo>
                <a:cubicBezTo>
                  <a:pt x="283397" y="284760"/>
                  <a:pt x="284313" y="284147"/>
                  <a:pt x="285229" y="284147"/>
                </a:cubicBezTo>
                <a:cubicBezTo>
                  <a:pt x="286449" y="284147"/>
                  <a:pt x="286449" y="284147"/>
                  <a:pt x="286449" y="284147"/>
                </a:cubicBezTo>
                <a:cubicBezTo>
                  <a:pt x="286449" y="253184"/>
                  <a:pt x="286449" y="253184"/>
                  <a:pt x="286449" y="253184"/>
                </a:cubicBezTo>
                <a:cubicBezTo>
                  <a:pt x="286449" y="234178"/>
                  <a:pt x="286449" y="234178"/>
                  <a:pt x="286449" y="234178"/>
                </a:cubicBezTo>
                <a:cubicBezTo>
                  <a:pt x="286449" y="233871"/>
                  <a:pt x="286449" y="233871"/>
                  <a:pt x="286449" y="233565"/>
                </a:cubicBezTo>
                <a:cubicBezTo>
                  <a:pt x="286449" y="233565"/>
                  <a:pt x="286755" y="233565"/>
                  <a:pt x="286755" y="233258"/>
                </a:cubicBezTo>
                <a:cubicBezTo>
                  <a:pt x="286755" y="233258"/>
                  <a:pt x="287060" y="233258"/>
                  <a:pt x="287060" y="233258"/>
                </a:cubicBezTo>
                <a:cubicBezTo>
                  <a:pt x="287060" y="232951"/>
                  <a:pt x="287060" y="232951"/>
                  <a:pt x="287060" y="232951"/>
                </a:cubicBezTo>
                <a:cubicBezTo>
                  <a:pt x="287365" y="232951"/>
                  <a:pt x="287365" y="232951"/>
                  <a:pt x="287670" y="232951"/>
                </a:cubicBezTo>
                <a:cubicBezTo>
                  <a:pt x="289196" y="232951"/>
                  <a:pt x="289196" y="232951"/>
                  <a:pt x="289196" y="232951"/>
                </a:cubicBezTo>
                <a:cubicBezTo>
                  <a:pt x="289196" y="227740"/>
                  <a:pt x="289196" y="227740"/>
                  <a:pt x="289196" y="227740"/>
                </a:cubicBezTo>
                <a:cubicBezTo>
                  <a:pt x="289196" y="227127"/>
                  <a:pt x="289807" y="226820"/>
                  <a:pt x="290112" y="226820"/>
                </a:cubicBezTo>
                <a:cubicBezTo>
                  <a:pt x="290417" y="226820"/>
                  <a:pt x="290417" y="226820"/>
                  <a:pt x="290417" y="226820"/>
                </a:cubicBezTo>
                <a:cubicBezTo>
                  <a:pt x="290417" y="220689"/>
                  <a:pt x="290417" y="220689"/>
                  <a:pt x="290417" y="220689"/>
                </a:cubicBezTo>
                <a:cubicBezTo>
                  <a:pt x="290417" y="220382"/>
                  <a:pt x="290723" y="220076"/>
                  <a:pt x="291333" y="220076"/>
                </a:cubicBezTo>
                <a:lnTo>
                  <a:pt x="291958" y="220076"/>
                </a:lnTo>
                <a:lnTo>
                  <a:pt x="291958" y="194983"/>
                </a:lnTo>
                <a:close/>
                <a:moveTo>
                  <a:pt x="220318" y="191945"/>
                </a:moveTo>
                <a:cubicBezTo>
                  <a:pt x="225405" y="193518"/>
                  <a:pt x="229666" y="196748"/>
                  <a:pt x="231888" y="201314"/>
                </a:cubicBezTo>
                <a:lnTo>
                  <a:pt x="233065" y="210629"/>
                </a:lnTo>
                <a:lnTo>
                  <a:pt x="236064" y="210629"/>
                </a:lnTo>
                <a:cubicBezTo>
                  <a:pt x="237003" y="210629"/>
                  <a:pt x="237003" y="210629"/>
                  <a:pt x="237003" y="210629"/>
                </a:cubicBezTo>
                <a:cubicBezTo>
                  <a:pt x="237617" y="210629"/>
                  <a:pt x="238230" y="211238"/>
                  <a:pt x="238230" y="211847"/>
                </a:cubicBezTo>
                <a:cubicBezTo>
                  <a:pt x="238230" y="212760"/>
                  <a:pt x="237617" y="213369"/>
                  <a:pt x="237003" y="213369"/>
                </a:cubicBezTo>
                <a:cubicBezTo>
                  <a:pt x="236390" y="213369"/>
                  <a:pt x="236390" y="213369"/>
                  <a:pt x="236390" y="213369"/>
                </a:cubicBezTo>
                <a:cubicBezTo>
                  <a:pt x="236236" y="216718"/>
                  <a:pt x="232862" y="219686"/>
                  <a:pt x="227531" y="221817"/>
                </a:cubicBezTo>
                <a:lnTo>
                  <a:pt x="227046" y="221898"/>
                </a:lnTo>
                <a:lnTo>
                  <a:pt x="223128" y="228060"/>
                </a:lnTo>
                <a:cubicBezTo>
                  <a:pt x="219446" y="230817"/>
                  <a:pt x="215764" y="232349"/>
                  <a:pt x="211468" y="234493"/>
                </a:cubicBezTo>
                <a:lnTo>
                  <a:pt x="208712" y="236022"/>
                </a:lnTo>
                <a:lnTo>
                  <a:pt x="208712" y="244141"/>
                </a:lnTo>
                <a:cubicBezTo>
                  <a:pt x="208712" y="248487"/>
                  <a:pt x="208712" y="251384"/>
                  <a:pt x="208712" y="253316"/>
                </a:cubicBezTo>
                <a:lnTo>
                  <a:pt x="208712" y="255181"/>
                </a:lnTo>
                <a:lnTo>
                  <a:pt x="213616" y="259918"/>
                </a:lnTo>
                <a:lnTo>
                  <a:pt x="212633" y="261941"/>
                </a:lnTo>
                <a:lnTo>
                  <a:pt x="212995" y="262380"/>
                </a:lnTo>
                <a:cubicBezTo>
                  <a:pt x="217891" y="263298"/>
                  <a:pt x="221256" y="265440"/>
                  <a:pt x="221256" y="267888"/>
                </a:cubicBezTo>
                <a:cubicBezTo>
                  <a:pt x="221256" y="268194"/>
                  <a:pt x="221256" y="268194"/>
                  <a:pt x="221256" y="268194"/>
                </a:cubicBezTo>
                <a:lnTo>
                  <a:pt x="209597" y="268194"/>
                </a:lnTo>
                <a:lnTo>
                  <a:pt x="208706" y="270027"/>
                </a:lnTo>
                <a:cubicBezTo>
                  <a:pt x="208092" y="270333"/>
                  <a:pt x="207479" y="270946"/>
                  <a:pt x="206865" y="271252"/>
                </a:cubicBezTo>
                <a:cubicBezTo>
                  <a:pt x="205331" y="272171"/>
                  <a:pt x="202876" y="273090"/>
                  <a:pt x="201955" y="274928"/>
                </a:cubicBezTo>
                <a:cubicBezTo>
                  <a:pt x="201955" y="275235"/>
                  <a:pt x="201342" y="276460"/>
                  <a:pt x="201035" y="276460"/>
                </a:cubicBezTo>
                <a:cubicBezTo>
                  <a:pt x="200421" y="276154"/>
                  <a:pt x="200728" y="275235"/>
                  <a:pt x="201342" y="274316"/>
                </a:cubicBezTo>
                <a:cubicBezTo>
                  <a:pt x="201955" y="273703"/>
                  <a:pt x="202569" y="273090"/>
                  <a:pt x="203183" y="272784"/>
                </a:cubicBezTo>
                <a:cubicBezTo>
                  <a:pt x="204103" y="271865"/>
                  <a:pt x="205024" y="271252"/>
                  <a:pt x="205331" y="270946"/>
                </a:cubicBezTo>
                <a:lnTo>
                  <a:pt x="208088" y="268194"/>
                </a:lnTo>
                <a:lnTo>
                  <a:pt x="204452" y="268194"/>
                </a:lnTo>
                <a:cubicBezTo>
                  <a:pt x="192189" y="268194"/>
                  <a:pt x="192189" y="268194"/>
                  <a:pt x="192189" y="268194"/>
                </a:cubicBezTo>
                <a:cubicBezTo>
                  <a:pt x="191883" y="268194"/>
                  <a:pt x="191883" y="268194"/>
                  <a:pt x="191883" y="267888"/>
                </a:cubicBezTo>
                <a:cubicBezTo>
                  <a:pt x="191883" y="265440"/>
                  <a:pt x="195555" y="263298"/>
                  <a:pt x="200756" y="262380"/>
                </a:cubicBezTo>
                <a:cubicBezTo>
                  <a:pt x="203204" y="261768"/>
                  <a:pt x="205040" y="259626"/>
                  <a:pt x="205040" y="257179"/>
                </a:cubicBezTo>
                <a:lnTo>
                  <a:pt x="205040" y="254737"/>
                </a:lnTo>
                <a:lnTo>
                  <a:pt x="201342" y="251954"/>
                </a:lnTo>
                <a:cubicBezTo>
                  <a:pt x="198580" y="249197"/>
                  <a:pt x="197046" y="246134"/>
                  <a:pt x="197966" y="242151"/>
                </a:cubicBezTo>
                <a:lnTo>
                  <a:pt x="205020" y="234006"/>
                </a:lnTo>
                <a:lnTo>
                  <a:pt x="205020" y="230851"/>
                </a:lnTo>
                <a:lnTo>
                  <a:pt x="205040" y="230851"/>
                </a:lnTo>
                <a:lnTo>
                  <a:pt x="205040" y="226275"/>
                </a:lnTo>
                <a:cubicBezTo>
                  <a:pt x="208712" y="226275"/>
                  <a:pt x="208712" y="226275"/>
                  <a:pt x="208712" y="226275"/>
                </a:cubicBezTo>
                <a:lnTo>
                  <a:pt x="208712" y="231824"/>
                </a:lnTo>
                <a:lnTo>
                  <a:pt x="215150" y="228060"/>
                </a:lnTo>
                <a:cubicBezTo>
                  <a:pt x="216684" y="227141"/>
                  <a:pt x="217912" y="226223"/>
                  <a:pt x="219446" y="225304"/>
                </a:cubicBezTo>
                <a:lnTo>
                  <a:pt x="221267" y="222859"/>
                </a:lnTo>
                <a:lnTo>
                  <a:pt x="206939" y="225242"/>
                </a:lnTo>
                <a:cubicBezTo>
                  <a:pt x="190986" y="225242"/>
                  <a:pt x="177795" y="220066"/>
                  <a:pt x="177181" y="213369"/>
                </a:cubicBezTo>
                <a:cubicBezTo>
                  <a:pt x="176874" y="213369"/>
                  <a:pt x="176874" y="213369"/>
                  <a:pt x="176874" y="213369"/>
                </a:cubicBezTo>
                <a:cubicBezTo>
                  <a:pt x="176261" y="213369"/>
                  <a:pt x="175647" y="212760"/>
                  <a:pt x="175647" y="211847"/>
                </a:cubicBezTo>
                <a:cubicBezTo>
                  <a:pt x="175647" y="211238"/>
                  <a:pt x="176261" y="210629"/>
                  <a:pt x="176874" y="210629"/>
                </a:cubicBezTo>
                <a:cubicBezTo>
                  <a:pt x="191907" y="210629"/>
                  <a:pt x="203181" y="210629"/>
                  <a:pt x="211636" y="210629"/>
                </a:cubicBezTo>
                <a:lnTo>
                  <a:pt x="228345" y="210629"/>
                </a:lnTo>
                <a:lnTo>
                  <a:pt x="228345" y="207537"/>
                </a:lnTo>
                <a:cubicBezTo>
                  <a:pt x="227117" y="200798"/>
                  <a:pt x="222515" y="195896"/>
                  <a:pt x="215150" y="194977"/>
                </a:cubicBezTo>
                <a:cubicBezTo>
                  <a:pt x="213923" y="194977"/>
                  <a:pt x="212695" y="194977"/>
                  <a:pt x="211468" y="195284"/>
                </a:cubicBezTo>
                <a:cubicBezTo>
                  <a:pt x="208706" y="195590"/>
                  <a:pt x="206558" y="196203"/>
                  <a:pt x="204103" y="198347"/>
                </a:cubicBezTo>
                <a:cubicBezTo>
                  <a:pt x="202876" y="202023"/>
                  <a:pt x="197966" y="207537"/>
                  <a:pt x="193670" y="206618"/>
                </a:cubicBezTo>
                <a:cubicBezTo>
                  <a:pt x="189681" y="206005"/>
                  <a:pt x="189374" y="198960"/>
                  <a:pt x="198887" y="194365"/>
                </a:cubicBezTo>
                <a:cubicBezTo>
                  <a:pt x="200421" y="193752"/>
                  <a:pt x="202262" y="193139"/>
                  <a:pt x="203796" y="192527"/>
                </a:cubicBezTo>
                <a:cubicBezTo>
                  <a:pt x="209320" y="190459"/>
                  <a:pt x="215232" y="190373"/>
                  <a:pt x="220318" y="191945"/>
                </a:cubicBezTo>
                <a:close/>
                <a:moveTo>
                  <a:pt x="263982" y="191830"/>
                </a:moveTo>
                <a:cubicBezTo>
                  <a:pt x="263982" y="191830"/>
                  <a:pt x="263676" y="191830"/>
                  <a:pt x="263676" y="192137"/>
                </a:cubicBezTo>
                <a:cubicBezTo>
                  <a:pt x="263676" y="192137"/>
                  <a:pt x="263982" y="192443"/>
                  <a:pt x="263982" y="192443"/>
                </a:cubicBezTo>
                <a:cubicBezTo>
                  <a:pt x="276834" y="192443"/>
                  <a:pt x="276834" y="192443"/>
                  <a:pt x="276834" y="192443"/>
                </a:cubicBezTo>
                <a:cubicBezTo>
                  <a:pt x="276834" y="192443"/>
                  <a:pt x="277140" y="192137"/>
                  <a:pt x="277140" y="192137"/>
                </a:cubicBezTo>
                <a:cubicBezTo>
                  <a:pt x="277140" y="191830"/>
                  <a:pt x="276834" y="191830"/>
                  <a:pt x="276834" y="191830"/>
                </a:cubicBezTo>
                <a:cubicBezTo>
                  <a:pt x="263982" y="191830"/>
                  <a:pt x="263982" y="191830"/>
                  <a:pt x="263982" y="191830"/>
                </a:cubicBezTo>
                <a:close/>
                <a:moveTo>
                  <a:pt x="107509" y="189745"/>
                </a:moveTo>
                <a:lnTo>
                  <a:pt x="106691" y="190811"/>
                </a:lnTo>
                <a:lnTo>
                  <a:pt x="107118" y="190622"/>
                </a:lnTo>
                <a:close/>
                <a:moveTo>
                  <a:pt x="266736" y="189379"/>
                </a:moveTo>
                <a:cubicBezTo>
                  <a:pt x="266736" y="189379"/>
                  <a:pt x="266430" y="189379"/>
                  <a:pt x="266430" y="189686"/>
                </a:cubicBezTo>
                <a:cubicBezTo>
                  <a:pt x="266430" y="189686"/>
                  <a:pt x="266736" y="189992"/>
                  <a:pt x="266736" y="189992"/>
                </a:cubicBezTo>
                <a:cubicBezTo>
                  <a:pt x="274080" y="189992"/>
                  <a:pt x="274080" y="189992"/>
                  <a:pt x="274080" y="189992"/>
                </a:cubicBezTo>
                <a:cubicBezTo>
                  <a:pt x="274080" y="189992"/>
                  <a:pt x="274386" y="189686"/>
                  <a:pt x="274386" y="189686"/>
                </a:cubicBezTo>
                <a:cubicBezTo>
                  <a:pt x="274386" y="189379"/>
                  <a:pt x="274080" y="189379"/>
                  <a:pt x="274080" y="189379"/>
                </a:cubicBezTo>
                <a:cubicBezTo>
                  <a:pt x="266736" y="189379"/>
                  <a:pt x="266736" y="189379"/>
                  <a:pt x="266736" y="189379"/>
                </a:cubicBezTo>
                <a:close/>
                <a:moveTo>
                  <a:pt x="77477" y="189257"/>
                </a:moveTo>
                <a:lnTo>
                  <a:pt x="76169" y="190961"/>
                </a:lnTo>
                <a:lnTo>
                  <a:pt x="77020" y="190622"/>
                </a:lnTo>
                <a:close/>
                <a:moveTo>
                  <a:pt x="92769" y="189067"/>
                </a:moveTo>
                <a:lnTo>
                  <a:pt x="91527" y="190865"/>
                </a:lnTo>
                <a:lnTo>
                  <a:pt x="92075" y="190622"/>
                </a:lnTo>
                <a:close/>
                <a:moveTo>
                  <a:pt x="123178" y="189063"/>
                </a:moveTo>
                <a:lnTo>
                  <a:pt x="121933" y="190865"/>
                </a:lnTo>
                <a:lnTo>
                  <a:pt x="122482" y="190622"/>
                </a:lnTo>
                <a:close/>
                <a:moveTo>
                  <a:pt x="115991" y="188699"/>
                </a:moveTo>
                <a:lnTo>
                  <a:pt x="116634" y="190622"/>
                </a:lnTo>
                <a:lnTo>
                  <a:pt x="119094" y="191603"/>
                </a:lnTo>
                <a:close/>
                <a:moveTo>
                  <a:pt x="85584" y="188697"/>
                </a:moveTo>
                <a:lnTo>
                  <a:pt x="86227" y="190622"/>
                </a:lnTo>
                <a:lnTo>
                  <a:pt x="88689" y="191603"/>
                </a:lnTo>
                <a:close/>
                <a:moveTo>
                  <a:pt x="70187" y="188414"/>
                </a:moveTo>
                <a:lnTo>
                  <a:pt x="71172" y="190622"/>
                </a:lnTo>
                <a:lnTo>
                  <a:pt x="73354" y="191589"/>
                </a:lnTo>
                <a:close/>
                <a:moveTo>
                  <a:pt x="100592" y="188412"/>
                </a:moveTo>
                <a:lnTo>
                  <a:pt x="101578" y="190622"/>
                </a:lnTo>
                <a:lnTo>
                  <a:pt x="103762" y="191589"/>
                </a:lnTo>
                <a:close/>
                <a:moveTo>
                  <a:pt x="301115" y="187013"/>
                </a:moveTo>
                <a:cubicBezTo>
                  <a:pt x="301115" y="187013"/>
                  <a:pt x="301115" y="187013"/>
                  <a:pt x="305095" y="187013"/>
                </a:cubicBezTo>
                <a:lnTo>
                  <a:pt x="309075" y="187013"/>
                </a:lnTo>
                <a:cubicBezTo>
                  <a:pt x="309381" y="187013"/>
                  <a:pt x="309687" y="187013"/>
                  <a:pt x="309687" y="187320"/>
                </a:cubicBezTo>
                <a:cubicBezTo>
                  <a:pt x="309994" y="190388"/>
                  <a:pt x="310606" y="192229"/>
                  <a:pt x="311524" y="194377"/>
                </a:cubicBezTo>
                <a:cubicBezTo>
                  <a:pt x="312137" y="195912"/>
                  <a:pt x="312443" y="196525"/>
                  <a:pt x="312749" y="197753"/>
                </a:cubicBezTo>
                <a:cubicBezTo>
                  <a:pt x="313361" y="201742"/>
                  <a:pt x="312749" y="208493"/>
                  <a:pt x="308463" y="210334"/>
                </a:cubicBezTo>
                <a:cubicBezTo>
                  <a:pt x="308463" y="210334"/>
                  <a:pt x="308463" y="210334"/>
                  <a:pt x="305095" y="210334"/>
                </a:cubicBezTo>
                <a:cubicBezTo>
                  <a:pt x="305095" y="210334"/>
                  <a:pt x="305095" y="210334"/>
                  <a:pt x="304789" y="210334"/>
                </a:cubicBezTo>
                <a:cubicBezTo>
                  <a:pt x="304789" y="210334"/>
                  <a:pt x="304789" y="210334"/>
                  <a:pt x="301421" y="210334"/>
                </a:cubicBezTo>
                <a:cubicBezTo>
                  <a:pt x="297135" y="208493"/>
                  <a:pt x="296829" y="201742"/>
                  <a:pt x="297442" y="197753"/>
                </a:cubicBezTo>
                <a:cubicBezTo>
                  <a:pt x="297748" y="196525"/>
                  <a:pt x="298054" y="195912"/>
                  <a:pt x="298360" y="194377"/>
                </a:cubicBezTo>
                <a:cubicBezTo>
                  <a:pt x="299585" y="192229"/>
                  <a:pt x="299891" y="190388"/>
                  <a:pt x="300197" y="187320"/>
                </a:cubicBezTo>
                <a:cubicBezTo>
                  <a:pt x="300197" y="187013"/>
                  <a:pt x="300503" y="187013"/>
                  <a:pt x="301115" y="187013"/>
                </a:cubicBezTo>
                <a:close/>
                <a:moveTo>
                  <a:pt x="266736" y="186929"/>
                </a:moveTo>
                <a:cubicBezTo>
                  <a:pt x="266736" y="186929"/>
                  <a:pt x="266430" y="187235"/>
                  <a:pt x="266430" y="187235"/>
                </a:cubicBezTo>
                <a:cubicBezTo>
                  <a:pt x="266430" y="187541"/>
                  <a:pt x="266736" y="187541"/>
                  <a:pt x="266736" y="187541"/>
                </a:cubicBezTo>
                <a:cubicBezTo>
                  <a:pt x="274080" y="187541"/>
                  <a:pt x="274080" y="187541"/>
                  <a:pt x="274080" y="187541"/>
                </a:cubicBezTo>
                <a:cubicBezTo>
                  <a:pt x="274080" y="187541"/>
                  <a:pt x="274386" y="187541"/>
                  <a:pt x="274386" y="187235"/>
                </a:cubicBezTo>
                <a:cubicBezTo>
                  <a:pt x="274386" y="187235"/>
                  <a:pt x="274080" y="186929"/>
                  <a:pt x="274080" y="186929"/>
                </a:cubicBezTo>
                <a:cubicBezTo>
                  <a:pt x="266736" y="186929"/>
                  <a:pt x="266736" y="186929"/>
                  <a:pt x="266736" y="186929"/>
                </a:cubicBezTo>
                <a:close/>
                <a:moveTo>
                  <a:pt x="266736" y="184784"/>
                </a:moveTo>
                <a:cubicBezTo>
                  <a:pt x="266736" y="184784"/>
                  <a:pt x="266430" y="184784"/>
                  <a:pt x="266430" y="185091"/>
                </a:cubicBezTo>
                <a:cubicBezTo>
                  <a:pt x="266430" y="185091"/>
                  <a:pt x="266736" y="185397"/>
                  <a:pt x="266736" y="185397"/>
                </a:cubicBezTo>
                <a:cubicBezTo>
                  <a:pt x="274080" y="185397"/>
                  <a:pt x="274080" y="185397"/>
                  <a:pt x="274080" y="185397"/>
                </a:cubicBezTo>
                <a:cubicBezTo>
                  <a:pt x="274080" y="185397"/>
                  <a:pt x="274386" y="185091"/>
                  <a:pt x="274386" y="185091"/>
                </a:cubicBezTo>
                <a:cubicBezTo>
                  <a:pt x="274386" y="184784"/>
                  <a:pt x="274080" y="184784"/>
                  <a:pt x="274080" y="184784"/>
                </a:cubicBezTo>
                <a:cubicBezTo>
                  <a:pt x="266736" y="184784"/>
                  <a:pt x="266736" y="184784"/>
                  <a:pt x="266736" y="184784"/>
                </a:cubicBezTo>
                <a:close/>
                <a:moveTo>
                  <a:pt x="340741" y="184417"/>
                </a:moveTo>
                <a:cubicBezTo>
                  <a:pt x="342402" y="184417"/>
                  <a:pt x="344062" y="186102"/>
                  <a:pt x="344062" y="189473"/>
                </a:cubicBezTo>
                <a:cubicBezTo>
                  <a:pt x="344062" y="191617"/>
                  <a:pt x="342553" y="193762"/>
                  <a:pt x="341345" y="197133"/>
                </a:cubicBezTo>
                <a:cubicBezTo>
                  <a:pt x="341345" y="232981"/>
                  <a:pt x="341345" y="232981"/>
                  <a:pt x="341345" y="232981"/>
                </a:cubicBezTo>
                <a:cubicBezTo>
                  <a:pt x="342553" y="236352"/>
                  <a:pt x="344062" y="238496"/>
                  <a:pt x="344062" y="240335"/>
                </a:cubicBezTo>
                <a:cubicBezTo>
                  <a:pt x="344062" y="247382"/>
                  <a:pt x="337420" y="247382"/>
                  <a:pt x="337420" y="240335"/>
                </a:cubicBezTo>
                <a:cubicBezTo>
                  <a:pt x="337420" y="238496"/>
                  <a:pt x="338930" y="236352"/>
                  <a:pt x="340137" y="232981"/>
                </a:cubicBezTo>
                <a:cubicBezTo>
                  <a:pt x="340137" y="197133"/>
                  <a:pt x="340137" y="197133"/>
                  <a:pt x="340137" y="197133"/>
                </a:cubicBezTo>
                <a:cubicBezTo>
                  <a:pt x="338930" y="193762"/>
                  <a:pt x="337420" y="191617"/>
                  <a:pt x="337420" y="189473"/>
                </a:cubicBezTo>
                <a:cubicBezTo>
                  <a:pt x="337420" y="186102"/>
                  <a:pt x="339081" y="184417"/>
                  <a:pt x="340741" y="184417"/>
                </a:cubicBezTo>
                <a:close/>
                <a:moveTo>
                  <a:pt x="263982" y="181721"/>
                </a:moveTo>
                <a:cubicBezTo>
                  <a:pt x="263982" y="181721"/>
                  <a:pt x="263676" y="181721"/>
                  <a:pt x="263676" y="182027"/>
                </a:cubicBezTo>
                <a:cubicBezTo>
                  <a:pt x="263676" y="182027"/>
                  <a:pt x="263982" y="182334"/>
                  <a:pt x="263982" y="182334"/>
                </a:cubicBezTo>
                <a:cubicBezTo>
                  <a:pt x="276834" y="182334"/>
                  <a:pt x="276834" y="182334"/>
                  <a:pt x="276834" y="182334"/>
                </a:cubicBezTo>
                <a:cubicBezTo>
                  <a:pt x="276834" y="182334"/>
                  <a:pt x="277140" y="182027"/>
                  <a:pt x="277140" y="182027"/>
                </a:cubicBezTo>
                <a:cubicBezTo>
                  <a:pt x="277140" y="181721"/>
                  <a:pt x="276834" y="181721"/>
                  <a:pt x="276834" y="181721"/>
                </a:cubicBezTo>
                <a:cubicBezTo>
                  <a:pt x="263982" y="181721"/>
                  <a:pt x="263982" y="181721"/>
                  <a:pt x="263982" y="181721"/>
                </a:cubicBezTo>
                <a:close/>
                <a:moveTo>
                  <a:pt x="136887" y="180801"/>
                </a:moveTo>
                <a:cubicBezTo>
                  <a:pt x="136274" y="181720"/>
                  <a:pt x="135967" y="182638"/>
                  <a:pt x="135660" y="183557"/>
                </a:cubicBezTo>
                <a:cubicBezTo>
                  <a:pt x="158353" y="183557"/>
                  <a:pt x="158353" y="183557"/>
                  <a:pt x="158353" y="183557"/>
                </a:cubicBezTo>
                <a:cubicBezTo>
                  <a:pt x="158046" y="182638"/>
                  <a:pt x="157739" y="181720"/>
                  <a:pt x="157126" y="180801"/>
                </a:cubicBezTo>
                <a:cubicBezTo>
                  <a:pt x="136887" y="180801"/>
                  <a:pt x="136887" y="180801"/>
                  <a:pt x="136887" y="180801"/>
                </a:cubicBezTo>
                <a:close/>
                <a:moveTo>
                  <a:pt x="367752" y="178747"/>
                </a:moveTo>
                <a:cubicBezTo>
                  <a:pt x="368084" y="178747"/>
                  <a:pt x="368416" y="179052"/>
                  <a:pt x="368416" y="179358"/>
                </a:cubicBezTo>
                <a:cubicBezTo>
                  <a:pt x="368416" y="217251"/>
                  <a:pt x="368416" y="217251"/>
                  <a:pt x="368416" y="217251"/>
                </a:cubicBezTo>
                <a:cubicBezTo>
                  <a:pt x="368416" y="217556"/>
                  <a:pt x="368084" y="217862"/>
                  <a:pt x="367752" y="217862"/>
                </a:cubicBezTo>
                <a:cubicBezTo>
                  <a:pt x="367420" y="217862"/>
                  <a:pt x="367088" y="217556"/>
                  <a:pt x="367088" y="217251"/>
                </a:cubicBezTo>
                <a:lnTo>
                  <a:pt x="367088" y="179358"/>
                </a:lnTo>
                <a:cubicBezTo>
                  <a:pt x="367088" y="179052"/>
                  <a:pt x="367420" y="178747"/>
                  <a:pt x="367752" y="178747"/>
                </a:cubicBezTo>
                <a:close/>
                <a:moveTo>
                  <a:pt x="405090" y="176936"/>
                </a:moveTo>
                <a:lnTo>
                  <a:pt x="390798" y="180281"/>
                </a:lnTo>
                <a:cubicBezTo>
                  <a:pt x="390798" y="180281"/>
                  <a:pt x="390798" y="180587"/>
                  <a:pt x="390798" y="180893"/>
                </a:cubicBezTo>
                <a:cubicBezTo>
                  <a:pt x="390798" y="183954"/>
                  <a:pt x="393559" y="187015"/>
                  <a:pt x="397855" y="189157"/>
                </a:cubicBezTo>
                <a:lnTo>
                  <a:pt x="407982" y="191248"/>
                </a:lnTo>
                <a:lnTo>
                  <a:pt x="406739" y="190738"/>
                </a:lnTo>
                <a:cubicBezTo>
                  <a:pt x="404481" y="188468"/>
                  <a:pt x="403103" y="185313"/>
                  <a:pt x="403103" y="181773"/>
                </a:cubicBezTo>
                <a:close/>
                <a:moveTo>
                  <a:pt x="425919" y="176898"/>
                </a:moveTo>
                <a:lnTo>
                  <a:pt x="427900" y="181773"/>
                </a:lnTo>
                <a:cubicBezTo>
                  <a:pt x="427900" y="185313"/>
                  <a:pt x="426523" y="188468"/>
                  <a:pt x="424303" y="190738"/>
                </a:cubicBezTo>
                <a:lnTo>
                  <a:pt x="422887" y="191336"/>
                </a:lnTo>
                <a:lnTo>
                  <a:pt x="433445" y="189157"/>
                </a:lnTo>
                <a:cubicBezTo>
                  <a:pt x="437740" y="187015"/>
                  <a:pt x="440195" y="183954"/>
                  <a:pt x="440195" y="180893"/>
                </a:cubicBezTo>
                <a:cubicBezTo>
                  <a:pt x="440195" y="180587"/>
                  <a:pt x="440195" y="180281"/>
                  <a:pt x="440195" y="180281"/>
                </a:cubicBezTo>
                <a:close/>
                <a:moveTo>
                  <a:pt x="415654" y="176828"/>
                </a:moveTo>
                <a:cubicBezTo>
                  <a:pt x="417787" y="176828"/>
                  <a:pt x="419921" y="178682"/>
                  <a:pt x="420225" y="180845"/>
                </a:cubicBezTo>
                <a:cubicBezTo>
                  <a:pt x="419921" y="180536"/>
                  <a:pt x="419311" y="180536"/>
                  <a:pt x="418702" y="180536"/>
                </a:cubicBezTo>
                <a:cubicBezTo>
                  <a:pt x="417178" y="180536"/>
                  <a:pt x="415959" y="181772"/>
                  <a:pt x="415959" y="183318"/>
                </a:cubicBezTo>
                <a:cubicBezTo>
                  <a:pt x="415959" y="184554"/>
                  <a:pt x="417178" y="185790"/>
                  <a:pt x="418397" y="186099"/>
                </a:cubicBezTo>
                <a:cubicBezTo>
                  <a:pt x="417483" y="186408"/>
                  <a:pt x="416568" y="186717"/>
                  <a:pt x="415654" y="186717"/>
                </a:cubicBezTo>
                <a:cubicBezTo>
                  <a:pt x="412911" y="186717"/>
                  <a:pt x="410778" y="184554"/>
                  <a:pt x="410778" y="181772"/>
                </a:cubicBezTo>
                <a:cubicBezTo>
                  <a:pt x="410778" y="179300"/>
                  <a:pt x="412911" y="176828"/>
                  <a:pt x="415654" y="176828"/>
                </a:cubicBezTo>
                <a:close/>
                <a:moveTo>
                  <a:pt x="352394" y="176238"/>
                </a:moveTo>
                <a:cubicBezTo>
                  <a:pt x="352998" y="176238"/>
                  <a:pt x="352998" y="176238"/>
                  <a:pt x="352998" y="176238"/>
                </a:cubicBezTo>
                <a:cubicBezTo>
                  <a:pt x="354508" y="176238"/>
                  <a:pt x="356017" y="177773"/>
                  <a:pt x="356017" y="179308"/>
                </a:cubicBezTo>
                <a:cubicBezTo>
                  <a:pt x="356017" y="214927"/>
                  <a:pt x="356017" y="214927"/>
                  <a:pt x="356017" y="214927"/>
                </a:cubicBezTo>
                <a:cubicBezTo>
                  <a:pt x="356017" y="216770"/>
                  <a:pt x="354508" y="218305"/>
                  <a:pt x="352998" y="218305"/>
                </a:cubicBezTo>
                <a:cubicBezTo>
                  <a:pt x="352394" y="218305"/>
                  <a:pt x="352394" y="218305"/>
                  <a:pt x="352394" y="218305"/>
                </a:cubicBezTo>
                <a:cubicBezTo>
                  <a:pt x="350583" y="218305"/>
                  <a:pt x="349375" y="216770"/>
                  <a:pt x="349375" y="214927"/>
                </a:cubicBezTo>
                <a:cubicBezTo>
                  <a:pt x="349375" y="179308"/>
                  <a:pt x="349375" y="179308"/>
                  <a:pt x="349375" y="179308"/>
                </a:cubicBezTo>
                <a:cubicBezTo>
                  <a:pt x="349375" y="177773"/>
                  <a:pt x="350583" y="176238"/>
                  <a:pt x="352394" y="176238"/>
                </a:cubicBezTo>
                <a:close/>
                <a:moveTo>
                  <a:pt x="361552" y="174955"/>
                </a:moveTo>
                <a:cubicBezTo>
                  <a:pt x="361245" y="174955"/>
                  <a:pt x="360938" y="175262"/>
                  <a:pt x="360632" y="175262"/>
                </a:cubicBezTo>
                <a:cubicBezTo>
                  <a:pt x="360632" y="175569"/>
                  <a:pt x="360632" y="175876"/>
                  <a:pt x="360632" y="176183"/>
                </a:cubicBezTo>
                <a:cubicBezTo>
                  <a:pt x="360632" y="176796"/>
                  <a:pt x="360632" y="176796"/>
                  <a:pt x="360632" y="176796"/>
                </a:cubicBezTo>
                <a:cubicBezTo>
                  <a:pt x="360632" y="177103"/>
                  <a:pt x="360632" y="177103"/>
                  <a:pt x="360632" y="177410"/>
                </a:cubicBezTo>
                <a:cubicBezTo>
                  <a:pt x="360938" y="177717"/>
                  <a:pt x="361245" y="177717"/>
                  <a:pt x="361552" y="177717"/>
                </a:cubicBezTo>
                <a:cubicBezTo>
                  <a:pt x="364008" y="177717"/>
                  <a:pt x="364008" y="177717"/>
                  <a:pt x="364008" y="177717"/>
                </a:cubicBezTo>
                <a:cubicBezTo>
                  <a:pt x="364622" y="177717"/>
                  <a:pt x="364622" y="177717"/>
                  <a:pt x="364622" y="177717"/>
                </a:cubicBezTo>
                <a:cubicBezTo>
                  <a:pt x="364622" y="178331"/>
                  <a:pt x="364622" y="178331"/>
                  <a:pt x="364622" y="178331"/>
                </a:cubicBezTo>
                <a:cubicBezTo>
                  <a:pt x="364622" y="217300"/>
                  <a:pt x="364622" y="217300"/>
                  <a:pt x="364622" y="217300"/>
                </a:cubicBezTo>
                <a:cubicBezTo>
                  <a:pt x="364622" y="217607"/>
                  <a:pt x="364622" y="217607"/>
                  <a:pt x="364622" y="217607"/>
                </a:cubicBezTo>
                <a:cubicBezTo>
                  <a:pt x="364008" y="217914"/>
                  <a:pt x="364008" y="217914"/>
                  <a:pt x="364008" y="217914"/>
                </a:cubicBezTo>
                <a:cubicBezTo>
                  <a:pt x="359711" y="219448"/>
                  <a:pt x="356028" y="222210"/>
                  <a:pt x="353265" y="225892"/>
                </a:cubicBezTo>
                <a:cubicBezTo>
                  <a:pt x="350810" y="229267"/>
                  <a:pt x="349275" y="233870"/>
                  <a:pt x="349275" y="238472"/>
                </a:cubicBezTo>
                <a:lnTo>
                  <a:pt x="350167" y="241773"/>
                </a:lnTo>
                <a:lnTo>
                  <a:pt x="350347" y="241773"/>
                </a:lnTo>
                <a:cubicBezTo>
                  <a:pt x="351698" y="241773"/>
                  <a:pt x="355753" y="241773"/>
                  <a:pt x="367916" y="241773"/>
                </a:cubicBezTo>
                <a:lnTo>
                  <a:pt x="392185" y="241773"/>
                </a:lnTo>
                <a:lnTo>
                  <a:pt x="393167" y="238472"/>
                </a:lnTo>
                <a:cubicBezTo>
                  <a:pt x="393167" y="233870"/>
                  <a:pt x="391632" y="229267"/>
                  <a:pt x="388869" y="225892"/>
                </a:cubicBezTo>
                <a:cubicBezTo>
                  <a:pt x="386414" y="222210"/>
                  <a:pt x="382731" y="219448"/>
                  <a:pt x="378127" y="217914"/>
                </a:cubicBezTo>
                <a:cubicBezTo>
                  <a:pt x="377820" y="217607"/>
                  <a:pt x="377820" y="217607"/>
                  <a:pt x="377820" y="217607"/>
                </a:cubicBezTo>
                <a:cubicBezTo>
                  <a:pt x="377820" y="217300"/>
                  <a:pt x="377820" y="217300"/>
                  <a:pt x="377820" y="217300"/>
                </a:cubicBezTo>
                <a:cubicBezTo>
                  <a:pt x="377820" y="178331"/>
                  <a:pt x="377820" y="178331"/>
                  <a:pt x="377820" y="178331"/>
                </a:cubicBezTo>
                <a:cubicBezTo>
                  <a:pt x="377820" y="177717"/>
                  <a:pt x="377820" y="177717"/>
                  <a:pt x="377820" y="177717"/>
                </a:cubicBezTo>
                <a:cubicBezTo>
                  <a:pt x="378434" y="177717"/>
                  <a:pt x="378434" y="177717"/>
                  <a:pt x="378434" y="177717"/>
                </a:cubicBezTo>
                <a:cubicBezTo>
                  <a:pt x="380889" y="177717"/>
                  <a:pt x="380889" y="177717"/>
                  <a:pt x="380889" y="177717"/>
                </a:cubicBezTo>
                <a:cubicBezTo>
                  <a:pt x="381196" y="177717"/>
                  <a:pt x="381503" y="177717"/>
                  <a:pt x="381503" y="177410"/>
                </a:cubicBezTo>
                <a:cubicBezTo>
                  <a:pt x="381810" y="177103"/>
                  <a:pt x="381810" y="177103"/>
                  <a:pt x="381810" y="176796"/>
                </a:cubicBezTo>
                <a:cubicBezTo>
                  <a:pt x="381810" y="176183"/>
                  <a:pt x="381810" y="176183"/>
                  <a:pt x="381810" y="176183"/>
                </a:cubicBezTo>
                <a:cubicBezTo>
                  <a:pt x="381810" y="175876"/>
                  <a:pt x="381810" y="175569"/>
                  <a:pt x="381503" y="175262"/>
                </a:cubicBezTo>
                <a:cubicBezTo>
                  <a:pt x="381503" y="175262"/>
                  <a:pt x="381196" y="175262"/>
                  <a:pt x="380889" y="175262"/>
                </a:cubicBezTo>
                <a:cubicBezTo>
                  <a:pt x="361552" y="174955"/>
                  <a:pt x="361552" y="174955"/>
                  <a:pt x="361552" y="174955"/>
                </a:cubicBezTo>
                <a:close/>
                <a:moveTo>
                  <a:pt x="415650" y="174465"/>
                </a:moveTo>
                <a:lnTo>
                  <a:pt x="407144" y="176456"/>
                </a:lnTo>
                <a:lnTo>
                  <a:pt x="404940" y="181773"/>
                </a:lnTo>
                <a:cubicBezTo>
                  <a:pt x="404940" y="184851"/>
                  <a:pt x="406165" y="187621"/>
                  <a:pt x="408001" y="189468"/>
                </a:cubicBezTo>
                <a:cubicBezTo>
                  <a:pt x="410144" y="191315"/>
                  <a:pt x="412593" y="192546"/>
                  <a:pt x="415655" y="192546"/>
                </a:cubicBezTo>
                <a:cubicBezTo>
                  <a:pt x="418410" y="192546"/>
                  <a:pt x="421165" y="191315"/>
                  <a:pt x="423002" y="189468"/>
                </a:cubicBezTo>
                <a:cubicBezTo>
                  <a:pt x="424839" y="187621"/>
                  <a:pt x="426063" y="184851"/>
                  <a:pt x="426063" y="181773"/>
                </a:cubicBezTo>
                <a:lnTo>
                  <a:pt x="423839" y="176405"/>
                </a:lnTo>
                <a:close/>
                <a:moveTo>
                  <a:pt x="361552" y="173728"/>
                </a:moveTo>
                <a:cubicBezTo>
                  <a:pt x="380889" y="173728"/>
                  <a:pt x="380889" y="173728"/>
                  <a:pt x="380889" y="173728"/>
                </a:cubicBezTo>
                <a:cubicBezTo>
                  <a:pt x="381503" y="173728"/>
                  <a:pt x="382117" y="174035"/>
                  <a:pt x="382424" y="174342"/>
                </a:cubicBezTo>
                <a:cubicBezTo>
                  <a:pt x="383038" y="174955"/>
                  <a:pt x="383345" y="175569"/>
                  <a:pt x="383345" y="176183"/>
                </a:cubicBezTo>
                <a:cubicBezTo>
                  <a:pt x="383345" y="176796"/>
                  <a:pt x="383345" y="176796"/>
                  <a:pt x="383345" y="176796"/>
                </a:cubicBezTo>
                <a:cubicBezTo>
                  <a:pt x="383345" y="177410"/>
                  <a:pt x="383038" y="178024"/>
                  <a:pt x="382424" y="178331"/>
                </a:cubicBezTo>
                <a:cubicBezTo>
                  <a:pt x="382117" y="178944"/>
                  <a:pt x="381503" y="178944"/>
                  <a:pt x="380889" y="178944"/>
                </a:cubicBezTo>
                <a:cubicBezTo>
                  <a:pt x="379048" y="178944"/>
                  <a:pt x="379048" y="178944"/>
                  <a:pt x="379048" y="178944"/>
                </a:cubicBezTo>
                <a:cubicBezTo>
                  <a:pt x="379048" y="216686"/>
                  <a:pt x="379048" y="216686"/>
                  <a:pt x="379048" y="216686"/>
                </a:cubicBezTo>
                <a:cubicBezTo>
                  <a:pt x="383652" y="218221"/>
                  <a:pt x="387335" y="221289"/>
                  <a:pt x="390097" y="224971"/>
                </a:cubicBezTo>
                <a:cubicBezTo>
                  <a:pt x="392860" y="228960"/>
                  <a:pt x="394394" y="233563"/>
                  <a:pt x="394394" y="238472"/>
                </a:cubicBezTo>
                <a:cubicBezTo>
                  <a:pt x="394394" y="243075"/>
                  <a:pt x="393167" y="247064"/>
                  <a:pt x="391018" y="250746"/>
                </a:cubicBezTo>
                <a:cubicBezTo>
                  <a:pt x="388869" y="254121"/>
                  <a:pt x="385493" y="257190"/>
                  <a:pt x="381810" y="259031"/>
                </a:cubicBezTo>
                <a:cubicBezTo>
                  <a:pt x="381810" y="259338"/>
                  <a:pt x="381810" y="259338"/>
                  <a:pt x="381810" y="259338"/>
                </a:cubicBezTo>
                <a:cubicBezTo>
                  <a:pt x="381503" y="259338"/>
                  <a:pt x="381503" y="259338"/>
                  <a:pt x="381503" y="259338"/>
                </a:cubicBezTo>
                <a:cubicBezTo>
                  <a:pt x="360938" y="259338"/>
                  <a:pt x="360938" y="259338"/>
                  <a:pt x="360938" y="259338"/>
                </a:cubicBezTo>
                <a:cubicBezTo>
                  <a:pt x="360632" y="259338"/>
                  <a:pt x="360632" y="259338"/>
                  <a:pt x="360632" y="259338"/>
                </a:cubicBezTo>
                <a:cubicBezTo>
                  <a:pt x="360632" y="259031"/>
                  <a:pt x="360632" y="259031"/>
                  <a:pt x="360632" y="259031"/>
                </a:cubicBezTo>
                <a:cubicBezTo>
                  <a:pt x="356641" y="257190"/>
                  <a:pt x="353572" y="254121"/>
                  <a:pt x="351424" y="250746"/>
                </a:cubicBezTo>
                <a:cubicBezTo>
                  <a:pt x="349275" y="247064"/>
                  <a:pt x="348047" y="243075"/>
                  <a:pt x="348047" y="238472"/>
                </a:cubicBezTo>
                <a:cubicBezTo>
                  <a:pt x="348047" y="233563"/>
                  <a:pt x="349582" y="228960"/>
                  <a:pt x="352344" y="224971"/>
                </a:cubicBezTo>
                <a:cubicBezTo>
                  <a:pt x="355107" y="221289"/>
                  <a:pt x="358790" y="218221"/>
                  <a:pt x="363087" y="216686"/>
                </a:cubicBezTo>
                <a:cubicBezTo>
                  <a:pt x="363087" y="178944"/>
                  <a:pt x="363087" y="178944"/>
                  <a:pt x="363087" y="178944"/>
                </a:cubicBezTo>
                <a:cubicBezTo>
                  <a:pt x="361552" y="178944"/>
                  <a:pt x="361552" y="178944"/>
                  <a:pt x="361552" y="178944"/>
                </a:cubicBezTo>
                <a:cubicBezTo>
                  <a:pt x="360938" y="178944"/>
                  <a:pt x="360325" y="178944"/>
                  <a:pt x="359711" y="178331"/>
                </a:cubicBezTo>
                <a:cubicBezTo>
                  <a:pt x="359404" y="178024"/>
                  <a:pt x="359097" y="177410"/>
                  <a:pt x="359097" y="176796"/>
                </a:cubicBezTo>
                <a:cubicBezTo>
                  <a:pt x="359097" y="176183"/>
                  <a:pt x="359097" y="176183"/>
                  <a:pt x="359097" y="176183"/>
                </a:cubicBezTo>
                <a:cubicBezTo>
                  <a:pt x="359097" y="175569"/>
                  <a:pt x="359404" y="174955"/>
                  <a:pt x="359711" y="174342"/>
                </a:cubicBezTo>
                <a:cubicBezTo>
                  <a:pt x="360325" y="174035"/>
                  <a:pt x="360938" y="173728"/>
                  <a:pt x="361552" y="173728"/>
                </a:cubicBezTo>
                <a:close/>
                <a:moveTo>
                  <a:pt x="326338" y="173728"/>
                </a:moveTo>
                <a:cubicBezTo>
                  <a:pt x="339511" y="174649"/>
                  <a:pt x="339511" y="174649"/>
                  <a:pt x="339511" y="174649"/>
                </a:cubicBezTo>
                <a:cubicBezTo>
                  <a:pt x="341350" y="174649"/>
                  <a:pt x="342881" y="176183"/>
                  <a:pt x="342881" y="178025"/>
                </a:cubicBezTo>
                <a:cubicBezTo>
                  <a:pt x="342881" y="178638"/>
                  <a:pt x="342881" y="178638"/>
                  <a:pt x="342881" y="178638"/>
                </a:cubicBezTo>
                <a:cubicBezTo>
                  <a:pt x="342881" y="180480"/>
                  <a:pt x="341350" y="182014"/>
                  <a:pt x="339511" y="182014"/>
                </a:cubicBezTo>
                <a:cubicBezTo>
                  <a:pt x="327870" y="182628"/>
                  <a:pt x="327870" y="182628"/>
                  <a:pt x="327870" y="182628"/>
                </a:cubicBezTo>
                <a:cubicBezTo>
                  <a:pt x="327870" y="217616"/>
                  <a:pt x="327870" y="217616"/>
                  <a:pt x="327870" y="217616"/>
                </a:cubicBezTo>
                <a:cubicBezTo>
                  <a:pt x="328483" y="217616"/>
                  <a:pt x="328483" y="217616"/>
                  <a:pt x="328483" y="217616"/>
                </a:cubicBezTo>
                <a:cubicBezTo>
                  <a:pt x="329708" y="217616"/>
                  <a:pt x="330934" y="218537"/>
                  <a:pt x="330934" y="220071"/>
                </a:cubicBezTo>
                <a:cubicBezTo>
                  <a:pt x="330934" y="235724"/>
                  <a:pt x="330934" y="235724"/>
                  <a:pt x="330934" y="235724"/>
                </a:cubicBezTo>
                <a:cubicBezTo>
                  <a:pt x="332159" y="258742"/>
                  <a:pt x="332159" y="258742"/>
                  <a:pt x="332159" y="258742"/>
                </a:cubicBezTo>
                <a:cubicBezTo>
                  <a:pt x="332159" y="260890"/>
                  <a:pt x="329096" y="262732"/>
                  <a:pt x="326951" y="262732"/>
                </a:cubicBezTo>
                <a:cubicBezTo>
                  <a:pt x="326645" y="262732"/>
                  <a:pt x="326645" y="262732"/>
                  <a:pt x="326645" y="262732"/>
                </a:cubicBezTo>
                <a:cubicBezTo>
                  <a:pt x="324500" y="262732"/>
                  <a:pt x="321130" y="260890"/>
                  <a:pt x="321130" y="258742"/>
                </a:cubicBezTo>
                <a:cubicBezTo>
                  <a:pt x="322662" y="235724"/>
                  <a:pt x="322662" y="235724"/>
                  <a:pt x="322662" y="235724"/>
                </a:cubicBezTo>
                <a:cubicBezTo>
                  <a:pt x="322662" y="219458"/>
                  <a:pt x="322662" y="219458"/>
                  <a:pt x="322662" y="219458"/>
                </a:cubicBezTo>
                <a:cubicBezTo>
                  <a:pt x="322662" y="218537"/>
                  <a:pt x="323581" y="217616"/>
                  <a:pt x="324807" y="217616"/>
                </a:cubicBezTo>
                <a:cubicBezTo>
                  <a:pt x="325726" y="217616"/>
                  <a:pt x="325726" y="217616"/>
                  <a:pt x="325726" y="217616"/>
                </a:cubicBezTo>
                <a:cubicBezTo>
                  <a:pt x="325726" y="182628"/>
                  <a:pt x="325726" y="182628"/>
                  <a:pt x="325726" y="182628"/>
                </a:cubicBezTo>
                <a:cubicBezTo>
                  <a:pt x="313778" y="182014"/>
                  <a:pt x="313778" y="182014"/>
                  <a:pt x="313778" y="182014"/>
                </a:cubicBezTo>
                <a:cubicBezTo>
                  <a:pt x="311940" y="182014"/>
                  <a:pt x="310408" y="180480"/>
                  <a:pt x="310408" y="178638"/>
                </a:cubicBezTo>
                <a:cubicBezTo>
                  <a:pt x="310408" y="178025"/>
                  <a:pt x="310408" y="178025"/>
                  <a:pt x="310408" y="178025"/>
                </a:cubicBezTo>
                <a:cubicBezTo>
                  <a:pt x="310408" y="176183"/>
                  <a:pt x="311940" y="174649"/>
                  <a:pt x="313778" y="174649"/>
                </a:cubicBezTo>
                <a:cubicBezTo>
                  <a:pt x="326338" y="173728"/>
                  <a:pt x="326338" y="173728"/>
                  <a:pt x="326338" y="173728"/>
                </a:cubicBezTo>
                <a:close/>
                <a:moveTo>
                  <a:pt x="304504" y="173433"/>
                </a:moveTo>
                <a:lnTo>
                  <a:pt x="305685" y="173433"/>
                </a:lnTo>
                <a:lnTo>
                  <a:pt x="305980" y="179337"/>
                </a:lnTo>
                <a:lnTo>
                  <a:pt x="306335" y="179337"/>
                </a:lnTo>
                <a:cubicBezTo>
                  <a:pt x="307884" y="180546"/>
                  <a:pt x="307884" y="183568"/>
                  <a:pt x="308194" y="185684"/>
                </a:cubicBezTo>
                <a:lnTo>
                  <a:pt x="309070" y="185684"/>
                </a:lnTo>
                <a:cubicBezTo>
                  <a:pt x="309375" y="185684"/>
                  <a:pt x="309375" y="185684"/>
                  <a:pt x="309375" y="186016"/>
                </a:cubicBezTo>
                <a:cubicBezTo>
                  <a:pt x="309375" y="186348"/>
                  <a:pt x="309375" y="186348"/>
                  <a:pt x="309375" y="186348"/>
                </a:cubicBezTo>
                <a:cubicBezTo>
                  <a:pt x="309375" y="186680"/>
                  <a:pt x="309375" y="187012"/>
                  <a:pt x="309070" y="187012"/>
                </a:cubicBezTo>
                <a:cubicBezTo>
                  <a:pt x="301130" y="187012"/>
                  <a:pt x="301130" y="187012"/>
                  <a:pt x="301130" y="187012"/>
                </a:cubicBezTo>
                <a:cubicBezTo>
                  <a:pt x="300825" y="187012"/>
                  <a:pt x="300519" y="186680"/>
                  <a:pt x="300519" y="186348"/>
                </a:cubicBezTo>
                <a:cubicBezTo>
                  <a:pt x="300519" y="186016"/>
                  <a:pt x="300519" y="186016"/>
                  <a:pt x="300519" y="186016"/>
                </a:cubicBezTo>
                <a:cubicBezTo>
                  <a:pt x="300519" y="185684"/>
                  <a:pt x="300825" y="185684"/>
                  <a:pt x="301130" y="185684"/>
                </a:cubicBezTo>
                <a:lnTo>
                  <a:pt x="301995" y="185684"/>
                </a:lnTo>
                <a:cubicBezTo>
                  <a:pt x="302305" y="183568"/>
                  <a:pt x="301995" y="180546"/>
                  <a:pt x="303855" y="179337"/>
                </a:cubicBezTo>
                <a:lnTo>
                  <a:pt x="304209" y="179337"/>
                </a:lnTo>
                <a:close/>
                <a:moveTo>
                  <a:pt x="19304" y="171088"/>
                </a:moveTo>
                <a:cubicBezTo>
                  <a:pt x="23001" y="170481"/>
                  <a:pt x="30086" y="172301"/>
                  <a:pt x="30702" y="175942"/>
                </a:cubicBezTo>
                <a:cubicBezTo>
                  <a:pt x="26081" y="175942"/>
                  <a:pt x="21460" y="175942"/>
                  <a:pt x="16840" y="175942"/>
                </a:cubicBezTo>
                <a:cubicBezTo>
                  <a:pt x="16532" y="175335"/>
                  <a:pt x="16532" y="174728"/>
                  <a:pt x="16532" y="174425"/>
                </a:cubicBezTo>
                <a:cubicBezTo>
                  <a:pt x="16840" y="172301"/>
                  <a:pt x="16840" y="171391"/>
                  <a:pt x="19304" y="171088"/>
                </a:cubicBezTo>
                <a:close/>
                <a:moveTo>
                  <a:pt x="147006" y="169168"/>
                </a:moveTo>
                <a:cubicBezTo>
                  <a:pt x="144860" y="171004"/>
                  <a:pt x="142407" y="173148"/>
                  <a:pt x="140567" y="175597"/>
                </a:cubicBezTo>
                <a:cubicBezTo>
                  <a:pt x="153446" y="175597"/>
                  <a:pt x="153446" y="175597"/>
                  <a:pt x="153446" y="175597"/>
                </a:cubicBezTo>
                <a:cubicBezTo>
                  <a:pt x="151606" y="173148"/>
                  <a:pt x="149460" y="171004"/>
                  <a:pt x="147006" y="169168"/>
                </a:cubicBezTo>
                <a:close/>
                <a:moveTo>
                  <a:pt x="198303" y="168273"/>
                </a:moveTo>
                <a:cubicBezTo>
                  <a:pt x="199837" y="169190"/>
                  <a:pt x="201678" y="171023"/>
                  <a:pt x="202905" y="170717"/>
                </a:cubicBezTo>
                <a:cubicBezTo>
                  <a:pt x="204132" y="170412"/>
                  <a:pt x="204746" y="170106"/>
                  <a:pt x="205973" y="170106"/>
                </a:cubicBezTo>
                <a:cubicBezTo>
                  <a:pt x="207507" y="170106"/>
                  <a:pt x="208121" y="170412"/>
                  <a:pt x="209348" y="170717"/>
                </a:cubicBezTo>
                <a:cubicBezTo>
                  <a:pt x="210576" y="171023"/>
                  <a:pt x="212416" y="169190"/>
                  <a:pt x="213950" y="168273"/>
                </a:cubicBezTo>
                <a:lnTo>
                  <a:pt x="219578" y="168635"/>
                </a:lnTo>
                <a:lnTo>
                  <a:pt x="213950" y="170412"/>
                </a:lnTo>
                <a:cubicBezTo>
                  <a:pt x="211496" y="172245"/>
                  <a:pt x="211189" y="172856"/>
                  <a:pt x="211496" y="175911"/>
                </a:cubicBezTo>
                <a:cubicBezTo>
                  <a:pt x="211496" y="178049"/>
                  <a:pt x="212416" y="179577"/>
                  <a:pt x="213644" y="181715"/>
                </a:cubicBezTo>
                <a:cubicBezTo>
                  <a:pt x="216712" y="187214"/>
                  <a:pt x="222848" y="188131"/>
                  <a:pt x="228677" y="188131"/>
                </a:cubicBezTo>
                <a:cubicBezTo>
                  <a:pt x="234200" y="188131"/>
                  <a:pt x="239723" y="184465"/>
                  <a:pt x="241564" y="179271"/>
                </a:cubicBezTo>
                <a:cubicBezTo>
                  <a:pt x="241870" y="178049"/>
                  <a:pt x="241870" y="176827"/>
                  <a:pt x="241870" y="175605"/>
                </a:cubicBezTo>
                <a:cubicBezTo>
                  <a:pt x="241870" y="173772"/>
                  <a:pt x="241257" y="172856"/>
                  <a:pt x="240336" y="171328"/>
                </a:cubicBezTo>
                <a:lnTo>
                  <a:pt x="236258" y="169706"/>
                </a:lnTo>
                <a:lnTo>
                  <a:pt x="242484" y="170106"/>
                </a:lnTo>
                <a:cubicBezTo>
                  <a:pt x="244325" y="171023"/>
                  <a:pt x="244939" y="171328"/>
                  <a:pt x="247086" y="171328"/>
                </a:cubicBezTo>
                <a:cubicBezTo>
                  <a:pt x="247086" y="172856"/>
                  <a:pt x="247086" y="174078"/>
                  <a:pt x="247086" y="175605"/>
                </a:cubicBezTo>
                <a:cubicBezTo>
                  <a:pt x="245552" y="175300"/>
                  <a:pt x="244632" y="176522"/>
                  <a:pt x="243711" y="177744"/>
                </a:cubicBezTo>
                <a:cubicBezTo>
                  <a:pt x="243404" y="178355"/>
                  <a:pt x="243098" y="178966"/>
                  <a:pt x="242177" y="181104"/>
                </a:cubicBezTo>
                <a:cubicBezTo>
                  <a:pt x="241257" y="182937"/>
                  <a:pt x="239109" y="185687"/>
                  <a:pt x="236348" y="187520"/>
                </a:cubicBezTo>
                <a:cubicBezTo>
                  <a:pt x="233280" y="189658"/>
                  <a:pt x="230518" y="189964"/>
                  <a:pt x="226837" y="189658"/>
                </a:cubicBezTo>
                <a:cubicBezTo>
                  <a:pt x="222234" y="189658"/>
                  <a:pt x="217632" y="188742"/>
                  <a:pt x="214564" y="185381"/>
                </a:cubicBezTo>
                <a:cubicBezTo>
                  <a:pt x="211189" y="181715"/>
                  <a:pt x="211496" y="180188"/>
                  <a:pt x="209962" y="175911"/>
                </a:cubicBezTo>
                <a:cubicBezTo>
                  <a:pt x="209348" y="174689"/>
                  <a:pt x="209041" y="173467"/>
                  <a:pt x="207814" y="173161"/>
                </a:cubicBezTo>
                <a:cubicBezTo>
                  <a:pt x="207507" y="173161"/>
                  <a:pt x="206894" y="173161"/>
                  <a:pt x="205973" y="173161"/>
                </a:cubicBezTo>
                <a:cubicBezTo>
                  <a:pt x="205360" y="173161"/>
                  <a:pt x="204746" y="173161"/>
                  <a:pt x="204439" y="173161"/>
                </a:cubicBezTo>
                <a:cubicBezTo>
                  <a:pt x="203212" y="173467"/>
                  <a:pt x="202598" y="174689"/>
                  <a:pt x="202292" y="175911"/>
                </a:cubicBezTo>
                <a:cubicBezTo>
                  <a:pt x="200451" y="180188"/>
                  <a:pt x="201064" y="181715"/>
                  <a:pt x="197689" y="185381"/>
                </a:cubicBezTo>
                <a:cubicBezTo>
                  <a:pt x="194621" y="188742"/>
                  <a:pt x="190019" y="189658"/>
                  <a:pt x="185417" y="189658"/>
                </a:cubicBezTo>
                <a:cubicBezTo>
                  <a:pt x="181735" y="189964"/>
                  <a:pt x="178974" y="189658"/>
                  <a:pt x="175906" y="187520"/>
                </a:cubicBezTo>
                <a:cubicBezTo>
                  <a:pt x="172838" y="185687"/>
                  <a:pt x="170997" y="182937"/>
                  <a:pt x="170076" y="181104"/>
                </a:cubicBezTo>
                <a:cubicBezTo>
                  <a:pt x="169156" y="178966"/>
                  <a:pt x="168849" y="178355"/>
                  <a:pt x="168542" y="177744"/>
                </a:cubicBezTo>
                <a:cubicBezTo>
                  <a:pt x="167622" y="176522"/>
                  <a:pt x="166701" y="175300"/>
                  <a:pt x="165167" y="175605"/>
                </a:cubicBezTo>
                <a:cubicBezTo>
                  <a:pt x="165167" y="174078"/>
                  <a:pt x="165167" y="172856"/>
                  <a:pt x="165167" y="171328"/>
                </a:cubicBezTo>
                <a:cubicBezTo>
                  <a:pt x="167008" y="171328"/>
                  <a:pt x="167929" y="171023"/>
                  <a:pt x="169769" y="170106"/>
                </a:cubicBezTo>
                <a:lnTo>
                  <a:pt x="175996" y="169706"/>
                </a:lnTo>
                <a:lnTo>
                  <a:pt x="171917" y="171328"/>
                </a:lnTo>
                <a:cubicBezTo>
                  <a:pt x="170997" y="172856"/>
                  <a:pt x="170383" y="173772"/>
                  <a:pt x="170383" y="175605"/>
                </a:cubicBezTo>
                <a:cubicBezTo>
                  <a:pt x="170076" y="176827"/>
                  <a:pt x="170383" y="178049"/>
                  <a:pt x="170690" y="179271"/>
                </a:cubicBezTo>
                <a:cubicBezTo>
                  <a:pt x="172531" y="184465"/>
                  <a:pt x="178053" y="188131"/>
                  <a:pt x="183269" y="188131"/>
                </a:cubicBezTo>
                <a:cubicBezTo>
                  <a:pt x="189099" y="188131"/>
                  <a:pt x="195542" y="187214"/>
                  <a:pt x="198610" y="181715"/>
                </a:cubicBezTo>
                <a:cubicBezTo>
                  <a:pt x="199837" y="179577"/>
                  <a:pt x="200758" y="178049"/>
                  <a:pt x="200758" y="175911"/>
                </a:cubicBezTo>
                <a:cubicBezTo>
                  <a:pt x="201064" y="172856"/>
                  <a:pt x="200758" y="172245"/>
                  <a:pt x="198303" y="170412"/>
                </a:cubicBezTo>
                <a:lnTo>
                  <a:pt x="192676" y="168635"/>
                </a:lnTo>
                <a:close/>
                <a:moveTo>
                  <a:pt x="270408" y="167935"/>
                </a:moveTo>
                <a:cubicBezTo>
                  <a:pt x="270102" y="167935"/>
                  <a:pt x="269796" y="168242"/>
                  <a:pt x="269796" y="168242"/>
                </a:cubicBezTo>
                <a:cubicBezTo>
                  <a:pt x="269490" y="168548"/>
                  <a:pt x="269490" y="168854"/>
                  <a:pt x="269490" y="169161"/>
                </a:cubicBezTo>
                <a:cubicBezTo>
                  <a:pt x="269490" y="169161"/>
                  <a:pt x="269490" y="169467"/>
                  <a:pt x="269796" y="169773"/>
                </a:cubicBezTo>
                <a:cubicBezTo>
                  <a:pt x="269796" y="169773"/>
                  <a:pt x="270102" y="170080"/>
                  <a:pt x="270408" y="170080"/>
                </a:cubicBezTo>
                <a:cubicBezTo>
                  <a:pt x="270714" y="170080"/>
                  <a:pt x="271020" y="169773"/>
                  <a:pt x="271020" y="169773"/>
                </a:cubicBezTo>
                <a:cubicBezTo>
                  <a:pt x="271326" y="169467"/>
                  <a:pt x="271326" y="169161"/>
                  <a:pt x="271326" y="169161"/>
                </a:cubicBezTo>
                <a:cubicBezTo>
                  <a:pt x="271326" y="168854"/>
                  <a:pt x="271326" y="168548"/>
                  <a:pt x="271020" y="168242"/>
                </a:cubicBezTo>
                <a:cubicBezTo>
                  <a:pt x="271020" y="168242"/>
                  <a:pt x="270714" y="167935"/>
                  <a:pt x="270408" y="167935"/>
                </a:cubicBezTo>
                <a:close/>
                <a:moveTo>
                  <a:pt x="415650" y="166201"/>
                </a:moveTo>
                <a:cubicBezTo>
                  <a:pt x="423013" y="166201"/>
                  <a:pt x="429763" y="167731"/>
                  <a:pt x="434672" y="170486"/>
                </a:cubicBezTo>
                <a:cubicBezTo>
                  <a:pt x="439581" y="172935"/>
                  <a:pt x="442956" y="176608"/>
                  <a:pt x="442956" y="180893"/>
                </a:cubicBezTo>
                <a:cubicBezTo>
                  <a:pt x="442956" y="185178"/>
                  <a:pt x="439581" y="188851"/>
                  <a:pt x="434672" y="191300"/>
                </a:cubicBezTo>
                <a:cubicBezTo>
                  <a:pt x="429763" y="193748"/>
                  <a:pt x="423013" y="195279"/>
                  <a:pt x="415650" y="195279"/>
                </a:cubicBezTo>
                <a:cubicBezTo>
                  <a:pt x="408286" y="195279"/>
                  <a:pt x="401536" y="193748"/>
                  <a:pt x="396627" y="191300"/>
                </a:cubicBezTo>
                <a:cubicBezTo>
                  <a:pt x="391411" y="188851"/>
                  <a:pt x="388343" y="185178"/>
                  <a:pt x="388343" y="180893"/>
                </a:cubicBezTo>
                <a:cubicBezTo>
                  <a:pt x="388343" y="176608"/>
                  <a:pt x="391411" y="172935"/>
                  <a:pt x="396627" y="170486"/>
                </a:cubicBezTo>
                <a:cubicBezTo>
                  <a:pt x="401536" y="167731"/>
                  <a:pt x="408286" y="166201"/>
                  <a:pt x="415650" y="166201"/>
                </a:cubicBezTo>
                <a:close/>
                <a:moveTo>
                  <a:pt x="227374" y="166173"/>
                </a:moveTo>
                <a:lnTo>
                  <a:pt x="236258" y="169706"/>
                </a:lnTo>
                <a:lnTo>
                  <a:pt x="219578" y="168635"/>
                </a:lnTo>
                <a:close/>
                <a:moveTo>
                  <a:pt x="184880" y="166173"/>
                </a:moveTo>
                <a:lnTo>
                  <a:pt x="192676" y="168635"/>
                </a:lnTo>
                <a:lnTo>
                  <a:pt x="175996" y="169706"/>
                </a:lnTo>
                <a:close/>
                <a:moveTo>
                  <a:pt x="270408" y="164872"/>
                </a:moveTo>
                <a:cubicBezTo>
                  <a:pt x="271938" y="164872"/>
                  <a:pt x="272856" y="165485"/>
                  <a:pt x="273468" y="166097"/>
                </a:cubicBezTo>
                <a:cubicBezTo>
                  <a:pt x="274080" y="166710"/>
                  <a:pt x="274692" y="167323"/>
                  <a:pt x="274998" y="168242"/>
                </a:cubicBezTo>
                <a:cubicBezTo>
                  <a:pt x="275304" y="168854"/>
                  <a:pt x="275610" y="169161"/>
                  <a:pt x="275916" y="169467"/>
                </a:cubicBezTo>
                <a:cubicBezTo>
                  <a:pt x="276528" y="169773"/>
                  <a:pt x="277140" y="170080"/>
                  <a:pt x="277752" y="170080"/>
                </a:cubicBezTo>
                <a:cubicBezTo>
                  <a:pt x="278364" y="170080"/>
                  <a:pt x="278976" y="170692"/>
                  <a:pt x="279588" y="170999"/>
                </a:cubicBezTo>
                <a:cubicBezTo>
                  <a:pt x="280200" y="171611"/>
                  <a:pt x="280506" y="172530"/>
                  <a:pt x="280506" y="173450"/>
                </a:cubicBezTo>
                <a:cubicBezTo>
                  <a:pt x="282954" y="207454"/>
                  <a:pt x="282954" y="207454"/>
                  <a:pt x="282954" y="207454"/>
                </a:cubicBezTo>
                <a:cubicBezTo>
                  <a:pt x="282954" y="208373"/>
                  <a:pt x="282648" y="208985"/>
                  <a:pt x="282036" y="209598"/>
                </a:cubicBezTo>
                <a:cubicBezTo>
                  <a:pt x="281424" y="210211"/>
                  <a:pt x="280812" y="210517"/>
                  <a:pt x="279894" y="210517"/>
                </a:cubicBezTo>
                <a:cubicBezTo>
                  <a:pt x="279588" y="210517"/>
                  <a:pt x="279588" y="210517"/>
                  <a:pt x="279588" y="210517"/>
                </a:cubicBezTo>
                <a:cubicBezTo>
                  <a:pt x="277140" y="210517"/>
                  <a:pt x="277140" y="210517"/>
                  <a:pt x="277140" y="210517"/>
                </a:cubicBezTo>
                <a:cubicBezTo>
                  <a:pt x="276222" y="210517"/>
                  <a:pt x="275304" y="211130"/>
                  <a:pt x="274692" y="211743"/>
                </a:cubicBezTo>
                <a:cubicBezTo>
                  <a:pt x="274080" y="212355"/>
                  <a:pt x="273468" y="213274"/>
                  <a:pt x="273468" y="214193"/>
                </a:cubicBezTo>
                <a:cubicBezTo>
                  <a:pt x="273468" y="217563"/>
                  <a:pt x="273468" y="217563"/>
                  <a:pt x="273468" y="217563"/>
                </a:cubicBezTo>
                <a:cubicBezTo>
                  <a:pt x="274998" y="217563"/>
                  <a:pt x="274998" y="217563"/>
                  <a:pt x="274998" y="217563"/>
                </a:cubicBezTo>
                <a:cubicBezTo>
                  <a:pt x="275304" y="217563"/>
                  <a:pt x="275610" y="217869"/>
                  <a:pt x="275610" y="218788"/>
                </a:cubicBezTo>
                <a:cubicBezTo>
                  <a:pt x="275610" y="219401"/>
                  <a:pt x="275304" y="220014"/>
                  <a:pt x="274998" y="220014"/>
                </a:cubicBezTo>
                <a:cubicBezTo>
                  <a:pt x="271938" y="220014"/>
                  <a:pt x="271938" y="220014"/>
                  <a:pt x="271938" y="220014"/>
                </a:cubicBezTo>
                <a:cubicBezTo>
                  <a:pt x="271938" y="228285"/>
                  <a:pt x="271938" y="228285"/>
                  <a:pt x="271938" y="228285"/>
                </a:cubicBezTo>
                <a:lnTo>
                  <a:pt x="271068" y="229156"/>
                </a:lnTo>
                <a:lnTo>
                  <a:pt x="272241" y="230793"/>
                </a:lnTo>
                <a:cubicBezTo>
                  <a:pt x="273471" y="233244"/>
                  <a:pt x="275008" y="235696"/>
                  <a:pt x="276546" y="238148"/>
                </a:cubicBezTo>
                <a:cubicBezTo>
                  <a:pt x="282388" y="249180"/>
                  <a:pt x="285463" y="259600"/>
                  <a:pt x="270088" y="268180"/>
                </a:cubicBezTo>
                <a:cubicBezTo>
                  <a:pt x="269166" y="268487"/>
                  <a:pt x="268551" y="269100"/>
                  <a:pt x="267936" y="269713"/>
                </a:cubicBezTo>
                <a:lnTo>
                  <a:pt x="267441" y="271193"/>
                </a:lnTo>
                <a:lnTo>
                  <a:pt x="270765" y="274350"/>
                </a:lnTo>
                <a:cubicBezTo>
                  <a:pt x="272610" y="276496"/>
                  <a:pt x="274455" y="278949"/>
                  <a:pt x="275992" y="281095"/>
                </a:cubicBezTo>
                <a:cubicBezTo>
                  <a:pt x="278760" y="285694"/>
                  <a:pt x="280297" y="291213"/>
                  <a:pt x="280297" y="296119"/>
                </a:cubicBezTo>
                <a:cubicBezTo>
                  <a:pt x="279990" y="301024"/>
                  <a:pt x="278452" y="305930"/>
                  <a:pt x="274762" y="309916"/>
                </a:cubicBezTo>
                <a:cubicBezTo>
                  <a:pt x="272917" y="312062"/>
                  <a:pt x="270765" y="313901"/>
                  <a:pt x="267997" y="315128"/>
                </a:cubicBezTo>
                <a:cubicBezTo>
                  <a:pt x="265537" y="316048"/>
                  <a:pt x="262769" y="316661"/>
                  <a:pt x="259694" y="316661"/>
                </a:cubicBezTo>
                <a:cubicBezTo>
                  <a:pt x="255389" y="316661"/>
                  <a:pt x="254467" y="315741"/>
                  <a:pt x="251699" y="314208"/>
                </a:cubicBezTo>
                <a:cubicBezTo>
                  <a:pt x="251084" y="313901"/>
                  <a:pt x="250777" y="313595"/>
                  <a:pt x="250469" y="313288"/>
                </a:cubicBezTo>
                <a:cubicBezTo>
                  <a:pt x="250162" y="313288"/>
                  <a:pt x="250162" y="313288"/>
                  <a:pt x="250162" y="313288"/>
                </a:cubicBezTo>
                <a:cubicBezTo>
                  <a:pt x="250162" y="312982"/>
                  <a:pt x="250162" y="312982"/>
                  <a:pt x="250162" y="312982"/>
                </a:cubicBezTo>
                <a:cubicBezTo>
                  <a:pt x="247087" y="309916"/>
                  <a:pt x="247087" y="309916"/>
                  <a:pt x="245549" y="306236"/>
                </a:cubicBezTo>
                <a:cubicBezTo>
                  <a:pt x="245242" y="305623"/>
                  <a:pt x="245242" y="305623"/>
                  <a:pt x="245242" y="305623"/>
                </a:cubicBezTo>
                <a:cubicBezTo>
                  <a:pt x="245242" y="305317"/>
                  <a:pt x="245242" y="305317"/>
                  <a:pt x="245242" y="305317"/>
                </a:cubicBezTo>
                <a:lnTo>
                  <a:pt x="244066" y="301212"/>
                </a:lnTo>
                <a:lnTo>
                  <a:pt x="232807" y="294959"/>
                </a:lnTo>
                <a:cubicBezTo>
                  <a:pt x="231235" y="291821"/>
                  <a:pt x="231465" y="287765"/>
                  <a:pt x="231772" y="282866"/>
                </a:cubicBezTo>
                <a:cubicBezTo>
                  <a:pt x="231772" y="281642"/>
                  <a:pt x="232078" y="280111"/>
                  <a:pt x="232078" y="278581"/>
                </a:cubicBezTo>
                <a:lnTo>
                  <a:pt x="233561" y="277101"/>
                </a:lnTo>
                <a:lnTo>
                  <a:pt x="235125" y="264825"/>
                </a:lnTo>
                <a:lnTo>
                  <a:pt x="227714" y="269751"/>
                </a:lnTo>
                <a:cubicBezTo>
                  <a:pt x="225254" y="272817"/>
                  <a:pt x="223716" y="276803"/>
                  <a:pt x="223716" y="281095"/>
                </a:cubicBezTo>
                <a:cubicBezTo>
                  <a:pt x="223716" y="283548"/>
                  <a:pt x="223716" y="285387"/>
                  <a:pt x="224024" y="287227"/>
                </a:cubicBezTo>
                <a:cubicBezTo>
                  <a:pt x="224331" y="289067"/>
                  <a:pt x="224946" y="290906"/>
                  <a:pt x="225869" y="292746"/>
                </a:cubicBezTo>
                <a:cubicBezTo>
                  <a:pt x="228636" y="298265"/>
                  <a:pt x="232326" y="302864"/>
                  <a:pt x="235709" y="307156"/>
                </a:cubicBezTo>
                <a:cubicBezTo>
                  <a:pt x="240629" y="312982"/>
                  <a:pt x="245242" y="318501"/>
                  <a:pt x="248009" y="326166"/>
                </a:cubicBezTo>
                <a:cubicBezTo>
                  <a:pt x="248009" y="326472"/>
                  <a:pt x="248009" y="326472"/>
                  <a:pt x="248009" y="326472"/>
                </a:cubicBezTo>
                <a:lnTo>
                  <a:pt x="249036" y="335944"/>
                </a:lnTo>
                <a:lnTo>
                  <a:pt x="249867" y="335944"/>
                </a:lnTo>
                <a:cubicBezTo>
                  <a:pt x="250170" y="335944"/>
                  <a:pt x="250474" y="336247"/>
                  <a:pt x="250474" y="336247"/>
                </a:cubicBezTo>
                <a:cubicBezTo>
                  <a:pt x="250777" y="336551"/>
                  <a:pt x="250777" y="336551"/>
                  <a:pt x="250777" y="336854"/>
                </a:cubicBezTo>
                <a:cubicBezTo>
                  <a:pt x="250777" y="340798"/>
                  <a:pt x="250777" y="340798"/>
                  <a:pt x="250777" y="340798"/>
                </a:cubicBezTo>
                <a:cubicBezTo>
                  <a:pt x="250777" y="340798"/>
                  <a:pt x="250777" y="341101"/>
                  <a:pt x="250474" y="341405"/>
                </a:cubicBezTo>
                <a:cubicBezTo>
                  <a:pt x="250474" y="341405"/>
                  <a:pt x="250170" y="341405"/>
                  <a:pt x="249867" y="341405"/>
                </a:cubicBezTo>
                <a:lnTo>
                  <a:pt x="249580" y="341405"/>
                </a:lnTo>
                <a:lnTo>
                  <a:pt x="255989" y="343871"/>
                </a:lnTo>
                <a:cubicBezTo>
                  <a:pt x="257821" y="346010"/>
                  <a:pt x="259043" y="348761"/>
                  <a:pt x="259043" y="351817"/>
                </a:cubicBezTo>
                <a:cubicBezTo>
                  <a:pt x="259043" y="354567"/>
                  <a:pt x="257821" y="357318"/>
                  <a:pt x="255989" y="359457"/>
                </a:cubicBezTo>
                <a:cubicBezTo>
                  <a:pt x="253850" y="361290"/>
                  <a:pt x="251101" y="362513"/>
                  <a:pt x="248047" y="362513"/>
                </a:cubicBezTo>
                <a:cubicBezTo>
                  <a:pt x="244992" y="362513"/>
                  <a:pt x="242243" y="361290"/>
                  <a:pt x="240410" y="359457"/>
                </a:cubicBezTo>
                <a:cubicBezTo>
                  <a:pt x="238272" y="357318"/>
                  <a:pt x="237050" y="354567"/>
                  <a:pt x="237050" y="351817"/>
                </a:cubicBezTo>
                <a:cubicBezTo>
                  <a:pt x="237050" y="348761"/>
                  <a:pt x="238272" y="346010"/>
                  <a:pt x="240410" y="343871"/>
                </a:cubicBezTo>
                <a:lnTo>
                  <a:pt x="246572" y="341405"/>
                </a:lnTo>
                <a:lnTo>
                  <a:pt x="246226" y="341405"/>
                </a:lnTo>
                <a:cubicBezTo>
                  <a:pt x="245923" y="341405"/>
                  <a:pt x="245923" y="341405"/>
                  <a:pt x="245620" y="341405"/>
                </a:cubicBezTo>
                <a:cubicBezTo>
                  <a:pt x="245620" y="341101"/>
                  <a:pt x="245316" y="340798"/>
                  <a:pt x="245316" y="340798"/>
                </a:cubicBezTo>
                <a:cubicBezTo>
                  <a:pt x="245316" y="336854"/>
                  <a:pt x="245316" y="336854"/>
                  <a:pt x="245316" y="336854"/>
                </a:cubicBezTo>
                <a:cubicBezTo>
                  <a:pt x="245316" y="336551"/>
                  <a:pt x="245620" y="336551"/>
                  <a:pt x="245620" y="336247"/>
                </a:cubicBezTo>
                <a:cubicBezTo>
                  <a:pt x="245923" y="336247"/>
                  <a:pt x="245923" y="335944"/>
                  <a:pt x="246226" y="335944"/>
                </a:cubicBezTo>
                <a:lnTo>
                  <a:pt x="246536" y="335944"/>
                </a:lnTo>
                <a:lnTo>
                  <a:pt x="245549" y="327085"/>
                </a:lnTo>
                <a:cubicBezTo>
                  <a:pt x="242782" y="319727"/>
                  <a:pt x="238477" y="314208"/>
                  <a:pt x="233864" y="308689"/>
                </a:cubicBezTo>
                <a:cubicBezTo>
                  <a:pt x="230174" y="304090"/>
                  <a:pt x="226484" y="299491"/>
                  <a:pt x="223716" y="293972"/>
                </a:cubicBezTo>
                <a:cubicBezTo>
                  <a:pt x="223409" y="293972"/>
                  <a:pt x="223409" y="293972"/>
                  <a:pt x="223409" y="293972"/>
                </a:cubicBezTo>
                <a:cubicBezTo>
                  <a:pt x="222794" y="291520"/>
                  <a:pt x="222179" y="289680"/>
                  <a:pt x="221564" y="287840"/>
                </a:cubicBezTo>
                <a:cubicBezTo>
                  <a:pt x="221256" y="285694"/>
                  <a:pt x="221256" y="283548"/>
                  <a:pt x="221256" y="281095"/>
                </a:cubicBezTo>
                <a:cubicBezTo>
                  <a:pt x="221256" y="276189"/>
                  <a:pt x="223101" y="271590"/>
                  <a:pt x="225561" y="268218"/>
                </a:cubicBezTo>
                <a:lnTo>
                  <a:pt x="235916" y="261426"/>
                </a:lnTo>
                <a:lnTo>
                  <a:pt x="240094" y="244943"/>
                </a:lnTo>
                <a:lnTo>
                  <a:pt x="244441" y="240121"/>
                </a:lnTo>
                <a:lnTo>
                  <a:pt x="241565" y="236664"/>
                </a:lnTo>
                <a:cubicBezTo>
                  <a:pt x="241565" y="236664"/>
                  <a:pt x="241257" y="236664"/>
                  <a:pt x="241257" y="236664"/>
                </a:cubicBezTo>
                <a:cubicBezTo>
                  <a:pt x="240641" y="236664"/>
                  <a:pt x="239716" y="236971"/>
                  <a:pt x="239100" y="236971"/>
                </a:cubicBezTo>
                <a:cubicBezTo>
                  <a:pt x="238175" y="237277"/>
                  <a:pt x="237558" y="237584"/>
                  <a:pt x="236634" y="237891"/>
                </a:cubicBezTo>
                <a:lnTo>
                  <a:pt x="236230" y="237088"/>
                </a:lnTo>
                <a:lnTo>
                  <a:pt x="236607" y="238758"/>
                </a:lnTo>
                <a:cubicBezTo>
                  <a:pt x="235379" y="239664"/>
                  <a:pt x="234458" y="240873"/>
                  <a:pt x="233537" y="240873"/>
                </a:cubicBezTo>
                <a:cubicBezTo>
                  <a:pt x="231695" y="241478"/>
                  <a:pt x="229853" y="241176"/>
                  <a:pt x="229546" y="239060"/>
                </a:cubicBezTo>
                <a:cubicBezTo>
                  <a:pt x="228932" y="236944"/>
                  <a:pt x="230467" y="235735"/>
                  <a:pt x="232309" y="235433"/>
                </a:cubicBezTo>
                <a:cubicBezTo>
                  <a:pt x="233230" y="235131"/>
                  <a:pt x="234458" y="235735"/>
                  <a:pt x="235993" y="236038"/>
                </a:cubicBezTo>
                <a:lnTo>
                  <a:pt x="236126" y="236628"/>
                </a:lnTo>
                <a:lnTo>
                  <a:pt x="238791" y="235744"/>
                </a:lnTo>
                <a:cubicBezTo>
                  <a:pt x="239408" y="235744"/>
                  <a:pt x="240333" y="235438"/>
                  <a:pt x="240949" y="235438"/>
                </a:cubicBezTo>
                <a:cubicBezTo>
                  <a:pt x="241257" y="235438"/>
                  <a:pt x="241257" y="235438"/>
                  <a:pt x="241565" y="235438"/>
                </a:cubicBezTo>
                <a:lnTo>
                  <a:pt x="245127" y="239360"/>
                </a:lnTo>
                <a:lnTo>
                  <a:pt x="248663" y="235438"/>
                </a:lnTo>
                <a:cubicBezTo>
                  <a:pt x="248663" y="235438"/>
                  <a:pt x="248969" y="235438"/>
                  <a:pt x="248969" y="235438"/>
                </a:cubicBezTo>
                <a:cubicBezTo>
                  <a:pt x="249887" y="235438"/>
                  <a:pt x="250806" y="235744"/>
                  <a:pt x="251418" y="235744"/>
                </a:cubicBezTo>
                <a:lnTo>
                  <a:pt x="253787" y="236535"/>
                </a:lnTo>
                <a:lnTo>
                  <a:pt x="253899" y="236038"/>
                </a:lnTo>
                <a:cubicBezTo>
                  <a:pt x="255739" y="235735"/>
                  <a:pt x="256659" y="235131"/>
                  <a:pt x="257885" y="235433"/>
                </a:cubicBezTo>
                <a:cubicBezTo>
                  <a:pt x="259724" y="235735"/>
                  <a:pt x="261257" y="236944"/>
                  <a:pt x="260644" y="239060"/>
                </a:cubicBezTo>
                <a:cubicBezTo>
                  <a:pt x="260338" y="241176"/>
                  <a:pt x="258498" y="241478"/>
                  <a:pt x="256659" y="240873"/>
                </a:cubicBezTo>
                <a:cubicBezTo>
                  <a:pt x="255432" y="240873"/>
                  <a:pt x="254819" y="239664"/>
                  <a:pt x="253286" y="238758"/>
                </a:cubicBezTo>
                <a:lnTo>
                  <a:pt x="253488" y="237863"/>
                </a:lnTo>
                <a:lnTo>
                  <a:pt x="251112" y="236971"/>
                </a:lnTo>
                <a:cubicBezTo>
                  <a:pt x="250500" y="236971"/>
                  <a:pt x="249581" y="236664"/>
                  <a:pt x="248969" y="236664"/>
                </a:cubicBezTo>
                <a:cubicBezTo>
                  <a:pt x="248663" y="236664"/>
                  <a:pt x="248663" y="236664"/>
                  <a:pt x="248663" y="236664"/>
                </a:cubicBezTo>
                <a:lnTo>
                  <a:pt x="245751" y="240048"/>
                </a:lnTo>
                <a:lnTo>
                  <a:pt x="250196" y="244943"/>
                </a:lnTo>
                <a:lnTo>
                  <a:pt x="254619" y="262269"/>
                </a:lnTo>
                <a:lnTo>
                  <a:pt x="255082" y="262392"/>
                </a:lnTo>
                <a:cubicBezTo>
                  <a:pt x="256927" y="263006"/>
                  <a:pt x="258464" y="263925"/>
                  <a:pt x="259694" y="264845"/>
                </a:cubicBezTo>
                <a:cubicBezTo>
                  <a:pt x="261232" y="265765"/>
                  <a:pt x="262769" y="266685"/>
                  <a:pt x="264307" y="268218"/>
                </a:cubicBezTo>
                <a:lnTo>
                  <a:pt x="266704" y="270494"/>
                </a:lnTo>
                <a:lnTo>
                  <a:pt x="267321" y="268793"/>
                </a:lnTo>
                <a:cubicBezTo>
                  <a:pt x="267936" y="268180"/>
                  <a:pt x="268858" y="267567"/>
                  <a:pt x="269473" y="267261"/>
                </a:cubicBezTo>
                <a:cubicBezTo>
                  <a:pt x="283926" y="259293"/>
                  <a:pt x="281466" y="249180"/>
                  <a:pt x="275623" y="238454"/>
                </a:cubicBezTo>
                <a:cubicBezTo>
                  <a:pt x="274086" y="236309"/>
                  <a:pt x="272856" y="233857"/>
                  <a:pt x="271318" y="231405"/>
                </a:cubicBezTo>
                <a:cubicBezTo>
                  <a:pt x="271011" y="230793"/>
                  <a:pt x="270396" y="230180"/>
                  <a:pt x="269781" y="229260"/>
                </a:cubicBezTo>
                <a:lnTo>
                  <a:pt x="269805" y="229213"/>
                </a:lnTo>
                <a:lnTo>
                  <a:pt x="268878" y="228285"/>
                </a:lnTo>
                <a:cubicBezTo>
                  <a:pt x="268878" y="220014"/>
                  <a:pt x="268878" y="220014"/>
                  <a:pt x="268878" y="220014"/>
                </a:cubicBezTo>
                <a:cubicBezTo>
                  <a:pt x="265818" y="220014"/>
                  <a:pt x="265818" y="220014"/>
                  <a:pt x="265818" y="220014"/>
                </a:cubicBezTo>
                <a:cubicBezTo>
                  <a:pt x="265512" y="220014"/>
                  <a:pt x="265206" y="219401"/>
                  <a:pt x="265206" y="218788"/>
                </a:cubicBezTo>
                <a:cubicBezTo>
                  <a:pt x="265206" y="217869"/>
                  <a:pt x="265512" y="217563"/>
                  <a:pt x="265818" y="217563"/>
                </a:cubicBezTo>
                <a:cubicBezTo>
                  <a:pt x="267348" y="217563"/>
                  <a:pt x="267348" y="217563"/>
                  <a:pt x="267348" y="217563"/>
                </a:cubicBezTo>
                <a:cubicBezTo>
                  <a:pt x="267348" y="214193"/>
                  <a:pt x="267348" y="214193"/>
                  <a:pt x="267348" y="214193"/>
                </a:cubicBezTo>
                <a:cubicBezTo>
                  <a:pt x="267348" y="213274"/>
                  <a:pt x="266736" y="212355"/>
                  <a:pt x="266124" y="211743"/>
                </a:cubicBezTo>
                <a:cubicBezTo>
                  <a:pt x="265512" y="211130"/>
                  <a:pt x="264594" y="210517"/>
                  <a:pt x="263676" y="210517"/>
                </a:cubicBezTo>
                <a:cubicBezTo>
                  <a:pt x="261228" y="210517"/>
                  <a:pt x="261228" y="210517"/>
                  <a:pt x="261228" y="210517"/>
                </a:cubicBezTo>
                <a:cubicBezTo>
                  <a:pt x="260922" y="210517"/>
                  <a:pt x="260922" y="210517"/>
                  <a:pt x="260922" y="210517"/>
                </a:cubicBezTo>
                <a:cubicBezTo>
                  <a:pt x="260004" y="210517"/>
                  <a:pt x="259392" y="210211"/>
                  <a:pt x="258780" y="209598"/>
                </a:cubicBezTo>
                <a:cubicBezTo>
                  <a:pt x="258168" y="208985"/>
                  <a:pt x="257862" y="208373"/>
                  <a:pt x="257862" y="207454"/>
                </a:cubicBezTo>
                <a:cubicBezTo>
                  <a:pt x="260310" y="173450"/>
                  <a:pt x="260310" y="173450"/>
                  <a:pt x="260310" y="173450"/>
                </a:cubicBezTo>
                <a:cubicBezTo>
                  <a:pt x="260310" y="172530"/>
                  <a:pt x="260616" y="171611"/>
                  <a:pt x="261228" y="171305"/>
                </a:cubicBezTo>
                <a:cubicBezTo>
                  <a:pt x="261840" y="170692"/>
                  <a:pt x="262452" y="170080"/>
                  <a:pt x="263064" y="170080"/>
                </a:cubicBezTo>
                <a:cubicBezTo>
                  <a:pt x="263676" y="170080"/>
                  <a:pt x="264288" y="169773"/>
                  <a:pt x="264900" y="169467"/>
                </a:cubicBezTo>
                <a:cubicBezTo>
                  <a:pt x="265206" y="169161"/>
                  <a:pt x="265512" y="168548"/>
                  <a:pt x="265818" y="168242"/>
                </a:cubicBezTo>
                <a:cubicBezTo>
                  <a:pt x="266124" y="167323"/>
                  <a:pt x="266430" y="166404"/>
                  <a:pt x="267348" y="165791"/>
                </a:cubicBezTo>
                <a:cubicBezTo>
                  <a:pt x="267960" y="165178"/>
                  <a:pt x="268878" y="164872"/>
                  <a:pt x="270408" y="164872"/>
                </a:cubicBezTo>
                <a:close/>
                <a:moveTo>
                  <a:pt x="11995" y="163396"/>
                </a:moveTo>
                <a:cubicBezTo>
                  <a:pt x="14130" y="163396"/>
                  <a:pt x="14130" y="163396"/>
                  <a:pt x="14130" y="163396"/>
                </a:cubicBezTo>
                <a:cubicBezTo>
                  <a:pt x="14741" y="163396"/>
                  <a:pt x="15351" y="164007"/>
                  <a:pt x="15351" y="164619"/>
                </a:cubicBezTo>
                <a:lnTo>
                  <a:pt x="15351" y="177123"/>
                </a:lnTo>
                <a:lnTo>
                  <a:pt x="35270" y="177123"/>
                </a:lnTo>
                <a:cubicBezTo>
                  <a:pt x="42627" y="177123"/>
                  <a:pt x="46305" y="177123"/>
                  <a:pt x="48144" y="177123"/>
                </a:cubicBezTo>
                <a:lnTo>
                  <a:pt x="48857" y="177123"/>
                </a:lnTo>
                <a:lnTo>
                  <a:pt x="48857" y="172554"/>
                </a:lnTo>
                <a:cubicBezTo>
                  <a:pt x="48857" y="170368"/>
                  <a:pt x="48857" y="170368"/>
                  <a:pt x="48857" y="170368"/>
                </a:cubicBezTo>
                <a:cubicBezTo>
                  <a:pt x="48857" y="169755"/>
                  <a:pt x="49470" y="169448"/>
                  <a:pt x="49776" y="169448"/>
                </a:cubicBezTo>
                <a:cubicBezTo>
                  <a:pt x="51616" y="169448"/>
                  <a:pt x="51616" y="169448"/>
                  <a:pt x="51616" y="169448"/>
                </a:cubicBezTo>
                <a:cubicBezTo>
                  <a:pt x="52229" y="169448"/>
                  <a:pt x="52842" y="169755"/>
                  <a:pt x="52842" y="170368"/>
                </a:cubicBezTo>
                <a:cubicBezTo>
                  <a:pt x="52842" y="187852"/>
                  <a:pt x="52842" y="187852"/>
                  <a:pt x="52842" y="187852"/>
                </a:cubicBezTo>
                <a:cubicBezTo>
                  <a:pt x="52842" y="188465"/>
                  <a:pt x="52229" y="189079"/>
                  <a:pt x="51616" y="189079"/>
                </a:cubicBezTo>
                <a:cubicBezTo>
                  <a:pt x="49776" y="189079"/>
                  <a:pt x="49776" y="189079"/>
                  <a:pt x="49776" y="189079"/>
                </a:cubicBezTo>
                <a:cubicBezTo>
                  <a:pt x="49470" y="189079"/>
                  <a:pt x="48857" y="188465"/>
                  <a:pt x="48857" y="187852"/>
                </a:cubicBezTo>
                <a:lnTo>
                  <a:pt x="48857" y="182732"/>
                </a:lnTo>
                <a:lnTo>
                  <a:pt x="29821" y="182732"/>
                </a:lnTo>
                <a:cubicBezTo>
                  <a:pt x="24917" y="182732"/>
                  <a:pt x="21648" y="182732"/>
                  <a:pt x="19468" y="182732"/>
                </a:cubicBezTo>
                <a:lnTo>
                  <a:pt x="15351" y="182732"/>
                </a:lnTo>
                <a:lnTo>
                  <a:pt x="15351" y="184951"/>
                </a:lnTo>
                <a:cubicBezTo>
                  <a:pt x="15351" y="187856"/>
                  <a:pt x="15351" y="187856"/>
                  <a:pt x="15351" y="187856"/>
                </a:cubicBezTo>
                <a:cubicBezTo>
                  <a:pt x="15351" y="188467"/>
                  <a:pt x="14741" y="189079"/>
                  <a:pt x="14130" y="189079"/>
                </a:cubicBezTo>
                <a:cubicBezTo>
                  <a:pt x="11995" y="189079"/>
                  <a:pt x="11995" y="189079"/>
                  <a:pt x="11995" y="189079"/>
                </a:cubicBezTo>
                <a:cubicBezTo>
                  <a:pt x="11385" y="189079"/>
                  <a:pt x="10775" y="188467"/>
                  <a:pt x="10775" y="187856"/>
                </a:cubicBezTo>
                <a:cubicBezTo>
                  <a:pt x="10775" y="164619"/>
                  <a:pt x="10775" y="164619"/>
                  <a:pt x="10775" y="164619"/>
                </a:cubicBezTo>
                <a:cubicBezTo>
                  <a:pt x="10775" y="164007"/>
                  <a:pt x="11385" y="163396"/>
                  <a:pt x="11995" y="163396"/>
                </a:cubicBezTo>
                <a:close/>
                <a:moveTo>
                  <a:pt x="432845" y="157493"/>
                </a:moveTo>
                <a:lnTo>
                  <a:pt x="432855" y="157502"/>
                </a:lnTo>
                <a:lnTo>
                  <a:pt x="432864" y="157493"/>
                </a:lnTo>
                <a:close/>
                <a:moveTo>
                  <a:pt x="414424" y="157493"/>
                </a:moveTo>
                <a:lnTo>
                  <a:pt x="414434" y="157502"/>
                </a:lnTo>
                <a:lnTo>
                  <a:pt x="414444" y="157493"/>
                </a:lnTo>
                <a:close/>
                <a:moveTo>
                  <a:pt x="396617" y="157493"/>
                </a:moveTo>
                <a:lnTo>
                  <a:pt x="396627" y="157502"/>
                </a:lnTo>
                <a:lnTo>
                  <a:pt x="396636" y="157493"/>
                </a:lnTo>
                <a:close/>
                <a:moveTo>
                  <a:pt x="136580" y="153248"/>
                </a:moveTo>
                <a:cubicBezTo>
                  <a:pt x="138727" y="156003"/>
                  <a:pt x="142100" y="158758"/>
                  <a:pt x="145780" y="161514"/>
                </a:cubicBezTo>
                <a:cubicBezTo>
                  <a:pt x="146086" y="162126"/>
                  <a:pt x="146700" y="162432"/>
                  <a:pt x="147006" y="162738"/>
                </a:cubicBezTo>
                <a:cubicBezTo>
                  <a:pt x="147620" y="162432"/>
                  <a:pt x="147926" y="162126"/>
                  <a:pt x="148540" y="161514"/>
                </a:cubicBezTo>
                <a:cubicBezTo>
                  <a:pt x="151913" y="158758"/>
                  <a:pt x="155286" y="156003"/>
                  <a:pt x="157739" y="153248"/>
                </a:cubicBezTo>
                <a:cubicBezTo>
                  <a:pt x="136580" y="153248"/>
                  <a:pt x="136580" y="153248"/>
                  <a:pt x="136580" y="153248"/>
                </a:cubicBezTo>
                <a:close/>
                <a:moveTo>
                  <a:pt x="290072" y="152896"/>
                </a:moveTo>
                <a:cubicBezTo>
                  <a:pt x="290072" y="152896"/>
                  <a:pt x="290072" y="152896"/>
                  <a:pt x="366482" y="152896"/>
                </a:cubicBezTo>
                <a:cubicBezTo>
                  <a:pt x="366482" y="152896"/>
                  <a:pt x="366482" y="152896"/>
                  <a:pt x="366482" y="156572"/>
                </a:cubicBezTo>
                <a:cubicBezTo>
                  <a:pt x="366482" y="156572"/>
                  <a:pt x="366482" y="156572"/>
                  <a:pt x="290072" y="156572"/>
                </a:cubicBezTo>
                <a:cubicBezTo>
                  <a:pt x="290072" y="156572"/>
                  <a:pt x="290072" y="156572"/>
                  <a:pt x="290072" y="152896"/>
                </a:cubicBezTo>
                <a:close/>
                <a:moveTo>
                  <a:pt x="415058" y="150738"/>
                </a:moveTo>
                <a:lnTo>
                  <a:pt x="415058" y="156928"/>
                </a:lnTo>
                <a:lnTo>
                  <a:pt x="418425" y="153833"/>
                </a:lnTo>
                <a:close/>
                <a:moveTo>
                  <a:pt x="414025" y="150571"/>
                </a:moveTo>
                <a:lnTo>
                  <a:pt x="410750" y="153833"/>
                </a:lnTo>
                <a:lnTo>
                  <a:pt x="414025" y="157095"/>
                </a:lnTo>
                <a:close/>
                <a:moveTo>
                  <a:pt x="432476" y="150541"/>
                </a:moveTo>
                <a:lnTo>
                  <a:pt x="429170" y="153833"/>
                </a:lnTo>
                <a:lnTo>
                  <a:pt x="432476" y="157125"/>
                </a:lnTo>
                <a:close/>
                <a:moveTo>
                  <a:pt x="396313" y="150477"/>
                </a:moveTo>
                <a:lnTo>
                  <a:pt x="392943" y="153833"/>
                </a:lnTo>
                <a:lnTo>
                  <a:pt x="396313" y="157190"/>
                </a:lnTo>
                <a:close/>
                <a:moveTo>
                  <a:pt x="396903" y="150440"/>
                </a:moveTo>
                <a:lnTo>
                  <a:pt x="396903" y="157227"/>
                </a:lnTo>
                <a:lnTo>
                  <a:pt x="400311" y="153833"/>
                </a:lnTo>
                <a:close/>
                <a:moveTo>
                  <a:pt x="433066" y="150375"/>
                </a:moveTo>
                <a:lnTo>
                  <a:pt x="433066" y="157292"/>
                </a:lnTo>
                <a:lnTo>
                  <a:pt x="436539" y="153833"/>
                </a:lnTo>
                <a:close/>
                <a:moveTo>
                  <a:pt x="432855" y="150164"/>
                </a:moveTo>
                <a:lnTo>
                  <a:pt x="432759" y="150260"/>
                </a:lnTo>
                <a:lnTo>
                  <a:pt x="432951" y="150260"/>
                </a:lnTo>
                <a:close/>
                <a:moveTo>
                  <a:pt x="414434" y="150164"/>
                </a:moveTo>
                <a:lnTo>
                  <a:pt x="414338" y="150260"/>
                </a:lnTo>
                <a:lnTo>
                  <a:pt x="414538" y="150260"/>
                </a:lnTo>
                <a:close/>
                <a:moveTo>
                  <a:pt x="396627" y="150164"/>
                </a:moveTo>
                <a:lnTo>
                  <a:pt x="396531" y="150260"/>
                </a:lnTo>
                <a:lnTo>
                  <a:pt x="396723" y="150260"/>
                </a:lnTo>
                <a:close/>
                <a:moveTo>
                  <a:pt x="290072" y="148608"/>
                </a:moveTo>
                <a:cubicBezTo>
                  <a:pt x="290072" y="148608"/>
                  <a:pt x="290072" y="148608"/>
                  <a:pt x="366482" y="148608"/>
                </a:cubicBezTo>
                <a:cubicBezTo>
                  <a:pt x="366482" y="148608"/>
                  <a:pt x="366482" y="148608"/>
                  <a:pt x="366482" y="151977"/>
                </a:cubicBezTo>
                <a:cubicBezTo>
                  <a:pt x="366482" y="151977"/>
                  <a:pt x="366482" y="151977"/>
                  <a:pt x="290072" y="151977"/>
                </a:cubicBezTo>
                <a:cubicBezTo>
                  <a:pt x="290072" y="151977"/>
                  <a:pt x="290072" y="151977"/>
                  <a:pt x="290072" y="148608"/>
                </a:cubicBezTo>
                <a:close/>
                <a:moveTo>
                  <a:pt x="133207" y="145594"/>
                </a:moveTo>
                <a:cubicBezTo>
                  <a:pt x="133207" y="146206"/>
                  <a:pt x="133514" y="147124"/>
                  <a:pt x="133514" y="147737"/>
                </a:cubicBezTo>
                <a:cubicBezTo>
                  <a:pt x="160499" y="147737"/>
                  <a:pt x="160499" y="147737"/>
                  <a:pt x="160499" y="147737"/>
                </a:cubicBezTo>
                <a:cubicBezTo>
                  <a:pt x="160806" y="147124"/>
                  <a:pt x="160806" y="146206"/>
                  <a:pt x="160806" y="145594"/>
                </a:cubicBezTo>
                <a:cubicBezTo>
                  <a:pt x="133207" y="145594"/>
                  <a:pt x="133207" y="145594"/>
                  <a:pt x="133207" y="145594"/>
                </a:cubicBezTo>
                <a:close/>
                <a:moveTo>
                  <a:pt x="389565" y="145578"/>
                </a:moveTo>
                <a:cubicBezTo>
                  <a:pt x="388951" y="145578"/>
                  <a:pt x="388644" y="146190"/>
                  <a:pt x="388644" y="146495"/>
                </a:cubicBezTo>
                <a:cubicBezTo>
                  <a:pt x="388644" y="146801"/>
                  <a:pt x="388951" y="147413"/>
                  <a:pt x="389565" y="147413"/>
                </a:cubicBezTo>
                <a:cubicBezTo>
                  <a:pt x="441758" y="147413"/>
                  <a:pt x="441758" y="147413"/>
                  <a:pt x="441758" y="147413"/>
                </a:cubicBezTo>
                <a:cubicBezTo>
                  <a:pt x="442065" y="147413"/>
                  <a:pt x="442372" y="146801"/>
                  <a:pt x="442372" y="146495"/>
                </a:cubicBezTo>
                <a:cubicBezTo>
                  <a:pt x="442372" y="146190"/>
                  <a:pt x="442065" y="145578"/>
                  <a:pt x="441758" y="145578"/>
                </a:cubicBezTo>
                <a:cubicBezTo>
                  <a:pt x="389565" y="145578"/>
                  <a:pt x="389565" y="145578"/>
                  <a:pt x="389565" y="145578"/>
                </a:cubicBezTo>
                <a:close/>
                <a:moveTo>
                  <a:pt x="30427" y="144060"/>
                </a:moveTo>
                <a:cubicBezTo>
                  <a:pt x="33189" y="144060"/>
                  <a:pt x="33189" y="144060"/>
                  <a:pt x="33189" y="144060"/>
                </a:cubicBezTo>
                <a:cubicBezTo>
                  <a:pt x="33803" y="144060"/>
                  <a:pt x="34110" y="144673"/>
                  <a:pt x="34110" y="145287"/>
                </a:cubicBezTo>
                <a:cubicBezTo>
                  <a:pt x="34110" y="151421"/>
                  <a:pt x="34110" y="151421"/>
                  <a:pt x="34110" y="151421"/>
                </a:cubicBezTo>
                <a:cubicBezTo>
                  <a:pt x="40555" y="151421"/>
                  <a:pt x="40555" y="151421"/>
                  <a:pt x="40555" y="151421"/>
                </a:cubicBezTo>
                <a:cubicBezTo>
                  <a:pt x="41169" y="151421"/>
                  <a:pt x="41476" y="151728"/>
                  <a:pt x="41476" y="152342"/>
                </a:cubicBezTo>
                <a:cubicBezTo>
                  <a:pt x="41476" y="155409"/>
                  <a:pt x="41476" y="155409"/>
                  <a:pt x="41476" y="155409"/>
                </a:cubicBezTo>
                <a:cubicBezTo>
                  <a:pt x="41476" y="156023"/>
                  <a:pt x="41169" y="156329"/>
                  <a:pt x="40555" y="156329"/>
                </a:cubicBezTo>
                <a:cubicBezTo>
                  <a:pt x="34110" y="156329"/>
                  <a:pt x="34110" y="156329"/>
                  <a:pt x="34110" y="156329"/>
                </a:cubicBezTo>
                <a:cubicBezTo>
                  <a:pt x="34110" y="162464"/>
                  <a:pt x="34110" y="162464"/>
                  <a:pt x="34110" y="162464"/>
                </a:cubicBezTo>
                <a:cubicBezTo>
                  <a:pt x="34110" y="163077"/>
                  <a:pt x="33803" y="163691"/>
                  <a:pt x="33189" y="163691"/>
                </a:cubicBezTo>
                <a:cubicBezTo>
                  <a:pt x="30427" y="163691"/>
                  <a:pt x="30427" y="163691"/>
                  <a:pt x="30427" y="163691"/>
                </a:cubicBezTo>
                <a:cubicBezTo>
                  <a:pt x="29813" y="163691"/>
                  <a:pt x="29199" y="163077"/>
                  <a:pt x="29199" y="162464"/>
                </a:cubicBezTo>
                <a:cubicBezTo>
                  <a:pt x="29199" y="156329"/>
                  <a:pt x="29199" y="156329"/>
                  <a:pt x="29199" y="156329"/>
                </a:cubicBezTo>
                <a:cubicBezTo>
                  <a:pt x="23061" y="156329"/>
                  <a:pt x="23061" y="156329"/>
                  <a:pt x="23061" y="156329"/>
                </a:cubicBezTo>
                <a:cubicBezTo>
                  <a:pt x="22447" y="156329"/>
                  <a:pt x="22140" y="156023"/>
                  <a:pt x="22140" y="155409"/>
                </a:cubicBezTo>
                <a:cubicBezTo>
                  <a:pt x="22140" y="152342"/>
                  <a:pt x="22140" y="152342"/>
                  <a:pt x="22140" y="152342"/>
                </a:cubicBezTo>
                <a:cubicBezTo>
                  <a:pt x="22140" y="151728"/>
                  <a:pt x="22447" y="151421"/>
                  <a:pt x="23061" y="151421"/>
                </a:cubicBezTo>
                <a:cubicBezTo>
                  <a:pt x="29199" y="151421"/>
                  <a:pt x="29199" y="151421"/>
                  <a:pt x="29199" y="151421"/>
                </a:cubicBezTo>
                <a:cubicBezTo>
                  <a:pt x="29199" y="145287"/>
                  <a:pt x="29199" y="145287"/>
                  <a:pt x="29199" y="145287"/>
                </a:cubicBezTo>
                <a:cubicBezTo>
                  <a:pt x="29199" y="144673"/>
                  <a:pt x="29813" y="144060"/>
                  <a:pt x="30427" y="144060"/>
                </a:cubicBezTo>
                <a:close/>
                <a:moveTo>
                  <a:pt x="115711" y="141994"/>
                </a:moveTo>
                <a:lnTo>
                  <a:pt x="115711" y="164445"/>
                </a:lnTo>
                <a:cubicBezTo>
                  <a:pt x="115711" y="172251"/>
                  <a:pt x="115711" y="177455"/>
                  <a:pt x="115711" y="180924"/>
                </a:cubicBezTo>
                <a:lnTo>
                  <a:pt x="115711" y="183913"/>
                </a:lnTo>
                <a:lnTo>
                  <a:pt x="115893" y="183913"/>
                </a:lnTo>
                <a:cubicBezTo>
                  <a:pt x="116657" y="183913"/>
                  <a:pt x="118184" y="183913"/>
                  <a:pt x="121237" y="183913"/>
                </a:cubicBezTo>
                <a:lnTo>
                  <a:pt x="123713" y="183913"/>
                </a:lnTo>
                <a:lnTo>
                  <a:pt x="123713" y="155772"/>
                </a:lnTo>
                <a:cubicBezTo>
                  <a:pt x="123713" y="149918"/>
                  <a:pt x="123713" y="145527"/>
                  <a:pt x="123713" y="142234"/>
                </a:cubicBezTo>
                <a:lnTo>
                  <a:pt x="123713" y="141994"/>
                </a:lnTo>
                <a:lnTo>
                  <a:pt x="117934" y="141994"/>
                </a:lnTo>
                <a:lnTo>
                  <a:pt x="117934" y="161309"/>
                </a:lnTo>
                <a:cubicBezTo>
                  <a:pt x="117934" y="181096"/>
                  <a:pt x="117934" y="181096"/>
                  <a:pt x="117934" y="181096"/>
                </a:cubicBezTo>
                <a:cubicBezTo>
                  <a:pt x="117934" y="181096"/>
                  <a:pt x="117589" y="181403"/>
                  <a:pt x="117589" y="181403"/>
                </a:cubicBezTo>
                <a:cubicBezTo>
                  <a:pt x="117245" y="181403"/>
                  <a:pt x="116901" y="181096"/>
                  <a:pt x="116901" y="181096"/>
                </a:cubicBezTo>
                <a:lnTo>
                  <a:pt x="116901" y="141994"/>
                </a:lnTo>
                <a:close/>
                <a:moveTo>
                  <a:pt x="100347" y="141994"/>
                </a:moveTo>
                <a:lnTo>
                  <a:pt x="100347" y="164445"/>
                </a:lnTo>
                <a:cubicBezTo>
                  <a:pt x="100347" y="172251"/>
                  <a:pt x="100347" y="177455"/>
                  <a:pt x="100347" y="180924"/>
                </a:cubicBezTo>
                <a:lnTo>
                  <a:pt x="100347" y="183913"/>
                </a:lnTo>
                <a:lnTo>
                  <a:pt x="100800" y="183913"/>
                </a:lnTo>
                <a:cubicBezTo>
                  <a:pt x="101525" y="183913"/>
                  <a:pt x="102976" y="183913"/>
                  <a:pt x="105877" y="183913"/>
                </a:cubicBezTo>
                <a:lnTo>
                  <a:pt x="108349" y="183913"/>
                </a:lnTo>
                <a:lnTo>
                  <a:pt x="108349" y="155772"/>
                </a:lnTo>
                <a:cubicBezTo>
                  <a:pt x="108349" y="149918"/>
                  <a:pt x="108349" y="145527"/>
                  <a:pt x="108349" y="142234"/>
                </a:cubicBezTo>
                <a:lnTo>
                  <a:pt x="108349" y="141994"/>
                </a:lnTo>
                <a:lnTo>
                  <a:pt x="102879" y="141994"/>
                </a:lnTo>
                <a:lnTo>
                  <a:pt x="102879" y="161309"/>
                </a:lnTo>
                <a:cubicBezTo>
                  <a:pt x="102879" y="181096"/>
                  <a:pt x="102879" y="181096"/>
                  <a:pt x="102879" y="181096"/>
                </a:cubicBezTo>
                <a:cubicBezTo>
                  <a:pt x="102879" y="181096"/>
                  <a:pt x="102534" y="181403"/>
                  <a:pt x="102190" y="181403"/>
                </a:cubicBezTo>
                <a:cubicBezTo>
                  <a:pt x="102190" y="181403"/>
                  <a:pt x="101846" y="181096"/>
                  <a:pt x="101846" y="181096"/>
                </a:cubicBezTo>
                <a:lnTo>
                  <a:pt x="101846" y="141994"/>
                </a:lnTo>
                <a:close/>
                <a:moveTo>
                  <a:pt x="85304" y="141994"/>
                </a:moveTo>
                <a:lnTo>
                  <a:pt x="85304" y="164445"/>
                </a:lnTo>
                <a:cubicBezTo>
                  <a:pt x="85304" y="172251"/>
                  <a:pt x="85304" y="177455"/>
                  <a:pt x="85304" y="180924"/>
                </a:cubicBezTo>
                <a:lnTo>
                  <a:pt x="85304" y="183913"/>
                </a:lnTo>
                <a:lnTo>
                  <a:pt x="85487" y="183913"/>
                </a:lnTo>
                <a:cubicBezTo>
                  <a:pt x="86251" y="183913"/>
                  <a:pt x="87778" y="183913"/>
                  <a:pt x="90831" y="183913"/>
                </a:cubicBezTo>
                <a:lnTo>
                  <a:pt x="93306" y="183913"/>
                </a:lnTo>
                <a:lnTo>
                  <a:pt x="93306" y="155772"/>
                </a:lnTo>
                <a:cubicBezTo>
                  <a:pt x="93306" y="149918"/>
                  <a:pt x="93306" y="145527"/>
                  <a:pt x="93306" y="142234"/>
                </a:cubicBezTo>
                <a:lnTo>
                  <a:pt x="93306" y="141994"/>
                </a:lnTo>
                <a:lnTo>
                  <a:pt x="92190" y="141994"/>
                </a:lnTo>
                <a:lnTo>
                  <a:pt x="87528" y="141994"/>
                </a:lnTo>
                <a:lnTo>
                  <a:pt x="87528" y="161309"/>
                </a:lnTo>
                <a:cubicBezTo>
                  <a:pt x="87528" y="181096"/>
                  <a:pt x="87528" y="181096"/>
                  <a:pt x="87528" y="181096"/>
                </a:cubicBezTo>
                <a:cubicBezTo>
                  <a:pt x="87528" y="181096"/>
                  <a:pt x="87233" y="181403"/>
                  <a:pt x="87233" y="181403"/>
                </a:cubicBezTo>
                <a:cubicBezTo>
                  <a:pt x="86938" y="181403"/>
                  <a:pt x="86938" y="181096"/>
                  <a:pt x="86938" y="181096"/>
                </a:cubicBezTo>
                <a:lnTo>
                  <a:pt x="86938" y="141994"/>
                </a:lnTo>
                <a:close/>
                <a:moveTo>
                  <a:pt x="69941" y="141994"/>
                </a:moveTo>
                <a:lnTo>
                  <a:pt x="69941" y="164445"/>
                </a:lnTo>
                <a:cubicBezTo>
                  <a:pt x="69941" y="172251"/>
                  <a:pt x="69941" y="177455"/>
                  <a:pt x="69941" y="180924"/>
                </a:cubicBezTo>
                <a:lnTo>
                  <a:pt x="69941" y="183913"/>
                </a:lnTo>
                <a:lnTo>
                  <a:pt x="70393" y="183913"/>
                </a:lnTo>
                <a:cubicBezTo>
                  <a:pt x="71118" y="183913"/>
                  <a:pt x="72569" y="183913"/>
                  <a:pt x="75470" y="183913"/>
                </a:cubicBezTo>
                <a:lnTo>
                  <a:pt x="77943" y="183913"/>
                </a:lnTo>
                <a:lnTo>
                  <a:pt x="77943" y="155772"/>
                </a:lnTo>
                <a:cubicBezTo>
                  <a:pt x="77943" y="149918"/>
                  <a:pt x="77943" y="145527"/>
                  <a:pt x="77943" y="142234"/>
                </a:cubicBezTo>
                <a:lnTo>
                  <a:pt x="77943" y="141994"/>
                </a:lnTo>
                <a:lnTo>
                  <a:pt x="73985" y="141994"/>
                </a:lnTo>
                <a:lnTo>
                  <a:pt x="72473" y="141994"/>
                </a:lnTo>
                <a:lnTo>
                  <a:pt x="72473" y="161309"/>
                </a:lnTo>
                <a:cubicBezTo>
                  <a:pt x="72473" y="181096"/>
                  <a:pt x="72473" y="181096"/>
                  <a:pt x="72473" y="181096"/>
                </a:cubicBezTo>
                <a:cubicBezTo>
                  <a:pt x="72473" y="181096"/>
                  <a:pt x="72177" y="181403"/>
                  <a:pt x="71882" y="181403"/>
                </a:cubicBezTo>
                <a:cubicBezTo>
                  <a:pt x="71882" y="181403"/>
                  <a:pt x="71587" y="181096"/>
                  <a:pt x="71587" y="181096"/>
                </a:cubicBezTo>
                <a:lnTo>
                  <a:pt x="71587" y="141994"/>
                </a:lnTo>
                <a:close/>
                <a:moveTo>
                  <a:pt x="134127" y="137634"/>
                </a:moveTo>
                <a:cubicBezTo>
                  <a:pt x="133820" y="138246"/>
                  <a:pt x="133514" y="139164"/>
                  <a:pt x="133514" y="140083"/>
                </a:cubicBezTo>
                <a:cubicBezTo>
                  <a:pt x="160499" y="140083"/>
                  <a:pt x="160499" y="140083"/>
                  <a:pt x="160499" y="140083"/>
                </a:cubicBezTo>
                <a:cubicBezTo>
                  <a:pt x="160499" y="139164"/>
                  <a:pt x="160192" y="138246"/>
                  <a:pt x="159886" y="137634"/>
                </a:cubicBezTo>
                <a:cubicBezTo>
                  <a:pt x="134127" y="137634"/>
                  <a:pt x="134127" y="137634"/>
                  <a:pt x="134127" y="137634"/>
                </a:cubicBezTo>
                <a:close/>
                <a:moveTo>
                  <a:pt x="11030" y="136732"/>
                </a:moveTo>
                <a:cubicBezTo>
                  <a:pt x="8576" y="136732"/>
                  <a:pt x="7043" y="138570"/>
                  <a:pt x="7043" y="140714"/>
                </a:cubicBezTo>
                <a:cubicBezTo>
                  <a:pt x="7043" y="188188"/>
                  <a:pt x="7043" y="188188"/>
                  <a:pt x="7043" y="188188"/>
                </a:cubicBezTo>
                <a:cubicBezTo>
                  <a:pt x="7043" y="190332"/>
                  <a:pt x="8576" y="192170"/>
                  <a:pt x="11030" y="192170"/>
                </a:cubicBezTo>
                <a:cubicBezTo>
                  <a:pt x="52438" y="192170"/>
                  <a:pt x="52438" y="192170"/>
                  <a:pt x="52438" y="192170"/>
                </a:cubicBezTo>
                <a:cubicBezTo>
                  <a:pt x="54585" y="192170"/>
                  <a:pt x="56426" y="190332"/>
                  <a:pt x="56426" y="188188"/>
                </a:cubicBezTo>
                <a:cubicBezTo>
                  <a:pt x="56426" y="140714"/>
                  <a:pt x="56426" y="140714"/>
                  <a:pt x="56426" y="140714"/>
                </a:cubicBezTo>
                <a:cubicBezTo>
                  <a:pt x="56426" y="138570"/>
                  <a:pt x="54585" y="136732"/>
                  <a:pt x="52438" y="136732"/>
                </a:cubicBezTo>
                <a:cubicBezTo>
                  <a:pt x="11030" y="136732"/>
                  <a:pt x="11030" y="136732"/>
                  <a:pt x="11030" y="136732"/>
                </a:cubicBezTo>
                <a:close/>
                <a:moveTo>
                  <a:pt x="415058" y="135805"/>
                </a:moveTo>
                <a:lnTo>
                  <a:pt x="415058" y="142252"/>
                </a:lnTo>
                <a:lnTo>
                  <a:pt x="418425" y="139157"/>
                </a:lnTo>
                <a:close/>
                <a:moveTo>
                  <a:pt x="414025" y="135624"/>
                </a:moveTo>
                <a:lnTo>
                  <a:pt x="410750" y="139157"/>
                </a:lnTo>
                <a:lnTo>
                  <a:pt x="414025" y="142420"/>
                </a:lnTo>
                <a:close/>
                <a:moveTo>
                  <a:pt x="432476" y="135591"/>
                </a:moveTo>
                <a:lnTo>
                  <a:pt x="429170" y="139157"/>
                </a:lnTo>
                <a:lnTo>
                  <a:pt x="432476" y="142449"/>
                </a:lnTo>
                <a:close/>
                <a:moveTo>
                  <a:pt x="396313" y="135521"/>
                </a:moveTo>
                <a:lnTo>
                  <a:pt x="392943" y="139157"/>
                </a:lnTo>
                <a:lnTo>
                  <a:pt x="396313" y="142514"/>
                </a:lnTo>
                <a:close/>
                <a:moveTo>
                  <a:pt x="396903" y="135481"/>
                </a:moveTo>
                <a:lnTo>
                  <a:pt x="396903" y="142551"/>
                </a:lnTo>
                <a:lnTo>
                  <a:pt x="400311" y="139157"/>
                </a:lnTo>
                <a:close/>
                <a:moveTo>
                  <a:pt x="433066" y="135411"/>
                </a:moveTo>
                <a:lnTo>
                  <a:pt x="433066" y="142616"/>
                </a:lnTo>
                <a:lnTo>
                  <a:pt x="436539" y="139157"/>
                </a:lnTo>
                <a:close/>
                <a:moveTo>
                  <a:pt x="432855" y="135183"/>
                </a:moveTo>
                <a:lnTo>
                  <a:pt x="432835" y="135204"/>
                </a:lnTo>
                <a:lnTo>
                  <a:pt x="432874" y="135204"/>
                </a:lnTo>
                <a:close/>
                <a:moveTo>
                  <a:pt x="414434" y="135183"/>
                </a:moveTo>
                <a:lnTo>
                  <a:pt x="414414" y="135204"/>
                </a:lnTo>
                <a:lnTo>
                  <a:pt x="414455" y="135204"/>
                </a:lnTo>
                <a:close/>
                <a:moveTo>
                  <a:pt x="396627" y="135183"/>
                </a:moveTo>
                <a:lnTo>
                  <a:pt x="396607" y="135204"/>
                </a:lnTo>
                <a:lnTo>
                  <a:pt x="396646" y="135204"/>
                </a:lnTo>
                <a:close/>
                <a:moveTo>
                  <a:pt x="232646" y="133285"/>
                </a:moveTo>
                <a:cubicBezTo>
                  <a:pt x="236017" y="143129"/>
                  <a:pt x="236017" y="143129"/>
                  <a:pt x="236017" y="143129"/>
                </a:cubicBezTo>
                <a:cubicBezTo>
                  <a:pt x="220385" y="148050"/>
                  <a:pt x="207205" y="148973"/>
                  <a:pt x="192493" y="159125"/>
                </a:cubicBezTo>
                <a:cubicBezTo>
                  <a:pt x="190347" y="160663"/>
                  <a:pt x="183604" y="166200"/>
                  <a:pt x="181765" y="163124"/>
                </a:cubicBezTo>
                <a:cubicBezTo>
                  <a:pt x="180233" y="160970"/>
                  <a:pt x="188202" y="156049"/>
                  <a:pt x="190654" y="154203"/>
                </a:cubicBezTo>
                <a:cubicBezTo>
                  <a:pt x="186363" y="155741"/>
                  <a:pt x="180846" y="158202"/>
                  <a:pt x="176555" y="158817"/>
                </a:cubicBezTo>
                <a:cubicBezTo>
                  <a:pt x="175941" y="159125"/>
                  <a:pt x="175635" y="159125"/>
                  <a:pt x="175328" y="159125"/>
                </a:cubicBezTo>
                <a:cubicBezTo>
                  <a:pt x="171957" y="159432"/>
                  <a:pt x="171957" y="156971"/>
                  <a:pt x="174409" y="155433"/>
                </a:cubicBezTo>
                <a:cubicBezTo>
                  <a:pt x="174715" y="155126"/>
                  <a:pt x="175635" y="154510"/>
                  <a:pt x="176555" y="154203"/>
                </a:cubicBezTo>
                <a:cubicBezTo>
                  <a:pt x="179620" y="152665"/>
                  <a:pt x="184830" y="151127"/>
                  <a:pt x="187282" y="149589"/>
                </a:cubicBezTo>
                <a:cubicBezTo>
                  <a:pt x="185137" y="149589"/>
                  <a:pt x="180539" y="151434"/>
                  <a:pt x="176555" y="152665"/>
                </a:cubicBezTo>
                <a:cubicBezTo>
                  <a:pt x="174715" y="153280"/>
                  <a:pt x="172876" y="153895"/>
                  <a:pt x="171344" y="154203"/>
                </a:cubicBezTo>
                <a:cubicBezTo>
                  <a:pt x="168892" y="154510"/>
                  <a:pt x="167972" y="152972"/>
                  <a:pt x="168585" y="151742"/>
                </a:cubicBezTo>
                <a:cubicBezTo>
                  <a:pt x="168892" y="150819"/>
                  <a:pt x="170118" y="149896"/>
                  <a:pt x="171957" y="149281"/>
                </a:cubicBezTo>
                <a:cubicBezTo>
                  <a:pt x="173489" y="148666"/>
                  <a:pt x="175022" y="148050"/>
                  <a:pt x="176555" y="147435"/>
                </a:cubicBezTo>
                <a:cubicBezTo>
                  <a:pt x="179620" y="146205"/>
                  <a:pt x="182685" y="145282"/>
                  <a:pt x="186056" y="143436"/>
                </a:cubicBezTo>
                <a:cubicBezTo>
                  <a:pt x="184217" y="143436"/>
                  <a:pt x="180233" y="144667"/>
                  <a:pt x="176555" y="145282"/>
                </a:cubicBezTo>
                <a:cubicBezTo>
                  <a:pt x="172876" y="145590"/>
                  <a:pt x="169505" y="145897"/>
                  <a:pt x="169198" y="143744"/>
                </a:cubicBezTo>
                <a:cubicBezTo>
                  <a:pt x="168892" y="140668"/>
                  <a:pt x="172876" y="140052"/>
                  <a:pt x="175941" y="139745"/>
                </a:cubicBezTo>
                <a:cubicBezTo>
                  <a:pt x="176248" y="139745"/>
                  <a:pt x="176248" y="139745"/>
                  <a:pt x="176555" y="139745"/>
                </a:cubicBezTo>
                <a:cubicBezTo>
                  <a:pt x="178087" y="139437"/>
                  <a:pt x="179926" y="139130"/>
                  <a:pt x="181765" y="138822"/>
                </a:cubicBezTo>
                <a:cubicBezTo>
                  <a:pt x="181459" y="139130"/>
                  <a:pt x="181152" y="140052"/>
                  <a:pt x="181152" y="140668"/>
                </a:cubicBezTo>
                <a:cubicBezTo>
                  <a:pt x="181152" y="140975"/>
                  <a:pt x="181152" y="140975"/>
                  <a:pt x="181152" y="140975"/>
                </a:cubicBezTo>
                <a:cubicBezTo>
                  <a:pt x="181152" y="140975"/>
                  <a:pt x="181152" y="141283"/>
                  <a:pt x="181459" y="141591"/>
                </a:cubicBezTo>
                <a:cubicBezTo>
                  <a:pt x="181765" y="142821"/>
                  <a:pt x="183604" y="143129"/>
                  <a:pt x="185750" y="143129"/>
                </a:cubicBezTo>
                <a:cubicBezTo>
                  <a:pt x="187589" y="143129"/>
                  <a:pt x="190041" y="142821"/>
                  <a:pt x="192799" y="142206"/>
                </a:cubicBezTo>
                <a:cubicBezTo>
                  <a:pt x="197704" y="141283"/>
                  <a:pt x="202914" y="139437"/>
                  <a:pt x="205060" y="138207"/>
                </a:cubicBezTo>
                <a:cubicBezTo>
                  <a:pt x="209964" y="138514"/>
                  <a:pt x="216707" y="140360"/>
                  <a:pt x="223144" y="142206"/>
                </a:cubicBezTo>
                <a:cubicBezTo>
                  <a:pt x="225289" y="143129"/>
                  <a:pt x="227435" y="143744"/>
                  <a:pt x="229581" y="144051"/>
                </a:cubicBezTo>
                <a:cubicBezTo>
                  <a:pt x="229581" y="144359"/>
                  <a:pt x="229887" y="144051"/>
                  <a:pt x="230194" y="143744"/>
                </a:cubicBezTo>
                <a:cubicBezTo>
                  <a:pt x="232646" y="133285"/>
                  <a:pt x="232646" y="133285"/>
                  <a:pt x="232646" y="133285"/>
                </a:cubicBezTo>
                <a:close/>
                <a:moveTo>
                  <a:pt x="387416" y="131514"/>
                </a:moveTo>
                <a:cubicBezTo>
                  <a:pt x="443293" y="131514"/>
                  <a:pt x="443293" y="131514"/>
                  <a:pt x="443293" y="131514"/>
                </a:cubicBezTo>
                <a:cubicBezTo>
                  <a:pt x="444828" y="131514"/>
                  <a:pt x="446056" y="132737"/>
                  <a:pt x="446056" y="134266"/>
                </a:cubicBezTo>
                <a:cubicBezTo>
                  <a:pt x="446056" y="158725"/>
                  <a:pt x="446056" y="158725"/>
                  <a:pt x="446056" y="158725"/>
                </a:cubicBezTo>
                <a:cubicBezTo>
                  <a:pt x="446056" y="160254"/>
                  <a:pt x="444828" y="161477"/>
                  <a:pt x="443293" y="161477"/>
                </a:cubicBezTo>
                <a:cubicBezTo>
                  <a:pt x="387416" y="161477"/>
                  <a:pt x="387416" y="161477"/>
                  <a:pt x="387416" y="161477"/>
                </a:cubicBezTo>
                <a:cubicBezTo>
                  <a:pt x="385881" y="161477"/>
                  <a:pt x="384653" y="160254"/>
                  <a:pt x="384653" y="158725"/>
                </a:cubicBezTo>
                <a:cubicBezTo>
                  <a:pt x="384653" y="134266"/>
                  <a:pt x="384653" y="134266"/>
                  <a:pt x="384653" y="134266"/>
                </a:cubicBezTo>
                <a:cubicBezTo>
                  <a:pt x="384653" y="132737"/>
                  <a:pt x="385881" y="131514"/>
                  <a:pt x="387416" y="131514"/>
                </a:cubicBezTo>
                <a:close/>
                <a:moveTo>
                  <a:pt x="4589" y="131219"/>
                </a:moveTo>
                <a:cubicBezTo>
                  <a:pt x="58880" y="131219"/>
                  <a:pt x="58880" y="131219"/>
                  <a:pt x="58880" y="131219"/>
                </a:cubicBezTo>
                <a:cubicBezTo>
                  <a:pt x="61027" y="131219"/>
                  <a:pt x="63174" y="133363"/>
                  <a:pt x="63174" y="135507"/>
                </a:cubicBezTo>
                <a:cubicBezTo>
                  <a:pt x="63174" y="216673"/>
                  <a:pt x="63174" y="216673"/>
                  <a:pt x="63174" y="216673"/>
                </a:cubicBezTo>
                <a:cubicBezTo>
                  <a:pt x="63174" y="219123"/>
                  <a:pt x="61027" y="220961"/>
                  <a:pt x="58880" y="220961"/>
                </a:cubicBezTo>
                <a:cubicBezTo>
                  <a:pt x="4589" y="220961"/>
                  <a:pt x="4589" y="220961"/>
                  <a:pt x="4589" y="220961"/>
                </a:cubicBezTo>
                <a:cubicBezTo>
                  <a:pt x="2135" y="220961"/>
                  <a:pt x="295" y="219123"/>
                  <a:pt x="295" y="216673"/>
                </a:cubicBezTo>
                <a:cubicBezTo>
                  <a:pt x="295" y="135507"/>
                  <a:pt x="295" y="135507"/>
                  <a:pt x="295" y="135507"/>
                </a:cubicBezTo>
                <a:cubicBezTo>
                  <a:pt x="295" y="133363"/>
                  <a:pt x="2135" y="131219"/>
                  <a:pt x="4589" y="131219"/>
                </a:cubicBezTo>
                <a:close/>
                <a:moveTo>
                  <a:pt x="374461" y="130843"/>
                </a:moveTo>
                <a:cubicBezTo>
                  <a:pt x="371699" y="131455"/>
                  <a:pt x="368630" y="133293"/>
                  <a:pt x="366482" y="136356"/>
                </a:cubicBezTo>
                <a:cubicBezTo>
                  <a:pt x="366482" y="136356"/>
                  <a:pt x="366482" y="136356"/>
                  <a:pt x="366482" y="147383"/>
                </a:cubicBezTo>
                <a:cubicBezTo>
                  <a:pt x="366482" y="147383"/>
                  <a:pt x="366482" y="147383"/>
                  <a:pt x="290072" y="147383"/>
                </a:cubicBezTo>
                <a:cubicBezTo>
                  <a:pt x="290072" y="147383"/>
                  <a:pt x="290072" y="147383"/>
                  <a:pt x="290072" y="136356"/>
                </a:cubicBezTo>
                <a:cubicBezTo>
                  <a:pt x="290072" y="136356"/>
                  <a:pt x="290072" y="136356"/>
                  <a:pt x="288230" y="136050"/>
                </a:cubicBezTo>
                <a:cubicBezTo>
                  <a:pt x="287617" y="136050"/>
                  <a:pt x="287003" y="135743"/>
                  <a:pt x="286389" y="135743"/>
                </a:cubicBezTo>
                <a:cubicBezTo>
                  <a:pt x="281479" y="134825"/>
                  <a:pt x="275342" y="133599"/>
                  <a:pt x="273194" y="138806"/>
                </a:cubicBezTo>
                <a:cubicBezTo>
                  <a:pt x="271659" y="142788"/>
                  <a:pt x="271966" y="144626"/>
                  <a:pt x="272887" y="147689"/>
                </a:cubicBezTo>
                <a:cubicBezTo>
                  <a:pt x="273194" y="148914"/>
                  <a:pt x="273501" y="150752"/>
                  <a:pt x="273808" y="152590"/>
                </a:cubicBezTo>
                <a:cubicBezTo>
                  <a:pt x="274421" y="156572"/>
                  <a:pt x="276569" y="159329"/>
                  <a:pt x="279331" y="160860"/>
                </a:cubicBezTo>
                <a:cubicBezTo>
                  <a:pt x="282400" y="162698"/>
                  <a:pt x="286389" y="163617"/>
                  <a:pt x="290072" y="163617"/>
                </a:cubicBezTo>
                <a:cubicBezTo>
                  <a:pt x="290072" y="163617"/>
                  <a:pt x="290072" y="163617"/>
                  <a:pt x="290072" y="157491"/>
                </a:cubicBezTo>
                <a:cubicBezTo>
                  <a:pt x="290072" y="157491"/>
                  <a:pt x="290072" y="157491"/>
                  <a:pt x="366482" y="157491"/>
                </a:cubicBezTo>
                <a:cubicBezTo>
                  <a:pt x="366482" y="157491"/>
                  <a:pt x="366482" y="157491"/>
                  <a:pt x="366482" y="165148"/>
                </a:cubicBezTo>
                <a:cubicBezTo>
                  <a:pt x="366482" y="164842"/>
                  <a:pt x="366789" y="164536"/>
                  <a:pt x="367096" y="164536"/>
                </a:cubicBezTo>
                <a:cubicBezTo>
                  <a:pt x="370471" y="161473"/>
                  <a:pt x="372619" y="159635"/>
                  <a:pt x="372619" y="153815"/>
                </a:cubicBezTo>
                <a:cubicBezTo>
                  <a:pt x="372313" y="145851"/>
                  <a:pt x="375074" y="143095"/>
                  <a:pt x="377529" y="140644"/>
                </a:cubicBezTo>
                <a:cubicBezTo>
                  <a:pt x="378757" y="139725"/>
                  <a:pt x="379984" y="138500"/>
                  <a:pt x="380291" y="136969"/>
                </a:cubicBezTo>
                <a:cubicBezTo>
                  <a:pt x="380905" y="134825"/>
                  <a:pt x="380598" y="133293"/>
                  <a:pt x="379984" y="132374"/>
                </a:cubicBezTo>
                <a:cubicBezTo>
                  <a:pt x="379371" y="131455"/>
                  <a:pt x="378757" y="131149"/>
                  <a:pt x="377836" y="130843"/>
                </a:cubicBezTo>
                <a:cubicBezTo>
                  <a:pt x="376609" y="130536"/>
                  <a:pt x="375688" y="130536"/>
                  <a:pt x="374461" y="130843"/>
                </a:cubicBezTo>
                <a:close/>
                <a:moveTo>
                  <a:pt x="113865" y="130515"/>
                </a:moveTo>
                <a:cubicBezTo>
                  <a:pt x="113865" y="130515"/>
                  <a:pt x="113557" y="130822"/>
                  <a:pt x="113557" y="130822"/>
                </a:cubicBezTo>
                <a:cubicBezTo>
                  <a:pt x="113249" y="130822"/>
                  <a:pt x="113249" y="131128"/>
                  <a:pt x="113249" y="131435"/>
                </a:cubicBezTo>
                <a:cubicBezTo>
                  <a:pt x="113249" y="131435"/>
                  <a:pt x="113249" y="131742"/>
                  <a:pt x="113557" y="131742"/>
                </a:cubicBezTo>
                <a:cubicBezTo>
                  <a:pt x="113557" y="132048"/>
                  <a:pt x="113865" y="132048"/>
                  <a:pt x="113865" y="132048"/>
                </a:cubicBezTo>
                <a:cubicBezTo>
                  <a:pt x="115096" y="132048"/>
                  <a:pt x="115096" y="132048"/>
                  <a:pt x="115096" y="132048"/>
                </a:cubicBezTo>
                <a:cubicBezTo>
                  <a:pt x="115711" y="132048"/>
                  <a:pt x="115711" y="132048"/>
                  <a:pt x="115711" y="132048"/>
                </a:cubicBezTo>
                <a:cubicBezTo>
                  <a:pt x="115711" y="132355"/>
                  <a:pt x="115711" y="132355"/>
                  <a:pt x="115711" y="132355"/>
                </a:cubicBezTo>
                <a:lnTo>
                  <a:pt x="115711" y="139780"/>
                </a:lnTo>
                <a:lnTo>
                  <a:pt x="116901" y="139780"/>
                </a:lnTo>
                <a:lnTo>
                  <a:pt x="116901" y="134193"/>
                </a:lnTo>
                <a:cubicBezTo>
                  <a:pt x="116901" y="133886"/>
                  <a:pt x="117245" y="133580"/>
                  <a:pt x="117589" y="133580"/>
                </a:cubicBezTo>
                <a:cubicBezTo>
                  <a:pt x="117589" y="133580"/>
                  <a:pt x="117934" y="133886"/>
                  <a:pt x="117934" y="134193"/>
                </a:cubicBezTo>
                <a:lnTo>
                  <a:pt x="117934" y="139780"/>
                </a:lnTo>
                <a:lnTo>
                  <a:pt x="119976" y="139780"/>
                </a:lnTo>
                <a:lnTo>
                  <a:pt x="123713" y="139780"/>
                </a:lnTo>
                <a:lnTo>
                  <a:pt x="123713" y="135282"/>
                </a:lnTo>
                <a:cubicBezTo>
                  <a:pt x="123713" y="132355"/>
                  <a:pt x="123713" y="132355"/>
                  <a:pt x="123713" y="132355"/>
                </a:cubicBezTo>
                <a:cubicBezTo>
                  <a:pt x="123713" y="132048"/>
                  <a:pt x="123713" y="132048"/>
                  <a:pt x="123713" y="132048"/>
                </a:cubicBezTo>
                <a:cubicBezTo>
                  <a:pt x="124021" y="132048"/>
                  <a:pt x="124021" y="132048"/>
                  <a:pt x="124021" y="132048"/>
                </a:cubicBezTo>
                <a:cubicBezTo>
                  <a:pt x="125252" y="132048"/>
                  <a:pt x="125252" y="132048"/>
                  <a:pt x="125252" y="132048"/>
                </a:cubicBezTo>
                <a:cubicBezTo>
                  <a:pt x="125560" y="132048"/>
                  <a:pt x="125560" y="132048"/>
                  <a:pt x="125867" y="131742"/>
                </a:cubicBezTo>
                <a:cubicBezTo>
                  <a:pt x="125867" y="131742"/>
                  <a:pt x="125867" y="131435"/>
                  <a:pt x="125867" y="131435"/>
                </a:cubicBezTo>
                <a:cubicBezTo>
                  <a:pt x="125867" y="131128"/>
                  <a:pt x="125867" y="130822"/>
                  <a:pt x="125867" y="130822"/>
                </a:cubicBezTo>
                <a:cubicBezTo>
                  <a:pt x="125560" y="130822"/>
                  <a:pt x="125560" y="130515"/>
                  <a:pt x="125252" y="130515"/>
                </a:cubicBezTo>
                <a:cubicBezTo>
                  <a:pt x="113865" y="130515"/>
                  <a:pt x="113865" y="130515"/>
                  <a:pt x="113865" y="130515"/>
                </a:cubicBezTo>
                <a:close/>
                <a:moveTo>
                  <a:pt x="98809" y="130515"/>
                </a:moveTo>
                <a:cubicBezTo>
                  <a:pt x="98501" y="130515"/>
                  <a:pt x="98501" y="130822"/>
                  <a:pt x="98193" y="130822"/>
                </a:cubicBezTo>
                <a:cubicBezTo>
                  <a:pt x="98193" y="130822"/>
                  <a:pt x="98193" y="131128"/>
                  <a:pt x="98193" y="131435"/>
                </a:cubicBezTo>
                <a:cubicBezTo>
                  <a:pt x="98193" y="131435"/>
                  <a:pt x="98193" y="131742"/>
                  <a:pt x="98193" y="131742"/>
                </a:cubicBezTo>
                <a:cubicBezTo>
                  <a:pt x="98501" y="132048"/>
                  <a:pt x="98501" y="132048"/>
                  <a:pt x="98809" y="132048"/>
                </a:cubicBezTo>
                <a:cubicBezTo>
                  <a:pt x="100040" y="132048"/>
                  <a:pt x="100040" y="132048"/>
                  <a:pt x="100040" y="132048"/>
                </a:cubicBezTo>
                <a:cubicBezTo>
                  <a:pt x="100347" y="132048"/>
                  <a:pt x="100347" y="132048"/>
                  <a:pt x="100347" y="132048"/>
                </a:cubicBezTo>
                <a:cubicBezTo>
                  <a:pt x="100347" y="132355"/>
                  <a:pt x="100347" y="132355"/>
                  <a:pt x="100347" y="132355"/>
                </a:cubicBezTo>
                <a:lnTo>
                  <a:pt x="100347" y="139780"/>
                </a:lnTo>
                <a:lnTo>
                  <a:pt x="101771" y="139780"/>
                </a:lnTo>
                <a:lnTo>
                  <a:pt x="101846" y="139780"/>
                </a:lnTo>
                <a:lnTo>
                  <a:pt x="101846" y="134193"/>
                </a:lnTo>
                <a:cubicBezTo>
                  <a:pt x="101846" y="133886"/>
                  <a:pt x="102190" y="133580"/>
                  <a:pt x="102190" y="133580"/>
                </a:cubicBezTo>
                <a:cubicBezTo>
                  <a:pt x="102534" y="133580"/>
                  <a:pt x="102879" y="133886"/>
                  <a:pt x="102879" y="134193"/>
                </a:cubicBezTo>
                <a:lnTo>
                  <a:pt x="102879" y="139780"/>
                </a:lnTo>
                <a:lnTo>
                  <a:pt x="108349" y="139780"/>
                </a:lnTo>
                <a:lnTo>
                  <a:pt x="108349" y="135282"/>
                </a:lnTo>
                <a:cubicBezTo>
                  <a:pt x="108349" y="132355"/>
                  <a:pt x="108349" y="132355"/>
                  <a:pt x="108349" y="132355"/>
                </a:cubicBezTo>
                <a:cubicBezTo>
                  <a:pt x="108349" y="132048"/>
                  <a:pt x="108349" y="132048"/>
                  <a:pt x="108349" y="132048"/>
                </a:cubicBezTo>
                <a:cubicBezTo>
                  <a:pt x="108965" y="132048"/>
                  <a:pt x="108965" y="132048"/>
                  <a:pt x="108965" y="132048"/>
                </a:cubicBezTo>
                <a:cubicBezTo>
                  <a:pt x="109888" y="132048"/>
                  <a:pt x="109888" y="132048"/>
                  <a:pt x="109888" y="132048"/>
                </a:cubicBezTo>
                <a:cubicBezTo>
                  <a:pt x="110196" y="132048"/>
                  <a:pt x="110504" y="132048"/>
                  <a:pt x="110504" y="131742"/>
                </a:cubicBezTo>
                <a:cubicBezTo>
                  <a:pt x="110504" y="131742"/>
                  <a:pt x="110811" y="131435"/>
                  <a:pt x="110811" y="131435"/>
                </a:cubicBezTo>
                <a:cubicBezTo>
                  <a:pt x="110811" y="131128"/>
                  <a:pt x="110504" y="130822"/>
                  <a:pt x="110504" y="130822"/>
                </a:cubicBezTo>
                <a:cubicBezTo>
                  <a:pt x="110504" y="130822"/>
                  <a:pt x="110196" y="130515"/>
                  <a:pt x="109888" y="130515"/>
                </a:cubicBezTo>
                <a:cubicBezTo>
                  <a:pt x="98809" y="130515"/>
                  <a:pt x="98809" y="130515"/>
                  <a:pt x="98809" y="130515"/>
                </a:cubicBezTo>
                <a:close/>
                <a:moveTo>
                  <a:pt x="83458" y="130515"/>
                </a:moveTo>
                <a:cubicBezTo>
                  <a:pt x="83458" y="130515"/>
                  <a:pt x="83150" y="130822"/>
                  <a:pt x="83150" y="130822"/>
                </a:cubicBezTo>
                <a:cubicBezTo>
                  <a:pt x="82842" y="130822"/>
                  <a:pt x="82842" y="131128"/>
                  <a:pt x="82842" y="131435"/>
                </a:cubicBezTo>
                <a:cubicBezTo>
                  <a:pt x="82842" y="131435"/>
                  <a:pt x="82842" y="131742"/>
                  <a:pt x="83150" y="131742"/>
                </a:cubicBezTo>
                <a:cubicBezTo>
                  <a:pt x="83150" y="132048"/>
                  <a:pt x="83458" y="132048"/>
                  <a:pt x="83458" y="132048"/>
                </a:cubicBezTo>
                <a:cubicBezTo>
                  <a:pt x="84689" y="132048"/>
                  <a:pt x="84689" y="132048"/>
                  <a:pt x="84689" y="132048"/>
                </a:cubicBezTo>
                <a:cubicBezTo>
                  <a:pt x="85304" y="132048"/>
                  <a:pt x="85304" y="132048"/>
                  <a:pt x="85304" y="132048"/>
                </a:cubicBezTo>
                <a:cubicBezTo>
                  <a:pt x="85304" y="132355"/>
                  <a:pt x="85304" y="132355"/>
                  <a:pt x="85304" y="132355"/>
                </a:cubicBezTo>
                <a:lnTo>
                  <a:pt x="85304" y="139780"/>
                </a:lnTo>
                <a:lnTo>
                  <a:pt x="86938" y="139780"/>
                </a:lnTo>
                <a:lnTo>
                  <a:pt x="86938" y="134193"/>
                </a:lnTo>
                <a:cubicBezTo>
                  <a:pt x="86938" y="133886"/>
                  <a:pt x="86938" y="133580"/>
                  <a:pt x="87233" y="133580"/>
                </a:cubicBezTo>
                <a:cubicBezTo>
                  <a:pt x="87233" y="133580"/>
                  <a:pt x="87528" y="133886"/>
                  <a:pt x="87528" y="134193"/>
                </a:cubicBezTo>
                <a:lnTo>
                  <a:pt x="87528" y="139780"/>
                </a:lnTo>
                <a:lnTo>
                  <a:pt x="93306" y="139780"/>
                </a:lnTo>
                <a:lnTo>
                  <a:pt x="93306" y="135282"/>
                </a:lnTo>
                <a:cubicBezTo>
                  <a:pt x="93306" y="132355"/>
                  <a:pt x="93306" y="132355"/>
                  <a:pt x="93306" y="132355"/>
                </a:cubicBezTo>
                <a:cubicBezTo>
                  <a:pt x="93306" y="132048"/>
                  <a:pt x="93306" y="132048"/>
                  <a:pt x="93306" y="132048"/>
                </a:cubicBezTo>
                <a:cubicBezTo>
                  <a:pt x="93614" y="132048"/>
                  <a:pt x="93614" y="132048"/>
                  <a:pt x="93614" y="132048"/>
                </a:cubicBezTo>
                <a:cubicBezTo>
                  <a:pt x="94845" y="132048"/>
                  <a:pt x="94845" y="132048"/>
                  <a:pt x="94845" y="132048"/>
                </a:cubicBezTo>
                <a:cubicBezTo>
                  <a:pt x="95153" y="132048"/>
                  <a:pt x="95153" y="132048"/>
                  <a:pt x="95460" y="131742"/>
                </a:cubicBezTo>
                <a:cubicBezTo>
                  <a:pt x="95460" y="131742"/>
                  <a:pt x="95460" y="131435"/>
                  <a:pt x="95460" y="131435"/>
                </a:cubicBezTo>
                <a:cubicBezTo>
                  <a:pt x="95460" y="131128"/>
                  <a:pt x="95460" y="130822"/>
                  <a:pt x="95460" y="130822"/>
                </a:cubicBezTo>
                <a:cubicBezTo>
                  <a:pt x="95153" y="130822"/>
                  <a:pt x="95153" y="130515"/>
                  <a:pt x="94845" y="130515"/>
                </a:cubicBezTo>
                <a:cubicBezTo>
                  <a:pt x="83458" y="130515"/>
                  <a:pt x="83458" y="130515"/>
                  <a:pt x="83458" y="130515"/>
                </a:cubicBezTo>
                <a:close/>
                <a:moveTo>
                  <a:pt x="68403" y="130515"/>
                </a:moveTo>
                <a:cubicBezTo>
                  <a:pt x="68095" y="130515"/>
                  <a:pt x="68095" y="130822"/>
                  <a:pt x="67787" y="130822"/>
                </a:cubicBezTo>
                <a:cubicBezTo>
                  <a:pt x="67787" y="130822"/>
                  <a:pt x="67787" y="131128"/>
                  <a:pt x="67787" y="131435"/>
                </a:cubicBezTo>
                <a:cubicBezTo>
                  <a:pt x="67787" y="131435"/>
                  <a:pt x="67787" y="131742"/>
                  <a:pt x="67787" y="131742"/>
                </a:cubicBezTo>
                <a:cubicBezTo>
                  <a:pt x="68095" y="132048"/>
                  <a:pt x="68095" y="132048"/>
                  <a:pt x="68403" y="132048"/>
                </a:cubicBezTo>
                <a:cubicBezTo>
                  <a:pt x="69634" y="132048"/>
                  <a:pt x="69634" y="132048"/>
                  <a:pt x="69634" y="132048"/>
                </a:cubicBezTo>
                <a:cubicBezTo>
                  <a:pt x="69941" y="132048"/>
                  <a:pt x="69941" y="132048"/>
                  <a:pt x="69941" y="132048"/>
                </a:cubicBezTo>
                <a:cubicBezTo>
                  <a:pt x="69941" y="132355"/>
                  <a:pt x="69941" y="132355"/>
                  <a:pt x="69941" y="132355"/>
                </a:cubicBezTo>
                <a:lnTo>
                  <a:pt x="69941" y="139780"/>
                </a:lnTo>
                <a:lnTo>
                  <a:pt x="71587" y="139780"/>
                </a:lnTo>
                <a:lnTo>
                  <a:pt x="71587" y="134193"/>
                </a:lnTo>
                <a:cubicBezTo>
                  <a:pt x="71587" y="133886"/>
                  <a:pt x="71882" y="133580"/>
                  <a:pt x="71882" y="133580"/>
                </a:cubicBezTo>
                <a:cubicBezTo>
                  <a:pt x="72177" y="133580"/>
                  <a:pt x="72473" y="133886"/>
                  <a:pt x="72473" y="134193"/>
                </a:cubicBezTo>
                <a:lnTo>
                  <a:pt x="72473" y="139780"/>
                </a:lnTo>
                <a:lnTo>
                  <a:pt x="77943" y="139780"/>
                </a:lnTo>
                <a:lnTo>
                  <a:pt x="77943" y="135282"/>
                </a:lnTo>
                <a:cubicBezTo>
                  <a:pt x="77943" y="132355"/>
                  <a:pt x="77943" y="132355"/>
                  <a:pt x="77943" y="132355"/>
                </a:cubicBezTo>
                <a:cubicBezTo>
                  <a:pt x="77943" y="132048"/>
                  <a:pt x="77943" y="132048"/>
                  <a:pt x="77943" y="132048"/>
                </a:cubicBezTo>
                <a:cubicBezTo>
                  <a:pt x="78559" y="132048"/>
                  <a:pt x="78559" y="132048"/>
                  <a:pt x="78559" y="132048"/>
                </a:cubicBezTo>
                <a:cubicBezTo>
                  <a:pt x="79482" y="132048"/>
                  <a:pt x="79482" y="132048"/>
                  <a:pt x="79482" y="132048"/>
                </a:cubicBezTo>
                <a:cubicBezTo>
                  <a:pt x="79790" y="132048"/>
                  <a:pt x="80098" y="132048"/>
                  <a:pt x="80098" y="131742"/>
                </a:cubicBezTo>
                <a:cubicBezTo>
                  <a:pt x="80098" y="131742"/>
                  <a:pt x="80405" y="131435"/>
                  <a:pt x="80405" y="131435"/>
                </a:cubicBezTo>
                <a:cubicBezTo>
                  <a:pt x="80405" y="131128"/>
                  <a:pt x="80098" y="130822"/>
                  <a:pt x="80098" y="130822"/>
                </a:cubicBezTo>
                <a:cubicBezTo>
                  <a:pt x="80098" y="130822"/>
                  <a:pt x="79790" y="130515"/>
                  <a:pt x="79482" y="130515"/>
                </a:cubicBezTo>
                <a:cubicBezTo>
                  <a:pt x="68403" y="130515"/>
                  <a:pt x="68403" y="130515"/>
                  <a:pt x="68403" y="130515"/>
                </a:cubicBezTo>
                <a:close/>
                <a:moveTo>
                  <a:pt x="68403" y="129595"/>
                </a:moveTo>
                <a:cubicBezTo>
                  <a:pt x="79482" y="129595"/>
                  <a:pt x="79482" y="129595"/>
                  <a:pt x="79482" y="129595"/>
                </a:cubicBezTo>
                <a:cubicBezTo>
                  <a:pt x="80098" y="129595"/>
                  <a:pt x="80405" y="129902"/>
                  <a:pt x="80713" y="130208"/>
                </a:cubicBezTo>
                <a:cubicBezTo>
                  <a:pt x="81021" y="130515"/>
                  <a:pt x="81329" y="130822"/>
                  <a:pt x="81329" y="131435"/>
                </a:cubicBezTo>
                <a:cubicBezTo>
                  <a:pt x="81329" y="131742"/>
                  <a:pt x="81021" y="132048"/>
                  <a:pt x="80713" y="132355"/>
                </a:cubicBezTo>
                <a:cubicBezTo>
                  <a:pt x="80405" y="132662"/>
                  <a:pt x="80098" y="132968"/>
                  <a:pt x="79482" y="132968"/>
                </a:cubicBezTo>
                <a:cubicBezTo>
                  <a:pt x="78867" y="132968"/>
                  <a:pt x="78867" y="132968"/>
                  <a:pt x="78867" y="132968"/>
                </a:cubicBezTo>
                <a:lnTo>
                  <a:pt x="78867" y="139780"/>
                </a:lnTo>
                <a:lnTo>
                  <a:pt x="84073" y="139780"/>
                </a:lnTo>
                <a:lnTo>
                  <a:pt x="84073" y="133826"/>
                </a:lnTo>
                <a:cubicBezTo>
                  <a:pt x="84073" y="132968"/>
                  <a:pt x="84073" y="132968"/>
                  <a:pt x="84073" y="132968"/>
                </a:cubicBezTo>
                <a:cubicBezTo>
                  <a:pt x="83458" y="132968"/>
                  <a:pt x="83458" y="132968"/>
                  <a:pt x="83458" y="132968"/>
                </a:cubicBezTo>
                <a:cubicBezTo>
                  <a:pt x="83150" y="132968"/>
                  <a:pt x="82842" y="132662"/>
                  <a:pt x="82534" y="132355"/>
                </a:cubicBezTo>
                <a:cubicBezTo>
                  <a:pt x="82227" y="132048"/>
                  <a:pt x="81919" y="131742"/>
                  <a:pt x="81919" y="131435"/>
                </a:cubicBezTo>
                <a:cubicBezTo>
                  <a:pt x="81919" y="130822"/>
                  <a:pt x="82227" y="130515"/>
                  <a:pt x="82534" y="130208"/>
                </a:cubicBezTo>
                <a:cubicBezTo>
                  <a:pt x="82842" y="129902"/>
                  <a:pt x="83150" y="129595"/>
                  <a:pt x="83458" y="129595"/>
                </a:cubicBezTo>
                <a:cubicBezTo>
                  <a:pt x="94845" y="129595"/>
                  <a:pt x="94845" y="129595"/>
                  <a:pt x="94845" y="129595"/>
                </a:cubicBezTo>
                <a:cubicBezTo>
                  <a:pt x="95153" y="129595"/>
                  <a:pt x="95768" y="129902"/>
                  <a:pt x="96076" y="130208"/>
                </a:cubicBezTo>
                <a:cubicBezTo>
                  <a:pt x="96384" y="130515"/>
                  <a:pt x="96384" y="130822"/>
                  <a:pt x="96384" y="131435"/>
                </a:cubicBezTo>
                <a:cubicBezTo>
                  <a:pt x="96384" y="131742"/>
                  <a:pt x="96384" y="132048"/>
                  <a:pt x="96076" y="132355"/>
                </a:cubicBezTo>
                <a:cubicBezTo>
                  <a:pt x="95768" y="132662"/>
                  <a:pt x="95153" y="132968"/>
                  <a:pt x="94845" y="132968"/>
                </a:cubicBezTo>
                <a:cubicBezTo>
                  <a:pt x="94229" y="132968"/>
                  <a:pt x="94229" y="132968"/>
                  <a:pt x="94229" y="132968"/>
                </a:cubicBezTo>
                <a:lnTo>
                  <a:pt x="94229" y="139780"/>
                </a:lnTo>
                <a:lnTo>
                  <a:pt x="99424" y="139780"/>
                </a:lnTo>
                <a:lnTo>
                  <a:pt x="99424" y="133826"/>
                </a:lnTo>
                <a:cubicBezTo>
                  <a:pt x="99424" y="132968"/>
                  <a:pt x="99424" y="132968"/>
                  <a:pt x="99424" y="132968"/>
                </a:cubicBezTo>
                <a:cubicBezTo>
                  <a:pt x="98809" y="132968"/>
                  <a:pt x="98809" y="132968"/>
                  <a:pt x="98809" y="132968"/>
                </a:cubicBezTo>
                <a:cubicBezTo>
                  <a:pt x="98193" y="132968"/>
                  <a:pt x="97885" y="132662"/>
                  <a:pt x="97578" y="132355"/>
                </a:cubicBezTo>
                <a:cubicBezTo>
                  <a:pt x="97270" y="132048"/>
                  <a:pt x="97270" y="131742"/>
                  <a:pt x="97270" y="131435"/>
                </a:cubicBezTo>
                <a:cubicBezTo>
                  <a:pt x="97270" y="130822"/>
                  <a:pt x="97270" y="130515"/>
                  <a:pt x="97578" y="130208"/>
                </a:cubicBezTo>
                <a:cubicBezTo>
                  <a:pt x="97885" y="129902"/>
                  <a:pt x="98193" y="129595"/>
                  <a:pt x="98809" y="129595"/>
                </a:cubicBezTo>
                <a:cubicBezTo>
                  <a:pt x="109888" y="129595"/>
                  <a:pt x="109888" y="129595"/>
                  <a:pt x="109888" y="129595"/>
                </a:cubicBezTo>
                <a:cubicBezTo>
                  <a:pt x="110504" y="129595"/>
                  <a:pt x="110811" y="129902"/>
                  <a:pt x="111119" y="130208"/>
                </a:cubicBezTo>
                <a:cubicBezTo>
                  <a:pt x="111427" y="130515"/>
                  <a:pt x="111735" y="130822"/>
                  <a:pt x="111735" y="131435"/>
                </a:cubicBezTo>
                <a:cubicBezTo>
                  <a:pt x="111735" y="131742"/>
                  <a:pt x="111427" y="132048"/>
                  <a:pt x="111119" y="132355"/>
                </a:cubicBezTo>
                <a:cubicBezTo>
                  <a:pt x="110811" y="132662"/>
                  <a:pt x="110504" y="132968"/>
                  <a:pt x="109888" y="132968"/>
                </a:cubicBezTo>
                <a:cubicBezTo>
                  <a:pt x="109273" y="132968"/>
                  <a:pt x="109273" y="132968"/>
                  <a:pt x="109273" y="132968"/>
                </a:cubicBezTo>
                <a:lnTo>
                  <a:pt x="109273" y="139780"/>
                </a:lnTo>
                <a:lnTo>
                  <a:pt x="114480" y="139780"/>
                </a:lnTo>
                <a:lnTo>
                  <a:pt x="114480" y="133826"/>
                </a:lnTo>
                <a:cubicBezTo>
                  <a:pt x="114480" y="132968"/>
                  <a:pt x="114480" y="132968"/>
                  <a:pt x="114480" y="132968"/>
                </a:cubicBezTo>
                <a:cubicBezTo>
                  <a:pt x="113865" y="132968"/>
                  <a:pt x="113865" y="132968"/>
                  <a:pt x="113865" y="132968"/>
                </a:cubicBezTo>
                <a:cubicBezTo>
                  <a:pt x="113557" y="132968"/>
                  <a:pt x="113249" y="132662"/>
                  <a:pt x="112941" y="132355"/>
                </a:cubicBezTo>
                <a:cubicBezTo>
                  <a:pt x="112634" y="132048"/>
                  <a:pt x="112326" y="131742"/>
                  <a:pt x="112326" y="131435"/>
                </a:cubicBezTo>
                <a:cubicBezTo>
                  <a:pt x="112326" y="130822"/>
                  <a:pt x="112634" y="130515"/>
                  <a:pt x="112941" y="130208"/>
                </a:cubicBezTo>
                <a:cubicBezTo>
                  <a:pt x="113249" y="129902"/>
                  <a:pt x="113557" y="129595"/>
                  <a:pt x="113865" y="129595"/>
                </a:cubicBezTo>
                <a:cubicBezTo>
                  <a:pt x="125252" y="129595"/>
                  <a:pt x="125252" y="129595"/>
                  <a:pt x="125252" y="129595"/>
                </a:cubicBezTo>
                <a:cubicBezTo>
                  <a:pt x="125560" y="129595"/>
                  <a:pt x="126175" y="129902"/>
                  <a:pt x="126483" y="130208"/>
                </a:cubicBezTo>
                <a:cubicBezTo>
                  <a:pt x="126791" y="130515"/>
                  <a:pt x="126791" y="130822"/>
                  <a:pt x="126791" y="131435"/>
                </a:cubicBezTo>
                <a:cubicBezTo>
                  <a:pt x="126791" y="131742"/>
                  <a:pt x="126791" y="132048"/>
                  <a:pt x="126483" y="132355"/>
                </a:cubicBezTo>
                <a:cubicBezTo>
                  <a:pt x="126175" y="132662"/>
                  <a:pt x="125560" y="132968"/>
                  <a:pt x="125252" y="132968"/>
                </a:cubicBezTo>
                <a:cubicBezTo>
                  <a:pt x="124636" y="132968"/>
                  <a:pt x="124636" y="132968"/>
                  <a:pt x="124636" y="132968"/>
                </a:cubicBezTo>
                <a:lnTo>
                  <a:pt x="124636" y="139780"/>
                </a:lnTo>
                <a:lnTo>
                  <a:pt x="126684" y="139780"/>
                </a:lnTo>
                <a:cubicBezTo>
                  <a:pt x="127642" y="139780"/>
                  <a:pt x="127642" y="139780"/>
                  <a:pt x="127642" y="139780"/>
                </a:cubicBezTo>
                <a:cubicBezTo>
                  <a:pt x="128255" y="139780"/>
                  <a:pt x="128562" y="140096"/>
                  <a:pt x="128562" y="140729"/>
                </a:cubicBezTo>
                <a:cubicBezTo>
                  <a:pt x="128562" y="141361"/>
                  <a:pt x="128255" y="141994"/>
                  <a:pt x="127642" y="141994"/>
                </a:cubicBezTo>
                <a:lnTo>
                  <a:pt x="124636" y="141994"/>
                </a:lnTo>
                <a:lnTo>
                  <a:pt x="124636" y="164704"/>
                </a:lnTo>
                <a:cubicBezTo>
                  <a:pt x="124636" y="187862"/>
                  <a:pt x="124636" y="187862"/>
                  <a:pt x="124636" y="187862"/>
                </a:cubicBezTo>
                <a:cubicBezTo>
                  <a:pt x="124636" y="189089"/>
                  <a:pt x="124021" y="190316"/>
                  <a:pt x="123098" y="191236"/>
                </a:cubicBezTo>
                <a:cubicBezTo>
                  <a:pt x="122174" y="192156"/>
                  <a:pt x="120943" y="192769"/>
                  <a:pt x="119712" y="192769"/>
                </a:cubicBezTo>
                <a:cubicBezTo>
                  <a:pt x="118173" y="192769"/>
                  <a:pt x="116942" y="192156"/>
                  <a:pt x="116019" y="191236"/>
                </a:cubicBezTo>
                <a:cubicBezTo>
                  <a:pt x="115096" y="190316"/>
                  <a:pt x="114480" y="189089"/>
                  <a:pt x="114480" y="187862"/>
                </a:cubicBezTo>
                <a:cubicBezTo>
                  <a:pt x="114480" y="174139"/>
                  <a:pt x="114480" y="163846"/>
                  <a:pt x="114480" y="156127"/>
                </a:cubicBezTo>
                <a:lnTo>
                  <a:pt x="114480" y="141994"/>
                </a:lnTo>
                <a:lnTo>
                  <a:pt x="109273" y="141994"/>
                </a:lnTo>
                <a:lnTo>
                  <a:pt x="109273" y="164704"/>
                </a:lnTo>
                <a:cubicBezTo>
                  <a:pt x="109273" y="187862"/>
                  <a:pt x="109273" y="187862"/>
                  <a:pt x="109273" y="187862"/>
                </a:cubicBezTo>
                <a:cubicBezTo>
                  <a:pt x="109273" y="189089"/>
                  <a:pt x="108965" y="190316"/>
                  <a:pt x="108042" y="191236"/>
                </a:cubicBezTo>
                <a:cubicBezTo>
                  <a:pt x="107118" y="192156"/>
                  <a:pt x="105887" y="192769"/>
                  <a:pt x="104348" y="192769"/>
                </a:cubicBezTo>
                <a:cubicBezTo>
                  <a:pt x="103117" y="192769"/>
                  <a:pt x="101886" y="192156"/>
                  <a:pt x="100963" y="191236"/>
                </a:cubicBezTo>
                <a:cubicBezTo>
                  <a:pt x="100040" y="190316"/>
                  <a:pt x="99424" y="189089"/>
                  <a:pt x="99424" y="187862"/>
                </a:cubicBezTo>
                <a:cubicBezTo>
                  <a:pt x="99424" y="174139"/>
                  <a:pt x="99424" y="163846"/>
                  <a:pt x="99424" y="156127"/>
                </a:cubicBezTo>
                <a:lnTo>
                  <a:pt x="99424" y="141994"/>
                </a:lnTo>
                <a:lnTo>
                  <a:pt x="94229" y="141994"/>
                </a:lnTo>
                <a:lnTo>
                  <a:pt x="94229" y="164704"/>
                </a:lnTo>
                <a:cubicBezTo>
                  <a:pt x="94229" y="187862"/>
                  <a:pt x="94229" y="187862"/>
                  <a:pt x="94229" y="187862"/>
                </a:cubicBezTo>
                <a:cubicBezTo>
                  <a:pt x="94229" y="189089"/>
                  <a:pt x="93614" y="190316"/>
                  <a:pt x="92691" y="191236"/>
                </a:cubicBezTo>
                <a:cubicBezTo>
                  <a:pt x="91767" y="192156"/>
                  <a:pt x="90536" y="192769"/>
                  <a:pt x="89305" y="192769"/>
                </a:cubicBezTo>
                <a:cubicBezTo>
                  <a:pt x="87766" y="192769"/>
                  <a:pt x="86535" y="192156"/>
                  <a:pt x="85612" y="191236"/>
                </a:cubicBezTo>
                <a:cubicBezTo>
                  <a:pt x="84689" y="190316"/>
                  <a:pt x="84073" y="189089"/>
                  <a:pt x="84073" y="187862"/>
                </a:cubicBezTo>
                <a:cubicBezTo>
                  <a:pt x="84073" y="174139"/>
                  <a:pt x="84073" y="163846"/>
                  <a:pt x="84073" y="156127"/>
                </a:cubicBezTo>
                <a:lnTo>
                  <a:pt x="84073" y="141994"/>
                </a:lnTo>
                <a:lnTo>
                  <a:pt x="78867" y="141994"/>
                </a:lnTo>
                <a:lnTo>
                  <a:pt x="78867" y="164704"/>
                </a:lnTo>
                <a:cubicBezTo>
                  <a:pt x="78867" y="187862"/>
                  <a:pt x="78867" y="187862"/>
                  <a:pt x="78867" y="187862"/>
                </a:cubicBezTo>
                <a:cubicBezTo>
                  <a:pt x="78867" y="189089"/>
                  <a:pt x="78559" y="190316"/>
                  <a:pt x="77636" y="191236"/>
                </a:cubicBezTo>
                <a:cubicBezTo>
                  <a:pt x="76712" y="192156"/>
                  <a:pt x="75481" y="192769"/>
                  <a:pt x="73942" y="192769"/>
                </a:cubicBezTo>
                <a:cubicBezTo>
                  <a:pt x="72711" y="192769"/>
                  <a:pt x="71480" y="192156"/>
                  <a:pt x="70557" y="191236"/>
                </a:cubicBezTo>
                <a:cubicBezTo>
                  <a:pt x="69634" y="190316"/>
                  <a:pt x="69018" y="189089"/>
                  <a:pt x="69018" y="187862"/>
                </a:cubicBezTo>
                <a:cubicBezTo>
                  <a:pt x="69018" y="174139"/>
                  <a:pt x="69018" y="163846"/>
                  <a:pt x="69018" y="156127"/>
                </a:cubicBezTo>
                <a:lnTo>
                  <a:pt x="69018" y="141994"/>
                </a:lnTo>
                <a:lnTo>
                  <a:pt x="67277" y="141994"/>
                </a:lnTo>
                <a:cubicBezTo>
                  <a:pt x="66319" y="141994"/>
                  <a:pt x="66319" y="141994"/>
                  <a:pt x="66319" y="141994"/>
                </a:cubicBezTo>
                <a:cubicBezTo>
                  <a:pt x="65706" y="141994"/>
                  <a:pt x="65093" y="141361"/>
                  <a:pt x="65093" y="140729"/>
                </a:cubicBezTo>
                <a:cubicBezTo>
                  <a:pt x="65093" y="140096"/>
                  <a:pt x="65706" y="139780"/>
                  <a:pt x="66319" y="139780"/>
                </a:cubicBezTo>
                <a:lnTo>
                  <a:pt x="69018" y="139780"/>
                </a:lnTo>
                <a:lnTo>
                  <a:pt x="69018" y="133826"/>
                </a:lnTo>
                <a:cubicBezTo>
                  <a:pt x="69018" y="132968"/>
                  <a:pt x="69018" y="132968"/>
                  <a:pt x="69018" y="132968"/>
                </a:cubicBezTo>
                <a:cubicBezTo>
                  <a:pt x="68403" y="132968"/>
                  <a:pt x="68403" y="132968"/>
                  <a:pt x="68403" y="132968"/>
                </a:cubicBezTo>
                <a:cubicBezTo>
                  <a:pt x="68095" y="132968"/>
                  <a:pt x="67479" y="132662"/>
                  <a:pt x="67172" y="132355"/>
                </a:cubicBezTo>
                <a:cubicBezTo>
                  <a:pt x="66864" y="132048"/>
                  <a:pt x="66864" y="131742"/>
                  <a:pt x="66864" y="131435"/>
                </a:cubicBezTo>
                <a:cubicBezTo>
                  <a:pt x="66864" y="130822"/>
                  <a:pt x="66864" y="130515"/>
                  <a:pt x="67172" y="130208"/>
                </a:cubicBezTo>
                <a:cubicBezTo>
                  <a:pt x="67479" y="129902"/>
                  <a:pt x="68095" y="129595"/>
                  <a:pt x="68403" y="129595"/>
                </a:cubicBezTo>
                <a:close/>
                <a:moveTo>
                  <a:pt x="374154" y="129311"/>
                </a:moveTo>
                <a:cubicBezTo>
                  <a:pt x="375381" y="129005"/>
                  <a:pt x="376916" y="129005"/>
                  <a:pt x="378143" y="129311"/>
                </a:cubicBezTo>
                <a:cubicBezTo>
                  <a:pt x="379371" y="129617"/>
                  <a:pt x="380291" y="130230"/>
                  <a:pt x="381212" y="131455"/>
                </a:cubicBezTo>
                <a:cubicBezTo>
                  <a:pt x="382132" y="132680"/>
                  <a:pt x="382439" y="134825"/>
                  <a:pt x="381826" y="137581"/>
                </a:cubicBezTo>
                <a:cubicBezTo>
                  <a:pt x="381212" y="139419"/>
                  <a:pt x="379984" y="140644"/>
                  <a:pt x="378757" y="141870"/>
                </a:cubicBezTo>
                <a:cubicBezTo>
                  <a:pt x="376609" y="144014"/>
                  <a:pt x="373847" y="146464"/>
                  <a:pt x="374154" y="153815"/>
                </a:cubicBezTo>
                <a:cubicBezTo>
                  <a:pt x="374154" y="160248"/>
                  <a:pt x="372006" y="162392"/>
                  <a:pt x="368323" y="165455"/>
                </a:cubicBezTo>
                <a:cubicBezTo>
                  <a:pt x="367710" y="166067"/>
                  <a:pt x="367096" y="166680"/>
                  <a:pt x="366482" y="167292"/>
                </a:cubicBezTo>
                <a:cubicBezTo>
                  <a:pt x="366482" y="169743"/>
                  <a:pt x="366482" y="169743"/>
                  <a:pt x="366482" y="169743"/>
                </a:cubicBezTo>
                <a:cubicBezTo>
                  <a:pt x="290072" y="169743"/>
                  <a:pt x="290072" y="169743"/>
                  <a:pt x="290072" y="169743"/>
                </a:cubicBezTo>
                <a:cubicBezTo>
                  <a:pt x="290072" y="165148"/>
                  <a:pt x="290072" y="165148"/>
                  <a:pt x="290072" y="165148"/>
                </a:cubicBezTo>
                <a:cubicBezTo>
                  <a:pt x="286082" y="165148"/>
                  <a:pt x="281786" y="164229"/>
                  <a:pt x="278411" y="162392"/>
                </a:cubicBezTo>
                <a:cubicBezTo>
                  <a:pt x="275342" y="160248"/>
                  <a:pt x="273194" y="157491"/>
                  <a:pt x="272273" y="152896"/>
                </a:cubicBezTo>
                <a:cubicBezTo>
                  <a:pt x="271966" y="151059"/>
                  <a:pt x="271659" y="149527"/>
                  <a:pt x="271353" y="147996"/>
                </a:cubicBezTo>
                <a:cubicBezTo>
                  <a:pt x="270432" y="144626"/>
                  <a:pt x="269818" y="142482"/>
                  <a:pt x="271659" y="138194"/>
                </a:cubicBezTo>
                <a:cubicBezTo>
                  <a:pt x="274421" y="131762"/>
                  <a:pt x="281172" y="133293"/>
                  <a:pt x="286696" y="134212"/>
                </a:cubicBezTo>
                <a:cubicBezTo>
                  <a:pt x="287310" y="134212"/>
                  <a:pt x="287924" y="134518"/>
                  <a:pt x="288537" y="134518"/>
                </a:cubicBezTo>
                <a:cubicBezTo>
                  <a:pt x="290072" y="134825"/>
                  <a:pt x="290072" y="134825"/>
                  <a:pt x="290072" y="134825"/>
                </a:cubicBezTo>
                <a:cubicBezTo>
                  <a:pt x="290072" y="131149"/>
                  <a:pt x="290072" y="131149"/>
                  <a:pt x="290072" y="131149"/>
                </a:cubicBezTo>
                <a:cubicBezTo>
                  <a:pt x="366482" y="131149"/>
                  <a:pt x="366482" y="131149"/>
                  <a:pt x="366482" y="131149"/>
                </a:cubicBezTo>
                <a:lnTo>
                  <a:pt x="366482" y="133906"/>
                </a:lnTo>
                <a:cubicBezTo>
                  <a:pt x="368630" y="131455"/>
                  <a:pt x="371699" y="129924"/>
                  <a:pt x="374154" y="129311"/>
                </a:cubicBezTo>
                <a:close/>
                <a:moveTo>
                  <a:pt x="254747" y="126563"/>
                </a:moveTo>
                <a:cubicBezTo>
                  <a:pt x="253217" y="126563"/>
                  <a:pt x="251687" y="127176"/>
                  <a:pt x="250464" y="128402"/>
                </a:cubicBezTo>
                <a:cubicBezTo>
                  <a:pt x="249240" y="129321"/>
                  <a:pt x="248628" y="131160"/>
                  <a:pt x="248628" y="132692"/>
                </a:cubicBezTo>
                <a:cubicBezTo>
                  <a:pt x="248628" y="146177"/>
                  <a:pt x="248628" y="146177"/>
                  <a:pt x="248628" y="146177"/>
                </a:cubicBezTo>
                <a:cubicBezTo>
                  <a:pt x="262090" y="146177"/>
                  <a:pt x="262090" y="146177"/>
                  <a:pt x="262090" y="146177"/>
                </a:cubicBezTo>
                <a:cubicBezTo>
                  <a:pt x="262090" y="132692"/>
                  <a:pt x="262090" y="132692"/>
                  <a:pt x="262090" y="132692"/>
                </a:cubicBezTo>
                <a:cubicBezTo>
                  <a:pt x="262090" y="131160"/>
                  <a:pt x="261172" y="129321"/>
                  <a:pt x="259948" y="128402"/>
                </a:cubicBezTo>
                <a:cubicBezTo>
                  <a:pt x="259030" y="127176"/>
                  <a:pt x="257500" y="126563"/>
                  <a:pt x="255665" y="126563"/>
                </a:cubicBezTo>
                <a:cubicBezTo>
                  <a:pt x="254747" y="126563"/>
                  <a:pt x="254747" y="126563"/>
                  <a:pt x="254747" y="126563"/>
                </a:cubicBezTo>
                <a:close/>
                <a:moveTo>
                  <a:pt x="254747" y="124724"/>
                </a:moveTo>
                <a:cubicBezTo>
                  <a:pt x="255665" y="124724"/>
                  <a:pt x="255665" y="124724"/>
                  <a:pt x="255665" y="124724"/>
                </a:cubicBezTo>
                <a:cubicBezTo>
                  <a:pt x="257806" y="124724"/>
                  <a:pt x="259948" y="125643"/>
                  <a:pt x="261172" y="127176"/>
                </a:cubicBezTo>
                <a:cubicBezTo>
                  <a:pt x="262701" y="128708"/>
                  <a:pt x="263619" y="130547"/>
                  <a:pt x="263619" y="132692"/>
                </a:cubicBezTo>
                <a:cubicBezTo>
                  <a:pt x="263619" y="146177"/>
                  <a:pt x="263619" y="146177"/>
                  <a:pt x="263619" y="146177"/>
                </a:cubicBezTo>
                <a:cubicBezTo>
                  <a:pt x="263619" y="146790"/>
                  <a:pt x="263619" y="146790"/>
                  <a:pt x="263619" y="146790"/>
                </a:cubicBezTo>
                <a:lnTo>
                  <a:pt x="263619" y="147710"/>
                </a:lnTo>
                <a:cubicBezTo>
                  <a:pt x="263619" y="160888"/>
                  <a:pt x="263619" y="160888"/>
                  <a:pt x="263619" y="160888"/>
                </a:cubicBezTo>
                <a:cubicBezTo>
                  <a:pt x="263619" y="163034"/>
                  <a:pt x="262701" y="165179"/>
                  <a:pt x="261172" y="166712"/>
                </a:cubicBezTo>
                <a:cubicBezTo>
                  <a:pt x="259948" y="167937"/>
                  <a:pt x="257806" y="168857"/>
                  <a:pt x="255665" y="168857"/>
                </a:cubicBezTo>
                <a:cubicBezTo>
                  <a:pt x="254747" y="168857"/>
                  <a:pt x="254747" y="168857"/>
                  <a:pt x="254747" y="168857"/>
                </a:cubicBezTo>
                <a:cubicBezTo>
                  <a:pt x="252605" y="168857"/>
                  <a:pt x="250770" y="167937"/>
                  <a:pt x="249240" y="166712"/>
                </a:cubicBezTo>
                <a:cubicBezTo>
                  <a:pt x="247710" y="165179"/>
                  <a:pt x="246792" y="163034"/>
                  <a:pt x="246792" y="160888"/>
                </a:cubicBezTo>
                <a:cubicBezTo>
                  <a:pt x="246792" y="146790"/>
                  <a:pt x="246792" y="146790"/>
                  <a:pt x="246792" y="146790"/>
                </a:cubicBezTo>
                <a:cubicBezTo>
                  <a:pt x="246792" y="146177"/>
                  <a:pt x="246792" y="146177"/>
                  <a:pt x="246792" y="146177"/>
                </a:cubicBezTo>
                <a:cubicBezTo>
                  <a:pt x="246792" y="132692"/>
                  <a:pt x="246792" y="132692"/>
                  <a:pt x="246792" y="132692"/>
                </a:cubicBezTo>
                <a:cubicBezTo>
                  <a:pt x="246792" y="130547"/>
                  <a:pt x="247710" y="128708"/>
                  <a:pt x="249240" y="127176"/>
                </a:cubicBezTo>
                <a:cubicBezTo>
                  <a:pt x="250770" y="125643"/>
                  <a:pt x="252605" y="124724"/>
                  <a:pt x="254747" y="124724"/>
                </a:cubicBezTo>
                <a:close/>
                <a:moveTo>
                  <a:pt x="147006" y="120795"/>
                </a:moveTo>
                <a:cubicBezTo>
                  <a:pt x="146393" y="121408"/>
                  <a:pt x="145780" y="122020"/>
                  <a:pt x="145167" y="122632"/>
                </a:cubicBezTo>
                <a:cubicBezTo>
                  <a:pt x="142100" y="126000"/>
                  <a:pt x="139033" y="128755"/>
                  <a:pt x="136887" y="132123"/>
                </a:cubicBezTo>
                <a:cubicBezTo>
                  <a:pt x="157126" y="132123"/>
                  <a:pt x="157126" y="132123"/>
                  <a:pt x="157126" y="132123"/>
                </a:cubicBezTo>
                <a:cubicBezTo>
                  <a:pt x="154979" y="128755"/>
                  <a:pt x="151913" y="126000"/>
                  <a:pt x="148846" y="122632"/>
                </a:cubicBezTo>
                <a:cubicBezTo>
                  <a:pt x="148233" y="122020"/>
                  <a:pt x="147620" y="121408"/>
                  <a:pt x="147006" y="120795"/>
                </a:cubicBezTo>
                <a:close/>
                <a:moveTo>
                  <a:pt x="298653" y="118937"/>
                </a:moveTo>
                <a:cubicBezTo>
                  <a:pt x="298345" y="118937"/>
                  <a:pt x="298345" y="119243"/>
                  <a:pt x="298345" y="119549"/>
                </a:cubicBezTo>
                <a:cubicBezTo>
                  <a:pt x="298345" y="119549"/>
                  <a:pt x="298345" y="119855"/>
                  <a:pt x="298653" y="119855"/>
                </a:cubicBezTo>
                <a:lnTo>
                  <a:pt x="307888" y="119855"/>
                </a:lnTo>
                <a:cubicBezTo>
                  <a:pt x="307888" y="119855"/>
                  <a:pt x="308196" y="119549"/>
                  <a:pt x="308196" y="119549"/>
                </a:cubicBezTo>
                <a:cubicBezTo>
                  <a:pt x="308196" y="119243"/>
                  <a:pt x="307888" y="118937"/>
                  <a:pt x="307888" y="118937"/>
                </a:cubicBezTo>
                <a:cubicBezTo>
                  <a:pt x="307888" y="118937"/>
                  <a:pt x="307888" y="118937"/>
                  <a:pt x="298653" y="118937"/>
                </a:cubicBezTo>
                <a:close/>
                <a:moveTo>
                  <a:pt x="295267" y="116182"/>
                </a:moveTo>
                <a:cubicBezTo>
                  <a:pt x="294959" y="116182"/>
                  <a:pt x="294959" y="116488"/>
                  <a:pt x="294959" y="116488"/>
                </a:cubicBezTo>
                <a:cubicBezTo>
                  <a:pt x="294959" y="116794"/>
                  <a:pt x="294959" y="117100"/>
                  <a:pt x="295267" y="117100"/>
                </a:cubicBezTo>
                <a:cubicBezTo>
                  <a:pt x="295267" y="117100"/>
                  <a:pt x="295267" y="117100"/>
                  <a:pt x="311274" y="117100"/>
                </a:cubicBezTo>
                <a:cubicBezTo>
                  <a:pt x="311274" y="117100"/>
                  <a:pt x="311582" y="116794"/>
                  <a:pt x="311582" y="116488"/>
                </a:cubicBezTo>
                <a:cubicBezTo>
                  <a:pt x="311582" y="116488"/>
                  <a:pt x="311274" y="116182"/>
                  <a:pt x="311274" y="116182"/>
                </a:cubicBezTo>
                <a:cubicBezTo>
                  <a:pt x="311274" y="116182"/>
                  <a:pt x="311274" y="116182"/>
                  <a:pt x="295267" y="116182"/>
                </a:cubicBezTo>
                <a:close/>
                <a:moveTo>
                  <a:pt x="298653" y="113427"/>
                </a:moveTo>
                <a:cubicBezTo>
                  <a:pt x="298345" y="113427"/>
                  <a:pt x="298345" y="113427"/>
                  <a:pt x="298345" y="113733"/>
                </a:cubicBezTo>
                <a:cubicBezTo>
                  <a:pt x="298345" y="114039"/>
                  <a:pt x="298345" y="114039"/>
                  <a:pt x="298653" y="114039"/>
                </a:cubicBezTo>
                <a:cubicBezTo>
                  <a:pt x="298653" y="114039"/>
                  <a:pt x="298653" y="114039"/>
                  <a:pt x="307888" y="114039"/>
                </a:cubicBezTo>
                <a:cubicBezTo>
                  <a:pt x="307888" y="114039"/>
                  <a:pt x="308196" y="114039"/>
                  <a:pt x="308196" y="113733"/>
                </a:cubicBezTo>
                <a:cubicBezTo>
                  <a:pt x="308196" y="113427"/>
                  <a:pt x="307888" y="113427"/>
                  <a:pt x="307888" y="113427"/>
                </a:cubicBezTo>
                <a:cubicBezTo>
                  <a:pt x="307888" y="113427"/>
                  <a:pt x="307888" y="113427"/>
                  <a:pt x="298653" y="113427"/>
                </a:cubicBezTo>
                <a:close/>
                <a:moveTo>
                  <a:pt x="298653" y="110672"/>
                </a:moveTo>
                <a:cubicBezTo>
                  <a:pt x="298345" y="110672"/>
                  <a:pt x="298345" y="110672"/>
                  <a:pt x="298345" y="110978"/>
                </a:cubicBezTo>
                <a:cubicBezTo>
                  <a:pt x="298345" y="110978"/>
                  <a:pt x="298345" y="111285"/>
                  <a:pt x="298653" y="111285"/>
                </a:cubicBezTo>
                <a:cubicBezTo>
                  <a:pt x="298653" y="111285"/>
                  <a:pt x="298653" y="111285"/>
                  <a:pt x="307888" y="111285"/>
                </a:cubicBezTo>
                <a:cubicBezTo>
                  <a:pt x="307888" y="111285"/>
                  <a:pt x="308196" y="110978"/>
                  <a:pt x="308196" y="110978"/>
                </a:cubicBezTo>
                <a:cubicBezTo>
                  <a:pt x="308196" y="110672"/>
                  <a:pt x="307888" y="110672"/>
                  <a:pt x="307888" y="110672"/>
                </a:cubicBezTo>
                <a:cubicBezTo>
                  <a:pt x="307888" y="110672"/>
                  <a:pt x="307888" y="110672"/>
                  <a:pt x="298653" y="110672"/>
                </a:cubicBezTo>
                <a:close/>
                <a:moveTo>
                  <a:pt x="298653" y="107612"/>
                </a:moveTo>
                <a:cubicBezTo>
                  <a:pt x="298345" y="107612"/>
                  <a:pt x="298345" y="107918"/>
                  <a:pt x="298345" y="107918"/>
                </a:cubicBezTo>
                <a:cubicBezTo>
                  <a:pt x="298345" y="108224"/>
                  <a:pt x="298345" y="108224"/>
                  <a:pt x="298653" y="108224"/>
                </a:cubicBezTo>
                <a:cubicBezTo>
                  <a:pt x="298653" y="108224"/>
                  <a:pt x="298653" y="108224"/>
                  <a:pt x="307888" y="108224"/>
                </a:cubicBezTo>
                <a:cubicBezTo>
                  <a:pt x="307888" y="108224"/>
                  <a:pt x="308196" y="108224"/>
                  <a:pt x="308196" y="107918"/>
                </a:cubicBezTo>
                <a:cubicBezTo>
                  <a:pt x="308196" y="107918"/>
                  <a:pt x="307888" y="107612"/>
                  <a:pt x="307888" y="107612"/>
                </a:cubicBezTo>
                <a:cubicBezTo>
                  <a:pt x="307888" y="107612"/>
                  <a:pt x="307888" y="107612"/>
                  <a:pt x="298653" y="107612"/>
                </a:cubicBezTo>
                <a:close/>
                <a:moveTo>
                  <a:pt x="141793" y="107324"/>
                </a:moveTo>
                <a:cubicBezTo>
                  <a:pt x="143633" y="109468"/>
                  <a:pt x="145167" y="111611"/>
                  <a:pt x="147006" y="113754"/>
                </a:cubicBezTo>
                <a:cubicBezTo>
                  <a:pt x="148846" y="111611"/>
                  <a:pt x="150686" y="109468"/>
                  <a:pt x="152219" y="107324"/>
                </a:cubicBezTo>
                <a:cubicBezTo>
                  <a:pt x="141793" y="107324"/>
                  <a:pt x="141793" y="107324"/>
                  <a:pt x="141793" y="107324"/>
                </a:cubicBezTo>
                <a:close/>
                <a:moveTo>
                  <a:pt x="178060" y="106382"/>
                </a:moveTo>
                <a:cubicBezTo>
                  <a:pt x="179901" y="103322"/>
                  <a:pt x="187268" y="108524"/>
                  <a:pt x="189417" y="109747"/>
                </a:cubicBezTo>
                <a:cubicBezTo>
                  <a:pt x="205072" y="118927"/>
                  <a:pt x="218271" y="118927"/>
                  <a:pt x="234540" y="122904"/>
                </a:cubicBezTo>
                <a:cubicBezTo>
                  <a:pt x="234540" y="122904"/>
                  <a:pt x="234540" y="122904"/>
                  <a:pt x="229322" y="143405"/>
                </a:cubicBezTo>
                <a:cubicBezTo>
                  <a:pt x="221955" y="141263"/>
                  <a:pt x="211825" y="137591"/>
                  <a:pt x="205072" y="137591"/>
                </a:cubicBezTo>
                <a:cubicBezTo>
                  <a:pt x="200775" y="140039"/>
                  <a:pt x="182357" y="145241"/>
                  <a:pt x="182050" y="140651"/>
                </a:cubicBezTo>
                <a:cubicBezTo>
                  <a:pt x="181743" y="136062"/>
                  <a:pt x="190031" y="135144"/>
                  <a:pt x="193101" y="134838"/>
                </a:cubicBezTo>
                <a:cubicBezTo>
                  <a:pt x="188189" y="132696"/>
                  <a:pt x="182050" y="131166"/>
                  <a:pt x="176525" y="130554"/>
                </a:cubicBezTo>
                <a:cubicBezTo>
                  <a:pt x="175604" y="130554"/>
                  <a:pt x="174683" y="130554"/>
                  <a:pt x="174069" y="130554"/>
                </a:cubicBezTo>
                <a:cubicBezTo>
                  <a:pt x="170999" y="130248"/>
                  <a:pt x="166702" y="129942"/>
                  <a:pt x="166702" y="126882"/>
                </a:cubicBezTo>
                <a:cubicBezTo>
                  <a:pt x="167009" y="124434"/>
                  <a:pt x="171920" y="124740"/>
                  <a:pt x="176525" y="125046"/>
                </a:cubicBezTo>
                <a:cubicBezTo>
                  <a:pt x="179594" y="125658"/>
                  <a:pt x="182357" y="125964"/>
                  <a:pt x="183892" y="125964"/>
                </a:cubicBezTo>
                <a:cubicBezTo>
                  <a:pt x="181129" y="125046"/>
                  <a:pt x="178980" y="124128"/>
                  <a:pt x="176525" y="123210"/>
                </a:cubicBezTo>
                <a:cubicBezTo>
                  <a:pt x="174069" y="122598"/>
                  <a:pt x="171613" y="121987"/>
                  <a:pt x="169158" y="121069"/>
                </a:cubicBezTo>
                <a:cubicBezTo>
                  <a:pt x="167316" y="120457"/>
                  <a:pt x="166088" y="119845"/>
                  <a:pt x="165781" y="118927"/>
                </a:cubicBezTo>
                <a:cubicBezTo>
                  <a:pt x="165167" y="117703"/>
                  <a:pt x="165781" y="116173"/>
                  <a:pt x="168237" y="116173"/>
                </a:cubicBezTo>
                <a:cubicBezTo>
                  <a:pt x="170386" y="116479"/>
                  <a:pt x="173455" y="117397"/>
                  <a:pt x="176525" y="118009"/>
                </a:cubicBezTo>
                <a:cubicBezTo>
                  <a:pt x="179901" y="118927"/>
                  <a:pt x="182971" y="119845"/>
                  <a:pt x="184813" y="119539"/>
                </a:cubicBezTo>
                <a:cubicBezTo>
                  <a:pt x="182664" y="118621"/>
                  <a:pt x="179594" y="117703"/>
                  <a:pt x="176525" y="116785"/>
                </a:cubicBezTo>
                <a:cubicBezTo>
                  <a:pt x="174376" y="116173"/>
                  <a:pt x="172227" y="115561"/>
                  <a:pt x="171306" y="114949"/>
                </a:cubicBezTo>
                <a:cubicBezTo>
                  <a:pt x="168544" y="113419"/>
                  <a:pt x="168544" y="110971"/>
                  <a:pt x="171920" y="110971"/>
                </a:cubicBezTo>
                <a:cubicBezTo>
                  <a:pt x="173148" y="110971"/>
                  <a:pt x="174683" y="111277"/>
                  <a:pt x="176525" y="111583"/>
                </a:cubicBezTo>
                <a:cubicBezTo>
                  <a:pt x="180208" y="112501"/>
                  <a:pt x="184506" y="114031"/>
                  <a:pt x="187882" y="114949"/>
                </a:cubicBezTo>
                <a:cubicBezTo>
                  <a:pt x="185427" y="113113"/>
                  <a:pt x="176832" y="108524"/>
                  <a:pt x="178060" y="106382"/>
                </a:cubicBezTo>
                <a:close/>
                <a:moveTo>
                  <a:pt x="295267" y="104551"/>
                </a:moveTo>
                <a:cubicBezTo>
                  <a:pt x="294959" y="104551"/>
                  <a:pt x="294959" y="104551"/>
                  <a:pt x="294959" y="104857"/>
                </a:cubicBezTo>
                <a:cubicBezTo>
                  <a:pt x="294959" y="104857"/>
                  <a:pt x="294959" y="105163"/>
                  <a:pt x="295267" y="105163"/>
                </a:cubicBezTo>
                <a:cubicBezTo>
                  <a:pt x="295267" y="105163"/>
                  <a:pt x="295267" y="105163"/>
                  <a:pt x="311274" y="105163"/>
                </a:cubicBezTo>
                <a:cubicBezTo>
                  <a:pt x="311274" y="105163"/>
                  <a:pt x="311582" y="104857"/>
                  <a:pt x="311582" y="104857"/>
                </a:cubicBezTo>
                <a:cubicBezTo>
                  <a:pt x="311582" y="104551"/>
                  <a:pt x="311274" y="104551"/>
                  <a:pt x="311274" y="104551"/>
                </a:cubicBezTo>
                <a:cubicBezTo>
                  <a:pt x="311274" y="104551"/>
                  <a:pt x="311274" y="104551"/>
                  <a:pt x="295267" y="104551"/>
                </a:cubicBezTo>
                <a:close/>
                <a:moveTo>
                  <a:pt x="298653" y="101490"/>
                </a:moveTo>
                <a:cubicBezTo>
                  <a:pt x="298345" y="101490"/>
                  <a:pt x="298345" y="101490"/>
                  <a:pt x="298345" y="101796"/>
                </a:cubicBezTo>
                <a:cubicBezTo>
                  <a:pt x="298345" y="102102"/>
                  <a:pt x="298345" y="102102"/>
                  <a:pt x="298653" y="102102"/>
                </a:cubicBezTo>
                <a:cubicBezTo>
                  <a:pt x="298653" y="102102"/>
                  <a:pt x="298653" y="102102"/>
                  <a:pt x="307888" y="102102"/>
                </a:cubicBezTo>
                <a:cubicBezTo>
                  <a:pt x="307888" y="102102"/>
                  <a:pt x="308196" y="102102"/>
                  <a:pt x="308196" y="101796"/>
                </a:cubicBezTo>
                <a:cubicBezTo>
                  <a:pt x="308196" y="101490"/>
                  <a:pt x="307888" y="101490"/>
                  <a:pt x="307888" y="101490"/>
                </a:cubicBezTo>
                <a:cubicBezTo>
                  <a:pt x="307888" y="101490"/>
                  <a:pt x="307888" y="101490"/>
                  <a:pt x="298653" y="101490"/>
                </a:cubicBezTo>
                <a:close/>
                <a:moveTo>
                  <a:pt x="137807" y="99364"/>
                </a:moveTo>
                <a:cubicBezTo>
                  <a:pt x="138114" y="100283"/>
                  <a:pt x="138420" y="101201"/>
                  <a:pt x="138727" y="101814"/>
                </a:cubicBezTo>
                <a:cubicBezTo>
                  <a:pt x="155286" y="101814"/>
                  <a:pt x="155286" y="101814"/>
                  <a:pt x="155286" y="101814"/>
                </a:cubicBezTo>
                <a:cubicBezTo>
                  <a:pt x="155593" y="101201"/>
                  <a:pt x="155899" y="100283"/>
                  <a:pt x="156206" y="99364"/>
                </a:cubicBezTo>
                <a:cubicBezTo>
                  <a:pt x="137807" y="99364"/>
                  <a:pt x="137807" y="99364"/>
                  <a:pt x="137807" y="99364"/>
                </a:cubicBezTo>
                <a:close/>
                <a:moveTo>
                  <a:pt x="298653" y="98735"/>
                </a:moveTo>
                <a:cubicBezTo>
                  <a:pt x="298345" y="98735"/>
                  <a:pt x="298345" y="98735"/>
                  <a:pt x="298345" y="99041"/>
                </a:cubicBezTo>
                <a:cubicBezTo>
                  <a:pt x="298345" y="99041"/>
                  <a:pt x="298345" y="99347"/>
                  <a:pt x="298653" y="99347"/>
                </a:cubicBezTo>
                <a:cubicBezTo>
                  <a:pt x="298653" y="99347"/>
                  <a:pt x="298653" y="99347"/>
                  <a:pt x="307888" y="99347"/>
                </a:cubicBezTo>
                <a:cubicBezTo>
                  <a:pt x="307888" y="99347"/>
                  <a:pt x="308196" y="99041"/>
                  <a:pt x="308196" y="99041"/>
                </a:cubicBezTo>
                <a:cubicBezTo>
                  <a:pt x="308196" y="98735"/>
                  <a:pt x="307888" y="98735"/>
                  <a:pt x="307888" y="98735"/>
                </a:cubicBezTo>
                <a:cubicBezTo>
                  <a:pt x="307888" y="98735"/>
                  <a:pt x="307888" y="98735"/>
                  <a:pt x="298653" y="98735"/>
                </a:cubicBezTo>
                <a:close/>
                <a:moveTo>
                  <a:pt x="298653" y="95675"/>
                </a:moveTo>
                <a:cubicBezTo>
                  <a:pt x="298345" y="95675"/>
                  <a:pt x="298345" y="95675"/>
                  <a:pt x="298345" y="95981"/>
                </a:cubicBezTo>
                <a:cubicBezTo>
                  <a:pt x="298345" y="96287"/>
                  <a:pt x="298345" y="96287"/>
                  <a:pt x="298653" y="96287"/>
                </a:cubicBezTo>
                <a:cubicBezTo>
                  <a:pt x="298653" y="96287"/>
                  <a:pt x="298653" y="96287"/>
                  <a:pt x="307888" y="96287"/>
                </a:cubicBezTo>
                <a:cubicBezTo>
                  <a:pt x="307888" y="96287"/>
                  <a:pt x="308196" y="96287"/>
                  <a:pt x="308196" y="95981"/>
                </a:cubicBezTo>
                <a:cubicBezTo>
                  <a:pt x="308196" y="95675"/>
                  <a:pt x="307888" y="95675"/>
                  <a:pt x="307888" y="95675"/>
                </a:cubicBezTo>
                <a:cubicBezTo>
                  <a:pt x="307888" y="95675"/>
                  <a:pt x="307888" y="95675"/>
                  <a:pt x="298653" y="95675"/>
                </a:cubicBezTo>
                <a:close/>
                <a:moveTo>
                  <a:pt x="295267" y="92614"/>
                </a:moveTo>
                <a:cubicBezTo>
                  <a:pt x="294959" y="92614"/>
                  <a:pt x="294959" y="92920"/>
                  <a:pt x="294959" y="92920"/>
                </a:cubicBezTo>
                <a:cubicBezTo>
                  <a:pt x="294959" y="93226"/>
                  <a:pt x="294959" y="93226"/>
                  <a:pt x="295267" y="93226"/>
                </a:cubicBezTo>
                <a:cubicBezTo>
                  <a:pt x="295267" y="93226"/>
                  <a:pt x="295267" y="93226"/>
                  <a:pt x="311274" y="93226"/>
                </a:cubicBezTo>
                <a:cubicBezTo>
                  <a:pt x="311274" y="93226"/>
                  <a:pt x="311582" y="93226"/>
                  <a:pt x="311582" y="92920"/>
                </a:cubicBezTo>
                <a:cubicBezTo>
                  <a:pt x="311582" y="92920"/>
                  <a:pt x="311274" y="92614"/>
                  <a:pt x="311274" y="92614"/>
                </a:cubicBezTo>
                <a:cubicBezTo>
                  <a:pt x="311274" y="92614"/>
                  <a:pt x="311274" y="92614"/>
                  <a:pt x="295267" y="92614"/>
                </a:cubicBezTo>
                <a:close/>
                <a:moveTo>
                  <a:pt x="298653" y="89553"/>
                </a:moveTo>
                <a:cubicBezTo>
                  <a:pt x="298345" y="89553"/>
                  <a:pt x="298345" y="89859"/>
                  <a:pt x="298345" y="89859"/>
                </a:cubicBezTo>
                <a:cubicBezTo>
                  <a:pt x="298345" y="90165"/>
                  <a:pt x="298345" y="90165"/>
                  <a:pt x="298653" y="90165"/>
                </a:cubicBezTo>
                <a:cubicBezTo>
                  <a:pt x="298653" y="90165"/>
                  <a:pt x="298653" y="90165"/>
                  <a:pt x="307888" y="90165"/>
                </a:cubicBezTo>
                <a:cubicBezTo>
                  <a:pt x="307888" y="90165"/>
                  <a:pt x="308196" y="90165"/>
                  <a:pt x="308196" y="89859"/>
                </a:cubicBezTo>
                <a:cubicBezTo>
                  <a:pt x="308196" y="89859"/>
                  <a:pt x="307888" y="89553"/>
                  <a:pt x="307888" y="89553"/>
                </a:cubicBezTo>
                <a:cubicBezTo>
                  <a:pt x="307888" y="89553"/>
                  <a:pt x="307888" y="89553"/>
                  <a:pt x="298653" y="89553"/>
                </a:cubicBezTo>
                <a:close/>
                <a:moveTo>
                  <a:pt x="298653" y="86798"/>
                </a:moveTo>
                <a:cubicBezTo>
                  <a:pt x="298345" y="86798"/>
                  <a:pt x="298345" y="86798"/>
                  <a:pt x="298345" y="87104"/>
                </a:cubicBezTo>
                <a:cubicBezTo>
                  <a:pt x="298345" y="87410"/>
                  <a:pt x="298345" y="87410"/>
                  <a:pt x="298653" y="87410"/>
                </a:cubicBezTo>
                <a:cubicBezTo>
                  <a:pt x="298653" y="87410"/>
                  <a:pt x="298653" y="87410"/>
                  <a:pt x="307888" y="87410"/>
                </a:cubicBezTo>
                <a:cubicBezTo>
                  <a:pt x="307888" y="87410"/>
                  <a:pt x="308196" y="87410"/>
                  <a:pt x="308196" y="87104"/>
                </a:cubicBezTo>
                <a:cubicBezTo>
                  <a:pt x="308196" y="86798"/>
                  <a:pt x="307888" y="86798"/>
                  <a:pt x="307888" y="86798"/>
                </a:cubicBezTo>
                <a:cubicBezTo>
                  <a:pt x="307888" y="86798"/>
                  <a:pt x="307888" y="86798"/>
                  <a:pt x="298653" y="86798"/>
                </a:cubicBezTo>
                <a:close/>
                <a:moveTo>
                  <a:pt x="132594" y="86200"/>
                </a:moveTo>
                <a:cubicBezTo>
                  <a:pt x="133820" y="86200"/>
                  <a:pt x="135047" y="87118"/>
                  <a:pt x="135354" y="88649"/>
                </a:cubicBezTo>
                <a:cubicBezTo>
                  <a:pt x="135354" y="90486"/>
                  <a:pt x="135660" y="92323"/>
                  <a:pt x="136274" y="94160"/>
                </a:cubicBezTo>
                <a:cubicBezTo>
                  <a:pt x="158046" y="94160"/>
                  <a:pt x="158046" y="94160"/>
                  <a:pt x="158046" y="94160"/>
                </a:cubicBezTo>
                <a:cubicBezTo>
                  <a:pt x="158353" y="92323"/>
                  <a:pt x="158659" y="90486"/>
                  <a:pt x="158659" y="88649"/>
                </a:cubicBezTo>
                <a:cubicBezTo>
                  <a:pt x="158966" y="87118"/>
                  <a:pt x="160192" y="86200"/>
                  <a:pt x="161419" y="86200"/>
                </a:cubicBezTo>
                <a:cubicBezTo>
                  <a:pt x="162952" y="86506"/>
                  <a:pt x="163872" y="87424"/>
                  <a:pt x="163872" y="88955"/>
                </a:cubicBezTo>
                <a:cubicBezTo>
                  <a:pt x="162646" y="102120"/>
                  <a:pt x="156819" y="110386"/>
                  <a:pt x="150380" y="117428"/>
                </a:cubicBezTo>
                <a:cubicBezTo>
                  <a:pt x="150993" y="118040"/>
                  <a:pt x="151606" y="118652"/>
                  <a:pt x="152219" y="119264"/>
                </a:cubicBezTo>
                <a:cubicBezTo>
                  <a:pt x="159886" y="126918"/>
                  <a:pt x="166939" y="133654"/>
                  <a:pt x="165712" y="145900"/>
                </a:cubicBezTo>
                <a:cubicBezTo>
                  <a:pt x="165099" y="154472"/>
                  <a:pt x="158659" y="159677"/>
                  <a:pt x="151606" y="165494"/>
                </a:cubicBezTo>
                <a:cubicBezTo>
                  <a:pt x="150993" y="165800"/>
                  <a:pt x="150993" y="165800"/>
                  <a:pt x="150993" y="165800"/>
                </a:cubicBezTo>
                <a:cubicBezTo>
                  <a:pt x="158353" y="172535"/>
                  <a:pt x="165405" y="180801"/>
                  <a:pt x="166019" y="194884"/>
                </a:cubicBezTo>
                <a:cubicBezTo>
                  <a:pt x="166019" y="196415"/>
                  <a:pt x="164792" y="197640"/>
                  <a:pt x="163566" y="197640"/>
                </a:cubicBezTo>
                <a:cubicBezTo>
                  <a:pt x="162032" y="197640"/>
                  <a:pt x="161112" y="196415"/>
                  <a:pt x="161112" y="195191"/>
                </a:cubicBezTo>
                <a:cubicBezTo>
                  <a:pt x="160806" y="192741"/>
                  <a:pt x="160499" y="190904"/>
                  <a:pt x="160192" y="188761"/>
                </a:cubicBezTo>
                <a:cubicBezTo>
                  <a:pt x="133820" y="188761"/>
                  <a:pt x="133820" y="188761"/>
                  <a:pt x="133820" y="188761"/>
                </a:cubicBezTo>
                <a:cubicBezTo>
                  <a:pt x="133514" y="190904"/>
                  <a:pt x="133207" y="192741"/>
                  <a:pt x="133207" y="195191"/>
                </a:cubicBezTo>
                <a:cubicBezTo>
                  <a:pt x="132900" y="196415"/>
                  <a:pt x="131981" y="197640"/>
                  <a:pt x="130447" y="197640"/>
                </a:cubicBezTo>
                <a:cubicBezTo>
                  <a:pt x="129221" y="197640"/>
                  <a:pt x="127994" y="196415"/>
                  <a:pt x="127994" y="194884"/>
                </a:cubicBezTo>
                <a:cubicBezTo>
                  <a:pt x="128607" y="180801"/>
                  <a:pt x="135660" y="172535"/>
                  <a:pt x="143020" y="165800"/>
                </a:cubicBezTo>
                <a:cubicBezTo>
                  <a:pt x="142713" y="165494"/>
                  <a:pt x="142713" y="165494"/>
                  <a:pt x="142713" y="165494"/>
                </a:cubicBezTo>
                <a:cubicBezTo>
                  <a:pt x="135354" y="159677"/>
                  <a:pt x="128914" y="154472"/>
                  <a:pt x="128301" y="145900"/>
                </a:cubicBezTo>
                <a:cubicBezTo>
                  <a:pt x="127381" y="133654"/>
                  <a:pt x="134127" y="126918"/>
                  <a:pt x="141793" y="119264"/>
                </a:cubicBezTo>
                <a:cubicBezTo>
                  <a:pt x="142407" y="118652"/>
                  <a:pt x="143020" y="118040"/>
                  <a:pt x="143633" y="117428"/>
                </a:cubicBezTo>
                <a:cubicBezTo>
                  <a:pt x="137194" y="110386"/>
                  <a:pt x="131367" y="102120"/>
                  <a:pt x="130447" y="88955"/>
                </a:cubicBezTo>
                <a:cubicBezTo>
                  <a:pt x="130141" y="87424"/>
                  <a:pt x="131367" y="86506"/>
                  <a:pt x="132594" y="86200"/>
                </a:cubicBezTo>
                <a:close/>
                <a:moveTo>
                  <a:pt x="298653" y="83737"/>
                </a:moveTo>
                <a:cubicBezTo>
                  <a:pt x="298345" y="83737"/>
                  <a:pt x="298345" y="84044"/>
                  <a:pt x="298345" y="84044"/>
                </a:cubicBezTo>
                <a:cubicBezTo>
                  <a:pt x="298345" y="84350"/>
                  <a:pt x="298345" y="84656"/>
                  <a:pt x="298653" y="84656"/>
                </a:cubicBezTo>
                <a:cubicBezTo>
                  <a:pt x="298653" y="84656"/>
                  <a:pt x="298653" y="84656"/>
                  <a:pt x="307888" y="84656"/>
                </a:cubicBezTo>
                <a:cubicBezTo>
                  <a:pt x="307888" y="84656"/>
                  <a:pt x="308196" y="84350"/>
                  <a:pt x="308196" y="84044"/>
                </a:cubicBezTo>
                <a:cubicBezTo>
                  <a:pt x="308196" y="84044"/>
                  <a:pt x="307888" y="83737"/>
                  <a:pt x="307888" y="83737"/>
                </a:cubicBezTo>
                <a:cubicBezTo>
                  <a:pt x="307888" y="83737"/>
                  <a:pt x="307888" y="83737"/>
                  <a:pt x="298653" y="83737"/>
                </a:cubicBezTo>
                <a:close/>
                <a:moveTo>
                  <a:pt x="295267" y="80064"/>
                </a:moveTo>
                <a:cubicBezTo>
                  <a:pt x="294959" y="80064"/>
                  <a:pt x="294959" y="80371"/>
                  <a:pt x="294959" y="80371"/>
                </a:cubicBezTo>
                <a:cubicBezTo>
                  <a:pt x="294959" y="80677"/>
                  <a:pt x="294959" y="80677"/>
                  <a:pt x="295267" y="80677"/>
                </a:cubicBezTo>
                <a:cubicBezTo>
                  <a:pt x="295267" y="80677"/>
                  <a:pt x="295267" y="80677"/>
                  <a:pt x="311274" y="80677"/>
                </a:cubicBezTo>
                <a:cubicBezTo>
                  <a:pt x="311274" y="80677"/>
                  <a:pt x="311582" y="80677"/>
                  <a:pt x="311582" y="80371"/>
                </a:cubicBezTo>
                <a:cubicBezTo>
                  <a:pt x="311582" y="80371"/>
                  <a:pt x="311274" y="80064"/>
                  <a:pt x="311274" y="80064"/>
                </a:cubicBezTo>
                <a:cubicBezTo>
                  <a:pt x="311274" y="80064"/>
                  <a:pt x="311274" y="80064"/>
                  <a:pt x="295267" y="80064"/>
                </a:cubicBezTo>
                <a:close/>
                <a:moveTo>
                  <a:pt x="287264" y="69964"/>
                </a:moveTo>
                <a:cubicBezTo>
                  <a:pt x="287264" y="69964"/>
                  <a:pt x="287264" y="69964"/>
                  <a:pt x="318969" y="69964"/>
                </a:cubicBezTo>
                <a:cubicBezTo>
                  <a:pt x="318969" y="69964"/>
                  <a:pt x="318969" y="69964"/>
                  <a:pt x="316199" y="125364"/>
                </a:cubicBezTo>
                <a:cubicBezTo>
                  <a:pt x="316199" y="126895"/>
                  <a:pt x="314968" y="128119"/>
                  <a:pt x="313428" y="128119"/>
                </a:cubicBezTo>
                <a:cubicBezTo>
                  <a:pt x="313428" y="128119"/>
                  <a:pt x="313428" y="128119"/>
                  <a:pt x="295267" y="128119"/>
                </a:cubicBezTo>
                <a:cubicBezTo>
                  <a:pt x="293728" y="128119"/>
                  <a:pt x="292497" y="126895"/>
                  <a:pt x="292497" y="125364"/>
                </a:cubicBezTo>
                <a:cubicBezTo>
                  <a:pt x="292497" y="125364"/>
                  <a:pt x="292497" y="125364"/>
                  <a:pt x="287264" y="77616"/>
                </a:cubicBezTo>
                <a:cubicBezTo>
                  <a:pt x="287264" y="77004"/>
                  <a:pt x="286956" y="76392"/>
                  <a:pt x="286648" y="76085"/>
                </a:cubicBezTo>
                <a:cubicBezTo>
                  <a:pt x="286648" y="76085"/>
                  <a:pt x="286648" y="76085"/>
                  <a:pt x="282954" y="72106"/>
                </a:cubicBezTo>
                <a:cubicBezTo>
                  <a:pt x="282954" y="72106"/>
                  <a:pt x="282954" y="72106"/>
                  <a:pt x="286032" y="70270"/>
                </a:cubicBezTo>
                <a:cubicBezTo>
                  <a:pt x="286340" y="69964"/>
                  <a:pt x="286648" y="69964"/>
                  <a:pt x="287264" y="69964"/>
                </a:cubicBezTo>
                <a:close/>
                <a:moveTo>
                  <a:pt x="255380" y="65240"/>
                </a:moveTo>
                <a:lnTo>
                  <a:pt x="257966" y="78161"/>
                </a:lnTo>
                <a:lnTo>
                  <a:pt x="267989" y="76321"/>
                </a:lnTo>
                <a:cubicBezTo>
                  <a:pt x="272293" y="76321"/>
                  <a:pt x="275982" y="80610"/>
                  <a:pt x="277826" y="85511"/>
                </a:cubicBezTo>
                <a:cubicBezTo>
                  <a:pt x="280593" y="91331"/>
                  <a:pt x="280286" y="96233"/>
                  <a:pt x="278749" y="100521"/>
                </a:cubicBezTo>
                <a:cubicBezTo>
                  <a:pt x="277519" y="104197"/>
                  <a:pt x="275674" y="107873"/>
                  <a:pt x="273215" y="111549"/>
                </a:cubicBezTo>
                <a:cubicBezTo>
                  <a:pt x="271370" y="114612"/>
                  <a:pt x="268911" y="117676"/>
                  <a:pt x="265529" y="118901"/>
                </a:cubicBezTo>
                <a:cubicBezTo>
                  <a:pt x="260918" y="120739"/>
                  <a:pt x="259688" y="117676"/>
                  <a:pt x="256614" y="117676"/>
                </a:cubicBezTo>
                <a:cubicBezTo>
                  <a:pt x="254462" y="117676"/>
                  <a:pt x="252925" y="119514"/>
                  <a:pt x="249851" y="119514"/>
                </a:cubicBezTo>
                <a:cubicBezTo>
                  <a:pt x="248928" y="119514"/>
                  <a:pt x="248006" y="119207"/>
                  <a:pt x="247084" y="118901"/>
                </a:cubicBezTo>
                <a:cubicBezTo>
                  <a:pt x="244009" y="117676"/>
                  <a:pt x="241550" y="114612"/>
                  <a:pt x="239398" y="111549"/>
                </a:cubicBezTo>
                <a:cubicBezTo>
                  <a:pt x="237246" y="107873"/>
                  <a:pt x="235402" y="104197"/>
                  <a:pt x="234172" y="100521"/>
                </a:cubicBezTo>
                <a:cubicBezTo>
                  <a:pt x="232635" y="96233"/>
                  <a:pt x="232327" y="91331"/>
                  <a:pt x="234787" y="85511"/>
                </a:cubicBezTo>
                <a:cubicBezTo>
                  <a:pt x="236939" y="80610"/>
                  <a:pt x="240628" y="76321"/>
                  <a:pt x="244932" y="76321"/>
                </a:cubicBezTo>
                <a:lnTo>
                  <a:pt x="255401" y="78295"/>
                </a:lnTo>
                <a:lnTo>
                  <a:pt x="251367" y="66782"/>
                </a:lnTo>
                <a:cubicBezTo>
                  <a:pt x="252602" y="66473"/>
                  <a:pt x="254145" y="65857"/>
                  <a:pt x="255380" y="65240"/>
                </a:cubicBezTo>
                <a:close/>
                <a:moveTo>
                  <a:pt x="214319" y="61698"/>
                </a:moveTo>
                <a:lnTo>
                  <a:pt x="216090" y="61698"/>
                </a:lnTo>
                <a:lnTo>
                  <a:pt x="216385" y="69669"/>
                </a:lnTo>
                <a:lnTo>
                  <a:pt x="216737" y="69669"/>
                </a:lnTo>
                <a:lnTo>
                  <a:pt x="219402" y="79115"/>
                </a:lnTo>
                <a:lnTo>
                  <a:pt x="220644" y="79115"/>
                </a:lnTo>
                <a:cubicBezTo>
                  <a:pt x="220950" y="79115"/>
                  <a:pt x="221256" y="79410"/>
                  <a:pt x="221256" y="79705"/>
                </a:cubicBezTo>
                <a:cubicBezTo>
                  <a:pt x="221256" y="80296"/>
                  <a:pt x="221256" y="80296"/>
                  <a:pt x="221256" y="80296"/>
                </a:cubicBezTo>
                <a:cubicBezTo>
                  <a:pt x="221256" y="80591"/>
                  <a:pt x="220950" y="80886"/>
                  <a:pt x="220644" y="80886"/>
                </a:cubicBezTo>
                <a:lnTo>
                  <a:pt x="220735" y="80886"/>
                </a:lnTo>
                <a:cubicBezTo>
                  <a:pt x="221348" y="80886"/>
                  <a:pt x="221961" y="80886"/>
                  <a:pt x="221961" y="81501"/>
                </a:cubicBezTo>
                <a:cubicBezTo>
                  <a:pt x="222268" y="85804"/>
                  <a:pt x="223187" y="88263"/>
                  <a:pt x="224414" y="91645"/>
                </a:cubicBezTo>
                <a:cubicBezTo>
                  <a:pt x="225333" y="93796"/>
                  <a:pt x="225640" y="94411"/>
                  <a:pt x="225947" y="96563"/>
                </a:cubicBezTo>
                <a:cubicBezTo>
                  <a:pt x="226866" y="102096"/>
                  <a:pt x="226253" y="112240"/>
                  <a:pt x="220122" y="114392"/>
                </a:cubicBezTo>
                <a:cubicBezTo>
                  <a:pt x="220122" y="114392"/>
                  <a:pt x="220122" y="114392"/>
                  <a:pt x="215523" y="114392"/>
                </a:cubicBezTo>
                <a:cubicBezTo>
                  <a:pt x="215523" y="114392"/>
                  <a:pt x="215523" y="114392"/>
                  <a:pt x="215217" y="114392"/>
                </a:cubicBezTo>
                <a:cubicBezTo>
                  <a:pt x="215217" y="114392"/>
                  <a:pt x="215217" y="114392"/>
                  <a:pt x="214910" y="114392"/>
                </a:cubicBezTo>
                <a:cubicBezTo>
                  <a:pt x="214910" y="114392"/>
                  <a:pt x="214910" y="114392"/>
                  <a:pt x="214604" y="114392"/>
                </a:cubicBezTo>
                <a:cubicBezTo>
                  <a:pt x="214604" y="114392"/>
                  <a:pt x="214604" y="114392"/>
                  <a:pt x="209699" y="114392"/>
                </a:cubicBezTo>
                <a:cubicBezTo>
                  <a:pt x="203874" y="112240"/>
                  <a:pt x="202954" y="102096"/>
                  <a:pt x="204181" y="96563"/>
                </a:cubicBezTo>
                <a:cubicBezTo>
                  <a:pt x="204487" y="94411"/>
                  <a:pt x="204794" y="93796"/>
                  <a:pt x="205713" y="91645"/>
                </a:cubicBezTo>
                <a:cubicBezTo>
                  <a:pt x="206940" y="88263"/>
                  <a:pt x="207859" y="85804"/>
                  <a:pt x="208166" y="81501"/>
                </a:cubicBezTo>
                <a:cubicBezTo>
                  <a:pt x="208166" y="80886"/>
                  <a:pt x="208472" y="80886"/>
                  <a:pt x="209392" y="80886"/>
                </a:cubicBezTo>
                <a:lnTo>
                  <a:pt x="209016" y="80886"/>
                </a:lnTo>
                <a:cubicBezTo>
                  <a:pt x="208710" y="80886"/>
                  <a:pt x="208710" y="80591"/>
                  <a:pt x="208710" y="80296"/>
                </a:cubicBezTo>
                <a:cubicBezTo>
                  <a:pt x="208710" y="79705"/>
                  <a:pt x="208710" y="79705"/>
                  <a:pt x="208710" y="79705"/>
                </a:cubicBezTo>
                <a:cubicBezTo>
                  <a:pt x="208710" y="79410"/>
                  <a:pt x="208710" y="79115"/>
                  <a:pt x="209016" y="79115"/>
                </a:cubicBezTo>
                <a:lnTo>
                  <a:pt x="210713" y="79115"/>
                </a:lnTo>
                <a:lnTo>
                  <a:pt x="213378" y="69669"/>
                </a:lnTo>
                <a:lnTo>
                  <a:pt x="213581" y="69669"/>
                </a:lnTo>
                <a:close/>
                <a:moveTo>
                  <a:pt x="274767" y="42296"/>
                </a:moveTo>
                <a:cubicBezTo>
                  <a:pt x="274767" y="42296"/>
                  <a:pt x="274767" y="42296"/>
                  <a:pt x="281214" y="42296"/>
                </a:cubicBezTo>
                <a:cubicBezTo>
                  <a:pt x="281214" y="42296"/>
                  <a:pt x="281214" y="42296"/>
                  <a:pt x="281214" y="48733"/>
                </a:cubicBezTo>
                <a:cubicBezTo>
                  <a:pt x="281214" y="49652"/>
                  <a:pt x="280907" y="50265"/>
                  <a:pt x="280293" y="50878"/>
                </a:cubicBezTo>
                <a:cubicBezTo>
                  <a:pt x="279986" y="51491"/>
                  <a:pt x="279065" y="51798"/>
                  <a:pt x="278144" y="51798"/>
                </a:cubicBezTo>
                <a:cubicBezTo>
                  <a:pt x="278144" y="51798"/>
                  <a:pt x="278144" y="51798"/>
                  <a:pt x="277837" y="51798"/>
                </a:cubicBezTo>
                <a:cubicBezTo>
                  <a:pt x="276916" y="51798"/>
                  <a:pt x="276302" y="51491"/>
                  <a:pt x="275688" y="50878"/>
                </a:cubicBezTo>
                <a:cubicBezTo>
                  <a:pt x="275074" y="50265"/>
                  <a:pt x="274767" y="49652"/>
                  <a:pt x="274767" y="48733"/>
                </a:cubicBezTo>
                <a:cubicBezTo>
                  <a:pt x="274767" y="48733"/>
                  <a:pt x="274767" y="48733"/>
                  <a:pt x="274767" y="42296"/>
                </a:cubicBezTo>
                <a:close/>
                <a:moveTo>
                  <a:pt x="261259" y="42296"/>
                </a:moveTo>
                <a:cubicBezTo>
                  <a:pt x="261259" y="42296"/>
                  <a:pt x="261259" y="42296"/>
                  <a:pt x="268013" y="42296"/>
                </a:cubicBezTo>
                <a:cubicBezTo>
                  <a:pt x="268013" y="42296"/>
                  <a:pt x="268013" y="42296"/>
                  <a:pt x="268013" y="48733"/>
                </a:cubicBezTo>
                <a:cubicBezTo>
                  <a:pt x="268013" y="49652"/>
                  <a:pt x="267706" y="50265"/>
                  <a:pt x="267092" y="50878"/>
                </a:cubicBezTo>
                <a:cubicBezTo>
                  <a:pt x="266478" y="51491"/>
                  <a:pt x="265864" y="51798"/>
                  <a:pt x="264943" y="51798"/>
                </a:cubicBezTo>
                <a:cubicBezTo>
                  <a:pt x="264943" y="51798"/>
                  <a:pt x="264943" y="51798"/>
                  <a:pt x="264636" y="51798"/>
                </a:cubicBezTo>
                <a:cubicBezTo>
                  <a:pt x="263715" y="51798"/>
                  <a:pt x="262794" y="51491"/>
                  <a:pt x="262180" y="50878"/>
                </a:cubicBezTo>
                <a:cubicBezTo>
                  <a:pt x="261873" y="50265"/>
                  <a:pt x="261259" y="49652"/>
                  <a:pt x="261259" y="48733"/>
                </a:cubicBezTo>
                <a:cubicBezTo>
                  <a:pt x="261259" y="48733"/>
                  <a:pt x="261259" y="48733"/>
                  <a:pt x="261259" y="42296"/>
                </a:cubicBezTo>
                <a:close/>
                <a:moveTo>
                  <a:pt x="248058" y="42296"/>
                </a:moveTo>
                <a:cubicBezTo>
                  <a:pt x="248058" y="42296"/>
                  <a:pt x="248058" y="42296"/>
                  <a:pt x="254505" y="42296"/>
                </a:cubicBezTo>
                <a:cubicBezTo>
                  <a:pt x="254505" y="42296"/>
                  <a:pt x="254505" y="42296"/>
                  <a:pt x="254505" y="48733"/>
                </a:cubicBezTo>
                <a:cubicBezTo>
                  <a:pt x="254505" y="49652"/>
                  <a:pt x="254198" y="50265"/>
                  <a:pt x="253584" y="50878"/>
                </a:cubicBezTo>
                <a:cubicBezTo>
                  <a:pt x="253277" y="51491"/>
                  <a:pt x="252356" y="51798"/>
                  <a:pt x="251435" y="51798"/>
                </a:cubicBezTo>
                <a:cubicBezTo>
                  <a:pt x="251435" y="51798"/>
                  <a:pt x="251435" y="51798"/>
                  <a:pt x="251128" y="51798"/>
                </a:cubicBezTo>
                <a:cubicBezTo>
                  <a:pt x="250207" y="51798"/>
                  <a:pt x="249593" y="51491"/>
                  <a:pt x="248979" y="50878"/>
                </a:cubicBezTo>
                <a:cubicBezTo>
                  <a:pt x="248365" y="50265"/>
                  <a:pt x="248058" y="49652"/>
                  <a:pt x="248058" y="48733"/>
                </a:cubicBezTo>
                <a:cubicBezTo>
                  <a:pt x="248058" y="48733"/>
                  <a:pt x="248058" y="48733"/>
                  <a:pt x="248058" y="42296"/>
                </a:cubicBezTo>
                <a:close/>
                <a:moveTo>
                  <a:pt x="234858" y="42296"/>
                </a:moveTo>
                <a:cubicBezTo>
                  <a:pt x="234858" y="42296"/>
                  <a:pt x="234858" y="42296"/>
                  <a:pt x="241305" y="42296"/>
                </a:cubicBezTo>
                <a:cubicBezTo>
                  <a:pt x="241305" y="42296"/>
                  <a:pt x="241305" y="42296"/>
                  <a:pt x="241305" y="48733"/>
                </a:cubicBezTo>
                <a:cubicBezTo>
                  <a:pt x="241305" y="49652"/>
                  <a:pt x="240998" y="50572"/>
                  <a:pt x="240384" y="50878"/>
                </a:cubicBezTo>
                <a:cubicBezTo>
                  <a:pt x="239770" y="51491"/>
                  <a:pt x="239156" y="51798"/>
                  <a:pt x="238235" y="51798"/>
                </a:cubicBezTo>
                <a:cubicBezTo>
                  <a:pt x="238235" y="51798"/>
                  <a:pt x="238235" y="51798"/>
                  <a:pt x="237928" y="51798"/>
                </a:cubicBezTo>
                <a:cubicBezTo>
                  <a:pt x="237007" y="51798"/>
                  <a:pt x="236086" y="51491"/>
                  <a:pt x="235779" y="50878"/>
                </a:cubicBezTo>
                <a:cubicBezTo>
                  <a:pt x="235165" y="50572"/>
                  <a:pt x="234858" y="49652"/>
                  <a:pt x="234858" y="48733"/>
                </a:cubicBezTo>
                <a:cubicBezTo>
                  <a:pt x="234858" y="48733"/>
                  <a:pt x="234858" y="48733"/>
                  <a:pt x="234858" y="42296"/>
                </a:cubicBezTo>
                <a:close/>
                <a:moveTo>
                  <a:pt x="221350" y="42296"/>
                </a:moveTo>
                <a:cubicBezTo>
                  <a:pt x="221350" y="42296"/>
                  <a:pt x="221350" y="42296"/>
                  <a:pt x="228104" y="42296"/>
                </a:cubicBezTo>
                <a:cubicBezTo>
                  <a:pt x="228104" y="42296"/>
                  <a:pt x="228104" y="42296"/>
                  <a:pt x="228104" y="48733"/>
                </a:cubicBezTo>
                <a:cubicBezTo>
                  <a:pt x="228104" y="49652"/>
                  <a:pt x="227490" y="50265"/>
                  <a:pt x="227183" y="50878"/>
                </a:cubicBezTo>
                <a:cubicBezTo>
                  <a:pt x="226569" y="51491"/>
                  <a:pt x="225648" y="51798"/>
                  <a:pt x="225034" y="51798"/>
                </a:cubicBezTo>
                <a:cubicBezTo>
                  <a:pt x="225034" y="51798"/>
                  <a:pt x="225034" y="51798"/>
                  <a:pt x="224420" y="51798"/>
                </a:cubicBezTo>
                <a:cubicBezTo>
                  <a:pt x="223806" y="51798"/>
                  <a:pt x="222885" y="51491"/>
                  <a:pt x="222271" y="50878"/>
                </a:cubicBezTo>
                <a:cubicBezTo>
                  <a:pt x="221657" y="50265"/>
                  <a:pt x="221350" y="49652"/>
                  <a:pt x="221350" y="48733"/>
                </a:cubicBezTo>
                <a:cubicBezTo>
                  <a:pt x="221350" y="48733"/>
                  <a:pt x="221350" y="48733"/>
                  <a:pt x="221350" y="42296"/>
                </a:cubicBezTo>
                <a:close/>
                <a:moveTo>
                  <a:pt x="166641" y="37491"/>
                </a:moveTo>
                <a:cubicBezTo>
                  <a:pt x="170335" y="37491"/>
                  <a:pt x="170335" y="37491"/>
                  <a:pt x="170335" y="37491"/>
                </a:cubicBezTo>
                <a:cubicBezTo>
                  <a:pt x="171258" y="37491"/>
                  <a:pt x="171566" y="38103"/>
                  <a:pt x="171566" y="38715"/>
                </a:cubicBezTo>
                <a:cubicBezTo>
                  <a:pt x="171566" y="46671"/>
                  <a:pt x="171566" y="46671"/>
                  <a:pt x="171566" y="46671"/>
                </a:cubicBezTo>
                <a:cubicBezTo>
                  <a:pt x="179877" y="46671"/>
                  <a:pt x="179877" y="46671"/>
                  <a:pt x="179877" y="46671"/>
                </a:cubicBezTo>
                <a:cubicBezTo>
                  <a:pt x="180493" y="46671"/>
                  <a:pt x="181108" y="47283"/>
                  <a:pt x="181108" y="48201"/>
                </a:cubicBezTo>
                <a:cubicBezTo>
                  <a:pt x="181108" y="51873"/>
                  <a:pt x="181108" y="51873"/>
                  <a:pt x="181108" y="51873"/>
                </a:cubicBezTo>
                <a:cubicBezTo>
                  <a:pt x="181108" y="52791"/>
                  <a:pt x="180493" y="53097"/>
                  <a:pt x="179877" y="53097"/>
                </a:cubicBezTo>
                <a:cubicBezTo>
                  <a:pt x="171566" y="53097"/>
                  <a:pt x="171566" y="53097"/>
                  <a:pt x="171566" y="53097"/>
                </a:cubicBezTo>
                <a:cubicBezTo>
                  <a:pt x="171566" y="61359"/>
                  <a:pt x="171566" y="61359"/>
                  <a:pt x="171566" y="61359"/>
                </a:cubicBezTo>
                <a:cubicBezTo>
                  <a:pt x="171566" y="61971"/>
                  <a:pt x="171258" y="62583"/>
                  <a:pt x="170335" y="62583"/>
                </a:cubicBezTo>
                <a:cubicBezTo>
                  <a:pt x="166641" y="62583"/>
                  <a:pt x="166641" y="62583"/>
                  <a:pt x="166641" y="62583"/>
                </a:cubicBezTo>
                <a:cubicBezTo>
                  <a:pt x="165718" y="62583"/>
                  <a:pt x="165102" y="61971"/>
                  <a:pt x="165102" y="61359"/>
                </a:cubicBezTo>
                <a:cubicBezTo>
                  <a:pt x="165102" y="53097"/>
                  <a:pt x="165102" y="53097"/>
                  <a:pt x="165102" y="53097"/>
                </a:cubicBezTo>
                <a:cubicBezTo>
                  <a:pt x="157099" y="53097"/>
                  <a:pt x="157099" y="53097"/>
                  <a:pt x="157099" y="53097"/>
                </a:cubicBezTo>
                <a:cubicBezTo>
                  <a:pt x="156483" y="53097"/>
                  <a:pt x="155868" y="52791"/>
                  <a:pt x="155868" y="51873"/>
                </a:cubicBezTo>
                <a:cubicBezTo>
                  <a:pt x="155868" y="48201"/>
                  <a:pt x="155868" y="48201"/>
                  <a:pt x="155868" y="48201"/>
                </a:cubicBezTo>
                <a:cubicBezTo>
                  <a:pt x="155868" y="47283"/>
                  <a:pt x="156483" y="46671"/>
                  <a:pt x="157099" y="46671"/>
                </a:cubicBezTo>
                <a:cubicBezTo>
                  <a:pt x="165102" y="46671"/>
                  <a:pt x="165102" y="46671"/>
                  <a:pt x="165102" y="46671"/>
                </a:cubicBezTo>
                <a:cubicBezTo>
                  <a:pt x="165102" y="38715"/>
                  <a:pt x="165102" y="38715"/>
                  <a:pt x="165102" y="38715"/>
                </a:cubicBezTo>
                <a:cubicBezTo>
                  <a:pt x="165102" y="38103"/>
                  <a:pt x="165718" y="37491"/>
                  <a:pt x="166641" y="37491"/>
                </a:cubicBezTo>
                <a:close/>
                <a:moveTo>
                  <a:pt x="168563" y="32257"/>
                </a:moveTo>
                <a:cubicBezTo>
                  <a:pt x="158747" y="32257"/>
                  <a:pt x="150771" y="40215"/>
                  <a:pt x="150771" y="50010"/>
                </a:cubicBezTo>
                <a:cubicBezTo>
                  <a:pt x="150771" y="59805"/>
                  <a:pt x="158747" y="68069"/>
                  <a:pt x="168563" y="68069"/>
                </a:cubicBezTo>
                <a:cubicBezTo>
                  <a:pt x="178378" y="68069"/>
                  <a:pt x="186354" y="59805"/>
                  <a:pt x="186354" y="50010"/>
                </a:cubicBezTo>
                <a:cubicBezTo>
                  <a:pt x="186354" y="40215"/>
                  <a:pt x="178378" y="32257"/>
                  <a:pt x="168563" y="32257"/>
                </a:cubicBezTo>
                <a:close/>
                <a:moveTo>
                  <a:pt x="277837" y="30956"/>
                </a:moveTo>
                <a:cubicBezTo>
                  <a:pt x="276609" y="30956"/>
                  <a:pt x="275688" y="31569"/>
                  <a:pt x="275074" y="32182"/>
                </a:cubicBezTo>
                <a:cubicBezTo>
                  <a:pt x="274460" y="32795"/>
                  <a:pt x="273846" y="33715"/>
                  <a:pt x="273846" y="34941"/>
                </a:cubicBezTo>
                <a:cubicBezTo>
                  <a:pt x="273846" y="41377"/>
                  <a:pt x="273846" y="41377"/>
                  <a:pt x="273846" y="41377"/>
                </a:cubicBezTo>
                <a:cubicBezTo>
                  <a:pt x="273846" y="41990"/>
                  <a:pt x="273846" y="41990"/>
                  <a:pt x="273846" y="41990"/>
                </a:cubicBezTo>
                <a:lnTo>
                  <a:pt x="273846" y="42296"/>
                </a:lnTo>
                <a:cubicBezTo>
                  <a:pt x="273846" y="48733"/>
                  <a:pt x="273846" y="48733"/>
                  <a:pt x="273846" y="48733"/>
                </a:cubicBezTo>
                <a:cubicBezTo>
                  <a:pt x="273846" y="49959"/>
                  <a:pt x="274460" y="50878"/>
                  <a:pt x="275074" y="51491"/>
                </a:cubicBezTo>
                <a:cubicBezTo>
                  <a:pt x="275688" y="52104"/>
                  <a:pt x="276609" y="52717"/>
                  <a:pt x="277837" y="52717"/>
                </a:cubicBezTo>
                <a:cubicBezTo>
                  <a:pt x="278144" y="52717"/>
                  <a:pt x="278144" y="52717"/>
                  <a:pt x="278144" y="52717"/>
                </a:cubicBezTo>
                <a:cubicBezTo>
                  <a:pt x="279372" y="52717"/>
                  <a:pt x="280293" y="52104"/>
                  <a:pt x="280907" y="51491"/>
                </a:cubicBezTo>
                <a:cubicBezTo>
                  <a:pt x="281827" y="50878"/>
                  <a:pt x="282134" y="49959"/>
                  <a:pt x="282134" y="48733"/>
                </a:cubicBezTo>
                <a:cubicBezTo>
                  <a:pt x="282134" y="42296"/>
                  <a:pt x="282134" y="42296"/>
                  <a:pt x="282134" y="42296"/>
                </a:cubicBezTo>
                <a:cubicBezTo>
                  <a:pt x="282134" y="41990"/>
                  <a:pt x="282134" y="41990"/>
                  <a:pt x="282134" y="41990"/>
                </a:cubicBezTo>
                <a:cubicBezTo>
                  <a:pt x="282134" y="41377"/>
                  <a:pt x="282134" y="41377"/>
                  <a:pt x="282134" y="41377"/>
                </a:cubicBezTo>
                <a:cubicBezTo>
                  <a:pt x="282134" y="34941"/>
                  <a:pt x="282134" y="34941"/>
                  <a:pt x="282134" y="34941"/>
                </a:cubicBezTo>
                <a:cubicBezTo>
                  <a:pt x="282134" y="33715"/>
                  <a:pt x="281827" y="32795"/>
                  <a:pt x="280907" y="32182"/>
                </a:cubicBezTo>
                <a:cubicBezTo>
                  <a:pt x="280293" y="31569"/>
                  <a:pt x="279372" y="30956"/>
                  <a:pt x="278144" y="30956"/>
                </a:cubicBezTo>
                <a:cubicBezTo>
                  <a:pt x="277837" y="30956"/>
                  <a:pt x="277837" y="30956"/>
                  <a:pt x="277837" y="30956"/>
                </a:cubicBezTo>
                <a:close/>
                <a:moveTo>
                  <a:pt x="264636" y="30956"/>
                </a:moveTo>
                <a:cubicBezTo>
                  <a:pt x="263408" y="30956"/>
                  <a:pt x="262487" y="31569"/>
                  <a:pt x="261566" y="32182"/>
                </a:cubicBezTo>
                <a:cubicBezTo>
                  <a:pt x="260952" y="32795"/>
                  <a:pt x="260645" y="33715"/>
                  <a:pt x="260645" y="34941"/>
                </a:cubicBezTo>
                <a:cubicBezTo>
                  <a:pt x="260645" y="41377"/>
                  <a:pt x="260645" y="41377"/>
                  <a:pt x="260645" y="41377"/>
                </a:cubicBezTo>
                <a:cubicBezTo>
                  <a:pt x="260645" y="41990"/>
                  <a:pt x="260645" y="41990"/>
                  <a:pt x="260645" y="41990"/>
                </a:cubicBezTo>
                <a:cubicBezTo>
                  <a:pt x="260645" y="42296"/>
                  <a:pt x="260645" y="42296"/>
                  <a:pt x="260645" y="42296"/>
                </a:cubicBezTo>
                <a:cubicBezTo>
                  <a:pt x="260645" y="48733"/>
                  <a:pt x="260645" y="48733"/>
                  <a:pt x="260645" y="48733"/>
                </a:cubicBezTo>
                <a:cubicBezTo>
                  <a:pt x="260645" y="49959"/>
                  <a:pt x="260952" y="50878"/>
                  <a:pt x="261566" y="51491"/>
                </a:cubicBezTo>
                <a:cubicBezTo>
                  <a:pt x="262487" y="52104"/>
                  <a:pt x="263408" y="52717"/>
                  <a:pt x="264636" y="52717"/>
                </a:cubicBezTo>
                <a:cubicBezTo>
                  <a:pt x="264943" y="52717"/>
                  <a:pt x="264943" y="52717"/>
                  <a:pt x="264943" y="52717"/>
                </a:cubicBezTo>
                <a:cubicBezTo>
                  <a:pt x="265864" y="52717"/>
                  <a:pt x="266785" y="52104"/>
                  <a:pt x="267706" y="51491"/>
                </a:cubicBezTo>
                <a:cubicBezTo>
                  <a:pt x="268320" y="50878"/>
                  <a:pt x="268934" y="49959"/>
                  <a:pt x="268934" y="48733"/>
                </a:cubicBezTo>
                <a:cubicBezTo>
                  <a:pt x="268934" y="42296"/>
                  <a:pt x="268934" y="42296"/>
                  <a:pt x="268934" y="42296"/>
                </a:cubicBezTo>
                <a:cubicBezTo>
                  <a:pt x="268934" y="41990"/>
                  <a:pt x="268934" y="41990"/>
                  <a:pt x="268934" y="41990"/>
                </a:cubicBezTo>
                <a:cubicBezTo>
                  <a:pt x="268934" y="41377"/>
                  <a:pt x="268934" y="41377"/>
                  <a:pt x="268934" y="41377"/>
                </a:cubicBezTo>
                <a:cubicBezTo>
                  <a:pt x="268934" y="34941"/>
                  <a:pt x="268934" y="34941"/>
                  <a:pt x="268934" y="34941"/>
                </a:cubicBezTo>
                <a:cubicBezTo>
                  <a:pt x="268934" y="33715"/>
                  <a:pt x="268320" y="32795"/>
                  <a:pt x="267706" y="32182"/>
                </a:cubicBezTo>
                <a:cubicBezTo>
                  <a:pt x="266785" y="31569"/>
                  <a:pt x="265864" y="30956"/>
                  <a:pt x="264943" y="30956"/>
                </a:cubicBezTo>
                <a:cubicBezTo>
                  <a:pt x="264636" y="30956"/>
                  <a:pt x="264636" y="30956"/>
                  <a:pt x="264636" y="30956"/>
                </a:cubicBezTo>
                <a:close/>
                <a:moveTo>
                  <a:pt x="251128" y="30956"/>
                </a:moveTo>
                <a:cubicBezTo>
                  <a:pt x="249900" y="30956"/>
                  <a:pt x="248979" y="31569"/>
                  <a:pt x="248365" y="32182"/>
                </a:cubicBezTo>
                <a:cubicBezTo>
                  <a:pt x="247751" y="32795"/>
                  <a:pt x="247137" y="33715"/>
                  <a:pt x="247137" y="34941"/>
                </a:cubicBezTo>
                <a:cubicBezTo>
                  <a:pt x="247137" y="41377"/>
                  <a:pt x="247137" y="41377"/>
                  <a:pt x="247137" y="41377"/>
                </a:cubicBezTo>
                <a:cubicBezTo>
                  <a:pt x="247137" y="41990"/>
                  <a:pt x="247137" y="41990"/>
                  <a:pt x="247137" y="41990"/>
                </a:cubicBezTo>
                <a:cubicBezTo>
                  <a:pt x="247137" y="42296"/>
                  <a:pt x="247137" y="42296"/>
                  <a:pt x="247137" y="42296"/>
                </a:cubicBezTo>
                <a:cubicBezTo>
                  <a:pt x="247137" y="48733"/>
                  <a:pt x="247137" y="48733"/>
                  <a:pt x="247137" y="48733"/>
                </a:cubicBezTo>
                <a:cubicBezTo>
                  <a:pt x="247137" y="49959"/>
                  <a:pt x="247751" y="50878"/>
                  <a:pt x="248365" y="51491"/>
                </a:cubicBezTo>
                <a:cubicBezTo>
                  <a:pt x="248979" y="52104"/>
                  <a:pt x="249900" y="52717"/>
                  <a:pt x="251128" y="52717"/>
                </a:cubicBezTo>
                <a:cubicBezTo>
                  <a:pt x="251435" y="52717"/>
                  <a:pt x="251435" y="52717"/>
                  <a:pt x="251435" y="52717"/>
                </a:cubicBezTo>
                <a:cubicBezTo>
                  <a:pt x="252663" y="52717"/>
                  <a:pt x="253584" y="52104"/>
                  <a:pt x="254198" y="51491"/>
                </a:cubicBezTo>
                <a:cubicBezTo>
                  <a:pt x="255119" y="50878"/>
                  <a:pt x="255426" y="49959"/>
                  <a:pt x="255426" y="48733"/>
                </a:cubicBezTo>
                <a:cubicBezTo>
                  <a:pt x="255426" y="42296"/>
                  <a:pt x="255426" y="42296"/>
                  <a:pt x="255426" y="42296"/>
                </a:cubicBezTo>
                <a:cubicBezTo>
                  <a:pt x="255426" y="41990"/>
                  <a:pt x="255426" y="41990"/>
                  <a:pt x="255426" y="41990"/>
                </a:cubicBezTo>
                <a:cubicBezTo>
                  <a:pt x="255426" y="41377"/>
                  <a:pt x="255426" y="41377"/>
                  <a:pt x="255426" y="41377"/>
                </a:cubicBezTo>
                <a:cubicBezTo>
                  <a:pt x="255426" y="34941"/>
                  <a:pt x="255426" y="34941"/>
                  <a:pt x="255426" y="34941"/>
                </a:cubicBezTo>
                <a:cubicBezTo>
                  <a:pt x="255426" y="33715"/>
                  <a:pt x="255119" y="32795"/>
                  <a:pt x="254198" y="32182"/>
                </a:cubicBezTo>
                <a:cubicBezTo>
                  <a:pt x="253584" y="31569"/>
                  <a:pt x="252663" y="30956"/>
                  <a:pt x="251435" y="30956"/>
                </a:cubicBezTo>
                <a:cubicBezTo>
                  <a:pt x="251128" y="30956"/>
                  <a:pt x="251128" y="30956"/>
                  <a:pt x="251128" y="30956"/>
                </a:cubicBezTo>
                <a:close/>
                <a:moveTo>
                  <a:pt x="237928" y="30956"/>
                </a:moveTo>
                <a:cubicBezTo>
                  <a:pt x="236700" y="30956"/>
                  <a:pt x="235779" y="31569"/>
                  <a:pt x="235165" y="32182"/>
                </a:cubicBezTo>
                <a:cubicBezTo>
                  <a:pt x="234244" y="32795"/>
                  <a:pt x="233937" y="34021"/>
                  <a:pt x="233937" y="34941"/>
                </a:cubicBezTo>
                <a:cubicBezTo>
                  <a:pt x="233937" y="41377"/>
                  <a:pt x="233937" y="41377"/>
                  <a:pt x="233937" y="41377"/>
                </a:cubicBezTo>
                <a:cubicBezTo>
                  <a:pt x="233937" y="41990"/>
                  <a:pt x="233937" y="41990"/>
                  <a:pt x="233937" y="41990"/>
                </a:cubicBezTo>
                <a:cubicBezTo>
                  <a:pt x="233937" y="42296"/>
                  <a:pt x="233937" y="42296"/>
                  <a:pt x="233937" y="42296"/>
                </a:cubicBezTo>
                <a:cubicBezTo>
                  <a:pt x="233937" y="48733"/>
                  <a:pt x="233937" y="48733"/>
                  <a:pt x="233937" y="48733"/>
                </a:cubicBezTo>
                <a:cubicBezTo>
                  <a:pt x="233937" y="49959"/>
                  <a:pt x="234244" y="50878"/>
                  <a:pt x="235165" y="51491"/>
                </a:cubicBezTo>
                <a:cubicBezTo>
                  <a:pt x="235779" y="52411"/>
                  <a:pt x="236700" y="52717"/>
                  <a:pt x="237928" y="52717"/>
                </a:cubicBezTo>
                <a:cubicBezTo>
                  <a:pt x="238235" y="52717"/>
                  <a:pt x="238235" y="52717"/>
                  <a:pt x="238235" y="52717"/>
                </a:cubicBezTo>
                <a:cubicBezTo>
                  <a:pt x="239156" y="52717"/>
                  <a:pt x="240384" y="52411"/>
                  <a:pt x="240998" y="51491"/>
                </a:cubicBezTo>
                <a:cubicBezTo>
                  <a:pt x="241611" y="50878"/>
                  <a:pt x="242225" y="49959"/>
                  <a:pt x="242225" y="48733"/>
                </a:cubicBezTo>
                <a:cubicBezTo>
                  <a:pt x="242225" y="42296"/>
                  <a:pt x="242225" y="42296"/>
                  <a:pt x="242225" y="42296"/>
                </a:cubicBezTo>
                <a:cubicBezTo>
                  <a:pt x="242225" y="41990"/>
                  <a:pt x="242225" y="41990"/>
                  <a:pt x="242225" y="41990"/>
                </a:cubicBezTo>
                <a:cubicBezTo>
                  <a:pt x="242225" y="41377"/>
                  <a:pt x="242225" y="41377"/>
                  <a:pt x="242225" y="41377"/>
                </a:cubicBezTo>
                <a:cubicBezTo>
                  <a:pt x="242225" y="34941"/>
                  <a:pt x="242225" y="34941"/>
                  <a:pt x="242225" y="34941"/>
                </a:cubicBezTo>
                <a:cubicBezTo>
                  <a:pt x="242225" y="34021"/>
                  <a:pt x="241611" y="32795"/>
                  <a:pt x="240998" y="32182"/>
                </a:cubicBezTo>
                <a:cubicBezTo>
                  <a:pt x="240384" y="31569"/>
                  <a:pt x="239156" y="30956"/>
                  <a:pt x="238235" y="30956"/>
                </a:cubicBezTo>
                <a:cubicBezTo>
                  <a:pt x="237928" y="30956"/>
                  <a:pt x="237928" y="30956"/>
                  <a:pt x="237928" y="30956"/>
                </a:cubicBezTo>
                <a:close/>
                <a:moveTo>
                  <a:pt x="224420" y="30956"/>
                </a:moveTo>
                <a:cubicBezTo>
                  <a:pt x="223499" y="30956"/>
                  <a:pt x="222578" y="31569"/>
                  <a:pt x="221657" y="32182"/>
                </a:cubicBezTo>
                <a:cubicBezTo>
                  <a:pt x="221043" y="32795"/>
                  <a:pt x="220736" y="33715"/>
                  <a:pt x="220736" y="34941"/>
                </a:cubicBezTo>
                <a:cubicBezTo>
                  <a:pt x="220736" y="41377"/>
                  <a:pt x="220736" y="41377"/>
                  <a:pt x="220736" y="41377"/>
                </a:cubicBezTo>
                <a:cubicBezTo>
                  <a:pt x="220736" y="41990"/>
                  <a:pt x="220736" y="41990"/>
                  <a:pt x="220736" y="41990"/>
                </a:cubicBezTo>
                <a:cubicBezTo>
                  <a:pt x="220736" y="42296"/>
                  <a:pt x="220736" y="42296"/>
                  <a:pt x="220736" y="42296"/>
                </a:cubicBezTo>
                <a:cubicBezTo>
                  <a:pt x="220736" y="48733"/>
                  <a:pt x="220736" y="48733"/>
                  <a:pt x="220736" y="48733"/>
                </a:cubicBezTo>
                <a:cubicBezTo>
                  <a:pt x="220736" y="49959"/>
                  <a:pt x="221043" y="50878"/>
                  <a:pt x="221657" y="51491"/>
                </a:cubicBezTo>
                <a:cubicBezTo>
                  <a:pt x="222578" y="52104"/>
                  <a:pt x="223499" y="52717"/>
                  <a:pt x="224420" y="52717"/>
                </a:cubicBezTo>
                <a:cubicBezTo>
                  <a:pt x="225034" y="52717"/>
                  <a:pt x="225034" y="52717"/>
                  <a:pt x="225034" y="52717"/>
                </a:cubicBezTo>
                <a:cubicBezTo>
                  <a:pt x="225955" y="52717"/>
                  <a:pt x="226876" y="52104"/>
                  <a:pt x="227797" y="51491"/>
                </a:cubicBezTo>
                <a:cubicBezTo>
                  <a:pt x="228411" y="50878"/>
                  <a:pt x="228718" y="49959"/>
                  <a:pt x="228718" y="48733"/>
                </a:cubicBezTo>
                <a:cubicBezTo>
                  <a:pt x="228718" y="42296"/>
                  <a:pt x="228718" y="42296"/>
                  <a:pt x="228718" y="42296"/>
                </a:cubicBezTo>
                <a:cubicBezTo>
                  <a:pt x="228718" y="41990"/>
                  <a:pt x="228718" y="41990"/>
                  <a:pt x="228718" y="41990"/>
                </a:cubicBezTo>
                <a:cubicBezTo>
                  <a:pt x="228718" y="41377"/>
                  <a:pt x="228718" y="41377"/>
                  <a:pt x="228718" y="41377"/>
                </a:cubicBezTo>
                <a:cubicBezTo>
                  <a:pt x="228718" y="34941"/>
                  <a:pt x="228718" y="34941"/>
                  <a:pt x="228718" y="34941"/>
                </a:cubicBezTo>
                <a:cubicBezTo>
                  <a:pt x="228718" y="33715"/>
                  <a:pt x="228411" y="32795"/>
                  <a:pt x="227797" y="32182"/>
                </a:cubicBezTo>
                <a:cubicBezTo>
                  <a:pt x="226876" y="31569"/>
                  <a:pt x="225955" y="30956"/>
                  <a:pt x="225034" y="30956"/>
                </a:cubicBezTo>
                <a:cubicBezTo>
                  <a:pt x="224420" y="30956"/>
                  <a:pt x="224420" y="30956"/>
                  <a:pt x="224420" y="30956"/>
                </a:cubicBezTo>
                <a:close/>
                <a:moveTo>
                  <a:pt x="220429" y="27278"/>
                </a:moveTo>
                <a:cubicBezTo>
                  <a:pt x="219815" y="27278"/>
                  <a:pt x="219508" y="27585"/>
                  <a:pt x="219508" y="28198"/>
                </a:cubicBezTo>
                <a:cubicBezTo>
                  <a:pt x="219508" y="28504"/>
                  <a:pt x="219815" y="28811"/>
                  <a:pt x="220429" y="28811"/>
                </a:cubicBezTo>
                <a:cubicBezTo>
                  <a:pt x="282748" y="28811"/>
                  <a:pt x="282748" y="28811"/>
                  <a:pt x="282748" y="28811"/>
                </a:cubicBezTo>
                <a:cubicBezTo>
                  <a:pt x="283362" y="28811"/>
                  <a:pt x="283669" y="28504"/>
                  <a:pt x="283669" y="28198"/>
                </a:cubicBezTo>
                <a:cubicBezTo>
                  <a:pt x="283669" y="27585"/>
                  <a:pt x="283362" y="27278"/>
                  <a:pt x="282748" y="27278"/>
                </a:cubicBezTo>
                <a:cubicBezTo>
                  <a:pt x="220429" y="27278"/>
                  <a:pt x="220429" y="27278"/>
                  <a:pt x="220429" y="27278"/>
                </a:cubicBezTo>
                <a:close/>
                <a:moveTo>
                  <a:pt x="148931" y="22462"/>
                </a:moveTo>
                <a:cubicBezTo>
                  <a:pt x="148931" y="22462"/>
                  <a:pt x="148931" y="22462"/>
                  <a:pt x="188501" y="22462"/>
                </a:cubicBezTo>
                <a:cubicBezTo>
                  <a:pt x="188501" y="22462"/>
                  <a:pt x="188501" y="22462"/>
                  <a:pt x="201997" y="38379"/>
                </a:cubicBezTo>
                <a:cubicBezTo>
                  <a:pt x="201997" y="38379"/>
                  <a:pt x="201997" y="38379"/>
                  <a:pt x="201997" y="63172"/>
                </a:cubicBezTo>
                <a:cubicBezTo>
                  <a:pt x="201997" y="63172"/>
                  <a:pt x="201997" y="63172"/>
                  <a:pt x="188194" y="79088"/>
                </a:cubicBezTo>
                <a:cubicBezTo>
                  <a:pt x="188194" y="79088"/>
                  <a:pt x="188194" y="79088"/>
                  <a:pt x="148624" y="79088"/>
                </a:cubicBezTo>
                <a:cubicBezTo>
                  <a:pt x="148624" y="79088"/>
                  <a:pt x="148624" y="79088"/>
                  <a:pt x="135128" y="62866"/>
                </a:cubicBezTo>
                <a:cubicBezTo>
                  <a:pt x="135128" y="62866"/>
                  <a:pt x="135128" y="62866"/>
                  <a:pt x="135128" y="38073"/>
                </a:cubicBezTo>
                <a:cubicBezTo>
                  <a:pt x="135128" y="38073"/>
                  <a:pt x="135128" y="38073"/>
                  <a:pt x="148931" y="22462"/>
                </a:cubicBezTo>
                <a:close/>
                <a:moveTo>
                  <a:pt x="148318" y="20932"/>
                </a:moveTo>
                <a:cubicBezTo>
                  <a:pt x="133594" y="37767"/>
                  <a:pt x="133594" y="37767"/>
                  <a:pt x="133594" y="37767"/>
                </a:cubicBezTo>
                <a:cubicBezTo>
                  <a:pt x="133594" y="63478"/>
                  <a:pt x="133594" y="63478"/>
                  <a:pt x="133594" y="63478"/>
                </a:cubicBezTo>
                <a:cubicBezTo>
                  <a:pt x="148011" y="80313"/>
                  <a:pt x="148011" y="80313"/>
                  <a:pt x="148011" y="80313"/>
                </a:cubicBezTo>
                <a:cubicBezTo>
                  <a:pt x="188807" y="80313"/>
                  <a:pt x="188807" y="80313"/>
                  <a:pt x="188807" y="80313"/>
                </a:cubicBezTo>
                <a:cubicBezTo>
                  <a:pt x="203531" y="63478"/>
                  <a:pt x="203531" y="63478"/>
                  <a:pt x="203531" y="63478"/>
                </a:cubicBezTo>
                <a:cubicBezTo>
                  <a:pt x="203531" y="37767"/>
                  <a:pt x="203531" y="37767"/>
                  <a:pt x="203531" y="37767"/>
                </a:cubicBezTo>
                <a:cubicBezTo>
                  <a:pt x="189114" y="20932"/>
                  <a:pt x="189114" y="20932"/>
                  <a:pt x="189114" y="20932"/>
                </a:cubicBezTo>
                <a:lnTo>
                  <a:pt x="188807" y="20932"/>
                </a:lnTo>
                <a:cubicBezTo>
                  <a:pt x="148318" y="20932"/>
                  <a:pt x="148318" y="20932"/>
                  <a:pt x="148318" y="20932"/>
                </a:cubicBezTo>
                <a:close/>
                <a:moveTo>
                  <a:pt x="274767" y="14712"/>
                </a:moveTo>
                <a:cubicBezTo>
                  <a:pt x="274767" y="14712"/>
                  <a:pt x="274767" y="14712"/>
                  <a:pt x="281214" y="14712"/>
                </a:cubicBezTo>
                <a:cubicBezTo>
                  <a:pt x="281214" y="14712"/>
                  <a:pt x="281214" y="14712"/>
                  <a:pt x="281214" y="21148"/>
                </a:cubicBezTo>
                <a:cubicBezTo>
                  <a:pt x="281214" y="22068"/>
                  <a:pt x="280907" y="22681"/>
                  <a:pt x="280293" y="23294"/>
                </a:cubicBezTo>
                <a:cubicBezTo>
                  <a:pt x="279986" y="23907"/>
                  <a:pt x="279065" y="24213"/>
                  <a:pt x="278144" y="24213"/>
                </a:cubicBezTo>
                <a:cubicBezTo>
                  <a:pt x="278144" y="24213"/>
                  <a:pt x="278144" y="24213"/>
                  <a:pt x="277837" y="24213"/>
                </a:cubicBezTo>
                <a:cubicBezTo>
                  <a:pt x="276916" y="24213"/>
                  <a:pt x="276302" y="23907"/>
                  <a:pt x="275688" y="23294"/>
                </a:cubicBezTo>
                <a:cubicBezTo>
                  <a:pt x="275074" y="22681"/>
                  <a:pt x="274767" y="22068"/>
                  <a:pt x="274767" y="21148"/>
                </a:cubicBezTo>
                <a:cubicBezTo>
                  <a:pt x="274767" y="21148"/>
                  <a:pt x="274767" y="21148"/>
                  <a:pt x="274767" y="14712"/>
                </a:cubicBezTo>
                <a:close/>
                <a:moveTo>
                  <a:pt x="261259" y="14712"/>
                </a:moveTo>
                <a:cubicBezTo>
                  <a:pt x="261259" y="14712"/>
                  <a:pt x="261259" y="14712"/>
                  <a:pt x="268013" y="14712"/>
                </a:cubicBezTo>
                <a:cubicBezTo>
                  <a:pt x="268013" y="14712"/>
                  <a:pt x="268013" y="14712"/>
                  <a:pt x="268013" y="21148"/>
                </a:cubicBezTo>
                <a:cubicBezTo>
                  <a:pt x="268013" y="22068"/>
                  <a:pt x="267706" y="22681"/>
                  <a:pt x="267092" y="23294"/>
                </a:cubicBezTo>
                <a:cubicBezTo>
                  <a:pt x="266478" y="23907"/>
                  <a:pt x="265864" y="24213"/>
                  <a:pt x="264943" y="24213"/>
                </a:cubicBezTo>
                <a:cubicBezTo>
                  <a:pt x="264943" y="24213"/>
                  <a:pt x="264943" y="24213"/>
                  <a:pt x="264636" y="24213"/>
                </a:cubicBezTo>
                <a:cubicBezTo>
                  <a:pt x="263715" y="24213"/>
                  <a:pt x="262794" y="23907"/>
                  <a:pt x="262180" y="23294"/>
                </a:cubicBezTo>
                <a:cubicBezTo>
                  <a:pt x="261873" y="22681"/>
                  <a:pt x="261259" y="22068"/>
                  <a:pt x="261259" y="21148"/>
                </a:cubicBezTo>
                <a:cubicBezTo>
                  <a:pt x="261259" y="21148"/>
                  <a:pt x="261259" y="21148"/>
                  <a:pt x="261259" y="14712"/>
                </a:cubicBezTo>
                <a:close/>
                <a:moveTo>
                  <a:pt x="248058" y="14712"/>
                </a:moveTo>
                <a:cubicBezTo>
                  <a:pt x="248058" y="14712"/>
                  <a:pt x="248058" y="14712"/>
                  <a:pt x="254505" y="14712"/>
                </a:cubicBezTo>
                <a:cubicBezTo>
                  <a:pt x="254505" y="14712"/>
                  <a:pt x="254505" y="14712"/>
                  <a:pt x="254505" y="21148"/>
                </a:cubicBezTo>
                <a:cubicBezTo>
                  <a:pt x="254505" y="22068"/>
                  <a:pt x="254198" y="22681"/>
                  <a:pt x="253584" y="23294"/>
                </a:cubicBezTo>
                <a:cubicBezTo>
                  <a:pt x="253277" y="23907"/>
                  <a:pt x="252356" y="24213"/>
                  <a:pt x="251435" y="24213"/>
                </a:cubicBezTo>
                <a:cubicBezTo>
                  <a:pt x="251435" y="24213"/>
                  <a:pt x="251435" y="24213"/>
                  <a:pt x="251128" y="24213"/>
                </a:cubicBezTo>
                <a:cubicBezTo>
                  <a:pt x="250207" y="24213"/>
                  <a:pt x="249593" y="23907"/>
                  <a:pt x="248979" y="23294"/>
                </a:cubicBezTo>
                <a:cubicBezTo>
                  <a:pt x="248365" y="22681"/>
                  <a:pt x="248058" y="22068"/>
                  <a:pt x="248058" y="21148"/>
                </a:cubicBezTo>
                <a:cubicBezTo>
                  <a:pt x="248058" y="21148"/>
                  <a:pt x="248058" y="21148"/>
                  <a:pt x="248058" y="14712"/>
                </a:cubicBezTo>
                <a:close/>
                <a:moveTo>
                  <a:pt x="234858" y="14712"/>
                </a:moveTo>
                <a:cubicBezTo>
                  <a:pt x="234858" y="14712"/>
                  <a:pt x="234858" y="14712"/>
                  <a:pt x="241305" y="14712"/>
                </a:cubicBezTo>
                <a:cubicBezTo>
                  <a:pt x="241305" y="14712"/>
                  <a:pt x="241305" y="14712"/>
                  <a:pt x="241305" y="21148"/>
                </a:cubicBezTo>
                <a:cubicBezTo>
                  <a:pt x="241305" y="22068"/>
                  <a:pt x="240998" y="22987"/>
                  <a:pt x="240384" y="23294"/>
                </a:cubicBezTo>
                <a:cubicBezTo>
                  <a:pt x="239770" y="23907"/>
                  <a:pt x="239156" y="24213"/>
                  <a:pt x="238235" y="24213"/>
                </a:cubicBezTo>
                <a:cubicBezTo>
                  <a:pt x="238235" y="24213"/>
                  <a:pt x="238235" y="24213"/>
                  <a:pt x="237928" y="24213"/>
                </a:cubicBezTo>
                <a:cubicBezTo>
                  <a:pt x="237007" y="24213"/>
                  <a:pt x="236086" y="23907"/>
                  <a:pt x="235779" y="23294"/>
                </a:cubicBezTo>
                <a:cubicBezTo>
                  <a:pt x="235165" y="22987"/>
                  <a:pt x="234858" y="22068"/>
                  <a:pt x="234858" y="21148"/>
                </a:cubicBezTo>
                <a:cubicBezTo>
                  <a:pt x="234858" y="21148"/>
                  <a:pt x="234858" y="21148"/>
                  <a:pt x="234858" y="14712"/>
                </a:cubicBezTo>
                <a:close/>
                <a:moveTo>
                  <a:pt x="221350" y="14712"/>
                </a:moveTo>
                <a:cubicBezTo>
                  <a:pt x="221350" y="14712"/>
                  <a:pt x="221350" y="14712"/>
                  <a:pt x="228104" y="14712"/>
                </a:cubicBezTo>
                <a:cubicBezTo>
                  <a:pt x="228104" y="14712"/>
                  <a:pt x="228104" y="14712"/>
                  <a:pt x="228104" y="21148"/>
                </a:cubicBezTo>
                <a:cubicBezTo>
                  <a:pt x="228104" y="22068"/>
                  <a:pt x="227490" y="22681"/>
                  <a:pt x="227183" y="23294"/>
                </a:cubicBezTo>
                <a:cubicBezTo>
                  <a:pt x="226569" y="23907"/>
                  <a:pt x="225648" y="24213"/>
                  <a:pt x="225034" y="24213"/>
                </a:cubicBezTo>
                <a:cubicBezTo>
                  <a:pt x="225034" y="24213"/>
                  <a:pt x="225034" y="24213"/>
                  <a:pt x="224420" y="24213"/>
                </a:cubicBezTo>
                <a:cubicBezTo>
                  <a:pt x="223806" y="24213"/>
                  <a:pt x="222885" y="23907"/>
                  <a:pt x="222271" y="23294"/>
                </a:cubicBezTo>
                <a:cubicBezTo>
                  <a:pt x="221657" y="22681"/>
                  <a:pt x="221350" y="22068"/>
                  <a:pt x="221350" y="21148"/>
                </a:cubicBezTo>
                <a:cubicBezTo>
                  <a:pt x="221350" y="21148"/>
                  <a:pt x="221350" y="21148"/>
                  <a:pt x="221350" y="14712"/>
                </a:cubicBezTo>
                <a:close/>
                <a:moveTo>
                  <a:pt x="159590" y="5899"/>
                </a:moveTo>
                <a:cubicBezTo>
                  <a:pt x="158362" y="5899"/>
                  <a:pt x="157442" y="6510"/>
                  <a:pt x="156521" y="7121"/>
                </a:cubicBezTo>
                <a:cubicBezTo>
                  <a:pt x="155601" y="8037"/>
                  <a:pt x="155294" y="9564"/>
                  <a:pt x="155294" y="10785"/>
                </a:cubicBezTo>
                <a:lnTo>
                  <a:pt x="155294" y="17565"/>
                </a:lnTo>
                <a:lnTo>
                  <a:pt x="163671" y="17565"/>
                </a:lnTo>
                <a:lnTo>
                  <a:pt x="163249" y="16925"/>
                </a:lnTo>
                <a:cubicBezTo>
                  <a:pt x="163249" y="15991"/>
                  <a:pt x="163249" y="15991"/>
                  <a:pt x="163249" y="15991"/>
                </a:cubicBezTo>
                <a:cubicBezTo>
                  <a:pt x="163249" y="15367"/>
                  <a:pt x="163557" y="15056"/>
                  <a:pt x="163865" y="15056"/>
                </a:cubicBezTo>
                <a:cubicBezTo>
                  <a:pt x="172805" y="15056"/>
                  <a:pt x="172805" y="15056"/>
                  <a:pt x="172805" y="15056"/>
                </a:cubicBezTo>
                <a:cubicBezTo>
                  <a:pt x="173421" y="15056"/>
                  <a:pt x="173729" y="15367"/>
                  <a:pt x="173729" y="15991"/>
                </a:cubicBezTo>
                <a:cubicBezTo>
                  <a:pt x="173729" y="16925"/>
                  <a:pt x="173729" y="16925"/>
                  <a:pt x="173729" y="16925"/>
                </a:cubicBezTo>
                <a:lnTo>
                  <a:pt x="173097" y="17565"/>
                </a:lnTo>
                <a:lnTo>
                  <a:pt x="181684" y="17565"/>
                </a:lnTo>
                <a:lnTo>
                  <a:pt x="181684" y="12389"/>
                </a:lnTo>
                <a:cubicBezTo>
                  <a:pt x="181684" y="11396"/>
                  <a:pt x="181684" y="11396"/>
                  <a:pt x="181684" y="11396"/>
                </a:cubicBezTo>
                <a:cubicBezTo>
                  <a:pt x="181684" y="9869"/>
                  <a:pt x="181070" y="8342"/>
                  <a:pt x="180150" y="7426"/>
                </a:cubicBezTo>
                <a:cubicBezTo>
                  <a:pt x="179536" y="6510"/>
                  <a:pt x="178309" y="5899"/>
                  <a:pt x="176774" y="5899"/>
                </a:cubicBezTo>
                <a:cubicBezTo>
                  <a:pt x="159590" y="5899"/>
                  <a:pt x="159590" y="5899"/>
                  <a:pt x="159590" y="5899"/>
                </a:cubicBezTo>
                <a:close/>
                <a:moveTo>
                  <a:pt x="277837" y="3371"/>
                </a:moveTo>
                <a:cubicBezTo>
                  <a:pt x="276609" y="3371"/>
                  <a:pt x="275688" y="3984"/>
                  <a:pt x="275074" y="4597"/>
                </a:cubicBezTo>
                <a:cubicBezTo>
                  <a:pt x="274460" y="5210"/>
                  <a:pt x="273846" y="6130"/>
                  <a:pt x="273846" y="7356"/>
                </a:cubicBezTo>
                <a:cubicBezTo>
                  <a:pt x="273846" y="13792"/>
                  <a:pt x="273846" y="13792"/>
                  <a:pt x="273846" y="13792"/>
                </a:cubicBezTo>
                <a:cubicBezTo>
                  <a:pt x="273846" y="14405"/>
                  <a:pt x="273846" y="14405"/>
                  <a:pt x="273846" y="14405"/>
                </a:cubicBezTo>
                <a:cubicBezTo>
                  <a:pt x="273846" y="14712"/>
                  <a:pt x="273846" y="14712"/>
                  <a:pt x="273846" y="14712"/>
                </a:cubicBezTo>
                <a:cubicBezTo>
                  <a:pt x="273846" y="21148"/>
                  <a:pt x="273846" y="21148"/>
                  <a:pt x="273846" y="21148"/>
                </a:cubicBezTo>
                <a:cubicBezTo>
                  <a:pt x="273846" y="22374"/>
                  <a:pt x="274460" y="23294"/>
                  <a:pt x="275074" y="23907"/>
                </a:cubicBezTo>
                <a:cubicBezTo>
                  <a:pt x="275688" y="24520"/>
                  <a:pt x="276609" y="25133"/>
                  <a:pt x="277837" y="25133"/>
                </a:cubicBezTo>
                <a:cubicBezTo>
                  <a:pt x="278144" y="25133"/>
                  <a:pt x="278144" y="25133"/>
                  <a:pt x="278144" y="25133"/>
                </a:cubicBezTo>
                <a:cubicBezTo>
                  <a:pt x="279372" y="25133"/>
                  <a:pt x="280293" y="24520"/>
                  <a:pt x="280907" y="23907"/>
                </a:cubicBezTo>
                <a:cubicBezTo>
                  <a:pt x="281827" y="23294"/>
                  <a:pt x="282134" y="22374"/>
                  <a:pt x="282134" y="21148"/>
                </a:cubicBezTo>
                <a:cubicBezTo>
                  <a:pt x="282134" y="14712"/>
                  <a:pt x="282134" y="14712"/>
                  <a:pt x="282134" y="14712"/>
                </a:cubicBezTo>
                <a:cubicBezTo>
                  <a:pt x="282134" y="14405"/>
                  <a:pt x="282134" y="14405"/>
                  <a:pt x="282134" y="14405"/>
                </a:cubicBezTo>
                <a:cubicBezTo>
                  <a:pt x="282134" y="13792"/>
                  <a:pt x="282134" y="13792"/>
                  <a:pt x="282134" y="13792"/>
                </a:cubicBezTo>
                <a:cubicBezTo>
                  <a:pt x="282134" y="7356"/>
                  <a:pt x="282134" y="7356"/>
                  <a:pt x="282134" y="7356"/>
                </a:cubicBezTo>
                <a:cubicBezTo>
                  <a:pt x="282134" y="6130"/>
                  <a:pt x="281827" y="5210"/>
                  <a:pt x="280907" y="4597"/>
                </a:cubicBezTo>
                <a:cubicBezTo>
                  <a:pt x="280293" y="3984"/>
                  <a:pt x="279372" y="3371"/>
                  <a:pt x="278144" y="3371"/>
                </a:cubicBezTo>
                <a:cubicBezTo>
                  <a:pt x="277837" y="3371"/>
                  <a:pt x="277837" y="3371"/>
                  <a:pt x="277837" y="3371"/>
                </a:cubicBezTo>
                <a:close/>
                <a:moveTo>
                  <a:pt x="264636" y="3371"/>
                </a:moveTo>
                <a:cubicBezTo>
                  <a:pt x="263408" y="3371"/>
                  <a:pt x="262487" y="3984"/>
                  <a:pt x="261566" y="4597"/>
                </a:cubicBezTo>
                <a:cubicBezTo>
                  <a:pt x="260952" y="5210"/>
                  <a:pt x="260645" y="6130"/>
                  <a:pt x="260645" y="7356"/>
                </a:cubicBezTo>
                <a:cubicBezTo>
                  <a:pt x="260645" y="13792"/>
                  <a:pt x="260645" y="13792"/>
                  <a:pt x="260645" y="13792"/>
                </a:cubicBezTo>
                <a:cubicBezTo>
                  <a:pt x="260645" y="14405"/>
                  <a:pt x="260645" y="14405"/>
                  <a:pt x="260645" y="14405"/>
                </a:cubicBezTo>
                <a:cubicBezTo>
                  <a:pt x="260645" y="14712"/>
                  <a:pt x="260645" y="14712"/>
                  <a:pt x="260645" y="14712"/>
                </a:cubicBezTo>
                <a:cubicBezTo>
                  <a:pt x="260645" y="21148"/>
                  <a:pt x="260645" y="21148"/>
                  <a:pt x="260645" y="21148"/>
                </a:cubicBezTo>
                <a:cubicBezTo>
                  <a:pt x="260645" y="22374"/>
                  <a:pt x="260952" y="23294"/>
                  <a:pt x="261566" y="23907"/>
                </a:cubicBezTo>
                <a:cubicBezTo>
                  <a:pt x="262487" y="24520"/>
                  <a:pt x="263408" y="25133"/>
                  <a:pt x="264636" y="25133"/>
                </a:cubicBezTo>
                <a:cubicBezTo>
                  <a:pt x="264943" y="25133"/>
                  <a:pt x="264943" y="25133"/>
                  <a:pt x="264943" y="25133"/>
                </a:cubicBezTo>
                <a:cubicBezTo>
                  <a:pt x="265864" y="25133"/>
                  <a:pt x="266785" y="24520"/>
                  <a:pt x="267706" y="23907"/>
                </a:cubicBezTo>
                <a:cubicBezTo>
                  <a:pt x="268320" y="23294"/>
                  <a:pt x="268934" y="22374"/>
                  <a:pt x="268934" y="21148"/>
                </a:cubicBezTo>
                <a:cubicBezTo>
                  <a:pt x="268934" y="14712"/>
                  <a:pt x="268934" y="14712"/>
                  <a:pt x="268934" y="14712"/>
                </a:cubicBezTo>
                <a:cubicBezTo>
                  <a:pt x="268934" y="14405"/>
                  <a:pt x="268934" y="14405"/>
                  <a:pt x="268934" y="14405"/>
                </a:cubicBezTo>
                <a:cubicBezTo>
                  <a:pt x="268934" y="13792"/>
                  <a:pt x="268934" y="13792"/>
                  <a:pt x="268934" y="13792"/>
                </a:cubicBezTo>
                <a:cubicBezTo>
                  <a:pt x="268934" y="7356"/>
                  <a:pt x="268934" y="7356"/>
                  <a:pt x="268934" y="7356"/>
                </a:cubicBezTo>
                <a:cubicBezTo>
                  <a:pt x="268934" y="6130"/>
                  <a:pt x="268320" y="5210"/>
                  <a:pt x="267706" y="4597"/>
                </a:cubicBezTo>
                <a:cubicBezTo>
                  <a:pt x="266785" y="3984"/>
                  <a:pt x="265864" y="3371"/>
                  <a:pt x="264943" y="3371"/>
                </a:cubicBezTo>
                <a:cubicBezTo>
                  <a:pt x="264636" y="3371"/>
                  <a:pt x="264636" y="3371"/>
                  <a:pt x="264636" y="3371"/>
                </a:cubicBezTo>
                <a:close/>
                <a:moveTo>
                  <a:pt x="251128" y="3371"/>
                </a:moveTo>
                <a:cubicBezTo>
                  <a:pt x="249900" y="3371"/>
                  <a:pt x="248979" y="3984"/>
                  <a:pt x="248365" y="4597"/>
                </a:cubicBezTo>
                <a:cubicBezTo>
                  <a:pt x="247751" y="5210"/>
                  <a:pt x="247137" y="6130"/>
                  <a:pt x="247137" y="7356"/>
                </a:cubicBezTo>
                <a:cubicBezTo>
                  <a:pt x="247137" y="13792"/>
                  <a:pt x="247137" y="13792"/>
                  <a:pt x="247137" y="13792"/>
                </a:cubicBezTo>
                <a:cubicBezTo>
                  <a:pt x="247137" y="14405"/>
                  <a:pt x="247137" y="14405"/>
                  <a:pt x="247137" y="14405"/>
                </a:cubicBezTo>
                <a:cubicBezTo>
                  <a:pt x="247137" y="14712"/>
                  <a:pt x="247137" y="14712"/>
                  <a:pt x="247137" y="14712"/>
                </a:cubicBezTo>
                <a:cubicBezTo>
                  <a:pt x="247137" y="21148"/>
                  <a:pt x="247137" y="21148"/>
                  <a:pt x="247137" y="21148"/>
                </a:cubicBezTo>
                <a:cubicBezTo>
                  <a:pt x="247137" y="22374"/>
                  <a:pt x="247751" y="23294"/>
                  <a:pt x="248365" y="23907"/>
                </a:cubicBezTo>
                <a:cubicBezTo>
                  <a:pt x="248979" y="24520"/>
                  <a:pt x="249900" y="25133"/>
                  <a:pt x="251128" y="25133"/>
                </a:cubicBezTo>
                <a:cubicBezTo>
                  <a:pt x="251435" y="25133"/>
                  <a:pt x="251435" y="25133"/>
                  <a:pt x="251435" y="25133"/>
                </a:cubicBezTo>
                <a:cubicBezTo>
                  <a:pt x="252663" y="25133"/>
                  <a:pt x="253584" y="24520"/>
                  <a:pt x="254198" y="23907"/>
                </a:cubicBezTo>
                <a:cubicBezTo>
                  <a:pt x="255119" y="23294"/>
                  <a:pt x="255426" y="22374"/>
                  <a:pt x="255426" y="21148"/>
                </a:cubicBezTo>
                <a:cubicBezTo>
                  <a:pt x="255426" y="14712"/>
                  <a:pt x="255426" y="14712"/>
                  <a:pt x="255426" y="14712"/>
                </a:cubicBezTo>
                <a:cubicBezTo>
                  <a:pt x="255426" y="14405"/>
                  <a:pt x="255426" y="14405"/>
                  <a:pt x="255426" y="14405"/>
                </a:cubicBezTo>
                <a:cubicBezTo>
                  <a:pt x="255426" y="13792"/>
                  <a:pt x="255426" y="13792"/>
                  <a:pt x="255426" y="13792"/>
                </a:cubicBezTo>
                <a:cubicBezTo>
                  <a:pt x="255426" y="7356"/>
                  <a:pt x="255426" y="7356"/>
                  <a:pt x="255426" y="7356"/>
                </a:cubicBezTo>
                <a:cubicBezTo>
                  <a:pt x="255426" y="6130"/>
                  <a:pt x="255119" y="5210"/>
                  <a:pt x="254198" y="4597"/>
                </a:cubicBezTo>
                <a:cubicBezTo>
                  <a:pt x="253584" y="3984"/>
                  <a:pt x="252663" y="3371"/>
                  <a:pt x="251435" y="3371"/>
                </a:cubicBezTo>
                <a:cubicBezTo>
                  <a:pt x="251128" y="3371"/>
                  <a:pt x="251128" y="3371"/>
                  <a:pt x="251128" y="3371"/>
                </a:cubicBezTo>
                <a:close/>
                <a:moveTo>
                  <a:pt x="237928" y="3371"/>
                </a:moveTo>
                <a:cubicBezTo>
                  <a:pt x="236700" y="3371"/>
                  <a:pt x="235779" y="3984"/>
                  <a:pt x="235165" y="4597"/>
                </a:cubicBezTo>
                <a:cubicBezTo>
                  <a:pt x="234244" y="5210"/>
                  <a:pt x="233937" y="6436"/>
                  <a:pt x="233937" y="7356"/>
                </a:cubicBezTo>
                <a:cubicBezTo>
                  <a:pt x="233937" y="13792"/>
                  <a:pt x="233937" y="13792"/>
                  <a:pt x="233937" y="13792"/>
                </a:cubicBezTo>
                <a:cubicBezTo>
                  <a:pt x="233937" y="14405"/>
                  <a:pt x="233937" y="14405"/>
                  <a:pt x="233937" y="14405"/>
                </a:cubicBezTo>
                <a:cubicBezTo>
                  <a:pt x="233937" y="14712"/>
                  <a:pt x="233937" y="14712"/>
                  <a:pt x="233937" y="14712"/>
                </a:cubicBezTo>
                <a:cubicBezTo>
                  <a:pt x="233937" y="21148"/>
                  <a:pt x="233937" y="21148"/>
                  <a:pt x="233937" y="21148"/>
                </a:cubicBezTo>
                <a:cubicBezTo>
                  <a:pt x="233937" y="22374"/>
                  <a:pt x="234244" y="23294"/>
                  <a:pt x="235165" y="23907"/>
                </a:cubicBezTo>
                <a:cubicBezTo>
                  <a:pt x="235779" y="24826"/>
                  <a:pt x="236700" y="25133"/>
                  <a:pt x="237928" y="25133"/>
                </a:cubicBezTo>
                <a:cubicBezTo>
                  <a:pt x="238235" y="25133"/>
                  <a:pt x="238235" y="25133"/>
                  <a:pt x="238235" y="25133"/>
                </a:cubicBezTo>
                <a:cubicBezTo>
                  <a:pt x="239156" y="25133"/>
                  <a:pt x="240384" y="24826"/>
                  <a:pt x="240998" y="23907"/>
                </a:cubicBezTo>
                <a:cubicBezTo>
                  <a:pt x="241611" y="23294"/>
                  <a:pt x="242225" y="22374"/>
                  <a:pt x="242225" y="21148"/>
                </a:cubicBezTo>
                <a:cubicBezTo>
                  <a:pt x="242225" y="14712"/>
                  <a:pt x="242225" y="14712"/>
                  <a:pt x="242225" y="14712"/>
                </a:cubicBezTo>
                <a:cubicBezTo>
                  <a:pt x="242225" y="14405"/>
                  <a:pt x="242225" y="14405"/>
                  <a:pt x="242225" y="14405"/>
                </a:cubicBezTo>
                <a:cubicBezTo>
                  <a:pt x="242225" y="13792"/>
                  <a:pt x="242225" y="13792"/>
                  <a:pt x="242225" y="13792"/>
                </a:cubicBezTo>
                <a:cubicBezTo>
                  <a:pt x="242225" y="7356"/>
                  <a:pt x="242225" y="7356"/>
                  <a:pt x="242225" y="7356"/>
                </a:cubicBezTo>
                <a:cubicBezTo>
                  <a:pt x="242225" y="6436"/>
                  <a:pt x="241611" y="5210"/>
                  <a:pt x="240998" y="4597"/>
                </a:cubicBezTo>
                <a:cubicBezTo>
                  <a:pt x="240384" y="3984"/>
                  <a:pt x="239156" y="3371"/>
                  <a:pt x="238235" y="3371"/>
                </a:cubicBezTo>
                <a:cubicBezTo>
                  <a:pt x="237928" y="3371"/>
                  <a:pt x="237928" y="3371"/>
                  <a:pt x="237928" y="3371"/>
                </a:cubicBezTo>
                <a:close/>
                <a:moveTo>
                  <a:pt x="224420" y="3371"/>
                </a:moveTo>
                <a:cubicBezTo>
                  <a:pt x="223499" y="3371"/>
                  <a:pt x="222578" y="3984"/>
                  <a:pt x="221657" y="4597"/>
                </a:cubicBezTo>
                <a:cubicBezTo>
                  <a:pt x="221043" y="5210"/>
                  <a:pt x="220736" y="6130"/>
                  <a:pt x="220736" y="7356"/>
                </a:cubicBezTo>
                <a:cubicBezTo>
                  <a:pt x="220736" y="13792"/>
                  <a:pt x="220736" y="13792"/>
                  <a:pt x="220736" y="13792"/>
                </a:cubicBezTo>
                <a:cubicBezTo>
                  <a:pt x="220736" y="14405"/>
                  <a:pt x="220736" y="14405"/>
                  <a:pt x="220736" y="14405"/>
                </a:cubicBezTo>
                <a:cubicBezTo>
                  <a:pt x="220736" y="14712"/>
                  <a:pt x="220736" y="14712"/>
                  <a:pt x="220736" y="14712"/>
                </a:cubicBezTo>
                <a:cubicBezTo>
                  <a:pt x="220736" y="21148"/>
                  <a:pt x="220736" y="21148"/>
                  <a:pt x="220736" y="21148"/>
                </a:cubicBezTo>
                <a:cubicBezTo>
                  <a:pt x="220736" y="22374"/>
                  <a:pt x="221043" y="23294"/>
                  <a:pt x="221657" y="23907"/>
                </a:cubicBezTo>
                <a:cubicBezTo>
                  <a:pt x="222578" y="24520"/>
                  <a:pt x="223499" y="25133"/>
                  <a:pt x="224420" y="25133"/>
                </a:cubicBezTo>
                <a:cubicBezTo>
                  <a:pt x="225034" y="25133"/>
                  <a:pt x="225034" y="25133"/>
                  <a:pt x="225034" y="25133"/>
                </a:cubicBezTo>
                <a:cubicBezTo>
                  <a:pt x="225955" y="25133"/>
                  <a:pt x="226876" y="24520"/>
                  <a:pt x="227797" y="23907"/>
                </a:cubicBezTo>
                <a:cubicBezTo>
                  <a:pt x="228411" y="23294"/>
                  <a:pt x="228718" y="22374"/>
                  <a:pt x="228718" y="21148"/>
                </a:cubicBezTo>
                <a:cubicBezTo>
                  <a:pt x="228718" y="14712"/>
                  <a:pt x="228718" y="14712"/>
                  <a:pt x="228718" y="14712"/>
                </a:cubicBezTo>
                <a:cubicBezTo>
                  <a:pt x="228718" y="14405"/>
                  <a:pt x="228718" y="14405"/>
                  <a:pt x="228718" y="14405"/>
                </a:cubicBezTo>
                <a:cubicBezTo>
                  <a:pt x="228718" y="13792"/>
                  <a:pt x="228718" y="13792"/>
                  <a:pt x="228718" y="13792"/>
                </a:cubicBezTo>
                <a:cubicBezTo>
                  <a:pt x="228718" y="7356"/>
                  <a:pt x="228718" y="7356"/>
                  <a:pt x="228718" y="7356"/>
                </a:cubicBezTo>
                <a:cubicBezTo>
                  <a:pt x="228718" y="6130"/>
                  <a:pt x="228411" y="5210"/>
                  <a:pt x="227797" y="4597"/>
                </a:cubicBezTo>
                <a:cubicBezTo>
                  <a:pt x="226876" y="3984"/>
                  <a:pt x="225955" y="3371"/>
                  <a:pt x="225034" y="3371"/>
                </a:cubicBezTo>
                <a:cubicBezTo>
                  <a:pt x="224420" y="3371"/>
                  <a:pt x="224420" y="3371"/>
                  <a:pt x="224420" y="3371"/>
                </a:cubicBezTo>
                <a:close/>
                <a:moveTo>
                  <a:pt x="294376" y="1624"/>
                </a:moveTo>
                <a:cubicBezTo>
                  <a:pt x="315815" y="1624"/>
                  <a:pt x="315815" y="1624"/>
                  <a:pt x="315815" y="1624"/>
                </a:cubicBezTo>
                <a:cubicBezTo>
                  <a:pt x="316734" y="1624"/>
                  <a:pt x="317346" y="2236"/>
                  <a:pt x="317346" y="3154"/>
                </a:cubicBezTo>
                <a:cubicBezTo>
                  <a:pt x="317346" y="4071"/>
                  <a:pt x="317346" y="4071"/>
                  <a:pt x="317346" y="4071"/>
                </a:cubicBezTo>
                <a:cubicBezTo>
                  <a:pt x="317346" y="4989"/>
                  <a:pt x="316734" y="5601"/>
                  <a:pt x="315815" y="5601"/>
                </a:cubicBezTo>
                <a:cubicBezTo>
                  <a:pt x="312446" y="5601"/>
                  <a:pt x="312446" y="5601"/>
                  <a:pt x="312446" y="5601"/>
                </a:cubicBezTo>
                <a:cubicBezTo>
                  <a:pt x="312446" y="18451"/>
                  <a:pt x="312446" y="18451"/>
                  <a:pt x="312446" y="18451"/>
                </a:cubicBezTo>
                <a:lnTo>
                  <a:pt x="310998" y="18451"/>
                </a:lnTo>
                <a:lnTo>
                  <a:pt x="310998" y="24925"/>
                </a:lnTo>
                <a:cubicBezTo>
                  <a:pt x="310998" y="26040"/>
                  <a:pt x="310998" y="26040"/>
                  <a:pt x="310998" y="26040"/>
                </a:cubicBezTo>
                <a:cubicBezTo>
                  <a:pt x="310998" y="26962"/>
                  <a:pt x="310384" y="27885"/>
                  <a:pt x="309770" y="28807"/>
                </a:cubicBezTo>
                <a:cubicBezTo>
                  <a:pt x="307005" y="31882"/>
                  <a:pt x="307005" y="31882"/>
                  <a:pt x="307005" y="31882"/>
                </a:cubicBezTo>
                <a:cubicBezTo>
                  <a:pt x="306391" y="32497"/>
                  <a:pt x="306084" y="32805"/>
                  <a:pt x="306084" y="33727"/>
                </a:cubicBezTo>
                <a:cubicBezTo>
                  <a:pt x="306084" y="34650"/>
                  <a:pt x="306391" y="34957"/>
                  <a:pt x="307005" y="35572"/>
                </a:cubicBezTo>
                <a:cubicBezTo>
                  <a:pt x="309770" y="38648"/>
                  <a:pt x="309770" y="38648"/>
                  <a:pt x="309770" y="38648"/>
                </a:cubicBezTo>
                <a:cubicBezTo>
                  <a:pt x="310384" y="39570"/>
                  <a:pt x="310998" y="40493"/>
                  <a:pt x="310998" y="41415"/>
                </a:cubicBezTo>
                <a:lnTo>
                  <a:pt x="310998" y="48709"/>
                </a:lnTo>
                <a:lnTo>
                  <a:pt x="312446" y="48709"/>
                </a:lnTo>
                <a:cubicBezTo>
                  <a:pt x="312446" y="61362"/>
                  <a:pt x="312446" y="61362"/>
                  <a:pt x="312446" y="61362"/>
                </a:cubicBezTo>
                <a:cubicBezTo>
                  <a:pt x="315815" y="61362"/>
                  <a:pt x="315815" y="61362"/>
                  <a:pt x="315815" y="61362"/>
                </a:cubicBezTo>
                <a:cubicBezTo>
                  <a:pt x="316734" y="61362"/>
                  <a:pt x="317346" y="61979"/>
                  <a:pt x="317346" y="62905"/>
                </a:cubicBezTo>
                <a:cubicBezTo>
                  <a:pt x="317346" y="63831"/>
                  <a:pt x="317346" y="63831"/>
                  <a:pt x="317346" y="63831"/>
                </a:cubicBezTo>
                <a:cubicBezTo>
                  <a:pt x="317346" y="64757"/>
                  <a:pt x="316734" y="65683"/>
                  <a:pt x="315815" y="65683"/>
                </a:cubicBezTo>
                <a:cubicBezTo>
                  <a:pt x="294376" y="65683"/>
                  <a:pt x="294376" y="65683"/>
                  <a:pt x="294376" y="65683"/>
                </a:cubicBezTo>
                <a:cubicBezTo>
                  <a:pt x="293457" y="65683"/>
                  <a:pt x="292844" y="64757"/>
                  <a:pt x="292844" y="63831"/>
                </a:cubicBezTo>
                <a:cubicBezTo>
                  <a:pt x="292844" y="62905"/>
                  <a:pt x="292844" y="62905"/>
                  <a:pt x="292844" y="62905"/>
                </a:cubicBezTo>
                <a:cubicBezTo>
                  <a:pt x="292844" y="61979"/>
                  <a:pt x="293457" y="61362"/>
                  <a:pt x="294376" y="61362"/>
                </a:cubicBezTo>
                <a:cubicBezTo>
                  <a:pt x="297745" y="61362"/>
                  <a:pt x="297745" y="61362"/>
                  <a:pt x="297745" y="61362"/>
                </a:cubicBezTo>
                <a:cubicBezTo>
                  <a:pt x="297745" y="48709"/>
                  <a:pt x="297745" y="48709"/>
                  <a:pt x="297745" y="48709"/>
                </a:cubicBezTo>
                <a:lnTo>
                  <a:pt x="299633" y="48709"/>
                </a:lnTo>
                <a:lnTo>
                  <a:pt x="299633" y="42530"/>
                </a:lnTo>
                <a:cubicBezTo>
                  <a:pt x="299633" y="41415"/>
                  <a:pt x="299633" y="41415"/>
                  <a:pt x="299633" y="41415"/>
                </a:cubicBezTo>
                <a:cubicBezTo>
                  <a:pt x="299633" y="40493"/>
                  <a:pt x="299940" y="39570"/>
                  <a:pt x="300555" y="38648"/>
                </a:cubicBezTo>
                <a:cubicBezTo>
                  <a:pt x="303319" y="35572"/>
                  <a:pt x="303319" y="35572"/>
                  <a:pt x="303319" y="35572"/>
                </a:cubicBezTo>
                <a:cubicBezTo>
                  <a:pt x="303934" y="34957"/>
                  <a:pt x="304241" y="34650"/>
                  <a:pt x="304241" y="33727"/>
                </a:cubicBezTo>
                <a:cubicBezTo>
                  <a:pt x="304241" y="32805"/>
                  <a:pt x="303934" y="32497"/>
                  <a:pt x="303319" y="31882"/>
                </a:cubicBezTo>
                <a:cubicBezTo>
                  <a:pt x="300555" y="28807"/>
                  <a:pt x="300555" y="28807"/>
                  <a:pt x="300555" y="28807"/>
                </a:cubicBezTo>
                <a:cubicBezTo>
                  <a:pt x="299940" y="27885"/>
                  <a:pt x="299633" y="26962"/>
                  <a:pt x="299633" y="26040"/>
                </a:cubicBezTo>
                <a:lnTo>
                  <a:pt x="299633" y="18451"/>
                </a:lnTo>
                <a:lnTo>
                  <a:pt x="299582" y="18451"/>
                </a:lnTo>
                <a:cubicBezTo>
                  <a:pt x="297745" y="18451"/>
                  <a:pt x="297745" y="18451"/>
                  <a:pt x="297745" y="18451"/>
                </a:cubicBezTo>
                <a:cubicBezTo>
                  <a:pt x="297745" y="5601"/>
                  <a:pt x="297745" y="5601"/>
                  <a:pt x="297745" y="5601"/>
                </a:cubicBezTo>
                <a:cubicBezTo>
                  <a:pt x="294376" y="5601"/>
                  <a:pt x="294376" y="5601"/>
                  <a:pt x="294376" y="5601"/>
                </a:cubicBezTo>
                <a:cubicBezTo>
                  <a:pt x="293457" y="5601"/>
                  <a:pt x="292844" y="4989"/>
                  <a:pt x="292844" y="4071"/>
                </a:cubicBezTo>
                <a:cubicBezTo>
                  <a:pt x="292844" y="3154"/>
                  <a:pt x="292844" y="3154"/>
                  <a:pt x="292844" y="3154"/>
                </a:cubicBezTo>
                <a:cubicBezTo>
                  <a:pt x="292844" y="2236"/>
                  <a:pt x="293457" y="1624"/>
                  <a:pt x="294376" y="1624"/>
                </a:cubicBezTo>
                <a:close/>
                <a:moveTo>
                  <a:pt x="159590" y="1624"/>
                </a:moveTo>
                <a:cubicBezTo>
                  <a:pt x="176774" y="1624"/>
                  <a:pt x="176774" y="1624"/>
                  <a:pt x="176774" y="1624"/>
                </a:cubicBezTo>
                <a:cubicBezTo>
                  <a:pt x="179536" y="1624"/>
                  <a:pt x="181684" y="2845"/>
                  <a:pt x="183525" y="4372"/>
                </a:cubicBezTo>
                <a:cubicBezTo>
                  <a:pt x="185060" y="6205"/>
                  <a:pt x="185980" y="8648"/>
                  <a:pt x="185980" y="11396"/>
                </a:cubicBezTo>
                <a:lnTo>
                  <a:pt x="185980" y="17565"/>
                </a:lnTo>
                <a:lnTo>
                  <a:pt x="190849" y="17565"/>
                </a:lnTo>
                <a:cubicBezTo>
                  <a:pt x="191568" y="17565"/>
                  <a:pt x="191568" y="17565"/>
                  <a:pt x="191568" y="17565"/>
                </a:cubicBezTo>
                <a:cubicBezTo>
                  <a:pt x="207825" y="36236"/>
                  <a:pt x="207825" y="36236"/>
                  <a:pt x="207825" y="36236"/>
                </a:cubicBezTo>
                <a:cubicBezTo>
                  <a:pt x="207825" y="65315"/>
                  <a:pt x="207825" y="65315"/>
                  <a:pt x="207825" y="65315"/>
                </a:cubicBezTo>
                <a:cubicBezTo>
                  <a:pt x="191568" y="83986"/>
                  <a:pt x="191568" y="83986"/>
                  <a:pt x="191568" y="83986"/>
                </a:cubicBezTo>
                <a:lnTo>
                  <a:pt x="188860" y="83986"/>
                </a:lnTo>
                <a:lnTo>
                  <a:pt x="189079" y="84318"/>
                </a:lnTo>
                <a:cubicBezTo>
                  <a:pt x="189079" y="86163"/>
                  <a:pt x="189079" y="86163"/>
                  <a:pt x="189079" y="86163"/>
                </a:cubicBezTo>
                <a:cubicBezTo>
                  <a:pt x="189079" y="86778"/>
                  <a:pt x="188775" y="87086"/>
                  <a:pt x="188470" y="87086"/>
                </a:cubicBezTo>
                <a:cubicBezTo>
                  <a:pt x="185122" y="87086"/>
                  <a:pt x="185122" y="87086"/>
                  <a:pt x="185122" y="87086"/>
                </a:cubicBezTo>
                <a:cubicBezTo>
                  <a:pt x="184513" y="87086"/>
                  <a:pt x="184208" y="86778"/>
                  <a:pt x="184208" y="86163"/>
                </a:cubicBezTo>
                <a:cubicBezTo>
                  <a:pt x="184208" y="84318"/>
                  <a:pt x="184208" y="84318"/>
                  <a:pt x="184208" y="84318"/>
                </a:cubicBezTo>
                <a:lnTo>
                  <a:pt x="184538" y="83986"/>
                </a:lnTo>
                <a:lnTo>
                  <a:pt x="164968" y="83986"/>
                </a:lnTo>
                <a:lnTo>
                  <a:pt x="152579" y="83986"/>
                </a:lnTo>
                <a:lnTo>
                  <a:pt x="152917" y="84318"/>
                </a:lnTo>
                <a:cubicBezTo>
                  <a:pt x="152917" y="86163"/>
                  <a:pt x="152917" y="86163"/>
                  <a:pt x="152917" y="86163"/>
                </a:cubicBezTo>
                <a:cubicBezTo>
                  <a:pt x="152917" y="86778"/>
                  <a:pt x="152604" y="87086"/>
                  <a:pt x="151979" y="87086"/>
                </a:cubicBezTo>
                <a:cubicBezTo>
                  <a:pt x="148541" y="87086"/>
                  <a:pt x="148541" y="87086"/>
                  <a:pt x="148541" y="87086"/>
                </a:cubicBezTo>
                <a:cubicBezTo>
                  <a:pt x="147915" y="87086"/>
                  <a:pt x="147603" y="86778"/>
                  <a:pt x="147603" y="86163"/>
                </a:cubicBezTo>
                <a:cubicBezTo>
                  <a:pt x="147603" y="84318"/>
                  <a:pt x="147603" y="84318"/>
                  <a:pt x="147603" y="84318"/>
                </a:cubicBezTo>
                <a:lnTo>
                  <a:pt x="147941" y="83986"/>
                </a:lnTo>
                <a:lnTo>
                  <a:pt x="146276" y="83986"/>
                </a:lnTo>
                <a:cubicBezTo>
                  <a:pt x="145557" y="83986"/>
                  <a:pt x="145557" y="83986"/>
                  <a:pt x="145557" y="83986"/>
                </a:cubicBezTo>
                <a:cubicBezTo>
                  <a:pt x="129300" y="65008"/>
                  <a:pt x="129300" y="65008"/>
                  <a:pt x="129300" y="65008"/>
                </a:cubicBezTo>
                <a:cubicBezTo>
                  <a:pt x="129300" y="35930"/>
                  <a:pt x="129300" y="35930"/>
                  <a:pt x="129300" y="35930"/>
                </a:cubicBezTo>
                <a:cubicBezTo>
                  <a:pt x="145557" y="17565"/>
                  <a:pt x="145557" y="17565"/>
                  <a:pt x="145557" y="17565"/>
                </a:cubicBezTo>
                <a:lnTo>
                  <a:pt x="150998" y="17565"/>
                </a:lnTo>
                <a:lnTo>
                  <a:pt x="150998" y="11854"/>
                </a:lnTo>
                <a:cubicBezTo>
                  <a:pt x="150998" y="10785"/>
                  <a:pt x="150998" y="10785"/>
                  <a:pt x="150998" y="10785"/>
                </a:cubicBezTo>
                <a:cubicBezTo>
                  <a:pt x="150998" y="8342"/>
                  <a:pt x="151918" y="6205"/>
                  <a:pt x="153453" y="4372"/>
                </a:cubicBezTo>
                <a:cubicBezTo>
                  <a:pt x="154987" y="2540"/>
                  <a:pt x="157135" y="1624"/>
                  <a:pt x="159590" y="1624"/>
                </a:cubicBezTo>
                <a:close/>
                <a:moveTo>
                  <a:pt x="216438" y="0"/>
                </a:moveTo>
                <a:cubicBezTo>
                  <a:pt x="286739" y="0"/>
                  <a:pt x="286739" y="0"/>
                  <a:pt x="286739" y="0"/>
                </a:cubicBezTo>
                <a:cubicBezTo>
                  <a:pt x="289502" y="0"/>
                  <a:pt x="291958" y="2145"/>
                  <a:pt x="291958" y="4904"/>
                </a:cubicBezTo>
                <a:cubicBezTo>
                  <a:pt x="291958" y="51185"/>
                  <a:pt x="291958" y="51185"/>
                  <a:pt x="291958" y="51185"/>
                </a:cubicBezTo>
                <a:cubicBezTo>
                  <a:pt x="291958" y="53943"/>
                  <a:pt x="289502" y="56089"/>
                  <a:pt x="286739" y="56089"/>
                </a:cubicBezTo>
                <a:cubicBezTo>
                  <a:pt x="216438" y="56089"/>
                  <a:pt x="216438" y="56089"/>
                  <a:pt x="216438" y="56089"/>
                </a:cubicBezTo>
                <a:cubicBezTo>
                  <a:pt x="213675" y="56089"/>
                  <a:pt x="211219" y="53943"/>
                  <a:pt x="211219" y="51185"/>
                </a:cubicBezTo>
                <a:cubicBezTo>
                  <a:pt x="211219" y="4904"/>
                  <a:pt x="211219" y="4904"/>
                  <a:pt x="211219" y="4904"/>
                </a:cubicBezTo>
                <a:cubicBezTo>
                  <a:pt x="211219" y="2145"/>
                  <a:pt x="213675" y="0"/>
                  <a:pt x="21643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/>
          <a:p>
            <a:pPr algn="ctr"/>
            <a:endParaRPr/>
          </a:p>
        </p:txBody>
      </p:sp>
      <p:sp>
        <p:nvSpPr>
          <p:cNvPr id="31" name="任意多边形 298">
            <a:extLst>
              <a:ext uri="{FF2B5EF4-FFF2-40B4-BE49-F238E27FC236}">
                <a16:creationId xmlns:a16="http://schemas.microsoft.com/office/drawing/2014/main" id="{178AD9DA-B5CC-4DCB-8E7B-73A1767CDBAD}"/>
              </a:ext>
            </a:extLst>
          </p:cNvPr>
          <p:cNvSpPr/>
          <p:nvPr/>
        </p:nvSpPr>
        <p:spPr bwMode="auto">
          <a:xfrm>
            <a:off x="6906173" y="2621192"/>
            <a:ext cx="447236" cy="448122"/>
          </a:xfrm>
          <a:custGeom>
            <a:avLst/>
            <a:gdLst>
              <a:gd name="connsiteX0" fmla="*/ 155052 w 447236"/>
              <a:gd name="connsiteY0" fmla="*/ 428506 h 448122"/>
              <a:gd name="connsiteX1" fmla="*/ 153825 w 447236"/>
              <a:gd name="connsiteY1" fmla="*/ 430038 h 448122"/>
              <a:gd name="connsiteX2" fmla="*/ 153825 w 447236"/>
              <a:gd name="connsiteY2" fmla="*/ 433716 h 448122"/>
              <a:gd name="connsiteX3" fmla="*/ 155052 w 447236"/>
              <a:gd name="connsiteY3" fmla="*/ 434942 h 448122"/>
              <a:gd name="connsiteX4" fmla="*/ 161189 w 447236"/>
              <a:gd name="connsiteY4" fmla="*/ 434942 h 448122"/>
              <a:gd name="connsiteX5" fmla="*/ 162417 w 447236"/>
              <a:gd name="connsiteY5" fmla="*/ 433716 h 448122"/>
              <a:gd name="connsiteX6" fmla="*/ 162417 w 447236"/>
              <a:gd name="connsiteY6" fmla="*/ 430038 h 448122"/>
              <a:gd name="connsiteX7" fmla="*/ 161189 w 447236"/>
              <a:gd name="connsiteY7" fmla="*/ 428506 h 448122"/>
              <a:gd name="connsiteX8" fmla="*/ 155052 w 447236"/>
              <a:gd name="connsiteY8" fmla="*/ 428506 h 448122"/>
              <a:gd name="connsiteX9" fmla="*/ 144312 w 447236"/>
              <a:gd name="connsiteY9" fmla="*/ 428506 h 448122"/>
              <a:gd name="connsiteX10" fmla="*/ 143085 w 447236"/>
              <a:gd name="connsiteY10" fmla="*/ 430038 h 448122"/>
              <a:gd name="connsiteX11" fmla="*/ 143085 w 447236"/>
              <a:gd name="connsiteY11" fmla="*/ 433716 h 448122"/>
              <a:gd name="connsiteX12" fmla="*/ 144312 w 447236"/>
              <a:gd name="connsiteY12" fmla="*/ 434942 h 448122"/>
              <a:gd name="connsiteX13" fmla="*/ 150449 w 447236"/>
              <a:gd name="connsiteY13" fmla="*/ 434942 h 448122"/>
              <a:gd name="connsiteX14" fmla="*/ 151677 w 447236"/>
              <a:gd name="connsiteY14" fmla="*/ 433716 h 448122"/>
              <a:gd name="connsiteX15" fmla="*/ 151677 w 447236"/>
              <a:gd name="connsiteY15" fmla="*/ 430038 h 448122"/>
              <a:gd name="connsiteX16" fmla="*/ 150449 w 447236"/>
              <a:gd name="connsiteY16" fmla="*/ 428506 h 448122"/>
              <a:gd name="connsiteX17" fmla="*/ 144312 w 447236"/>
              <a:gd name="connsiteY17" fmla="*/ 428506 h 448122"/>
              <a:gd name="connsiteX18" fmla="*/ 133572 w 447236"/>
              <a:gd name="connsiteY18" fmla="*/ 428506 h 448122"/>
              <a:gd name="connsiteX19" fmla="*/ 132345 w 447236"/>
              <a:gd name="connsiteY19" fmla="*/ 430038 h 448122"/>
              <a:gd name="connsiteX20" fmla="*/ 132345 w 447236"/>
              <a:gd name="connsiteY20" fmla="*/ 433716 h 448122"/>
              <a:gd name="connsiteX21" fmla="*/ 133572 w 447236"/>
              <a:gd name="connsiteY21" fmla="*/ 434942 h 448122"/>
              <a:gd name="connsiteX22" fmla="*/ 139709 w 447236"/>
              <a:gd name="connsiteY22" fmla="*/ 434942 h 448122"/>
              <a:gd name="connsiteX23" fmla="*/ 140937 w 447236"/>
              <a:gd name="connsiteY23" fmla="*/ 433716 h 448122"/>
              <a:gd name="connsiteX24" fmla="*/ 140937 w 447236"/>
              <a:gd name="connsiteY24" fmla="*/ 430038 h 448122"/>
              <a:gd name="connsiteX25" fmla="*/ 139709 w 447236"/>
              <a:gd name="connsiteY25" fmla="*/ 428506 h 448122"/>
              <a:gd name="connsiteX26" fmla="*/ 133572 w 447236"/>
              <a:gd name="connsiteY26" fmla="*/ 428506 h 448122"/>
              <a:gd name="connsiteX27" fmla="*/ 213492 w 447236"/>
              <a:gd name="connsiteY27" fmla="*/ 421388 h 448122"/>
              <a:gd name="connsiteX28" fmla="*/ 213946 w 447236"/>
              <a:gd name="connsiteY28" fmla="*/ 422000 h 448122"/>
              <a:gd name="connsiteX29" fmla="*/ 214253 w 447236"/>
              <a:gd name="connsiteY29" fmla="*/ 422307 h 448122"/>
              <a:gd name="connsiteX30" fmla="*/ 213024 w 447236"/>
              <a:gd name="connsiteY30" fmla="*/ 423838 h 448122"/>
              <a:gd name="connsiteX31" fmla="*/ 212533 w 447236"/>
              <a:gd name="connsiteY31" fmla="*/ 423674 h 448122"/>
              <a:gd name="connsiteX32" fmla="*/ 234451 w 447236"/>
              <a:gd name="connsiteY32" fmla="*/ 420576 h 448122"/>
              <a:gd name="connsiteX33" fmla="*/ 234389 w 447236"/>
              <a:gd name="connsiteY33" fmla="*/ 425298 h 448122"/>
              <a:gd name="connsiteX34" fmla="*/ 234499 w 447236"/>
              <a:gd name="connsiteY34" fmla="*/ 425160 h 448122"/>
              <a:gd name="connsiteX35" fmla="*/ 235113 w 447236"/>
              <a:gd name="connsiteY35" fmla="*/ 421484 h 448122"/>
              <a:gd name="connsiteX36" fmla="*/ 234806 w 447236"/>
              <a:gd name="connsiteY36" fmla="*/ 420871 h 448122"/>
              <a:gd name="connsiteX37" fmla="*/ 232056 w 447236"/>
              <a:gd name="connsiteY37" fmla="*/ 420445 h 448122"/>
              <a:gd name="connsiteX38" fmla="*/ 231459 w 447236"/>
              <a:gd name="connsiteY38" fmla="*/ 420871 h 448122"/>
              <a:gd name="connsiteX39" fmla="*/ 231152 w 447236"/>
              <a:gd name="connsiteY39" fmla="*/ 421484 h 448122"/>
              <a:gd name="connsiteX40" fmla="*/ 232073 w 447236"/>
              <a:gd name="connsiteY40" fmla="*/ 425160 h 448122"/>
              <a:gd name="connsiteX41" fmla="*/ 232141 w 447236"/>
              <a:gd name="connsiteY41" fmla="*/ 425248 h 448122"/>
              <a:gd name="connsiteX42" fmla="*/ 170985 w 447236"/>
              <a:gd name="connsiteY42" fmla="*/ 417599 h 448122"/>
              <a:gd name="connsiteX43" fmla="*/ 171995 w 447236"/>
              <a:gd name="connsiteY43" fmla="*/ 420044 h 448122"/>
              <a:gd name="connsiteX44" fmla="*/ 171262 w 447236"/>
              <a:gd name="connsiteY44" fmla="*/ 420775 h 448122"/>
              <a:gd name="connsiteX45" fmla="*/ 170954 w 447236"/>
              <a:gd name="connsiteY45" fmla="*/ 421082 h 448122"/>
              <a:gd name="connsiteX46" fmla="*/ 169726 w 447236"/>
              <a:gd name="connsiteY46" fmla="*/ 418938 h 448122"/>
              <a:gd name="connsiteX47" fmla="*/ 155052 w 447236"/>
              <a:gd name="connsiteY47" fmla="*/ 416859 h 448122"/>
              <a:gd name="connsiteX48" fmla="*/ 153825 w 447236"/>
              <a:gd name="connsiteY48" fmla="*/ 418085 h 448122"/>
              <a:gd name="connsiteX49" fmla="*/ 153825 w 447236"/>
              <a:gd name="connsiteY49" fmla="*/ 422069 h 448122"/>
              <a:gd name="connsiteX50" fmla="*/ 155052 w 447236"/>
              <a:gd name="connsiteY50" fmla="*/ 423295 h 448122"/>
              <a:gd name="connsiteX51" fmla="*/ 161189 w 447236"/>
              <a:gd name="connsiteY51" fmla="*/ 423295 h 448122"/>
              <a:gd name="connsiteX52" fmla="*/ 162417 w 447236"/>
              <a:gd name="connsiteY52" fmla="*/ 422069 h 448122"/>
              <a:gd name="connsiteX53" fmla="*/ 162417 w 447236"/>
              <a:gd name="connsiteY53" fmla="*/ 418085 h 448122"/>
              <a:gd name="connsiteX54" fmla="*/ 161189 w 447236"/>
              <a:gd name="connsiteY54" fmla="*/ 416859 h 448122"/>
              <a:gd name="connsiteX55" fmla="*/ 155052 w 447236"/>
              <a:gd name="connsiteY55" fmla="*/ 416859 h 448122"/>
              <a:gd name="connsiteX56" fmla="*/ 144312 w 447236"/>
              <a:gd name="connsiteY56" fmla="*/ 416859 h 448122"/>
              <a:gd name="connsiteX57" fmla="*/ 143085 w 447236"/>
              <a:gd name="connsiteY57" fmla="*/ 418085 h 448122"/>
              <a:gd name="connsiteX58" fmla="*/ 143085 w 447236"/>
              <a:gd name="connsiteY58" fmla="*/ 422069 h 448122"/>
              <a:gd name="connsiteX59" fmla="*/ 144312 w 447236"/>
              <a:gd name="connsiteY59" fmla="*/ 423295 h 448122"/>
              <a:gd name="connsiteX60" fmla="*/ 150449 w 447236"/>
              <a:gd name="connsiteY60" fmla="*/ 423295 h 448122"/>
              <a:gd name="connsiteX61" fmla="*/ 151677 w 447236"/>
              <a:gd name="connsiteY61" fmla="*/ 422069 h 448122"/>
              <a:gd name="connsiteX62" fmla="*/ 151677 w 447236"/>
              <a:gd name="connsiteY62" fmla="*/ 418085 h 448122"/>
              <a:gd name="connsiteX63" fmla="*/ 150449 w 447236"/>
              <a:gd name="connsiteY63" fmla="*/ 416859 h 448122"/>
              <a:gd name="connsiteX64" fmla="*/ 144312 w 447236"/>
              <a:gd name="connsiteY64" fmla="*/ 416859 h 448122"/>
              <a:gd name="connsiteX65" fmla="*/ 133572 w 447236"/>
              <a:gd name="connsiteY65" fmla="*/ 416859 h 448122"/>
              <a:gd name="connsiteX66" fmla="*/ 132345 w 447236"/>
              <a:gd name="connsiteY66" fmla="*/ 418085 h 448122"/>
              <a:gd name="connsiteX67" fmla="*/ 132345 w 447236"/>
              <a:gd name="connsiteY67" fmla="*/ 422069 h 448122"/>
              <a:gd name="connsiteX68" fmla="*/ 133572 w 447236"/>
              <a:gd name="connsiteY68" fmla="*/ 423295 h 448122"/>
              <a:gd name="connsiteX69" fmla="*/ 139709 w 447236"/>
              <a:gd name="connsiteY69" fmla="*/ 423295 h 448122"/>
              <a:gd name="connsiteX70" fmla="*/ 140937 w 447236"/>
              <a:gd name="connsiteY70" fmla="*/ 422069 h 448122"/>
              <a:gd name="connsiteX71" fmla="*/ 140937 w 447236"/>
              <a:gd name="connsiteY71" fmla="*/ 418085 h 448122"/>
              <a:gd name="connsiteX72" fmla="*/ 139709 w 447236"/>
              <a:gd name="connsiteY72" fmla="*/ 416859 h 448122"/>
              <a:gd name="connsiteX73" fmla="*/ 133572 w 447236"/>
              <a:gd name="connsiteY73" fmla="*/ 416859 h 448122"/>
              <a:gd name="connsiteX74" fmla="*/ 287340 w 447236"/>
              <a:gd name="connsiteY74" fmla="*/ 416486 h 448122"/>
              <a:gd name="connsiteX75" fmla="*/ 283658 w 447236"/>
              <a:gd name="connsiteY75" fmla="*/ 420164 h 448122"/>
              <a:gd name="connsiteX76" fmla="*/ 287340 w 447236"/>
              <a:gd name="connsiteY76" fmla="*/ 423842 h 448122"/>
              <a:gd name="connsiteX77" fmla="*/ 291023 w 447236"/>
              <a:gd name="connsiteY77" fmla="*/ 420164 h 448122"/>
              <a:gd name="connsiteX78" fmla="*/ 287340 w 447236"/>
              <a:gd name="connsiteY78" fmla="*/ 416486 h 448122"/>
              <a:gd name="connsiteX79" fmla="*/ 231869 w 447236"/>
              <a:gd name="connsiteY79" fmla="*/ 409869 h 448122"/>
              <a:gd name="connsiteX80" fmla="*/ 229587 w 447236"/>
              <a:gd name="connsiteY80" fmla="*/ 411067 h 448122"/>
              <a:gd name="connsiteX81" fmla="*/ 229587 w 447236"/>
              <a:gd name="connsiteY81" fmla="*/ 413212 h 448122"/>
              <a:gd name="connsiteX82" fmla="*/ 231962 w 447236"/>
              <a:gd name="connsiteY82" fmla="*/ 415108 h 448122"/>
              <a:gd name="connsiteX83" fmla="*/ 234594 w 447236"/>
              <a:gd name="connsiteY83" fmla="*/ 409812 h 448122"/>
              <a:gd name="connsiteX84" fmla="*/ 234524 w 447236"/>
              <a:gd name="connsiteY84" fmla="*/ 415123 h 448122"/>
              <a:gd name="connsiteX85" fmla="*/ 236678 w 447236"/>
              <a:gd name="connsiteY85" fmla="*/ 413212 h 448122"/>
              <a:gd name="connsiteX86" fmla="*/ 236985 w 447236"/>
              <a:gd name="connsiteY86" fmla="*/ 411067 h 448122"/>
              <a:gd name="connsiteX87" fmla="*/ 155052 w 447236"/>
              <a:gd name="connsiteY87" fmla="*/ 405211 h 448122"/>
              <a:gd name="connsiteX88" fmla="*/ 153825 w 447236"/>
              <a:gd name="connsiteY88" fmla="*/ 406437 h 448122"/>
              <a:gd name="connsiteX89" fmla="*/ 153825 w 447236"/>
              <a:gd name="connsiteY89" fmla="*/ 410116 h 448122"/>
              <a:gd name="connsiteX90" fmla="*/ 155052 w 447236"/>
              <a:gd name="connsiteY90" fmla="*/ 411648 h 448122"/>
              <a:gd name="connsiteX91" fmla="*/ 161189 w 447236"/>
              <a:gd name="connsiteY91" fmla="*/ 411648 h 448122"/>
              <a:gd name="connsiteX92" fmla="*/ 162417 w 447236"/>
              <a:gd name="connsiteY92" fmla="*/ 410116 h 448122"/>
              <a:gd name="connsiteX93" fmla="*/ 162417 w 447236"/>
              <a:gd name="connsiteY93" fmla="*/ 406437 h 448122"/>
              <a:gd name="connsiteX94" fmla="*/ 161189 w 447236"/>
              <a:gd name="connsiteY94" fmla="*/ 405211 h 448122"/>
              <a:gd name="connsiteX95" fmla="*/ 155052 w 447236"/>
              <a:gd name="connsiteY95" fmla="*/ 405211 h 448122"/>
              <a:gd name="connsiteX96" fmla="*/ 144312 w 447236"/>
              <a:gd name="connsiteY96" fmla="*/ 405211 h 448122"/>
              <a:gd name="connsiteX97" fmla="*/ 143085 w 447236"/>
              <a:gd name="connsiteY97" fmla="*/ 406437 h 448122"/>
              <a:gd name="connsiteX98" fmla="*/ 143085 w 447236"/>
              <a:gd name="connsiteY98" fmla="*/ 410116 h 448122"/>
              <a:gd name="connsiteX99" fmla="*/ 144312 w 447236"/>
              <a:gd name="connsiteY99" fmla="*/ 411648 h 448122"/>
              <a:gd name="connsiteX100" fmla="*/ 150449 w 447236"/>
              <a:gd name="connsiteY100" fmla="*/ 411648 h 448122"/>
              <a:gd name="connsiteX101" fmla="*/ 151677 w 447236"/>
              <a:gd name="connsiteY101" fmla="*/ 410116 h 448122"/>
              <a:gd name="connsiteX102" fmla="*/ 151677 w 447236"/>
              <a:gd name="connsiteY102" fmla="*/ 406437 h 448122"/>
              <a:gd name="connsiteX103" fmla="*/ 150449 w 447236"/>
              <a:gd name="connsiteY103" fmla="*/ 405211 h 448122"/>
              <a:gd name="connsiteX104" fmla="*/ 144312 w 447236"/>
              <a:gd name="connsiteY104" fmla="*/ 405211 h 448122"/>
              <a:gd name="connsiteX105" fmla="*/ 133572 w 447236"/>
              <a:gd name="connsiteY105" fmla="*/ 405211 h 448122"/>
              <a:gd name="connsiteX106" fmla="*/ 132345 w 447236"/>
              <a:gd name="connsiteY106" fmla="*/ 406437 h 448122"/>
              <a:gd name="connsiteX107" fmla="*/ 132345 w 447236"/>
              <a:gd name="connsiteY107" fmla="*/ 410116 h 448122"/>
              <a:gd name="connsiteX108" fmla="*/ 133572 w 447236"/>
              <a:gd name="connsiteY108" fmla="*/ 411648 h 448122"/>
              <a:gd name="connsiteX109" fmla="*/ 139709 w 447236"/>
              <a:gd name="connsiteY109" fmla="*/ 411648 h 448122"/>
              <a:gd name="connsiteX110" fmla="*/ 140937 w 447236"/>
              <a:gd name="connsiteY110" fmla="*/ 410116 h 448122"/>
              <a:gd name="connsiteX111" fmla="*/ 140937 w 447236"/>
              <a:gd name="connsiteY111" fmla="*/ 406437 h 448122"/>
              <a:gd name="connsiteX112" fmla="*/ 139709 w 447236"/>
              <a:gd name="connsiteY112" fmla="*/ 405211 h 448122"/>
              <a:gd name="connsiteX113" fmla="*/ 133572 w 447236"/>
              <a:gd name="connsiteY113" fmla="*/ 405211 h 448122"/>
              <a:gd name="connsiteX114" fmla="*/ 186886 w 447236"/>
              <a:gd name="connsiteY114" fmla="*/ 398533 h 448122"/>
              <a:gd name="connsiteX115" fmla="*/ 186935 w 447236"/>
              <a:gd name="connsiteY115" fmla="*/ 398568 h 448122"/>
              <a:gd name="connsiteX116" fmla="*/ 189341 w 447236"/>
              <a:gd name="connsiteY116" fmla="*/ 428431 h 448122"/>
              <a:gd name="connsiteX117" fmla="*/ 189686 w 447236"/>
              <a:gd name="connsiteY117" fmla="*/ 432719 h 448122"/>
              <a:gd name="connsiteX118" fmla="*/ 191222 w 447236"/>
              <a:gd name="connsiteY118" fmla="*/ 433943 h 448122"/>
              <a:gd name="connsiteX119" fmla="*/ 192143 w 447236"/>
              <a:gd name="connsiteY119" fmla="*/ 433025 h 448122"/>
              <a:gd name="connsiteX120" fmla="*/ 197670 w 447236"/>
              <a:gd name="connsiteY120" fmla="*/ 418019 h 448122"/>
              <a:gd name="connsiteX121" fmla="*/ 200741 w 447236"/>
              <a:gd name="connsiteY121" fmla="*/ 425981 h 448122"/>
              <a:gd name="connsiteX122" fmla="*/ 202584 w 447236"/>
              <a:gd name="connsiteY122" fmla="*/ 426900 h 448122"/>
              <a:gd name="connsiteX123" fmla="*/ 203198 w 447236"/>
              <a:gd name="connsiteY123" fmla="*/ 426288 h 448122"/>
              <a:gd name="connsiteX124" fmla="*/ 208111 w 447236"/>
              <a:gd name="connsiteY124" fmla="*/ 418019 h 448122"/>
              <a:gd name="connsiteX125" fmla="*/ 212103 w 447236"/>
              <a:gd name="connsiteY125" fmla="*/ 423531 h 448122"/>
              <a:gd name="connsiteX126" fmla="*/ 212533 w 447236"/>
              <a:gd name="connsiteY126" fmla="*/ 423674 h 448122"/>
              <a:gd name="connsiteX127" fmla="*/ 211374 w 447236"/>
              <a:gd name="connsiteY127" fmla="*/ 426441 h 448122"/>
              <a:gd name="connsiteX128" fmla="*/ 193064 w 447236"/>
              <a:gd name="connsiteY128" fmla="*/ 446499 h 448122"/>
              <a:gd name="connsiteX129" fmla="*/ 174639 w 447236"/>
              <a:gd name="connsiteY129" fmla="*/ 426441 h 448122"/>
              <a:gd name="connsiteX130" fmla="*/ 171995 w 447236"/>
              <a:gd name="connsiteY130" fmla="*/ 420044 h 448122"/>
              <a:gd name="connsiteX131" fmla="*/ 174639 w 447236"/>
              <a:gd name="connsiteY131" fmla="*/ 417407 h 448122"/>
              <a:gd name="connsiteX132" fmla="*/ 176482 w 447236"/>
              <a:gd name="connsiteY132" fmla="*/ 423225 h 448122"/>
              <a:gd name="connsiteX133" fmla="*/ 178017 w 447236"/>
              <a:gd name="connsiteY133" fmla="*/ 423838 h 448122"/>
              <a:gd name="connsiteX134" fmla="*/ 178939 w 447236"/>
              <a:gd name="connsiteY134" fmla="*/ 423225 h 448122"/>
              <a:gd name="connsiteX135" fmla="*/ 185925 w 447236"/>
              <a:gd name="connsiteY135" fmla="*/ 401521 h 448122"/>
              <a:gd name="connsiteX136" fmla="*/ 231662 w 447236"/>
              <a:gd name="connsiteY136" fmla="*/ 398173 h 448122"/>
              <a:gd name="connsiteX137" fmla="*/ 231459 w 447236"/>
              <a:gd name="connsiteY137" fmla="*/ 398200 h 448122"/>
              <a:gd name="connsiteX138" fmla="*/ 228273 w 447236"/>
              <a:gd name="connsiteY138" fmla="*/ 400881 h 448122"/>
              <a:gd name="connsiteX139" fmla="*/ 231766 w 447236"/>
              <a:gd name="connsiteY139" fmla="*/ 404021 h 448122"/>
              <a:gd name="connsiteX140" fmla="*/ 234748 w 447236"/>
              <a:gd name="connsiteY140" fmla="*/ 398152 h 448122"/>
              <a:gd name="connsiteX141" fmla="*/ 234670 w 447236"/>
              <a:gd name="connsiteY141" fmla="*/ 404089 h 448122"/>
              <a:gd name="connsiteX142" fmla="*/ 234806 w 447236"/>
              <a:gd name="connsiteY142" fmla="*/ 404021 h 448122"/>
              <a:gd name="connsiteX143" fmla="*/ 235113 w 447236"/>
              <a:gd name="connsiteY143" fmla="*/ 398200 h 448122"/>
              <a:gd name="connsiteX144" fmla="*/ 185694 w 447236"/>
              <a:gd name="connsiteY144" fmla="*/ 394439 h 448122"/>
              <a:gd name="connsiteX145" fmla="*/ 189379 w 447236"/>
              <a:gd name="connsiteY145" fmla="*/ 397195 h 448122"/>
              <a:gd name="connsiteX146" fmla="*/ 189659 w 447236"/>
              <a:gd name="connsiteY146" fmla="*/ 400544 h 448122"/>
              <a:gd name="connsiteX147" fmla="*/ 186935 w 447236"/>
              <a:gd name="connsiteY147" fmla="*/ 398568 h 448122"/>
              <a:gd name="connsiteX148" fmla="*/ 186923 w 447236"/>
              <a:gd name="connsiteY148" fmla="*/ 398420 h 448122"/>
              <a:gd name="connsiteX149" fmla="*/ 186886 w 447236"/>
              <a:gd name="connsiteY149" fmla="*/ 398533 h 448122"/>
              <a:gd name="connsiteX150" fmla="*/ 184834 w 447236"/>
              <a:gd name="connsiteY150" fmla="*/ 397045 h 448122"/>
              <a:gd name="connsiteX151" fmla="*/ 155052 w 447236"/>
              <a:gd name="connsiteY151" fmla="*/ 393564 h 448122"/>
              <a:gd name="connsiteX152" fmla="*/ 153825 w 447236"/>
              <a:gd name="connsiteY152" fmla="*/ 394790 h 448122"/>
              <a:gd name="connsiteX153" fmla="*/ 153825 w 447236"/>
              <a:gd name="connsiteY153" fmla="*/ 398468 h 448122"/>
              <a:gd name="connsiteX154" fmla="*/ 155052 w 447236"/>
              <a:gd name="connsiteY154" fmla="*/ 399694 h 448122"/>
              <a:gd name="connsiteX155" fmla="*/ 161189 w 447236"/>
              <a:gd name="connsiteY155" fmla="*/ 399694 h 448122"/>
              <a:gd name="connsiteX156" fmla="*/ 162417 w 447236"/>
              <a:gd name="connsiteY156" fmla="*/ 398468 h 448122"/>
              <a:gd name="connsiteX157" fmla="*/ 162417 w 447236"/>
              <a:gd name="connsiteY157" fmla="*/ 394790 h 448122"/>
              <a:gd name="connsiteX158" fmla="*/ 161189 w 447236"/>
              <a:gd name="connsiteY158" fmla="*/ 393564 h 448122"/>
              <a:gd name="connsiteX159" fmla="*/ 155052 w 447236"/>
              <a:gd name="connsiteY159" fmla="*/ 393564 h 448122"/>
              <a:gd name="connsiteX160" fmla="*/ 144312 w 447236"/>
              <a:gd name="connsiteY160" fmla="*/ 393564 h 448122"/>
              <a:gd name="connsiteX161" fmla="*/ 143085 w 447236"/>
              <a:gd name="connsiteY161" fmla="*/ 394790 h 448122"/>
              <a:gd name="connsiteX162" fmla="*/ 143085 w 447236"/>
              <a:gd name="connsiteY162" fmla="*/ 398468 h 448122"/>
              <a:gd name="connsiteX163" fmla="*/ 144312 w 447236"/>
              <a:gd name="connsiteY163" fmla="*/ 399694 h 448122"/>
              <a:gd name="connsiteX164" fmla="*/ 150449 w 447236"/>
              <a:gd name="connsiteY164" fmla="*/ 399694 h 448122"/>
              <a:gd name="connsiteX165" fmla="*/ 151677 w 447236"/>
              <a:gd name="connsiteY165" fmla="*/ 398468 h 448122"/>
              <a:gd name="connsiteX166" fmla="*/ 151677 w 447236"/>
              <a:gd name="connsiteY166" fmla="*/ 394790 h 448122"/>
              <a:gd name="connsiteX167" fmla="*/ 150449 w 447236"/>
              <a:gd name="connsiteY167" fmla="*/ 393564 h 448122"/>
              <a:gd name="connsiteX168" fmla="*/ 144312 w 447236"/>
              <a:gd name="connsiteY168" fmla="*/ 393564 h 448122"/>
              <a:gd name="connsiteX169" fmla="*/ 133572 w 447236"/>
              <a:gd name="connsiteY169" fmla="*/ 393564 h 448122"/>
              <a:gd name="connsiteX170" fmla="*/ 132345 w 447236"/>
              <a:gd name="connsiteY170" fmla="*/ 394790 h 448122"/>
              <a:gd name="connsiteX171" fmla="*/ 132345 w 447236"/>
              <a:gd name="connsiteY171" fmla="*/ 398468 h 448122"/>
              <a:gd name="connsiteX172" fmla="*/ 133572 w 447236"/>
              <a:gd name="connsiteY172" fmla="*/ 399694 h 448122"/>
              <a:gd name="connsiteX173" fmla="*/ 139709 w 447236"/>
              <a:gd name="connsiteY173" fmla="*/ 399694 h 448122"/>
              <a:gd name="connsiteX174" fmla="*/ 140937 w 447236"/>
              <a:gd name="connsiteY174" fmla="*/ 398468 h 448122"/>
              <a:gd name="connsiteX175" fmla="*/ 140937 w 447236"/>
              <a:gd name="connsiteY175" fmla="*/ 394790 h 448122"/>
              <a:gd name="connsiteX176" fmla="*/ 139709 w 447236"/>
              <a:gd name="connsiteY176" fmla="*/ 393564 h 448122"/>
              <a:gd name="connsiteX177" fmla="*/ 206269 w 447236"/>
              <a:gd name="connsiteY177" fmla="*/ 393214 h 448122"/>
              <a:gd name="connsiteX178" fmla="*/ 219780 w 447236"/>
              <a:gd name="connsiteY178" fmla="*/ 406382 h 448122"/>
              <a:gd name="connsiteX179" fmla="*/ 213492 w 447236"/>
              <a:gd name="connsiteY179" fmla="*/ 421388 h 448122"/>
              <a:gd name="connsiteX180" fmla="*/ 209378 w 447236"/>
              <a:gd name="connsiteY180" fmla="*/ 415837 h 448122"/>
              <a:gd name="connsiteX181" fmla="*/ 208725 w 447236"/>
              <a:gd name="connsiteY181" fmla="*/ 414957 h 448122"/>
              <a:gd name="connsiteX182" fmla="*/ 208418 w 447236"/>
              <a:gd name="connsiteY182" fmla="*/ 414651 h 448122"/>
              <a:gd name="connsiteX183" fmla="*/ 206883 w 447236"/>
              <a:gd name="connsiteY183" fmla="*/ 415263 h 448122"/>
              <a:gd name="connsiteX184" fmla="*/ 202277 w 447236"/>
              <a:gd name="connsiteY184" fmla="*/ 422919 h 448122"/>
              <a:gd name="connsiteX185" fmla="*/ 198592 w 447236"/>
              <a:gd name="connsiteY185" fmla="*/ 413732 h 448122"/>
              <a:gd name="connsiteX186" fmla="*/ 197978 w 447236"/>
              <a:gd name="connsiteY186" fmla="*/ 413119 h 448122"/>
              <a:gd name="connsiteX187" fmla="*/ 196442 w 447236"/>
              <a:gd name="connsiteY187" fmla="*/ 414038 h 448122"/>
              <a:gd name="connsiteX188" fmla="*/ 191836 w 447236"/>
              <a:gd name="connsiteY188" fmla="*/ 426594 h 448122"/>
              <a:gd name="connsiteX189" fmla="*/ 189686 w 447236"/>
              <a:gd name="connsiteY189" fmla="*/ 400870 h 448122"/>
              <a:gd name="connsiteX190" fmla="*/ 189659 w 447236"/>
              <a:gd name="connsiteY190" fmla="*/ 400544 h 448122"/>
              <a:gd name="connsiteX191" fmla="*/ 193064 w 447236"/>
              <a:gd name="connsiteY191" fmla="*/ 403014 h 448122"/>
              <a:gd name="connsiteX192" fmla="*/ 206269 w 447236"/>
              <a:gd name="connsiteY192" fmla="*/ 393214 h 448122"/>
              <a:gd name="connsiteX193" fmla="*/ 179553 w 447236"/>
              <a:gd name="connsiteY193" fmla="*/ 393214 h 448122"/>
              <a:gd name="connsiteX194" fmla="*/ 184834 w 447236"/>
              <a:gd name="connsiteY194" fmla="*/ 397045 h 448122"/>
              <a:gd name="connsiteX195" fmla="*/ 178708 w 447236"/>
              <a:gd name="connsiteY195" fmla="*/ 415608 h 448122"/>
              <a:gd name="connsiteX196" fmla="*/ 177710 w 447236"/>
              <a:gd name="connsiteY196" fmla="*/ 418632 h 448122"/>
              <a:gd name="connsiteX197" fmla="*/ 176175 w 447236"/>
              <a:gd name="connsiteY197" fmla="*/ 414651 h 448122"/>
              <a:gd name="connsiteX198" fmla="*/ 175868 w 447236"/>
              <a:gd name="connsiteY198" fmla="*/ 414038 h 448122"/>
              <a:gd name="connsiteX199" fmla="*/ 174332 w 447236"/>
              <a:gd name="connsiteY199" fmla="*/ 414038 h 448122"/>
              <a:gd name="connsiteX200" fmla="*/ 170985 w 447236"/>
              <a:gd name="connsiteY200" fmla="*/ 417599 h 448122"/>
              <a:gd name="connsiteX201" fmla="*/ 166348 w 447236"/>
              <a:gd name="connsiteY201" fmla="*/ 406382 h 448122"/>
              <a:gd name="connsiteX202" fmla="*/ 179553 w 447236"/>
              <a:gd name="connsiteY202" fmla="*/ 393214 h 448122"/>
              <a:gd name="connsiteX203" fmla="*/ 237599 w 447236"/>
              <a:gd name="connsiteY203" fmla="*/ 389009 h 448122"/>
              <a:gd name="connsiteX204" fmla="*/ 238765 w 447236"/>
              <a:gd name="connsiteY204" fmla="*/ 389009 h 448122"/>
              <a:gd name="connsiteX205" fmla="*/ 238520 w 447236"/>
              <a:gd name="connsiteY205" fmla="*/ 389315 h 448122"/>
              <a:gd name="connsiteX206" fmla="*/ 237599 w 447236"/>
              <a:gd name="connsiteY206" fmla="*/ 389009 h 448122"/>
              <a:gd name="connsiteX207" fmla="*/ 228700 w 447236"/>
              <a:gd name="connsiteY207" fmla="*/ 388854 h 448122"/>
              <a:gd name="connsiteX208" fmla="*/ 228973 w 447236"/>
              <a:gd name="connsiteY208" fmla="*/ 389009 h 448122"/>
              <a:gd name="connsiteX209" fmla="*/ 228052 w 447236"/>
              <a:gd name="connsiteY209" fmla="*/ 389315 h 448122"/>
              <a:gd name="connsiteX210" fmla="*/ 227806 w 447236"/>
              <a:gd name="connsiteY210" fmla="*/ 389009 h 448122"/>
              <a:gd name="connsiteX211" fmla="*/ 228666 w 447236"/>
              <a:gd name="connsiteY211" fmla="*/ 389009 h 448122"/>
              <a:gd name="connsiteX212" fmla="*/ 240669 w 447236"/>
              <a:gd name="connsiteY212" fmla="*/ 385333 h 448122"/>
              <a:gd name="connsiteX213" fmla="*/ 239441 w 447236"/>
              <a:gd name="connsiteY213" fmla="*/ 385639 h 448122"/>
              <a:gd name="connsiteX214" fmla="*/ 238827 w 447236"/>
              <a:gd name="connsiteY214" fmla="*/ 386252 h 448122"/>
              <a:gd name="connsiteX215" fmla="*/ 240055 w 447236"/>
              <a:gd name="connsiteY215" fmla="*/ 386252 h 448122"/>
              <a:gd name="connsiteX216" fmla="*/ 240669 w 447236"/>
              <a:gd name="connsiteY216" fmla="*/ 385333 h 448122"/>
              <a:gd name="connsiteX217" fmla="*/ 225903 w 447236"/>
              <a:gd name="connsiteY217" fmla="*/ 385333 h 448122"/>
              <a:gd name="connsiteX218" fmla="*/ 226517 w 447236"/>
              <a:gd name="connsiteY218" fmla="*/ 386252 h 448122"/>
              <a:gd name="connsiteX219" fmla="*/ 227438 w 447236"/>
              <a:gd name="connsiteY219" fmla="*/ 386252 h 448122"/>
              <a:gd name="connsiteX220" fmla="*/ 226824 w 447236"/>
              <a:gd name="connsiteY220" fmla="*/ 385639 h 448122"/>
              <a:gd name="connsiteX221" fmla="*/ 225903 w 447236"/>
              <a:gd name="connsiteY221" fmla="*/ 385333 h 448122"/>
              <a:gd name="connsiteX222" fmla="*/ 242746 w 447236"/>
              <a:gd name="connsiteY222" fmla="*/ 365317 h 448122"/>
              <a:gd name="connsiteX223" fmla="*/ 244894 w 447236"/>
              <a:gd name="connsiteY223" fmla="*/ 365623 h 448122"/>
              <a:gd name="connsiteX224" fmla="*/ 249191 w 447236"/>
              <a:gd name="connsiteY224" fmla="*/ 367153 h 448122"/>
              <a:gd name="connsiteX225" fmla="*/ 257478 w 447236"/>
              <a:gd name="connsiteY225" fmla="*/ 368376 h 448122"/>
              <a:gd name="connsiteX226" fmla="*/ 275279 w 447236"/>
              <a:gd name="connsiteY226" fmla="*/ 368376 h 448122"/>
              <a:gd name="connsiteX227" fmla="*/ 264230 w 447236"/>
              <a:gd name="connsiteY227" fmla="*/ 372660 h 448122"/>
              <a:gd name="connsiteX228" fmla="*/ 263002 w 447236"/>
              <a:gd name="connsiteY228" fmla="*/ 375413 h 448122"/>
              <a:gd name="connsiteX229" fmla="*/ 258399 w 447236"/>
              <a:gd name="connsiteY229" fmla="*/ 375719 h 448122"/>
              <a:gd name="connsiteX230" fmla="*/ 255022 w 447236"/>
              <a:gd name="connsiteY230" fmla="*/ 379390 h 448122"/>
              <a:gd name="connsiteX231" fmla="*/ 253795 w 447236"/>
              <a:gd name="connsiteY231" fmla="*/ 379390 h 448122"/>
              <a:gd name="connsiteX232" fmla="*/ 251953 w 447236"/>
              <a:gd name="connsiteY232" fmla="*/ 379084 h 448122"/>
              <a:gd name="connsiteX233" fmla="*/ 249805 w 447236"/>
              <a:gd name="connsiteY233" fmla="*/ 378167 h 448122"/>
              <a:gd name="connsiteX234" fmla="*/ 248270 w 447236"/>
              <a:gd name="connsiteY234" fmla="*/ 380920 h 448122"/>
              <a:gd name="connsiteX235" fmla="*/ 244587 w 447236"/>
              <a:gd name="connsiteY235" fmla="*/ 380614 h 448122"/>
              <a:gd name="connsiteX236" fmla="*/ 243666 w 447236"/>
              <a:gd name="connsiteY236" fmla="*/ 381532 h 448122"/>
              <a:gd name="connsiteX237" fmla="*/ 238142 w 447236"/>
              <a:gd name="connsiteY237" fmla="*/ 380920 h 448122"/>
              <a:gd name="connsiteX238" fmla="*/ 236607 w 447236"/>
              <a:gd name="connsiteY238" fmla="*/ 380614 h 448122"/>
              <a:gd name="connsiteX239" fmla="*/ 236607 w 447236"/>
              <a:gd name="connsiteY239" fmla="*/ 369600 h 448122"/>
              <a:gd name="connsiteX240" fmla="*/ 239676 w 447236"/>
              <a:gd name="connsiteY240" fmla="*/ 368376 h 448122"/>
              <a:gd name="connsiteX241" fmla="*/ 240904 w 447236"/>
              <a:gd name="connsiteY241" fmla="*/ 365929 h 448122"/>
              <a:gd name="connsiteX242" fmla="*/ 242746 w 447236"/>
              <a:gd name="connsiteY242" fmla="*/ 365317 h 448122"/>
              <a:gd name="connsiteX243" fmla="*/ 223839 w 447236"/>
              <a:gd name="connsiteY243" fmla="*/ 365317 h 448122"/>
              <a:gd name="connsiteX244" fmla="*/ 225373 w 447236"/>
              <a:gd name="connsiteY244" fmla="*/ 365929 h 448122"/>
              <a:gd name="connsiteX245" fmla="*/ 226908 w 447236"/>
              <a:gd name="connsiteY245" fmla="*/ 368376 h 448122"/>
              <a:gd name="connsiteX246" fmla="*/ 229670 w 447236"/>
              <a:gd name="connsiteY246" fmla="*/ 369600 h 448122"/>
              <a:gd name="connsiteX247" fmla="*/ 229670 w 447236"/>
              <a:gd name="connsiteY247" fmla="*/ 380614 h 448122"/>
              <a:gd name="connsiteX248" fmla="*/ 228136 w 447236"/>
              <a:gd name="connsiteY248" fmla="*/ 380920 h 448122"/>
              <a:gd name="connsiteX249" fmla="*/ 222918 w 447236"/>
              <a:gd name="connsiteY249" fmla="*/ 381532 h 448122"/>
              <a:gd name="connsiteX250" fmla="*/ 221997 w 447236"/>
              <a:gd name="connsiteY250" fmla="*/ 380614 h 448122"/>
              <a:gd name="connsiteX251" fmla="*/ 218314 w 447236"/>
              <a:gd name="connsiteY251" fmla="*/ 380920 h 448122"/>
              <a:gd name="connsiteX252" fmla="*/ 216473 w 447236"/>
              <a:gd name="connsiteY252" fmla="*/ 378167 h 448122"/>
              <a:gd name="connsiteX253" fmla="*/ 214631 w 447236"/>
              <a:gd name="connsiteY253" fmla="*/ 379084 h 448122"/>
              <a:gd name="connsiteX254" fmla="*/ 212790 w 447236"/>
              <a:gd name="connsiteY254" fmla="*/ 379390 h 448122"/>
              <a:gd name="connsiteX255" fmla="*/ 211255 w 447236"/>
              <a:gd name="connsiteY255" fmla="*/ 379390 h 448122"/>
              <a:gd name="connsiteX256" fmla="*/ 208186 w 447236"/>
              <a:gd name="connsiteY256" fmla="*/ 375719 h 448122"/>
              <a:gd name="connsiteX257" fmla="*/ 203275 w 447236"/>
              <a:gd name="connsiteY257" fmla="*/ 375413 h 448122"/>
              <a:gd name="connsiteX258" fmla="*/ 202047 w 447236"/>
              <a:gd name="connsiteY258" fmla="*/ 372660 h 448122"/>
              <a:gd name="connsiteX259" fmla="*/ 190998 w 447236"/>
              <a:gd name="connsiteY259" fmla="*/ 368376 h 448122"/>
              <a:gd name="connsiteX260" fmla="*/ 208800 w 447236"/>
              <a:gd name="connsiteY260" fmla="*/ 368376 h 448122"/>
              <a:gd name="connsiteX261" fmla="*/ 217087 w 447236"/>
              <a:gd name="connsiteY261" fmla="*/ 367153 h 448122"/>
              <a:gd name="connsiteX262" fmla="*/ 221383 w 447236"/>
              <a:gd name="connsiteY262" fmla="*/ 365623 h 448122"/>
              <a:gd name="connsiteX263" fmla="*/ 223839 w 447236"/>
              <a:gd name="connsiteY263" fmla="*/ 365317 h 448122"/>
              <a:gd name="connsiteX264" fmla="*/ 147381 w 447236"/>
              <a:gd name="connsiteY264" fmla="*/ 360155 h 448122"/>
              <a:gd name="connsiteX265" fmla="*/ 155052 w 447236"/>
              <a:gd name="connsiteY265" fmla="*/ 363220 h 448122"/>
              <a:gd name="connsiteX266" fmla="*/ 158428 w 447236"/>
              <a:gd name="connsiteY266" fmla="*/ 371189 h 448122"/>
              <a:gd name="connsiteX267" fmla="*/ 155052 w 447236"/>
              <a:gd name="connsiteY267" fmla="*/ 378852 h 448122"/>
              <a:gd name="connsiteX268" fmla="*/ 147381 w 447236"/>
              <a:gd name="connsiteY268" fmla="*/ 381917 h 448122"/>
              <a:gd name="connsiteX269" fmla="*/ 139709 w 447236"/>
              <a:gd name="connsiteY269" fmla="*/ 378852 h 448122"/>
              <a:gd name="connsiteX270" fmla="*/ 136334 w 447236"/>
              <a:gd name="connsiteY270" fmla="*/ 371189 h 448122"/>
              <a:gd name="connsiteX271" fmla="*/ 139709 w 447236"/>
              <a:gd name="connsiteY271" fmla="*/ 363220 h 448122"/>
              <a:gd name="connsiteX272" fmla="*/ 147381 w 447236"/>
              <a:gd name="connsiteY272" fmla="*/ 360155 h 448122"/>
              <a:gd name="connsiteX273" fmla="*/ 233293 w 447236"/>
              <a:gd name="connsiteY273" fmla="*/ 358970 h 448122"/>
              <a:gd name="connsiteX274" fmla="*/ 237935 w 447236"/>
              <a:gd name="connsiteY274" fmla="*/ 363561 h 448122"/>
              <a:gd name="connsiteX275" fmla="*/ 235150 w 447236"/>
              <a:gd name="connsiteY275" fmla="*/ 367845 h 448122"/>
              <a:gd name="connsiteX276" fmla="*/ 234823 w 447236"/>
              <a:gd name="connsiteY276" fmla="*/ 392548 h 448122"/>
              <a:gd name="connsiteX277" fmla="*/ 244967 w 447236"/>
              <a:gd name="connsiteY277" fmla="*/ 390235 h 448122"/>
              <a:gd name="connsiteX278" fmla="*/ 245581 w 447236"/>
              <a:gd name="connsiteY278" fmla="*/ 387784 h 448122"/>
              <a:gd name="connsiteX279" fmla="*/ 244353 w 447236"/>
              <a:gd name="connsiteY279" fmla="*/ 387171 h 448122"/>
              <a:gd name="connsiteX280" fmla="*/ 241590 w 447236"/>
              <a:gd name="connsiteY280" fmla="*/ 389009 h 448122"/>
              <a:gd name="connsiteX281" fmla="*/ 238765 w 447236"/>
              <a:gd name="connsiteY281" fmla="*/ 389009 h 448122"/>
              <a:gd name="connsiteX282" fmla="*/ 239748 w 447236"/>
              <a:gd name="connsiteY282" fmla="*/ 387784 h 448122"/>
              <a:gd name="connsiteX283" fmla="*/ 237599 w 447236"/>
              <a:gd name="connsiteY283" fmla="*/ 389009 h 448122"/>
              <a:gd name="connsiteX284" fmla="*/ 237292 w 447236"/>
              <a:gd name="connsiteY284" fmla="*/ 386252 h 448122"/>
              <a:gd name="connsiteX285" fmla="*/ 239134 w 447236"/>
              <a:gd name="connsiteY285" fmla="*/ 383801 h 448122"/>
              <a:gd name="connsiteX286" fmla="*/ 240976 w 447236"/>
              <a:gd name="connsiteY286" fmla="*/ 383188 h 448122"/>
              <a:gd name="connsiteX287" fmla="*/ 248037 w 447236"/>
              <a:gd name="connsiteY287" fmla="*/ 384414 h 448122"/>
              <a:gd name="connsiteX288" fmla="*/ 249879 w 447236"/>
              <a:gd name="connsiteY288" fmla="*/ 388703 h 448122"/>
              <a:gd name="connsiteX289" fmla="*/ 248344 w 447236"/>
              <a:gd name="connsiteY289" fmla="*/ 392379 h 448122"/>
              <a:gd name="connsiteX290" fmla="*/ 241319 w 447236"/>
              <a:gd name="connsiteY290" fmla="*/ 396399 h 448122"/>
              <a:gd name="connsiteX291" fmla="*/ 242481 w 447236"/>
              <a:gd name="connsiteY291" fmla="*/ 404327 h 448122"/>
              <a:gd name="connsiteX292" fmla="*/ 237578 w 447236"/>
              <a:gd name="connsiteY292" fmla="*/ 406880 h 448122"/>
              <a:gd name="connsiteX293" fmla="*/ 240055 w 447236"/>
              <a:gd name="connsiteY293" fmla="*/ 408004 h 448122"/>
              <a:gd name="connsiteX294" fmla="*/ 241590 w 447236"/>
              <a:gd name="connsiteY294" fmla="*/ 415356 h 448122"/>
              <a:gd name="connsiteX295" fmla="*/ 237906 w 447236"/>
              <a:gd name="connsiteY295" fmla="*/ 418114 h 448122"/>
              <a:gd name="connsiteX296" fmla="*/ 235841 w 447236"/>
              <a:gd name="connsiteY296" fmla="*/ 418702 h 448122"/>
              <a:gd name="connsiteX297" fmla="*/ 239718 w 447236"/>
              <a:gd name="connsiteY297" fmla="*/ 422403 h 448122"/>
              <a:gd name="connsiteX298" fmla="*/ 235034 w 447236"/>
              <a:gd name="connsiteY298" fmla="*/ 429001 h 448122"/>
              <a:gd name="connsiteX299" fmla="*/ 236678 w 447236"/>
              <a:gd name="connsiteY299" fmla="*/ 431134 h 448122"/>
              <a:gd name="connsiteX300" fmla="*/ 240362 w 447236"/>
              <a:gd name="connsiteY300" fmla="*/ 435270 h 448122"/>
              <a:gd name="connsiteX301" fmla="*/ 237906 w 447236"/>
              <a:gd name="connsiteY301" fmla="*/ 434657 h 448122"/>
              <a:gd name="connsiteX302" fmla="*/ 234303 w 447236"/>
              <a:gd name="connsiteY302" fmla="*/ 431781 h 448122"/>
              <a:gd name="connsiteX303" fmla="*/ 234236 w 447236"/>
              <a:gd name="connsiteY303" fmla="*/ 436834 h 448122"/>
              <a:gd name="connsiteX304" fmla="*/ 234221 w 447236"/>
              <a:gd name="connsiteY304" fmla="*/ 437929 h 448122"/>
              <a:gd name="connsiteX305" fmla="*/ 232365 w 447236"/>
              <a:gd name="connsiteY305" fmla="*/ 437929 h 448122"/>
              <a:gd name="connsiteX306" fmla="*/ 232252 w 447236"/>
              <a:gd name="connsiteY306" fmla="*/ 431549 h 448122"/>
              <a:gd name="connsiteX307" fmla="*/ 228359 w 447236"/>
              <a:gd name="connsiteY307" fmla="*/ 434657 h 448122"/>
              <a:gd name="connsiteX308" fmla="*/ 225903 w 447236"/>
              <a:gd name="connsiteY308" fmla="*/ 435270 h 448122"/>
              <a:gd name="connsiteX309" fmla="*/ 229740 w 447236"/>
              <a:gd name="connsiteY309" fmla="*/ 431134 h 448122"/>
              <a:gd name="connsiteX310" fmla="*/ 231343 w 447236"/>
              <a:gd name="connsiteY310" fmla="*/ 429122 h 448122"/>
              <a:gd name="connsiteX311" fmla="*/ 226853 w 447236"/>
              <a:gd name="connsiteY311" fmla="*/ 422403 h 448122"/>
              <a:gd name="connsiteX312" fmla="*/ 230695 w 447236"/>
              <a:gd name="connsiteY312" fmla="*/ 418735 h 448122"/>
              <a:gd name="connsiteX313" fmla="*/ 228359 w 447236"/>
              <a:gd name="connsiteY313" fmla="*/ 418114 h 448122"/>
              <a:gd name="connsiteX314" fmla="*/ 224982 w 447236"/>
              <a:gd name="connsiteY314" fmla="*/ 415356 h 448122"/>
              <a:gd name="connsiteX315" fmla="*/ 226517 w 447236"/>
              <a:gd name="connsiteY315" fmla="*/ 408004 h 448122"/>
              <a:gd name="connsiteX316" fmla="*/ 228945 w 447236"/>
              <a:gd name="connsiteY316" fmla="*/ 406902 h 448122"/>
              <a:gd name="connsiteX317" fmla="*/ 223783 w 447236"/>
              <a:gd name="connsiteY317" fmla="*/ 404327 h 448122"/>
              <a:gd name="connsiteX318" fmla="*/ 225066 w 447236"/>
              <a:gd name="connsiteY318" fmla="*/ 396349 h 448122"/>
              <a:gd name="connsiteX319" fmla="*/ 218227 w 447236"/>
              <a:gd name="connsiteY319" fmla="*/ 392379 h 448122"/>
              <a:gd name="connsiteX320" fmla="*/ 216385 w 447236"/>
              <a:gd name="connsiteY320" fmla="*/ 388703 h 448122"/>
              <a:gd name="connsiteX321" fmla="*/ 218227 w 447236"/>
              <a:gd name="connsiteY321" fmla="*/ 384414 h 448122"/>
              <a:gd name="connsiteX322" fmla="*/ 225289 w 447236"/>
              <a:gd name="connsiteY322" fmla="*/ 383188 h 448122"/>
              <a:gd name="connsiteX323" fmla="*/ 227131 w 447236"/>
              <a:gd name="connsiteY323" fmla="*/ 383801 h 448122"/>
              <a:gd name="connsiteX324" fmla="*/ 229280 w 447236"/>
              <a:gd name="connsiteY324" fmla="*/ 386252 h 448122"/>
              <a:gd name="connsiteX325" fmla="*/ 228700 w 447236"/>
              <a:gd name="connsiteY325" fmla="*/ 388854 h 448122"/>
              <a:gd name="connsiteX326" fmla="*/ 226824 w 447236"/>
              <a:gd name="connsiteY326" fmla="*/ 387784 h 448122"/>
              <a:gd name="connsiteX327" fmla="*/ 227806 w 447236"/>
              <a:gd name="connsiteY327" fmla="*/ 389009 h 448122"/>
              <a:gd name="connsiteX328" fmla="*/ 224675 w 447236"/>
              <a:gd name="connsiteY328" fmla="*/ 389009 h 448122"/>
              <a:gd name="connsiteX329" fmla="*/ 221911 w 447236"/>
              <a:gd name="connsiteY329" fmla="*/ 387171 h 448122"/>
              <a:gd name="connsiteX330" fmla="*/ 220683 w 447236"/>
              <a:gd name="connsiteY330" fmla="*/ 387784 h 448122"/>
              <a:gd name="connsiteX331" fmla="*/ 221604 w 447236"/>
              <a:gd name="connsiteY331" fmla="*/ 390235 h 448122"/>
              <a:gd name="connsiteX332" fmla="*/ 231564 w 447236"/>
              <a:gd name="connsiteY332" fmla="*/ 392573 h 448122"/>
              <a:gd name="connsiteX333" fmla="*/ 231281 w 447236"/>
              <a:gd name="connsiteY333" fmla="*/ 376606 h 448122"/>
              <a:gd name="connsiteX334" fmla="*/ 231127 w 447236"/>
              <a:gd name="connsiteY334" fmla="*/ 367845 h 448122"/>
              <a:gd name="connsiteX335" fmla="*/ 228341 w 447236"/>
              <a:gd name="connsiteY335" fmla="*/ 363561 h 448122"/>
              <a:gd name="connsiteX336" fmla="*/ 233293 w 447236"/>
              <a:gd name="connsiteY336" fmla="*/ 358970 h 448122"/>
              <a:gd name="connsiteX337" fmla="*/ 147381 w 447236"/>
              <a:gd name="connsiteY337" fmla="*/ 358929 h 448122"/>
              <a:gd name="connsiteX338" fmla="*/ 138789 w 447236"/>
              <a:gd name="connsiteY338" fmla="*/ 362301 h 448122"/>
              <a:gd name="connsiteX339" fmla="*/ 135106 w 447236"/>
              <a:gd name="connsiteY339" fmla="*/ 371189 h 448122"/>
              <a:gd name="connsiteX340" fmla="*/ 138789 w 447236"/>
              <a:gd name="connsiteY340" fmla="*/ 379771 h 448122"/>
              <a:gd name="connsiteX341" fmla="*/ 147381 w 447236"/>
              <a:gd name="connsiteY341" fmla="*/ 383449 h 448122"/>
              <a:gd name="connsiteX342" fmla="*/ 155973 w 447236"/>
              <a:gd name="connsiteY342" fmla="*/ 379771 h 448122"/>
              <a:gd name="connsiteX343" fmla="*/ 159655 w 447236"/>
              <a:gd name="connsiteY343" fmla="*/ 371189 h 448122"/>
              <a:gd name="connsiteX344" fmla="*/ 155973 w 447236"/>
              <a:gd name="connsiteY344" fmla="*/ 362301 h 448122"/>
              <a:gd name="connsiteX345" fmla="*/ 147381 w 447236"/>
              <a:gd name="connsiteY345" fmla="*/ 358929 h 448122"/>
              <a:gd name="connsiteX346" fmla="*/ 292250 w 447236"/>
              <a:gd name="connsiteY346" fmla="*/ 353965 h 448122"/>
              <a:gd name="connsiteX347" fmla="*/ 284271 w 447236"/>
              <a:gd name="connsiteY347" fmla="*/ 361933 h 448122"/>
              <a:gd name="connsiteX348" fmla="*/ 292250 w 447236"/>
              <a:gd name="connsiteY348" fmla="*/ 369595 h 448122"/>
              <a:gd name="connsiteX349" fmla="*/ 299922 w 447236"/>
              <a:gd name="connsiteY349" fmla="*/ 361933 h 448122"/>
              <a:gd name="connsiteX350" fmla="*/ 292250 w 447236"/>
              <a:gd name="connsiteY350" fmla="*/ 353965 h 448122"/>
              <a:gd name="connsiteX351" fmla="*/ 248047 w 447236"/>
              <a:gd name="connsiteY351" fmla="*/ 347918 h 448122"/>
              <a:gd name="connsiteX352" fmla="*/ 247128 w 447236"/>
              <a:gd name="connsiteY352" fmla="*/ 348224 h 448122"/>
              <a:gd name="connsiteX353" fmla="*/ 246515 w 447236"/>
              <a:gd name="connsiteY353" fmla="*/ 349449 h 448122"/>
              <a:gd name="connsiteX354" fmla="*/ 247128 w 447236"/>
              <a:gd name="connsiteY354" fmla="*/ 350674 h 448122"/>
              <a:gd name="connsiteX355" fmla="*/ 248047 w 447236"/>
              <a:gd name="connsiteY355" fmla="*/ 350981 h 448122"/>
              <a:gd name="connsiteX356" fmla="*/ 249272 w 447236"/>
              <a:gd name="connsiteY356" fmla="*/ 350674 h 448122"/>
              <a:gd name="connsiteX357" fmla="*/ 249578 w 447236"/>
              <a:gd name="connsiteY357" fmla="*/ 349449 h 448122"/>
              <a:gd name="connsiteX358" fmla="*/ 249272 w 447236"/>
              <a:gd name="connsiteY358" fmla="*/ 348224 h 448122"/>
              <a:gd name="connsiteX359" fmla="*/ 248047 w 447236"/>
              <a:gd name="connsiteY359" fmla="*/ 347918 h 448122"/>
              <a:gd name="connsiteX360" fmla="*/ 248047 w 447236"/>
              <a:gd name="connsiteY360" fmla="*/ 343324 h 448122"/>
              <a:gd name="connsiteX361" fmla="*/ 254172 w 447236"/>
              <a:gd name="connsiteY361" fmla="*/ 349449 h 448122"/>
              <a:gd name="connsiteX362" fmla="*/ 248047 w 447236"/>
              <a:gd name="connsiteY362" fmla="*/ 355575 h 448122"/>
              <a:gd name="connsiteX363" fmla="*/ 241921 w 447236"/>
              <a:gd name="connsiteY363" fmla="*/ 349449 h 448122"/>
              <a:gd name="connsiteX364" fmla="*/ 248047 w 447236"/>
              <a:gd name="connsiteY364" fmla="*/ 343324 h 448122"/>
              <a:gd name="connsiteX365" fmla="*/ 248047 w 447236"/>
              <a:gd name="connsiteY365" fmla="*/ 342037 h 448122"/>
              <a:gd name="connsiteX366" fmla="*/ 241327 w 447236"/>
              <a:gd name="connsiteY366" fmla="*/ 344788 h 448122"/>
              <a:gd name="connsiteX367" fmla="*/ 238578 w 447236"/>
              <a:gd name="connsiteY367" fmla="*/ 351817 h 448122"/>
              <a:gd name="connsiteX368" fmla="*/ 241327 w 447236"/>
              <a:gd name="connsiteY368" fmla="*/ 358540 h 448122"/>
              <a:gd name="connsiteX369" fmla="*/ 248047 w 447236"/>
              <a:gd name="connsiteY369" fmla="*/ 361290 h 448122"/>
              <a:gd name="connsiteX370" fmla="*/ 255072 w 447236"/>
              <a:gd name="connsiteY370" fmla="*/ 358540 h 448122"/>
              <a:gd name="connsiteX371" fmla="*/ 257821 w 447236"/>
              <a:gd name="connsiteY371" fmla="*/ 351817 h 448122"/>
              <a:gd name="connsiteX372" fmla="*/ 255072 w 447236"/>
              <a:gd name="connsiteY372" fmla="*/ 344788 h 448122"/>
              <a:gd name="connsiteX373" fmla="*/ 248047 w 447236"/>
              <a:gd name="connsiteY373" fmla="*/ 342037 h 448122"/>
              <a:gd name="connsiteX374" fmla="*/ 201047 w 447236"/>
              <a:gd name="connsiteY374" fmla="*/ 341678 h 448122"/>
              <a:gd name="connsiteX375" fmla="*/ 201047 w 447236"/>
              <a:gd name="connsiteY375" fmla="*/ 344743 h 448122"/>
              <a:gd name="connsiteX376" fmla="*/ 203815 w 447236"/>
              <a:gd name="connsiteY376" fmla="*/ 344743 h 448122"/>
              <a:gd name="connsiteX377" fmla="*/ 203815 w 447236"/>
              <a:gd name="connsiteY377" fmla="*/ 341678 h 448122"/>
              <a:gd name="connsiteX378" fmla="*/ 201047 w 447236"/>
              <a:gd name="connsiteY378" fmla="*/ 341678 h 448122"/>
              <a:gd name="connsiteX379" fmla="*/ 213417 w 447236"/>
              <a:gd name="connsiteY379" fmla="*/ 338850 h 448122"/>
              <a:gd name="connsiteX380" fmla="*/ 205895 w 447236"/>
              <a:gd name="connsiteY380" fmla="*/ 346348 h 448122"/>
              <a:gd name="connsiteX381" fmla="*/ 203073 w 447236"/>
              <a:gd name="connsiteY381" fmla="*/ 349162 h 448122"/>
              <a:gd name="connsiteX382" fmla="*/ 208922 w 447236"/>
              <a:gd name="connsiteY382" fmla="*/ 355034 h 448122"/>
              <a:gd name="connsiteX383" fmla="*/ 212729 w 447236"/>
              <a:gd name="connsiteY383" fmla="*/ 358855 h 448122"/>
              <a:gd name="connsiteX384" fmla="*/ 217958 w 447236"/>
              <a:gd name="connsiteY384" fmla="*/ 360995 h 448122"/>
              <a:gd name="connsiteX385" fmla="*/ 223187 w 447236"/>
              <a:gd name="connsiteY385" fmla="*/ 358855 h 448122"/>
              <a:gd name="connsiteX386" fmla="*/ 225032 w 447236"/>
              <a:gd name="connsiteY386" fmla="*/ 353659 h 448122"/>
              <a:gd name="connsiteX387" fmla="*/ 223187 w 447236"/>
              <a:gd name="connsiteY387" fmla="*/ 348462 h 448122"/>
              <a:gd name="connsiteX388" fmla="*/ 196435 w 447236"/>
              <a:gd name="connsiteY388" fmla="*/ 337079 h 448122"/>
              <a:gd name="connsiteX389" fmla="*/ 196435 w 447236"/>
              <a:gd name="connsiteY389" fmla="*/ 340145 h 448122"/>
              <a:gd name="connsiteX390" fmla="*/ 199202 w 447236"/>
              <a:gd name="connsiteY390" fmla="*/ 340145 h 448122"/>
              <a:gd name="connsiteX391" fmla="*/ 199202 w 447236"/>
              <a:gd name="connsiteY391" fmla="*/ 337079 h 448122"/>
              <a:gd name="connsiteX392" fmla="*/ 196435 w 447236"/>
              <a:gd name="connsiteY392" fmla="*/ 337079 h 448122"/>
              <a:gd name="connsiteX393" fmla="*/ 205967 w 447236"/>
              <a:gd name="connsiteY393" fmla="*/ 336773 h 448122"/>
              <a:gd name="connsiteX394" fmla="*/ 205967 w 447236"/>
              <a:gd name="connsiteY394" fmla="*/ 339532 h 448122"/>
              <a:gd name="connsiteX395" fmla="*/ 209042 w 447236"/>
              <a:gd name="connsiteY395" fmla="*/ 339532 h 448122"/>
              <a:gd name="connsiteX396" fmla="*/ 209042 w 447236"/>
              <a:gd name="connsiteY396" fmla="*/ 336773 h 448122"/>
              <a:gd name="connsiteX397" fmla="*/ 205967 w 447236"/>
              <a:gd name="connsiteY397" fmla="*/ 336773 h 448122"/>
              <a:gd name="connsiteX398" fmla="*/ 201355 w 447236"/>
              <a:gd name="connsiteY398" fmla="*/ 332174 h 448122"/>
              <a:gd name="connsiteX399" fmla="*/ 201355 w 447236"/>
              <a:gd name="connsiteY399" fmla="*/ 334933 h 448122"/>
              <a:gd name="connsiteX400" fmla="*/ 204430 w 447236"/>
              <a:gd name="connsiteY400" fmla="*/ 334933 h 448122"/>
              <a:gd name="connsiteX401" fmla="*/ 204430 w 447236"/>
              <a:gd name="connsiteY401" fmla="*/ 332174 h 448122"/>
              <a:gd name="connsiteX402" fmla="*/ 201355 w 447236"/>
              <a:gd name="connsiteY402" fmla="*/ 332174 h 448122"/>
              <a:gd name="connsiteX403" fmla="*/ 153802 w 447236"/>
              <a:gd name="connsiteY403" fmla="*/ 323988 h 448122"/>
              <a:gd name="connsiteX404" fmla="*/ 148257 w 447236"/>
              <a:gd name="connsiteY404" fmla="*/ 332259 h 448122"/>
              <a:gd name="connsiteX405" fmla="*/ 153802 w 447236"/>
              <a:gd name="connsiteY405" fmla="*/ 340224 h 448122"/>
              <a:gd name="connsiteX406" fmla="*/ 146717 w 447236"/>
              <a:gd name="connsiteY406" fmla="*/ 332259 h 448122"/>
              <a:gd name="connsiteX407" fmla="*/ 153802 w 447236"/>
              <a:gd name="connsiteY407" fmla="*/ 323988 h 448122"/>
              <a:gd name="connsiteX408" fmla="*/ 262733 w 447236"/>
              <a:gd name="connsiteY408" fmla="*/ 321184 h 448122"/>
              <a:gd name="connsiteX409" fmla="*/ 269818 w 447236"/>
              <a:gd name="connsiteY409" fmla="*/ 326393 h 448122"/>
              <a:gd name="connsiteX410" fmla="*/ 276903 w 447236"/>
              <a:gd name="connsiteY410" fmla="*/ 321184 h 448122"/>
              <a:gd name="connsiteX411" fmla="*/ 283988 w 447236"/>
              <a:gd name="connsiteY411" fmla="*/ 328232 h 448122"/>
              <a:gd name="connsiteX412" fmla="*/ 269818 w 447236"/>
              <a:gd name="connsiteY412" fmla="*/ 349376 h 448122"/>
              <a:gd name="connsiteX413" fmla="*/ 255648 w 447236"/>
              <a:gd name="connsiteY413" fmla="*/ 328232 h 448122"/>
              <a:gd name="connsiteX414" fmla="*/ 262733 w 447236"/>
              <a:gd name="connsiteY414" fmla="*/ 321184 h 448122"/>
              <a:gd name="connsiteX415" fmla="*/ 147603 w 447236"/>
              <a:gd name="connsiteY415" fmla="*/ 320888 h 448122"/>
              <a:gd name="connsiteX416" fmla="*/ 140289 w 447236"/>
              <a:gd name="connsiteY416" fmla="*/ 332253 h 448122"/>
              <a:gd name="connsiteX417" fmla="*/ 147603 w 447236"/>
              <a:gd name="connsiteY417" fmla="*/ 343619 h 448122"/>
              <a:gd name="connsiteX418" fmla="*/ 138156 w 447236"/>
              <a:gd name="connsiteY418" fmla="*/ 332253 h 448122"/>
              <a:gd name="connsiteX419" fmla="*/ 147603 w 447236"/>
              <a:gd name="connsiteY419" fmla="*/ 320888 h 448122"/>
              <a:gd name="connsiteX420" fmla="*/ 157200 w 447236"/>
              <a:gd name="connsiteY420" fmla="*/ 320003 h 448122"/>
              <a:gd name="connsiteX421" fmla="*/ 160883 w 447236"/>
              <a:gd name="connsiteY421" fmla="*/ 320003 h 448122"/>
              <a:gd name="connsiteX422" fmla="*/ 162110 w 447236"/>
              <a:gd name="connsiteY422" fmla="*/ 321229 h 448122"/>
              <a:gd name="connsiteX423" fmla="*/ 162110 w 447236"/>
              <a:gd name="connsiteY423" fmla="*/ 351573 h 448122"/>
              <a:gd name="connsiteX424" fmla="*/ 164872 w 447236"/>
              <a:gd name="connsiteY424" fmla="*/ 356477 h 448122"/>
              <a:gd name="connsiteX425" fmla="*/ 164872 w 447236"/>
              <a:gd name="connsiteY425" fmla="*/ 444751 h 448122"/>
              <a:gd name="connsiteX426" fmla="*/ 161496 w 447236"/>
              <a:gd name="connsiteY426" fmla="*/ 448122 h 448122"/>
              <a:gd name="connsiteX427" fmla="*/ 133265 w 447236"/>
              <a:gd name="connsiteY427" fmla="*/ 448122 h 448122"/>
              <a:gd name="connsiteX428" fmla="*/ 129890 w 447236"/>
              <a:gd name="connsiteY428" fmla="*/ 444751 h 448122"/>
              <a:gd name="connsiteX429" fmla="*/ 129890 w 447236"/>
              <a:gd name="connsiteY429" fmla="*/ 357396 h 448122"/>
              <a:gd name="connsiteX430" fmla="*/ 136948 w 447236"/>
              <a:gd name="connsiteY430" fmla="*/ 350347 h 448122"/>
              <a:gd name="connsiteX431" fmla="*/ 155973 w 447236"/>
              <a:gd name="connsiteY431" fmla="*/ 350347 h 448122"/>
              <a:gd name="connsiteX432" fmla="*/ 155973 w 447236"/>
              <a:gd name="connsiteY432" fmla="*/ 321229 h 448122"/>
              <a:gd name="connsiteX433" fmla="*/ 157200 w 447236"/>
              <a:gd name="connsiteY433" fmla="*/ 320003 h 448122"/>
              <a:gd name="connsiteX434" fmla="*/ 295319 w 447236"/>
              <a:gd name="connsiteY434" fmla="*/ 317800 h 448122"/>
              <a:gd name="connsiteX435" fmla="*/ 304219 w 447236"/>
              <a:gd name="connsiteY435" fmla="*/ 320559 h 448122"/>
              <a:gd name="connsiteX436" fmla="*/ 304833 w 447236"/>
              <a:gd name="connsiteY436" fmla="*/ 321785 h 448122"/>
              <a:gd name="connsiteX437" fmla="*/ 303912 w 447236"/>
              <a:gd name="connsiteY437" fmla="*/ 323930 h 448122"/>
              <a:gd name="connsiteX438" fmla="*/ 302991 w 447236"/>
              <a:gd name="connsiteY438" fmla="*/ 324543 h 448122"/>
              <a:gd name="connsiteX439" fmla="*/ 302378 w 447236"/>
              <a:gd name="connsiteY439" fmla="*/ 324543 h 448122"/>
              <a:gd name="connsiteX440" fmla="*/ 298081 w 447236"/>
              <a:gd name="connsiteY440" fmla="*/ 338028 h 448122"/>
              <a:gd name="connsiteX441" fmla="*/ 299002 w 447236"/>
              <a:gd name="connsiteY441" fmla="*/ 338334 h 448122"/>
              <a:gd name="connsiteX442" fmla="*/ 300843 w 447236"/>
              <a:gd name="connsiteY442" fmla="*/ 341706 h 448122"/>
              <a:gd name="connsiteX443" fmla="*/ 299002 w 447236"/>
              <a:gd name="connsiteY443" fmla="*/ 347835 h 448122"/>
              <a:gd name="connsiteX444" fmla="*/ 303605 w 447236"/>
              <a:gd name="connsiteY444" fmla="*/ 350593 h 448122"/>
              <a:gd name="connsiteX445" fmla="*/ 299002 w 447236"/>
              <a:gd name="connsiteY445" fmla="*/ 425374 h 448122"/>
              <a:gd name="connsiteX446" fmla="*/ 307901 w 447236"/>
              <a:gd name="connsiteY446" fmla="*/ 440392 h 448122"/>
              <a:gd name="connsiteX447" fmla="*/ 312505 w 447236"/>
              <a:gd name="connsiteY447" fmla="*/ 440392 h 448122"/>
              <a:gd name="connsiteX448" fmla="*/ 314039 w 447236"/>
              <a:gd name="connsiteY448" fmla="*/ 441924 h 448122"/>
              <a:gd name="connsiteX449" fmla="*/ 314039 w 447236"/>
              <a:gd name="connsiteY449" fmla="*/ 444376 h 448122"/>
              <a:gd name="connsiteX450" fmla="*/ 312505 w 447236"/>
              <a:gd name="connsiteY450" fmla="*/ 445908 h 448122"/>
              <a:gd name="connsiteX451" fmla="*/ 243456 w 447236"/>
              <a:gd name="connsiteY451" fmla="*/ 445908 h 448122"/>
              <a:gd name="connsiteX452" fmla="*/ 241921 w 447236"/>
              <a:gd name="connsiteY452" fmla="*/ 444376 h 448122"/>
              <a:gd name="connsiteX453" fmla="*/ 241921 w 447236"/>
              <a:gd name="connsiteY453" fmla="*/ 441924 h 448122"/>
              <a:gd name="connsiteX454" fmla="*/ 243456 w 447236"/>
              <a:gd name="connsiteY454" fmla="*/ 440392 h 448122"/>
              <a:gd name="connsiteX455" fmla="*/ 280896 w 447236"/>
              <a:gd name="connsiteY455" fmla="*/ 440392 h 448122"/>
              <a:gd name="connsiteX456" fmla="*/ 280896 w 447236"/>
              <a:gd name="connsiteY456" fmla="*/ 432730 h 448122"/>
              <a:gd name="connsiteX457" fmla="*/ 273224 w 447236"/>
              <a:gd name="connsiteY457" fmla="*/ 429052 h 448122"/>
              <a:gd name="connsiteX458" fmla="*/ 273530 w 447236"/>
              <a:gd name="connsiteY458" fmla="*/ 428132 h 448122"/>
              <a:gd name="connsiteX459" fmla="*/ 270155 w 447236"/>
              <a:gd name="connsiteY459" fmla="*/ 427213 h 448122"/>
              <a:gd name="connsiteX460" fmla="*/ 262789 w 447236"/>
              <a:gd name="connsiteY460" fmla="*/ 427519 h 448122"/>
              <a:gd name="connsiteX461" fmla="*/ 253276 w 447236"/>
              <a:gd name="connsiteY461" fmla="*/ 421083 h 448122"/>
              <a:gd name="connsiteX462" fmla="*/ 262789 w 447236"/>
              <a:gd name="connsiteY462" fmla="*/ 418019 h 448122"/>
              <a:gd name="connsiteX463" fmla="*/ 271996 w 447236"/>
              <a:gd name="connsiteY463" fmla="*/ 424761 h 448122"/>
              <a:gd name="connsiteX464" fmla="*/ 271996 w 447236"/>
              <a:gd name="connsiteY464" fmla="*/ 425681 h 448122"/>
              <a:gd name="connsiteX465" fmla="*/ 274451 w 447236"/>
              <a:gd name="connsiteY465" fmla="*/ 426294 h 448122"/>
              <a:gd name="connsiteX466" fmla="*/ 282430 w 447236"/>
              <a:gd name="connsiteY466" fmla="*/ 408211 h 448122"/>
              <a:gd name="connsiteX467" fmla="*/ 251742 w 447236"/>
              <a:gd name="connsiteY467" fmla="*/ 400243 h 448122"/>
              <a:gd name="connsiteX468" fmla="*/ 250821 w 447236"/>
              <a:gd name="connsiteY468" fmla="*/ 398711 h 448122"/>
              <a:gd name="connsiteX469" fmla="*/ 251742 w 447236"/>
              <a:gd name="connsiteY469" fmla="*/ 395952 h 448122"/>
              <a:gd name="connsiteX470" fmla="*/ 252969 w 447236"/>
              <a:gd name="connsiteY470" fmla="*/ 395033 h 448122"/>
              <a:gd name="connsiteX471" fmla="*/ 291330 w 447236"/>
              <a:gd name="connsiteY471" fmla="*/ 405147 h 448122"/>
              <a:gd name="connsiteX472" fmla="*/ 292250 w 447236"/>
              <a:gd name="connsiteY472" fmla="*/ 406679 h 448122"/>
              <a:gd name="connsiteX473" fmla="*/ 291637 w 447236"/>
              <a:gd name="connsiteY473" fmla="*/ 408518 h 448122"/>
              <a:gd name="connsiteX474" fmla="*/ 294705 w 447236"/>
              <a:gd name="connsiteY474" fmla="*/ 408518 h 448122"/>
              <a:gd name="connsiteX475" fmla="*/ 307901 w 447236"/>
              <a:gd name="connsiteY475" fmla="*/ 388290 h 448122"/>
              <a:gd name="connsiteX476" fmla="*/ 288568 w 447236"/>
              <a:gd name="connsiteY476" fmla="*/ 380015 h 448122"/>
              <a:gd name="connsiteX477" fmla="*/ 285806 w 447236"/>
              <a:gd name="connsiteY477" fmla="*/ 389210 h 448122"/>
              <a:gd name="connsiteX478" fmla="*/ 282430 w 447236"/>
              <a:gd name="connsiteY478" fmla="*/ 391048 h 448122"/>
              <a:gd name="connsiteX479" fmla="*/ 281816 w 447236"/>
              <a:gd name="connsiteY479" fmla="*/ 390742 h 448122"/>
              <a:gd name="connsiteX480" fmla="*/ 280589 w 447236"/>
              <a:gd name="connsiteY480" fmla="*/ 394726 h 448122"/>
              <a:gd name="connsiteX481" fmla="*/ 278747 w 447236"/>
              <a:gd name="connsiteY481" fmla="*/ 395646 h 448122"/>
              <a:gd name="connsiteX482" fmla="*/ 273224 w 447236"/>
              <a:gd name="connsiteY482" fmla="*/ 393807 h 448122"/>
              <a:gd name="connsiteX483" fmla="*/ 272303 w 447236"/>
              <a:gd name="connsiteY483" fmla="*/ 391968 h 448122"/>
              <a:gd name="connsiteX484" fmla="*/ 273530 w 447236"/>
              <a:gd name="connsiteY484" fmla="*/ 387984 h 448122"/>
              <a:gd name="connsiteX485" fmla="*/ 272917 w 447236"/>
              <a:gd name="connsiteY485" fmla="*/ 387984 h 448122"/>
              <a:gd name="connsiteX486" fmla="*/ 271075 w 447236"/>
              <a:gd name="connsiteY486" fmla="*/ 384612 h 448122"/>
              <a:gd name="connsiteX487" fmla="*/ 286113 w 447236"/>
              <a:gd name="connsiteY487" fmla="*/ 337108 h 448122"/>
              <a:gd name="connsiteX488" fmla="*/ 289488 w 447236"/>
              <a:gd name="connsiteY488" fmla="*/ 335270 h 448122"/>
              <a:gd name="connsiteX489" fmla="*/ 290102 w 447236"/>
              <a:gd name="connsiteY489" fmla="*/ 335576 h 448122"/>
              <a:gd name="connsiteX490" fmla="*/ 294399 w 447236"/>
              <a:gd name="connsiteY490" fmla="*/ 321785 h 448122"/>
              <a:gd name="connsiteX491" fmla="*/ 293785 w 447236"/>
              <a:gd name="connsiteY491" fmla="*/ 321785 h 448122"/>
              <a:gd name="connsiteX492" fmla="*/ 293171 w 447236"/>
              <a:gd name="connsiteY492" fmla="*/ 320559 h 448122"/>
              <a:gd name="connsiteX493" fmla="*/ 294092 w 447236"/>
              <a:gd name="connsiteY493" fmla="*/ 318413 h 448122"/>
              <a:gd name="connsiteX494" fmla="*/ 295319 w 447236"/>
              <a:gd name="connsiteY494" fmla="*/ 317800 h 448122"/>
              <a:gd name="connsiteX495" fmla="*/ 187507 w 447236"/>
              <a:gd name="connsiteY495" fmla="*/ 316060 h 448122"/>
              <a:gd name="connsiteX496" fmla="*/ 182278 w 447236"/>
              <a:gd name="connsiteY496" fmla="*/ 318199 h 448122"/>
              <a:gd name="connsiteX497" fmla="*/ 180125 w 447236"/>
              <a:gd name="connsiteY497" fmla="*/ 323396 h 448122"/>
              <a:gd name="connsiteX498" fmla="*/ 182278 w 447236"/>
              <a:gd name="connsiteY498" fmla="*/ 328287 h 448122"/>
              <a:gd name="connsiteX499" fmla="*/ 191887 w 447236"/>
              <a:gd name="connsiteY499" fmla="*/ 337934 h 448122"/>
              <a:gd name="connsiteX500" fmla="*/ 199452 w 447236"/>
              <a:gd name="connsiteY500" fmla="*/ 330392 h 448122"/>
              <a:gd name="connsiteX501" fmla="*/ 202119 w 447236"/>
              <a:gd name="connsiteY501" fmla="*/ 327734 h 448122"/>
              <a:gd name="connsiteX502" fmla="*/ 196273 w 447236"/>
              <a:gd name="connsiteY502" fmla="*/ 321982 h 448122"/>
              <a:gd name="connsiteX503" fmla="*/ 192428 w 447236"/>
              <a:gd name="connsiteY503" fmla="*/ 318199 h 448122"/>
              <a:gd name="connsiteX504" fmla="*/ 187507 w 447236"/>
              <a:gd name="connsiteY504" fmla="*/ 316060 h 448122"/>
              <a:gd name="connsiteX505" fmla="*/ 143027 w 447236"/>
              <a:gd name="connsiteY505" fmla="*/ 315427 h 448122"/>
              <a:gd name="connsiteX506" fmla="*/ 132045 w 447236"/>
              <a:gd name="connsiteY506" fmla="*/ 332259 h 448122"/>
              <a:gd name="connsiteX507" fmla="*/ 143027 w 447236"/>
              <a:gd name="connsiteY507" fmla="*/ 348785 h 448122"/>
              <a:gd name="connsiteX508" fmla="*/ 129300 w 447236"/>
              <a:gd name="connsiteY508" fmla="*/ 332259 h 448122"/>
              <a:gd name="connsiteX509" fmla="*/ 143027 w 447236"/>
              <a:gd name="connsiteY509" fmla="*/ 315427 h 448122"/>
              <a:gd name="connsiteX510" fmla="*/ 187507 w 447236"/>
              <a:gd name="connsiteY510" fmla="*/ 314837 h 448122"/>
              <a:gd name="connsiteX511" fmla="*/ 193351 w 447236"/>
              <a:gd name="connsiteY511" fmla="*/ 317282 h 448122"/>
              <a:gd name="connsiteX512" fmla="*/ 203040 w 447236"/>
              <a:gd name="connsiteY512" fmla="*/ 326815 h 448122"/>
              <a:gd name="connsiteX513" fmla="*/ 208581 w 447236"/>
              <a:gd name="connsiteY513" fmla="*/ 321291 h 448122"/>
              <a:gd name="connsiteX514" fmla="*/ 212425 w 447236"/>
              <a:gd name="connsiteY514" fmla="*/ 317459 h 448122"/>
              <a:gd name="connsiteX515" fmla="*/ 223495 w 447236"/>
              <a:gd name="connsiteY515" fmla="*/ 317459 h 448122"/>
              <a:gd name="connsiteX516" fmla="*/ 223495 w 447236"/>
              <a:gd name="connsiteY516" fmla="*/ 328802 h 448122"/>
              <a:gd name="connsiteX517" fmla="*/ 214338 w 447236"/>
              <a:gd name="connsiteY517" fmla="*/ 337931 h 448122"/>
              <a:gd name="connsiteX518" fmla="*/ 220265 w 447236"/>
              <a:gd name="connsiteY518" fmla="*/ 343762 h 448122"/>
              <a:gd name="connsiteX519" fmla="*/ 224110 w 447236"/>
              <a:gd name="connsiteY519" fmla="*/ 347545 h 448122"/>
              <a:gd name="connsiteX520" fmla="*/ 226570 w 447236"/>
              <a:gd name="connsiteY520" fmla="*/ 353659 h 448122"/>
              <a:gd name="connsiteX521" fmla="*/ 224110 w 447236"/>
              <a:gd name="connsiteY521" fmla="*/ 359772 h 448122"/>
              <a:gd name="connsiteX522" fmla="*/ 217958 w 447236"/>
              <a:gd name="connsiteY522" fmla="*/ 362218 h 448122"/>
              <a:gd name="connsiteX523" fmla="*/ 211806 w 447236"/>
              <a:gd name="connsiteY523" fmla="*/ 359772 h 448122"/>
              <a:gd name="connsiteX524" fmla="*/ 202151 w 447236"/>
              <a:gd name="connsiteY524" fmla="*/ 350080 h 448122"/>
              <a:gd name="connsiteX525" fmla="*/ 196858 w 447236"/>
              <a:gd name="connsiteY525" fmla="*/ 355358 h 448122"/>
              <a:gd name="connsiteX526" fmla="*/ 193052 w 447236"/>
              <a:gd name="connsiteY526" fmla="*/ 359151 h 448122"/>
              <a:gd name="connsiteX527" fmla="*/ 181674 w 447236"/>
              <a:gd name="connsiteY527" fmla="*/ 359151 h 448122"/>
              <a:gd name="connsiteX528" fmla="*/ 181674 w 447236"/>
              <a:gd name="connsiteY528" fmla="*/ 348115 h 448122"/>
              <a:gd name="connsiteX529" fmla="*/ 190966 w 447236"/>
              <a:gd name="connsiteY529" fmla="*/ 338852 h 448122"/>
              <a:gd name="connsiteX530" fmla="*/ 185161 w 447236"/>
              <a:gd name="connsiteY530" fmla="*/ 333025 h 448122"/>
              <a:gd name="connsiteX531" fmla="*/ 181355 w 447236"/>
              <a:gd name="connsiteY531" fmla="*/ 329204 h 448122"/>
              <a:gd name="connsiteX532" fmla="*/ 178894 w 447236"/>
              <a:gd name="connsiteY532" fmla="*/ 323396 h 448122"/>
              <a:gd name="connsiteX533" fmla="*/ 181355 w 447236"/>
              <a:gd name="connsiteY533" fmla="*/ 317282 h 448122"/>
              <a:gd name="connsiteX534" fmla="*/ 187507 w 447236"/>
              <a:gd name="connsiteY534" fmla="*/ 314837 h 448122"/>
              <a:gd name="connsiteX535" fmla="*/ 199820 w 447236"/>
              <a:gd name="connsiteY535" fmla="*/ 314087 h 448122"/>
              <a:gd name="connsiteX536" fmla="*/ 199821 w 447236"/>
              <a:gd name="connsiteY536" fmla="*/ 314088 h 448122"/>
              <a:gd name="connsiteX537" fmla="*/ 200745 w 447236"/>
              <a:gd name="connsiteY537" fmla="*/ 314088 h 448122"/>
              <a:gd name="connsiteX538" fmla="*/ 201668 w 447236"/>
              <a:gd name="connsiteY538" fmla="*/ 314088 h 448122"/>
              <a:gd name="connsiteX539" fmla="*/ 201668 w 447236"/>
              <a:gd name="connsiteY539" fmla="*/ 314087 h 448122"/>
              <a:gd name="connsiteX540" fmla="*/ 200992 w 447236"/>
              <a:gd name="connsiteY540" fmla="*/ 313129 h 448122"/>
              <a:gd name="connsiteX541" fmla="*/ 201020 w 447236"/>
              <a:gd name="connsiteY541" fmla="*/ 313168 h 448122"/>
              <a:gd name="connsiteX542" fmla="*/ 201030 w 447236"/>
              <a:gd name="connsiteY542" fmla="*/ 313154 h 448122"/>
              <a:gd name="connsiteX543" fmla="*/ 174725 w 447236"/>
              <a:gd name="connsiteY543" fmla="*/ 312657 h 448122"/>
              <a:gd name="connsiteX544" fmla="*/ 170648 w 447236"/>
              <a:gd name="connsiteY544" fmla="*/ 314394 h 448122"/>
              <a:gd name="connsiteX545" fmla="*/ 167607 w 447236"/>
              <a:gd name="connsiteY545" fmla="*/ 313487 h 448122"/>
              <a:gd name="connsiteX546" fmla="*/ 167664 w 447236"/>
              <a:gd name="connsiteY546" fmla="*/ 313611 h 448122"/>
              <a:gd name="connsiteX547" fmla="*/ 170422 w 447236"/>
              <a:gd name="connsiteY547" fmla="*/ 314530 h 448122"/>
              <a:gd name="connsiteX548" fmla="*/ 170728 w 447236"/>
              <a:gd name="connsiteY548" fmla="*/ 314530 h 448122"/>
              <a:gd name="connsiteX549" fmla="*/ 174712 w 447236"/>
              <a:gd name="connsiteY549" fmla="*/ 312691 h 448122"/>
              <a:gd name="connsiteX550" fmla="*/ 429011 w 447236"/>
              <a:gd name="connsiteY550" fmla="*/ 310428 h 448122"/>
              <a:gd name="connsiteX551" fmla="*/ 431286 w 447236"/>
              <a:gd name="connsiteY551" fmla="*/ 315733 h 448122"/>
              <a:gd name="connsiteX552" fmla="*/ 436819 w 447236"/>
              <a:gd name="connsiteY552" fmla="*/ 318222 h 448122"/>
              <a:gd name="connsiteX553" fmla="*/ 445918 w 447236"/>
              <a:gd name="connsiteY553" fmla="*/ 310340 h 448122"/>
              <a:gd name="connsiteX554" fmla="*/ 437999 w 447236"/>
              <a:gd name="connsiteY554" fmla="*/ 318244 h 448122"/>
              <a:gd name="connsiteX555" fmla="*/ 443862 w 447236"/>
              <a:gd name="connsiteY555" fmla="*/ 315733 h 448122"/>
              <a:gd name="connsiteX556" fmla="*/ 196064 w 447236"/>
              <a:gd name="connsiteY556" fmla="*/ 304479 h 448122"/>
              <a:gd name="connsiteX557" fmla="*/ 195491 w 447236"/>
              <a:gd name="connsiteY557" fmla="*/ 305201 h 448122"/>
              <a:gd name="connsiteX558" fmla="*/ 195511 w 447236"/>
              <a:gd name="connsiteY558" fmla="*/ 305230 h 448122"/>
              <a:gd name="connsiteX559" fmla="*/ 195511 w 447236"/>
              <a:gd name="connsiteY559" fmla="*/ 305203 h 448122"/>
              <a:gd name="connsiteX560" fmla="*/ 130397 w 447236"/>
              <a:gd name="connsiteY560" fmla="*/ 303117 h 448122"/>
              <a:gd name="connsiteX561" fmla="*/ 125792 w 447236"/>
              <a:gd name="connsiteY561" fmla="*/ 307409 h 448122"/>
              <a:gd name="connsiteX562" fmla="*/ 130397 w 447236"/>
              <a:gd name="connsiteY562" fmla="*/ 312009 h 448122"/>
              <a:gd name="connsiteX563" fmla="*/ 135001 w 447236"/>
              <a:gd name="connsiteY563" fmla="*/ 307409 h 448122"/>
              <a:gd name="connsiteX564" fmla="*/ 130397 w 447236"/>
              <a:gd name="connsiteY564" fmla="*/ 303117 h 448122"/>
              <a:gd name="connsiteX565" fmla="*/ 63789 w 447236"/>
              <a:gd name="connsiteY565" fmla="*/ 303117 h 448122"/>
              <a:gd name="connsiteX566" fmla="*/ 59185 w 447236"/>
              <a:gd name="connsiteY566" fmla="*/ 307409 h 448122"/>
              <a:gd name="connsiteX567" fmla="*/ 63789 w 447236"/>
              <a:gd name="connsiteY567" fmla="*/ 312009 h 448122"/>
              <a:gd name="connsiteX568" fmla="*/ 68086 w 447236"/>
              <a:gd name="connsiteY568" fmla="*/ 307409 h 448122"/>
              <a:gd name="connsiteX569" fmla="*/ 63789 w 447236"/>
              <a:gd name="connsiteY569" fmla="*/ 303117 h 448122"/>
              <a:gd name="connsiteX570" fmla="*/ 178187 w 447236"/>
              <a:gd name="connsiteY570" fmla="*/ 302387 h 448122"/>
              <a:gd name="connsiteX571" fmla="*/ 178036 w 447236"/>
              <a:gd name="connsiteY571" fmla="*/ 302459 h 448122"/>
              <a:gd name="connsiteX572" fmla="*/ 178036 w 447236"/>
              <a:gd name="connsiteY572" fmla="*/ 303989 h 448122"/>
              <a:gd name="connsiteX573" fmla="*/ 177034 w 447236"/>
              <a:gd name="connsiteY573" fmla="*/ 306777 h 448122"/>
              <a:gd name="connsiteX574" fmla="*/ 178082 w 447236"/>
              <a:gd name="connsiteY574" fmla="*/ 304109 h 448122"/>
              <a:gd name="connsiteX575" fmla="*/ 178082 w 447236"/>
              <a:gd name="connsiteY575" fmla="*/ 302576 h 448122"/>
              <a:gd name="connsiteX576" fmla="*/ 171035 w 447236"/>
              <a:gd name="connsiteY576" fmla="*/ 298898 h 448122"/>
              <a:gd name="connsiteX577" fmla="*/ 170360 w 447236"/>
              <a:gd name="connsiteY577" fmla="*/ 299262 h 448122"/>
              <a:gd name="connsiteX578" fmla="*/ 165383 w 447236"/>
              <a:gd name="connsiteY578" fmla="*/ 305771 h 448122"/>
              <a:gd name="connsiteX579" fmla="*/ 165212 w 447236"/>
              <a:gd name="connsiteY579" fmla="*/ 306254 h 448122"/>
              <a:gd name="connsiteX580" fmla="*/ 165326 w 447236"/>
              <a:gd name="connsiteY580" fmla="*/ 305845 h 448122"/>
              <a:gd name="connsiteX581" fmla="*/ 165107 w 447236"/>
              <a:gd name="connsiteY581" fmla="*/ 306131 h 448122"/>
              <a:gd name="connsiteX582" fmla="*/ 165216 w 447236"/>
              <a:gd name="connsiteY582" fmla="*/ 306268 h 448122"/>
              <a:gd name="connsiteX583" fmla="*/ 165212 w 447236"/>
              <a:gd name="connsiteY583" fmla="*/ 306254 h 448122"/>
              <a:gd name="connsiteX584" fmla="*/ 165219 w 447236"/>
              <a:gd name="connsiteY584" fmla="*/ 306271 h 448122"/>
              <a:gd name="connsiteX585" fmla="*/ 170658 w 447236"/>
              <a:gd name="connsiteY585" fmla="*/ 313102 h 448122"/>
              <a:gd name="connsiteX586" fmla="*/ 171035 w 447236"/>
              <a:gd name="connsiteY586" fmla="*/ 313304 h 448122"/>
              <a:gd name="connsiteX587" fmla="*/ 171126 w 447236"/>
              <a:gd name="connsiteY587" fmla="*/ 313251 h 448122"/>
              <a:gd name="connsiteX588" fmla="*/ 176497 w 447236"/>
              <a:gd name="connsiteY588" fmla="*/ 306131 h 448122"/>
              <a:gd name="connsiteX589" fmla="*/ 171422 w 447236"/>
              <a:gd name="connsiteY589" fmla="*/ 299124 h 448122"/>
              <a:gd name="connsiteX590" fmla="*/ 170956 w 447236"/>
              <a:gd name="connsiteY590" fmla="*/ 298481 h 448122"/>
              <a:gd name="connsiteX591" fmla="*/ 171021 w 447236"/>
              <a:gd name="connsiteY591" fmla="*/ 298571 h 448122"/>
              <a:gd name="connsiteX592" fmla="*/ 170865 w 447236"/>
              <a:gd name="connsiteY592" fmla="*/ 298600 h 448122"/>
              <a:gd name="connsiteX593" fmla="*/ 170728 w 447236"/>
              <a:gd name="connsiteY593" fmla="*/ 298285 h 448122"/>
              <a:gd name="connsiteX594" fmla="*/ 167848 w 447236"/>
              <a:gd name="connsiteY594" fmla="*/ 299171 h 448122"/>
              <a:gd name="connsiteX595" fmla="*/ 170865 w 447236"/>
              <a:gd name="connsiteY595" fmla="*/ 298600 h 448122"/>
              <a:gd name="connsiteX596" fmla="*/ 170771 w 447236"/>
              <a:gd name="connsiteY596" fmla="*/ 298723 h 448122"/>
              <a:gd name="connsiteX597" fmla="*/ 171035 w 447236"/>
              <a:gd name="connsiteY597" fmla="*/ 298591 h 448122"/>
              <a:gd name="connsiteX598" fmla="*/ 171037 w 447236"/>
              <a:gd name="connsiteY598" fmla="*/ 298593 h 448122"/>
              <a:gd name="connsiteX599" fmla="*/ 171021 w 447236"/>
              <a:gd name="connsiteY599" fmla="*/ 298571 h 448122"/>
              <a:gd name="connsiteX600" fmla="*/ 172530 w 447236"/>
              <a:gd name="connsiteY600" fmla="*/ 298285 h 448122"/>
              <a:gd name="connsiteX601" fmla="*/ 201344 w 447236"/>
              <a:gd name="connsiteY601" fmla="*/ 297872 h 448122"/>
              <a:gd name="connsiteX602" fmla="*/ 195819 w 447236"/>
              <a:gd name="connsiteY602" fmla="*/ 305203 h 448122"/>
              <a:gd name="connsiteX603" fmla="*/ 195819 w 447236"/>
              <a:gd name="connsiteY603" fmla="*/ 305509 h 448122"/>
              <a:gd name="connsiteX604" fmla="*/ 195903 w 447236"/>
              <a:gd name="connsiteY604" fmla="*/ 305796 h 448122"/>
              <a:gd name="connsiteX605" fmla="*/ 200260 w 447236"/>
              <a:gd name="connsiteY605" fmla="*/ 312074 h 448122"/>
              <a:gd name="connsiteX606" fmla="*/ 201036 w 447236"/>
              <a:gd name="connsiteY606" fmla="*/ 313145 h 448122"/>
              <a:gd name="connsiteX607" fmla="*/ 206549 w 447236"/>
              <a:gd name="connsiteY607" fmla="*/ 305201 h 448122"/>
              <a:gd name="connsiteX608" fmla="*/ 187199 w 447236"/>
              <a:gd name="connsiteY608" fmla="*/ 297544 h 448122"/>
              <a:gd name="connsiteX609" fmla="*/ 186903 w 447236"/>
              <a:gd name="connsiteY609" fmla="*/ 297838 h 448122"/>
              <a:gd name="connsiteX610" fmla="*/ 187345 w 447236"/>
              <a:gd name="connsiteY610" fmla="*/ 297544 h 448122"/>
              <a:gd name="connsiteX611" fmla="*/ 201360 w 447236"/>
              <a:gd name="connsiteY611" fmla="*/ 296625 h 448122"/>
              <a:gd name="connsiteX612" fmla="*/ 196797 w 447236"/>
              <a:gd name="connsiteY612" fmla="*/ 297693 h 448122"/>
              <a:gd name="connsiteX613" fmla="*/ 201617 w 447236"/>
              <a:gd name="connsiteY613" fmla="*/ 296625 h 448122"/>
              <a:gd name="connsiteX614" fmla="*/ 180534 w 447236"/>
              <a:gd name="connsiteY614" fmla="*/ 294020 h 448122"/>
              <a:gd name="connsiteX615" fmla="*/ 180498 w 447236"/>
              <a:gd name="connsiteY615" fmla="*/ 294197 h 448122"/>
              <a:gd name="connsiteX616" fmla="*/ 180190 w 447236"/>
              <a:gd name="connsiteY616" fmla="*/ 295727 h 448122"/>
              <a:gd name="connsiteX617" fmla="*/ 180236 w 447236"/>
              <a:gd name="connsiteY617" fmla="*/ 295788 h 448122"/>
              <a:gd name="connsiteX618" fmla="*/ 180534 w 447236"/>
              <a:gd name="connsiteY618" fmla="*/ 294300 h 448122"/>
              <a:gd name="connsiteX619" fmla="*/ 104306 w 447236"/>
              <a:gd name="connsiteY619" fmla="*/ 292692 h 448122"/>
              <a:gd name="connsiteX620" fmla="*/ 104613 w 447236"/>
              <a:gd name="connsiteY620" fmla="*/ 292692 h 448122"/>
              <a:gd name="connsiteX621" fmla="*/ 105227 w 447236"/>
              <a:gd name="connsiteY621" fmla="*/ 292692 h 448122"/>
              <a:gd name="connsiteX622" fmla="*/ 105534 w 447236"/>
              <a:gd name="connsiteY622" fmla="*/ 292692 h 448122"/>
              <a:gd name="connsiteX623" fmla="*/ 105534 w 447236"/>
              <a:gd name="connsiteY623" fmla="*/ 292999 h 448122"/>
              <a:gd name="connsiteX624" fmla="*/ 105534 w 447236"/>
              <a:gd name="connsiteY624" fmla="*/ 293305 h 448122"/>
              <a:gd name="connsiteX625" fmla="*/ 105227 w 447236"/>
              <a:gd name="connsiteY625" fmla="*/ 293612 h 448122"/>
              <a:gd name="connsiteX626" fmla="*/ 104920 w 447236"/>
              <a:gd name="connsiteY626" fmla="*/ 293612 h 448122"/>
              <a:gd name="connsiteX627" fmla="*/ 104306 w 447236"/>
              <a:gd name="connsiteY627" fmla="*/ 293612 h 448122"/>
              <a:gd name="connsiteX628" fmla="*/ 104306 w 447236"/>
              <a:gd name="connsiteY628" fmla="*/ 293305 h 448122"/>
              <a:gd name="connsiteX629" fmla="*/ 104306 w 447236"/>
              <a:gd name="connsiteY629" fmla="*/ 292999 h 448122"/>
              <a:gd name="connsiteX630" fmla="*/ 104306 w 447236"/>
              <a:gd name="connsiteY630" fmla="*/ 292692 h 448122"/>
              <a:gd name="connsiteX631" fmla="*/ 117812 w 447236"/>
              <a:gd name="connsiteY631" fmla="*/ 291159 h 448122"/>
              <a:gd name="connsiteX632" fmla="*/ 117812 w 447236"/>
              <a:gd name="connsiteY632" fmla="*/ 291772 h 448122"/>
              <a:gd name="connsiteX633" fmla="*/ 117812 w 447236"/>
              <a:gd name="connsiteY633" fmla="*/ 292692 h 448122"/>
              <a:gd name="connsiteX634" fmla="*/ 117198 w 447236"/>
              <a:gd name="connsiteY634" fmla="*/ 292692 h 448122"/>
              <a:gd name="connsiteX635" fmla="*/ 117505 w 447236"/>
              <a:gd name="connsiteY635" fmla="*/ 291772 h 448122"/>
              <a:gd name="connsiteX636" fmla="*/ 117812 w 447236"/>
              <a:gd name="connsiteY636" fmla="*/ 291159 h 448122"/>
              <a:gd name="connsiteX637" fmla="*/ 95098 w 447236"/>
              <a:gd name="connsiteY637" fmla="*/ 291159 h 448122"/>
              <a:gd name="connsiteX638" fmla="*/ 95405 w 447236"/>
              <a:gd name="connsiteY638" fmla="*/ 291159 h 448122"/>
              <a:gd name="connsiteX639" fmla="*/ 95405 w 447236"/>
              <a:gd name="connsiteY639" fmla="*/ 291772 h 448122"/>
              <a:gd name="connsiteX640" fmla="*/ 95405 w 447236"/>
              <a:gd name="connsiteY640" fmla="*/ 292692 h 448122"/>
              <a:gd name="connsiteX641" fmla="*/ 95098 w 447236"/>
              <a:gd name="connsiteY641" fmla="*/ 292692 h 448122"/>
              <a:gd name="connsiteX642" fmla="*/ 94791 w 447236"/>
              <a:gd name="connsiteY642" fmla="*/ 292692 h 448122"/>
              <a:gd name="connsiteX643" fmla="*/ 94484 w 447236"/>
              <a:gd name="connsiteY643" fmla="*/ 292692 h 448122"/>
              <a:gd name="connsiteX644" fmla="*/ 94791 w 447236"/>
              <a:gd name="connsiteY644" fmla="*/ 291772 h 448122"/>
              <a:gd name="connsiteX645" fmla="*/ 95098 w 447236"/>
              <a:gd name="connsiteY645" fmla="*/ 291159 h 448122"/>
              <a:gd name="connsiteX646" fmla="*/ 104613 w 447236"/>
              <a:gd name="connsiteY646" fmla="*/ 290546 h 448122"/>
              <a:gd name="connsiteX647" fmla="*/ 104920 w 447236"/>
              <a:gd name="connsiteY647" fmla="*/ 290546 h 448122"/>
              <a:gd name="connsiteX648" fmla="*/ 105534 w 447236"/>
              <a:gd name="connsiteY648" fmla="*/ 290546 h 448122"/>
              <a:gd name="connsiteX649" fmla="*/ 105841 w 447236"/>
              <a:gd name="connsiteY649" fmla="*/ 290852 h 448122"/>
              <a:gd name="connsiteX650" fmla="*/ 105841 w 447236"/>
              <a:gd name="connsiteY650" fmla="*/ 291466 h 448122"/>
              <a:gd name="connsiteX651" fmla="*/ 105227 w 447236"/>
              <a:gd name="connsiteY651" fmla="*/ 291466 h 448122"/>
              <a:gd name="connsiteX652" fmla="*/ 104613 w 447236"/>
              <a:gd name="connsiteY652" fmla="*/ 291466 h 448122"/>
              <a:gd name="connsiteX653" fmla="*/ 104613 w 447236"/>
              <a:gd name="connsiteY653" fmla="*/ 291159 h 448122"/>
              <a:gd name="connsiteX654" fmla="*/ 104613 w 447236"/>
              <a:gd name="connsiteY654" fmla="*/ 290852 h 448122"/>
              <a:gd name="connsiteX655" fmla="*/ 104613 w 447236"/>
              <a:gd name="connsiteY655" fmla="*/ 290546 h 448122"/>
              <a:gd name="connsiteX656" fmla="*/ 129476 w 447236"/>
              <a:gd name="connsiteY656" fmla="*/ 289626 h 448122"/>
              <a:gd name="connsiteX657" fmla="*/ 129476 w 447236"/>
              <a:gd name="connsiteY657" fmla="*/ 289932 h 448122"/>
              <a:gd name="connsiteX658" fmla="*/ 128555 w 447236"/>
              <a:gd name="connsiteY658" fmla="*/ 294532 h 448122"/>
              <a:gd name="connsiteX659" fmla="*/ 128862 w 447236"/>
              <a:gd name="connsiteY659" fmla="*/ 294532 h 448122"/>
              <a:gd name="connsiteX660" fmla="*/ 131624 w 447236"/>
              <a:gd name="connsiteY660" fmla="*/ 294532 h 448122"/>
              <a:gd name="connsiteX661" fmla="*/ 131931 w 447236"/>
              <a:gd name="connsiteY661" fmla="*/ 294532 h 448122"/>
              <a:gd name="connsiteX662" fmla="*/ 131931 w 447236"/>
              <a:gd name="connsiteY662" fmla="*/ 293918 h 448122"/>
              <a:gd name="connsiteX663" fmla="*/ 131931 w 447236"/>
              <a:gd name="connsiteY663" fmla="*/ 293612 h 448122"/>
              <a:gd name="connsiteX664" fmla="*/ 130090 w 447236"/>
              <a:gd name="connsiteY664" fmla="*/ 293612 h 448122"/>
              <a:gd name="connsiteX665" fmla="*/ 129783 w 447236"/>
              <a:gd name="connsiteY665" fmla="*/ 293612 h 448122"/>
              <a:gd name="connsiteX666" fmla="*/ 129783 w 447236"/>
              <a:gd name="connsiteY666" fmla="*/ 293305 h 448122"/>
              <a:gd name="connsiteX667" fmla="*/ 130090 w 447236"/>
              <a:gd name="connsiteY667" fmla="*/ 292692 h 448122"/>
              <a:gd name="connsiteX668" fmla="*/ 131624 w 447236"/>
              <a:gd name="connsiteY668" fmla="*/ 292692 h 448122"/>
              <a:gd name="connsiteX669" fmla="*/ 131931 w 447236"/>
              <a:gd name="connsiteY669" fmla="*/ 292385 h 448122"/>
              <a:gd name="connsiteX670" fmla="*/ 131931 w 447236"/>
              <a:gd name="connsiteY670" fmla="*/ 291772 h 448122"/>
              <a:gd name="connsiteX671" fmla="*/ 131624 w 447236"/>
              <a:gd name="connsiteY671" fmla="*/ 291466 h 448122"/>
              <a:gd name="connsiteX672" fmla="*/ 130397 w 447236"/>
              <a:gd name="connsiteY672" fmla="*/ 291466 h 448122"/>
              <a:gd name="connsiteX673" fmla="*/ 130397 w 447236"/>
              <a:gd name="connsiteY673" fmla="*/ 291159 h 448122"/>
              <a:gd name="connsiteX674" fmla="*/ 130397 w 447236"/>
              <a:gd name="connsiteY674" fmla="*/ 290852 h 448122"/>
              <a:gd name="connsiteX675" fmla="*/ 130397 w 447236"/>
              <a:gd name="connsiteY675" fmla="*/ 290546 h 448122"/>
              <a:gd name="connsiteX676" fmla="*/ 130703 w 447236"/>
              <a:gd name="connsiteY676" fmla="*/ 290546 h 448122"/>
              <a:gd name="connsiteX677" fmla="*/ 132238 w 447236"/>
              <a:gd name="connsiteY677" fmla="*/ 290546 h 448122"/>
              <a:gd name="connsiteX678" fmla="*/ 132545 w 447236"/>
              <a:gd name="connsiteY678" fmla="*/ 290546 h 448122"/>
              <a:gd name="connsiteX679" fmla="*/ 132545 w 447236"/>
              <a:gd name="connsiteY679" fmla="*/ 289932 h 448122"/>
              <a:gd name="connsiteX680" fmla="*/ 132238 w 447236"/>
              <a:gd name="connsiteY680" fmla="*/ 289626 h 448122"/>
              <a:gd name="connsiteX681" fmla="*/ 129783 w 447236"/>
              <a:gd name="connsiteY681" fmla="*/ 289626 h 448122"/>
              <a:gd name="connsiteX682" fmla="*/ 129476 w 447236"/>
              <a:gd name="connsiteY682" fmla="*/ 289626 h 448122"/>
              <a:gd name="connsiteX683" fmla="*/ 126099 w 447236"/>
              <a:gd name="connsiteY683" fmla="*/ 289626 h 448122"/>
              <a:gd name="connsiteX684" fmla="*/ 125485 w 447236"/>
              <a:gd name="connsiteY684" fmla="*/ 289932 h 448122"/>
              <a:gd name="connsiteX685" fmla="*/ 125178 w 447236"/>
              <a:gd name="connsiteY685" fmla="*/ 290546 h 448122"/>
              <a:gd name="connsiteX686" fmla="*/ 125178 w 447236"/>
              <a:gd name="connsiteY686" fmla="*/ 291159 h 448122"/>
              <a:gd name="connsiteX687" fmla="*/ 124565 w 447236"/>
              <a:gd name="connsiteY687" fmla="*/ 292999 h 448122"/>
              <a:gd name="connsiteX688" fmla="*/ 124565 w 447236"/>
              <a:gd name="connsiteY688" fmla="*/ 293612 h 448122"/>
              <a:gd name="connsiteX689" fmla="*/ 124872 w 447236"/>
              <a:gd name="connsiteY689" fmla="*/ 294225 h 448122"/>
              <a:gd name="connsiteX690" fmla="*/ 125485 w 447236"/>
              <a:gd name="connsiteY690" fmla="*/ 294532 h 448122"/>
              <a:gd name="connsiteX691" fmla="*/ 126099 w 447236"/>
              <a:gd name="connsiteY691" fmla="*/ 294532 h 448122"/>
              <a:gd name="connsiteX692" fmla="*/ 127020 w 447236"/>
              <a:gd name="connsiteY692" fmla="*/ 294532 h 448122"/>
              <a:gd name="connsiteX693" fmla="*/ 127941 w 447236"/>
              <a:gd name="connsiteY693" fmla="*/ 294225 h 448122"/>
              <a:gd name="connsiteX694" fmla="*/ 127941 w 447236"/>
              <a:gd name="connsiteY694" fmla="*/ 293918 h 448122"/>
              <a:gd name="connsiteX695" fmla="*/ 127327 w 447236"/>
              <a:gd name="connsiteY695" fmla="*/ 293305 h 448122"/>
              <a:gd name="connsiteX696" fmla="*/ 127020 w 447236"/>
              <a:gd name="connsiteY696" fmla="*/ 293305 h 448122"/>
              <a:gd name="connsiteX697" fmla="*/ 126713 w 447236"/>
              <a:gd name="connsiteY697" fmla="*/ 293612 h 448122"/>
              <a:gd name="connsiteX698" fmla="*/ 126406 w 447236"/>
              <a:gd name="connsiteY698" fmla="*/ 293612 h 448122"/>
              <a:gd name="connsiteX699" fmla="*/ 126099 w 447236"/>
              <a:gd name="connsiteY699" fmla="*/ 293612 h 448122"/>
              <a:gd name="connsiteX700" fmla="*/ 125792 w 447236"/>
              <a:gd name="connsiteY700" fmla="*/ 293305 h 448122"/>
              <a:gd name="connsiteX701" fmla="*/ 125792 w 447236"/>
              <a:gd name="connsiteY701" fmla="*/ 292999 h 448122"/>
              <a:gd name="connsiteX702" fmla="*/ 126099 w 447236"/>
              <a:gd name="connsiteY702" fmla="*/ 291159 h 448122"/>
              <a:gd name="connsiteX703" fmla="*/ 126406 w 447236"/>
              <a:gd name="connsiteY703" fmla="*/ 290852 h 448122"/>
              <a:gd name="connsiteX704" fmla="*/ 126406 w 447236"/>
              <a:gd name="connsiteY704" fmla="*/ 290546 h 448122"/>
              <a:gd name="connsiteX705" fmla="*/ 126713 w 447236"/>
              <a:gd name="connsiteY705" fmla="*/ 290546 h 448122"/>
              <a:gd name="connsiteX706" fmla="*/ 127020 w 447236"/>
              <a:gd name="connsiteY706" fmla="*/ 290546 h 448122"/>
              <a:gd name="connsiteX707" fmla="*/ 127634 w 447236"/>
              <a:gd name="connsiteY707" fmla="*/ 290852 h 448122"/>
              <a:gd name="connsiteX708" fmla="*/ 127941 w 447236"/>
              <a:gd name="connsiteY708" fmla="*/ 290852 h 448122"/>
              <a:gd name="connsiteX709" fmla="*/ 128248 w 447236"/>
              <a:gd name="connsiteY709" fmla="*/ 290546 h 448122"/>
              <a:gd name="connsiteX710" fmla="*/ 128248 w 447236"/>
              <a:gd name="connsiteY710" fmla="*/ 290239 h 448122"/>
              <a:gd name="connsiteX711" fmla="*/ 127634 w 447236"/>
              <a:gd name="connsiteY711" fmla="*/ 289626 h 448122"/>
              <a:gd name="connsiteX712" fmla="*/ 127020 w 447236"/>
              <a:gd name="connsiteY712" fmla="*/ 289626 h 448122"/>
              <a:gd name="connsiteX713" fmla="*/ 126099 w 447236"/>
              <a:gd name="connsiteY713" fmla="*/ 289626 h 448122"/>
              <a:gd name="connsiteX714" fmla="*/ 120881 w 447236"/>
              <a:gd name="connsiteY714" fmla="*/ 289626 h 448122"/>
              <a:gd name="connsiteX715" fmla="*/ 120574 w 447236"/>
              <a:gd name="connsiteY715" fmla="*/ 289932 h 448122"/>
              <a:gd name="connsiteX716" fmla="*/ 119653 w 447236"/>
              <a:gd name="connsiteY716" fmla="*/ 294532 h 448122"/>
              <a:gd name="connsiteX717" fmla="*/ 119960 w 447236"/>
              <a:gd name="connsiteY717" fmla="*/ 294532 h 448122"/>
              <a:gd name="connsiteX718" fmla="*/ 120574 w 447236"/>
              <a:gd name="connsiteY718" fmla="*/ 294532 h 448122"/>
              <a:gd name="connsiteX719" fmla="*/ 120881 w 447236"/>
              <a:gd name="connsiteY719" fmla="*/ 294532 h 448122"/>
              <a:gd name="connsiteX720" fmla="*/ 121495 w 447236"/>
              <a:gd name="connsiteY720" fmla="*/ 292079 h 448122"/>
              <a:gd name="connsiteX721" fmla="*/ 122416 w 447236"/>
              <a:gd name="connsiteY721" fmla="*/ 294532 h 448122"/>
              <a:gd name="connsiteX722" fmla="*/ 122723 w 447236"/>
              <a:gd name="connsiteY722" fmla="*/ 294532 h 448122"/>
              <a:gd name="connsiteX723" fmla="*/ 123337 w 447236"/>
              <a:gd name="connsiteY723" fmla="*/ 294532 h 448122"/>
              <a:gd name="connsiteX724" fmla="*/ 124258 w 447236"/>
              <a:gd name="connsiteY724" fmla="*/ 289932 h 448122"/>
              <a:gd name="connsiteX725" fmla="*/ 124258 w 447236"/>
              <a:gd name="connsiteY725" fmla="*/ 289626 h 448122"/>
              <a:gd name="connsiteX726" fmla="*/ 123337 w 447236"/>
              <a:gd name="connsiteY726" fmla="*/ 289626 h 448122"/>
              <a:gd name="connsiteX727" fmla="*/ 123337 w 447236"/>
              <a:gd name="connsiteY727" fmla="*/ 289932 h 448122"/>
              <a:gd name="connsiteX728" fmla="*/ 122723 w 447236"/>
              <a:gd name="connsiteY728" fmla="*/ 292385 h 448122"/>
              <a:gd name="connsiteX729" fmla="*/ 121802 w 447236"/>
              <a:gd name="connsiteY729" fmla="*/ 289932 h 448122"/>
              <a:gd name="connsiteX730" fmla="*/ 121495 w 447236"/>
              <a:gd name="connsiteY730" fmla="*/ 289626 h 448122"/>
              <a:gd name="connsiteX731" fmla="*/ 120881 w 447236"/>
              <a:gd name="connsiteY731" fmla="*/ 289626 h 448122"/>
              <a:gd name="connsiteX732" fmla="*/ 117198 w 447236"/>
              <a:gd name="connsiteY732" fmla="*/ 289626 h 448122"/>
              <a:gd name="connsiteX733" fmla="*/ 115356 w 447236"/>
              <a:gd name="connsiteY733" fmla="*/ 294532 h 448122"/>
              <a:gd name="connsiteX734" fmla="*/ 116277 w 447236"/>
              <a:gd name="connsiteY734" fmla="*/ 294532 h 448122"/>
              <a:gd name="connsiteX735" fmla="*/ 116584 w 447236"/>
              <a:gd name="connsiteY735" fmla="*/ 294532 h 448122"/>
              <a:gd name="connsiteX736" fmla="*/ 116584 w 447236"/>
              <a:gd name="connsiteY736" fmla="*/ 293918 h 448122"/>
              <a:gd name="connsiteX737" fmla="*/ 116891 w 447236"/>
              <a:gd name="connsiteY737" fmla="*/ 293612 h 448122"/>
              <a:gd name="connsiteX738" fmla="*/ 117812 w 447236"/>
              <a:gd name="connsiteY738" fmla="*/ 293612 h 448122"/>
              <a:gd name="connsiteX739" fmla="*/ 118119 w 447236"/>
              <a:gd name="connsiteY739" fmla="*/ 293918 h 448122"/>
              <a:gd name="connsiteX740" fmla="*/ 118119 w 447236"/>
              <a:gd name="connsiteY740" fmla="*/ 294532 h 448122"/>
              <a:gd name="connsiteX741" fmla="*/ 119040 w 447236"/>
              <a:gd name="connsiteY741" fmla="*/ 294532 h 448122"/>
              <a:gd name="connsiteX742" fmla="*/ 119040 w 447236"/>
              <a:gd name="connsiteY742" fmla="*/ 289626 h 448122"/>
              <a:gd name="connsiteX743" fmla="*/ 118733 w 447236"/>
              <a:gd name="connsiteY743" fmla="*/ 289626 h 448122"/>
              <a:gd name="connsiteX744" fmla="*/ 117505 w 447236"/>
              <a:gd name="connsiteY744" fmla="*/ 289626 h 448122"/>
              <a:gd name="connsiteX745" fmla="*/ 117198 w 447236"/>
              <a:gd name="connsiteY745" fmla="*/ 289626 h 448122"/>
              <a:gd name="connsiteX746" fmla="*/ 112901 w 447236"/>
              <a:gd name="connsiteY746" fmla="*/ 289626 h 448122"/>
              <a:gd name="connsiteX747" fmla="*/ 112901 w 447236"/>
              <a:gd name="connsiteY747" fmla="*/ 289932 h 448122"/>
              <a:gd name="connsiteX748" fmla="*/ 111980 w 447236"/>
              <a:gd name="connsiteY748" fmla="*/ 294532 h 448122"/>
              <a:gd name="connsiteX749" fmla="*/ 114742 w 447236"/>
              <a:gd name="connsiteY749" fmla="*/ 294532 h 448122"/>
              <a:gd name="connsiteX750" fmla="*/ 115049 w 447236"/>
              <a:gd name="connsiteY750" fmla="*/ 294532 h 448122"/>
              <a:gd name="connsiteX751" fmla="*/ 115356 w 447236"/>
              <a:gd name="connsiteY751" fmla="*/ 293918 h 448122"/>
              <a:gd name="connsiteX752" fmla="*/ 115049 w 447236"/>
              <a:gd name="connsiteY752" fmla="*/ 293612 h 448122"/>
              <a:gd name="connsiteX753" fmla="*/ 113515 w 447236"/>
              <a:gd name="connsiteY753" fmla="*/ 293612 h 448122"/>
              <a:gd name="connsiteX754" fmla="*/ 113208 w 447236"/>
              <a:gd name="connsiteY754" fmla="*/ 293612 h 448122"/>
              <a:gd name="connsiteX755" fmla="*/ 113208 w 447236"/>
              <a:gd name="connsiteY755" fmla="*/ 293305 h 448122"/>
              <a:gd name="connsiteX756" fmla="*/ 113821 w 447236"/>
              <a:gd name="connsiteY756" fmla="*/ 289932 h 448122"/>
              <a:gd name="connsiteX757" fmla="*/ 113821 w 447236"/>
              <a:gd name="connsiteY757" fmla="*/ 289626 h 448122"/>
              <a:gd name="connsiteX758" fmla="*/ 112901 w 447236"/>
              <a:gd name="connsiteY758" fmla="*/ 289626 h 448122"/>
              <a:gd name="connsiteX759" fmla="*/ 108296 w 447236"/>
              <a:gd name="connsiteY759" fmla="*/ 289626 h 448122"/>
              <a:gd name="connsiteX760" fmla="*/ 108296 w 447236"/>
              <a:gd name="connsiteY760" fmla="*/ 289932 h 448122"/>
              <a:gd name="connsiteX761" fmla="*/ 107683 w 447236"/>
              <a:gd name="connsiteY761" fmla="*/ 292999 h 448122"/>
              <a:gd name="connsiteX762" fmla="*/ 107683 w 447236"/>
              <a:gd name="connsiteY762" fmla="*/ 293612 h 448122"/>
              <a:gd name="connsiteX763" fmla="*/ 107989 w 447236"/>
              <a:gd name="connsiteY763" fmla="*/ 294225 h 448122"/>
              <a:gd name="connsiteX764" fmla="*/ 108296 w 447236"/>
              <a:gd name="connsiteY764" fmla="*/ 294532 h 448122"/>
              <a:gd name="connsiteX765" fmla="*/ 109217 w 447236"/>
              <a:gd name="connsiteY765" fmla="*/ 294532 h 448122"/>
              <a:gd name="connsiteX766" fmla="*/ 110138 w 447236"/>
              <a:gd name="connsiteY766" fmla="*/ 294532 h 448122"/>
              <a:gd name="connsiteX767" fmla="*/ 110445 w 447236"/>
              <a:gd name="connsiteY767" fmla="*/ 294225 h 448122"/>
              <a:gd name="connsiteX768" fmla="*/ 111059 w 447236"/>
              <a:gd name="connsiteY768" fmla="*/ 293612 h 448122"/>
              <a:gd name="connsiteX769" fmla="*/ 111059 w 447236"/>
              <a:gd name="connsiteY769" fmla="*/ 292999 h 448122"/>
              <a:gd name="connsiteX770" fmla="*/ 111673 w 447236"/>
              <a:gd name="connsiteY770" fmla="*/ 289932 h 448122"/>
              <a:gd name="connsiteX771" fmla="*/ 111673 w 447236"/>
              <a:gd name="connsiteY771" fmla="*/ 289626 h 448122"/>
              <a:gd name="connsiteX772" fmla="*/ 110752 w 447236"/>
              <a:gd name="connsiteY772" fmla="*/ 289626 h 448122"/>
              <a:gd name="connsiteX773" fmla="*/ 110445 w 447236"/>
              <a:gd name="connsiteY773" fmla="*/ 289932 h 448122"/>
              <a:gd name="connsiteX774" fmla="*/ 109831 w 447236"/>
              <a:gd name="connsiteY774" fmla="*/ 292999 h 448122"/>
              <a:gd name="connsiteX775" fmla="*/ 109831 w 447236"/>
              <a:gd name="connsiteY775" fmla="*/ 293612 h 448122"/>
              <a:gd name="connsiteX776" fmla="*/ 109217 w 447236"/>
              <a:gd name="connsiteY776" fmla="*/ 293612 h 448122"/>
              <a:gd name="connsiteX777" fmla="*/ 108910 w 447236"/>
              <a:gd name="connsiteY777" fmla="*/ 293612 h 448122"/>
              <a:gd name="connsiteX778" fmla="*/ 108603 w 447236"/>
              <a:gd name="connsiteY778" fmla="*/ 292999 h 448122"/>
              <a:gd name="connsiteX779" fmla="*/ 109217 w 447236"/>
              <a:gd name="connsiteY779" fmla="*/ 289932 h 448122"/>
              <a:gd name="connsiteX780" fmla="*/ 109217 w 447236"/>
              <a:gd name="connsiteY780" fmla="*/ 289626 h 448122"/>
              <a:gd name="connsiteX781" fmla="*/ 108296 w 447236"/>
              <a:gd name="connsiteY781" fmla="*/ 289626 h 448122"/>
              <a:gd name="connsiteX782" fmla="*/ 103692 w 447236"/>
              <a:gd name="connsiteY782" fmla="*/ 289626 h 448122"/>
              <a:gd name="connsiteX783" fmla="*/ 103692 w 447236"/>
              <a:gd name="connsiteY783" fmla="*/ 289932 h 448122"/>
              <a:gd name="connsiteX784" fmla="*/ 102771 w 447236"/>
              <a:gd name="connsiteY784" fmla="*/ 294532 h 448122"/>
              <a:gd name="connsiteX785" fmla="*/ 103078 w 447236"/>
              <a:gd name="connsiteY785" fmla="*/ 294532 h 448122"/>
              <a:gd name="connsiteX786" fmla="*/ 105227 w 447236"/>
              <a:gd name="connsiteY786" fmla="*/ 294532 h 448122"/>
              <a:gd name="connsiteX787" fmla="*/ 105841 w 447236"/>
              <a:gd name="connsiteY787" fmla="*/ 294532 h 448122"/>
              <a:gd name="connsiteX788" fmla="*/ 106148 w 447236"/>
              <a:gd name="connsiteY788" fmla="*/ 294225 h 448122"/>
              <a:gd name="connsiteX789" fmla="*/ 106762 w 447236"/>
              <a:gd name="connsiteY789" fmla="*/ 293612 h 448122"/>
              <a:gd name="connsiteX790" fmla="*/ 106762 w 447236"/>
              <a:gd name="connsiteY790" fmla="*/ 292999 h 448122"/>
              <a:gd name="connsiteX791" fmla="*/ 106762 w 447236"/>
              <a:gd name="connsiteY791" fmla="*/ 292385 h 448122"/>
              <a:gd name="connsiteX792" fmla="*/ 106148 w 447236"/>
              <a:gd name="connsiteY792" fmla="*/ 292079 h 448122"/>
              <a:gd name="connsiteX793" fmla="*/ 106762 w 447236"/>
              <a:gd name="connsiteY793" fmla="*/ 291772 h 448122"/>
              <a:gd name="connsiteX794" fmla="*/ 106762 w 447236"/>
              <a:gd name="connsiteY794" fmla="*/ 291466 h 448122"/>
              <a:gd name="connsiteX795" fmla="*/ 107069 w 447236"/>
              <a:gd name="connsiteY795" fmla="*/ 291159 h 448122"/>
              <a:gd name="connsiteX796" fmla="*/ 107069 w 447236"/>
              <a:gd name="connsiteY796" fmla="*/ 290852 h 448122"/>
              <a:gd name="connsiteX797" fmla="*/ 106762 w 447236"/>
              <a:gd name="connsiteY797" fmla="*/ 289932 h 448122"/>
              <a:gd name="connsiteX798" fmla="*/ 105534 w 447236"/>
              <a:gd name="connsiteY798" fmla="*/ 289626 h 448122"/>
              <a:gd name="connsiteX799" fmla="*/ 103999 w 447236"/>
              <a:gd name="connsiteY799" fmla="*/ 289626 h 448122"/>
              <a:gd name="connsiteX800" fmla="*/ 103692 w 447236"/>
              <a:gd name="connsiteY800" fmla="*/ 289626 h 448122"/>
              <a:gd name="connsiteX801" fmla="*/ 98167 w 447236"/>
              <a:gd name="connsiteY801" fmla="*/ 289626 h 448122"/>
              <a:gd name="connsiteX802" fmla="*/ 98167 w 447236"/>
              <a:gd name="connsiteY802" fmla="*/ 289932 h 448122"/>
              <a:gd name="connsiteX803" fmla="*/ 97553 w 447236"/>
              <a:gd name="connsiteY803" fmla="*/ 292079 h 448122"/>
              <a:gd name="connsiteX804" fmla="*/ 97246 w 447236"/>
              <a:gd name="connsiteY804" fmla="*/ 294532 h 448122"/>
              <a:gd name="connsiteX805" fmla="*/ 98167 w 447236"/>
              <a:gd name="connsiteY805" fmla="*/ 294532 h 448122"/>
              <a:gd name="connsiteX806" fmla="*/ 98474 w 447236"/>
              <a:gd name="connsiteY806" fmla="*/ 293612 h 448122"/>
              <a:gd name="connsiteX807" fmla="*/ 98781 w 447236"/>
              <a:gd name="connsiteY807" fmla="*/ 292385 h 448122"/>
              <a:gd name="connsiteX808" fmla="*/ 98781 w 447236"/>
              <a:gd name="connsiteY808" fmla="*/ 293305 h 448122"/>
              <a:gd name="connsiteX809" fmla="*/ 99088 w 447236"/>
              <a:gd name="connsiteY809" fmla="*/ 294225 h 448122"/>
              <a:gd name="connsiteX810" fmla="*/ 99088 w 447236"/>
              <a:gd name="connsiteY810" fmla="*/ 294532 h 448122"/>
              <a:gd name="connsiteX811" fmla="*/ 99395 w 447236"/>
              <a:gd name="connsiteY811" fmla="*/ 294532 h 448122"/>
              <a:gd name="connsiteX812" fmla="*/ 99702 w 447236"/>
              <a:gd name="connsiteY812" fmla="*/ 294532 h 448122"/>
              <a:gd name="connsiteX813" fmla="*/ 100009 w 447236"/>
              <a:gd name="connsiteY813" fmla="*/ 294225 h 448122"/>
              <a:gd name="connsiteX814" fmla="*/ 100623 w 447236"/>
              <a:gd name="connsiteY814" fmla="*/ 293305 h 448122"/>
              <a:gd name="connsiteX815" fmla="*/ 100930 w 447236"/>
              <a:gd name="connsiteY815" fmla="*/ 292385 h 448122"/>
              <a:gd name="connsiteX816" fmla="*/ 101237 w 447236"/>
              <a:gd name="connsiteY816" fmla="*/ 292385 h 448122"/>
              <a:gd name="connsiteX817" fmla="*/ 100930 w 447236"/>
              <a:gd name="connsiteY817" fmla="*/ 293305 h 448122"/>
              <a:gd name="connsiteX818" fmla="*/ 100623 w 447236"/>
              <a:gd name="connsiteY818" fmla="*/ 294532 h 448122"/>
              <a:gd name="connsiteX819" fmla="*/ 100930 w 447236"/>
              <a:gd name="connsiteY819" fmla="*/ 294532 h 448122"/>
              <a:gd name="connsiteX820" fmla="*/ 101544 w 447236"/>
              <a:gd name="connsiteY820" fmla="*/ 294532 h 448122"/>
              <a:gd name="connsiteX821" fmla="*/ 101851 w 447236"/>
              <a:gd name="connsiteY821" fmla="*/ 294532 h 448122"/>
              <a:gd name="connsiteX822" fmla="*/ 102771 w 447236"/>
              <a:gd name="connsiteY822" fmla="*/ 289932 h 448122"/>
              <a:gd name="connsiteX823" fmla="*/ 102771 w 447236"/>
              <a:gd name="connsiteY823" fmla="*/ 289626 h 448122"/>
              <a:gd name="connsiteX824" fmla="*/ 102464 w 447236"/>
              <a:gd name="connsiteY824" fmla="*/ 289626 h 448122"/>
              <a:gd name="connsiteX825" fmla="*/ 101851 w 447236"/>
              <a:gd name="connsiteY825" fmla="*/ 289626 h 448122"/>
              <a:gd name="connsiteX826" fmla="*/ 101544 w 447236"/>
              <a:gd name="connsiteY826" fmla="*/ 289626 h 448122"/>
              <a:gd name="connsiteX827" fmla="*/ 101544 w 447236"/>
              <a:gd name="connsiteY827" fmla="*/ 289932 h 448122"/>
              <a:gd name="connsiteX828" fmla="*/ 100623 w 447236"/>
              <a:gd name="connsiteY828" fmla="*/ 291466 h 448122"/>
              <a:gd name="connsiteX829" fmla="*/ 100316 w 447236"/>
              <a:gd name="connsiteY829" fmla="*/ 292079 h 448122"/>
              <a:gd name="connsiteX830" fmla="*/ 99702 w 447236"/>
              <a:gd name="connsiteY830" fmla="*/ 292692 h 448122"/>
              <a:gd name="connsiteX831" fmla="*/ 99395 w 447236"/>
              <a:gd name="connsiteY831" fmla="*/ 291466 h 448122"/>
              <a:gd name="connsiteX832" fmla="*/ 99088 w 447236"/>
              <a:gd name="connsiteY832" fmla="*/ 289932 h 448122"/>
              <a:gd name="connsiteX833" fmla="*/ 99088 w 447236"/>
              <a:gd name="connsiteY833" fmla="*/ 289626 h 448122"/>
              <a:gd name="connsiteX834" fmla="*/ 98781 w 447236"/>
              <a:gd name="connsiteY834" fmla="*/ 289626 h 448122"/>
              <a:gd name="connsiteX835" fmla="*/ 98167 w 447236"/>
              <a:gd name="connsiteY835" fmla="*/ 289626 h 448122"/>
              <a:gd name="connsiteX836" fmla="*/ 94791 w 447236"/>
              <a:gd name="connsiteY836" fmla="*/ 289626 h 448122"/>
              <a:gd name="connsiteX837" fmla="*/ 92642 w 447236"/>
              <a:gd name="connsiteY837" fmla="*/ 294532 h 448122"/>
              <a:gd name="connsiteX838" fmla="*/ 92949 w 447236"/>
              <a:gd name="connsiteY838" fmla="*/ 294532 h 448122"/>
              <a:gd name="connsiteX839" fmla="*/ 93563 w 447236"/>
              <a:gd name="connsiteY839" fmla="*/ 294532 h 448122"/>
              <a:gd name="connsiteX840" fmla="*/ 93870 w 447236"/>
              <a:gd name="connsiteY840" fmla="*/ 294532 h 448122"/>
              <a:gd name="connsiteX841" fmla="*/ 94177 w 447236"/>
              <a:gd name="connsiteY841" fmla="*/ 293918 h 448122"/>
              <a:gd name="connsiteX842" fmla="*/ 94177 w 447236"/>
              <a:gd name="connsiteY842" fmla="*/ 293612 h 448122"/>
              <a:gd name="connsiteX843" fmla="*/ 95098 w 447236"/>
              <a:gd name="connsiteY843" fmla="*/ 293612 h 448122"/>
              <a:gd name="connsiteX844" fmla="*/ 95405 w 447236"/>
              <a:gd name="connsiteY844" fmla="*/ 293612 h 448122"/>
              <a:gd name="connsiteX845" fmla="*/ 95405 w 447236"/>
              <a:gd name="connsiteY845" fmla="*/ 293918 h 448122"/>
              <a:gd name="connsiteX846" fmla="*/ 95405 w 447236"/>
              <a:gd name="connsiteY846" fmla="*/ 294532 h 448122"/>
              <a:gd name="connsiteX847" fmla="*/ 95712 w 447236"/>
              <a:gd name="connsiteY847" fmla="*/ 294532 h 448122"/>
              <a:gd name="connsiteX848" fmla="*/ 96326 w 447236"/>
              <a:gd name="connsiteY848" fmla="*/ 294532 h 448122"/>
              <a:gd name="connsiteX849" fmla="*/ 96632 w 447236"/>
              <a:gd name="connsiteY849" fmla="*/ 294532 h 448122"/>
              <a:gd name="connsiteX850" fmla="*/ 96326 w 447236"/>
              <a:gd name="connsiteY850" fmla="*/ 289626 h 448122"/>
              <a:gd name="connsiteX851" fmla="*/ 96019 w 447236"/>
              <a:gd name="connsiteY851" fmla="*/ 289626 h 448122"/>
              <a:gd name="connsiteX852" fmla="*/ 95098 w 447236"/>
              <a:gd name="connsiteY852" fmla="*/ 289626 h 448122"/>
              <a:gd name="connsiteX853" fmla="*/ 94791 w 447236"/>
              <a:gd name="connsiteY853" fmla="*/ 289626 h 448122"/>
              <a:gd name="connsiteX854" fmla="*/ 191034 w 447236"/>
              <a:gd name="connsiteY854" fmla="*/ 283383 h 448122"/>
              <a:gd name="connsiteX855" fmla="*/ 192828 w 447236"/>
              <a:gd name="connsiteY855" fmla="*/ 292905 h 448122"/>
              <a:gd name="connsiteX856" fmla="*/ 192432 w 447236"/>
              <a:gd name="connsiteY856" fmla="*/ 291723 h 448122"/>
              <a:gd name="connsiteX857" fmla="*/ 191466 w 447236"/>
              <a:gd name="connsiteY857" fmla="*/ 286111 h 448122"/>
              <a:gd name="connsiteX858" fmla="*/ 289502 w 447236"/>
              <a:gd name="connsiteY858" fmla="*/ 279549 h 448122"/>
              <a:gd name="connsiteX859" fmla="*/ 289196 w 447236"/>
              <a:gd name="connsiteY859" fmla="*/ 279855 h 448122"/>
              <a:gd name="connsiteX860" fmla="*/ 289502 w 447236"/>
              <a:gd name="connsiteY860" fmla="*/ 280162 h 448122"/>
              <a:gd name="connsiteX861" fmla="*/ 295301 w 447236"/>
              <a:gd name="connsiteY861" fmla="*/ 280162 h 448122"/>
              <a:gd name="connsiteX862" fmla="*/ 295911 w 447236"/>
              <a:gd name="connsiteY862" fmla="*/ 279855 h 448122"/>
              <a:gd name="connsiteX863" fmla="*/ 295301 w 447236"/>
              <a:gd name="connsiteY863" fmla="*/ 279549 h 448122"/>
              <a:gd name="connsiteX864" fmla="*/ 289502 w 447236"/>
              <a:gd name="connsiteY864" fmla="*/ 279549 h 448122"/>
              <a:gd name="connsiteX865" fmla="*/ 190141 w 447236"/>
              <a:gd name="connsiteY865" fmla="*/ 277736 h 448122"/>
              <a:gd name="connsiteX866" fmla="*/ 191034 w 447236"/>
              <a:gd name="connsiteY866" fmla="*/ 283383 h 448122"/>
              <a:gd name="connsiteX867" fmla="*/ 190585 w 447236"/>
              <a:gd name="connsiteY867" fmla="*/ 280999 h 448122"/>
              <a:gd name="connsiteX868" fmla="*/ 289502 w 447236"/>
              <a:gd name="connsiteY868" fmla="*/ 275870 h 448122"/>
              <a:gd name="connsiteX869" fmla="*/ 289196 w 447236"/>
              <a:gd name="connsiteY869" fmla="*/ 276177 h 448122"/>
              <a:gd name="connsiteX870" fmla="*/ 289502 w 447236"/>
              <a:gd name="connsiteY870" fmla="*/ 276790 h 448122"/>
              <a:gd name="connsiteX871" fmla="*/ 295301 w 447236"/>
              <a:gd name="connsiteY871" fmla="*/ 276790 h 448122"/>
              <a:gd name="connsiteX872" fmla="*/ 295911 w 447236"/>
              <a:gd name="connsiteY872" fmla="*/ 276177 h 448122"/>
              <a:gd name="connsiteX873" fmla="*/ 295301 w 447236"/>
              <a:gd name="connsiteY873" fmla="*/ 275870 h 448122"/>
              <a:gd name="connsiteX874" fmla="*/ 289502 w 447236"/>
              <a:gd name="connsiteY874" fmla="*/ 275870 h 448122"/>
              <a:gd name="connsiteX875" fmla="*/ 371594 w 447236"/>
              <a:gd name="connsiteY875" fmla="*/ 274689 h 448122"/>
              <a:gd name="connsiteX876" fmla="*/ 376166 w 447236"/>
              <a:gd name="connsiteY876" fmla="*/ 282575 h 448122"/>
              <a:gd name="connsiteX877" fmla="*/ 380738 w 447236"/>
              <a:gd name="connsiteY877" fmla="*/ 274689 h 448122"/>
              <a:gd name="connsiteX878" fmla="*/ 289502 w 447236"/>
              <a:gd name="connsiteY878" fmla="*/ 272498 h 448122"/>
              <a:gd name="connsiteX879" fmla="*/ 289196 w 447236"/>
              <a:gd name="connsiteY879" fmla="*/ 272804 h 448122"/>
              <a:gd name="connsiteX880" fmla="*/ 289502 w 447236"/>
              <a:gd name="connsiteY880" fmla="*/ 273111 h 448122"/>
              <a:gd name="connsiteX881" fmla="*/ 295301 w 447236"/>
              <a:gd name="connsiteY881" fmla="*/ 273111 h 448122"/>
              <a:gd name="connsiteX882" fmla="*/ 295911 w 447236"/>
              <a:gd name="connsiteY882" fmla="*/ 272804 h 448122"/>
              <a:gd name="connsiteX883" fmla="*/ 295301 w 447236"/>
              <a:gd name="connsiteY883" fmla="*/ 272498 h 448122"/>
              <a:gd name="connsiteX884" fmla="*/ 289502 w 447236"/>
              <a:gd name="connsiteY884" fmla="*/ 272498 h 448122"/>
              <a:gd name="connsiteX885" fmla="*/ 289502 w 447236"/>
              <a:gd name="connsiteY885" fmla="*/ 269126 h 448122"/>
              <a:gd name="connsiteX886" fmla="*/ 289196 w 447236"/>
              <a:gd name="connsiteY886" fmla="*/ 269432 h 448122"/>
              <a:gd name="connsiteX887" fmla="*/ 289502 w 447236"/>
              <a:gd name="connsiteY887" fmla="*/ 269739 h 448122"/>
              <a:gd name="connsiteX888" fmla="*/ 295301 w 447236"/>
              <a:gd name="connsiteY888" fmla="*/ 269739 h 448122"/>
              <a:gd name="connsiteX889" fmla="*/ 295911 w 447236"/>
              <a:gd name="connsiteY889" fmla="*/ 269432 h 448122"/>
              <a:gd name="connsiteX890" fmla="*/ 295301 w 447236"/>
              <a:gd name="connsiteY890" fmla="*/ 269126 h 448122"/>
              <a:gd name="connsiteX891" fmla="*/ 289502 w 447236"/>
              <a:gd name="connsiteY891" fmla="*/ 269126 h 448122"/>
              <a:gd name="connsiteX892" fmla="*/ 2454 w 447236"/>
              <a:gd name="connsiteY892" fmla="*/ 269052 h 448122"/>
              <a:gd name="connsiteX893" fmla="*/ 1227 w 447236"/>
              <a:gd name="connsiteY893" fmla="*/ 270278 h 448122"/>
              <a:gd name="connsiteX894" fmla="*/ 1227 w 447236"/>
              <a:gd name="connsiteY894" fmla="*/ 294794 h 448122"/>
              <a:gd name="connsiteX895" fmla="*/ 2454 w 447236"/>
              <a:gd name="connsiteY895" fmla="*/ 296326 h 448122"/>
              <a:gd name="connsiteX896" fmla="*/ 36512 w 447236"/>
              <a:gd name="connsiteY896" fmla="*/ 296326 h 448122"/>
              <a:gd name="connsiteX897" fmla="*/ 37739 w 447236"/>
              <a:gd name="connsiteY897" fmla="*/ 294794 h 448122"/>
              <a:gd name="connsiteX898" fmla="*/ 37739 w 447236"/>
              <a:gd name="connsiteY898" fmla="*/ 270278 h 448122"/>
              <a:gd name="connsiteX899" fmla="*/ 36512 w 447236"/>
              <a:gd name="connsiteY899" fmla="*/ 269052 h 448122"/>
              <a:gd name="connsiteX900" fmla="*/ 133830 w 447236"/>
              <a:gd name="connsiteY900" fmla="*/ 267309 h 448122"/>
              <a:gd name="connsiteX901" fmla="*/ 135988 w 447236"/>
              <a:gd name="connsiteY901" fmla="*/ 267309 h 448122"/>
              <a:gd name="connsiteX902" fmla="*/ 136605 w 447236"/>
              <a:gd name="connsiteY902" fmla="*/ 267919 h 448122"/>
              <a:gd name="connsiteX903" fmla="*/ 136605 w 447236"/>
              <a:gd name="connsiteY903" fmla="*/ 272193 h 448122"/>
              <a:gd name="connsiteX904" fmla="*/ 140922 w 447236"/>
              <a:gd name="connsiteY904" fmla="*/ 272193 h 448122"/>
              <a:gd name="connsiteX905" fmla="*/ 141847 w 447236"/>
              <a:gd name="connsiteY905" fmla="*/ 273109 h 448122"/>
              <a:gd name="connsiteX906" fmla="*/ 141847 w 447236"/>
              <a:gd name="connsiteY906" fmla="*/ 274941 h 448122"/>
              <a:gd name="connsiteX907" fmla="*/ 140922 w 447236"/>
              <a:gd name="connsiteY907" fmla="*/ 275857 h 448122"/>
              <a:gd name="connsiteX908" fmla="*/ 136605 w 447236"/>
              <a:gd name="connsiteY908" fmla="*/ 275857 h 448122"/>
              <a:gd name="connsiteX909" fmla="*/ 136605 w 447236"/>
              <a:gd name="connsiteY909" fmla="*/ 280130 h 448122"/>
              <a:gd name="connsiteX910" fmla="*/ 135988 w 447236"/>
              <a:gd name="connsiteY910" fmla="*/ 280741 h 448122"/>
              <a:gd name="connsiteX911" fmla="*/ 133830 w 447236"/>
              <a:gd name="connsiteY911" fmla="*/ 280741 h 448122"/>
              <a:gd name="connsiteX912" fmla="*/ 133213 w 447236"/>
              <a:gd name="connsiteY912" fmla="*/ 280130 h 448122"/>
              <a:gd name="connsiteX913" fmla="*/ 133213 w 447236"/>
              <a:gd name="connsiteY913" fmla="*/ 275857 h 448122"/>
              <a:gd name="connsiteX914" fmla="*/ 128588 w 447236"/>
              <a:gd name="connsiteY914" fmla="*/ 275857 h 448122"/>
              <a:gd name="connsiteX915" fmla="*/ 127972 w 447236"/>
              <a:gd name="connsiteY915" fmla="*/ 274941 h 448122"/>
              <a:gd name="connsiteX916" fmla="*/ 127972 w 447236"/>
              <a:gd name="connsiteY916" fmla="*/ 273109 h 448122"/>
              <a:gd name="connsiteX917" fmla="*/ 128588 w 447236"/>
              <a:gd name="connsiteY917" fmla="*/ 272193 h 448122"/>
              <a:gd name="connsiteX918" fmla="*/ 133213 w 447236"/>
              <a:gd name="connsiteY918" fmla="*/ 272193 h 448122"/>
              <a:gd name="connsiteX919" fmla="*/ 133213 w 447236"/>
              <a:gd name="connsiteY919" fmla="*/ 267919 h 448122"/>
              <a:gd name="connsiteX920" fmla="*/ 133830 w 447236"/>
              <a:gd name="connsiteY920" fmla="*/ 267309 h 448122"/>
              <a:gd name="connsiteX921" fmla="*/ 289502 w 447236"/>
              <a:gd name="connsiteY921" fmla="*/ 265447 h 448122"/>
              <a:gd name="connsiteX922" fmla="*/ 289196 w 447236"/>
              <a:gd name="connsiteY922" fmla="*/ 266060 h 448122"/>
              <a:gd name="connsiteX923" fmla="*/ 289502 w 447236"/>
              <a:gd name="connsiteY923" fmla="*/ 266367 h 448122"/>
              <a:gd name="connsiteX924" fmla="*/ 295301 w 447236"/>
              <a:gd name="connsiteY924" fmla="*/ 266367 h 448122"/>
              <a:gd name="connsiteX925" fmla="*/ 295911 w 447236"/>
              <a:gd name="connsiteY925" fmla="*/ 266060 h 448122"/>
              <a:gd name="connsiteX926" fmla="*/ 295301 w 447236"/>
              <a:gd name="connsiteY926" fmla="*/ 265447 h 448122"/>
              <a:gd name="connsiteX927" fmla="*/ 289502 w 447236"/>
              <a:gd name="connsiteY927" fmla="*/ 265447 h 448122"/>
              <a:gd name="connsiteX928" fmla="*/ 366202 w 447236"/>
              <a:gd name="connsiteY928" fmla="*/ 265390 h 448122"/>
              <a:gd name="connsiteX929" fmla="*/ 366203 w 447236"/>
              <a:gd name="connsiteY929" fmla="*/ 265390 h 448122"/>
              <a:gd name="connsiteX930" fmla="*/ 386128 w 447236"/>
              <a:gd name="connsiteY930" fmla="*/ 265390 h 448122"/>
              <a:gd name="connsiteX931" fmla="*/ 386117 w 447236"/>
              <a:gd name="connsiteY931" fmla="*/ 265410 h 448122"/>
              <a:gd name="connsiteX932" fmla="*/ 386129 w 447236"/>
              <a:gd name="connsiteY932" fmla="*/ 265390 h 448122"/>
              <a:gd name="connsiteX933" fmla="*/ 394099 w 447236"/>
              <a:gd name="connsiteY933" fmla="*/ 269670 h 448122"/>
              <a:gd name="connsiteX934" fmla="*/ 381431 w 447236"/>
              <a:gd name="connsiteY934" fmla="*/ 291656 h 448122"/>
              <a:gd name="connsiteX935" fmla="*/ 394099 w 447236"/>
              <a:gd name="connsiteY935" fmla="*/ 313508 h 448122"/>
              <a:gd name="connsiteX936" fmla="*/ 386129 w 447236"/>
              <a:gd name="connsiteY936" fmla="*/ 318084 h 448122"/>
              <a:gd name="connsiteX937" fmla="*/ 376166 w 447236"/>
              <a:gd name="connsiteY937" fmla="*/ 300793 h 448122"/>
              <a:gd name="connsiteX938" fmla="*/ 366203 w 447236"/>
              <a:gd name="connsiteY938" fmla="*/ 318084 h 448122"/>
              <a:gd name="connsiteX939" fmla="*/ 358232 w 447236"/>
              <a:gd name="connsiteY939" fmla="*/ 313508 h 448122"/>
              <a:gd name="connsiteX940" fmla="*/ 370901 w 447236"/>
              <a:gd name="connsiteY940" fmla="*/ 291656 h 448122"/>
              <a:gd name="connsiteX941" fmla="*/ 358232 w 447236"/>
              <a:gd name="connsiteY941" fmla="*/ 269670 h 448122"/>
              <a:gd name="connsiteX942" fmla="*/ 366202 w 447236"/>
              <a:gd name="connsiteY942" fmla="*/ 265390 h 448122"/>
              <a:gd name="connsiteX943" fmla="*/ 255242 w 447236"/>
              <a:gd name="connsiteY943" fmla="*/ 265156 h 448122"/>
              <a:gd name="connsiteX944" fmla="*/ 256863 w 447236"/>
              <a:gd name="connsiteY944" fmla="*/ 277787 h 448122"/>
              <a:gd name="connsiteX945" fmla="*/ 257817 w 447236"/>
              <a:gd name="connsiteY945" fmla="*/ 278581 h 448122"/>
              <a:gd name="connsiteX946" fmla="*/ 257817 w 447236"/>
              <a:gd name="connsiteY946" fmla="*/ 282866 h 448122"/>
              <a:gd name="connsiteX947" fmla="*/ 256936 w 447236"/>
              <a:gd name="connsiteY947" fmla="*/ 294959 h 448122"/>
              <a:gd name="connsiteX948" fmla="*/ 246556 w 447236"/>
              <a:gd name="connsiteY948" fmla="*/ 300804 h 448122"/>
              <a:gd name="connsiteX949" fmla="*/ 247394 w 447236"/>
              <a:gd name="connsiteY949" fmla="*/ 304703 h 448122"/>
              <a:gd name="connsiteX950" fmla="*/ 247702 w 447236"/>
              <a:gd name="connsiteY950" fmla="*/ 305317 h 448122"/>
              <a:gd name="connsiteX951" fmla="*/ 251699 w 447236"/>
              <a:gd name="connsiteY951" fmla="*/ 311142 h 448122"/>
              <a:gd name="connsiteX952" fmla="*/ 252929 w 447236"/>
              <a:gd name="connsiteY952" fmla="*/ 312062 h 448122"/>
              <a:gd name="connsiteX953" fmla="*/ 259694 w 447236"/>
              <a:gd name="connsiteY953" fmla="*/ 314208 h 448122"/>
              <a:gd name="connsiteX954" fmla="*/ 267075 w 447236"/>
              <a:gd name="connsiteY954" fmla="*/ 312982 h 448122"/>
              <a:gd name="connsiteX955" fmla="*/ 272917 w 447236"/>
              <a:gd name="connsiteY955" fmla="*/ 308383 h 448122"/>
              <a:gd name="connsiteX956" fmla="*/ 277837 w 447236"/>
              <a:gd name="connsiteY956" fmla="*/ 296119 h 448122"/>
              <a:gd name="connsiteX957" fmla="*/ 273840 w 447236"/>
              <a:gd name="connsiteY957" fmla="*/ 282321 h 448122"/>
              <a:gd name="connsiteX958" fmla="*/ 268920 w 447236"/>
              <a:gd name="connsiteY958" fmla="*/ 275883 h 448122"/>
              <a:gd name="connsiteX959" fmla="*/ 266578 w 447236"/>
              <a:gd name="connsiteY959" fmla="*/ 273771 h 448122"/>
              <a:gd name="connsiteX960" fmla="*/ 264553 w 447236"/>
              <a:gd name="connsiteY960" fmla="*/ 279826 h 448122"/>
              <a:gd name="connsiteX961" fmla="*/ 267936 w 447236"/>
              <a:gd name="connsiteY961" fmla="*/ 291471 h 448122"/>
              <a:gd name="connsiteX962" fmla="*/ 270830 w 447236"/>
              <a:gd name="connsiteY962" fmla="*/ 295509 h 448122"/>
              <a:gd name="connsiteX963" fmla="*/ 271949 w 447236"/>
              <a:gd name="connsiteY963" fmla="*/ 295509 h 448122"/>
              <a:gd name="connsiteX964" fmla="*/ 274680 w 447236"/>
              <a:gd name="connsiteY964" fmla="*/ 298842 h 448122"/>
              <a:gd name="connsiteX965" fmla="*/ 274376 w 447236"/>
              <a:gd name="connsiteY965" fmla="*/ 299751 h 448122"/>
              <a:gd name="connsiteX966" fmla="*/ 273770 w 447236"/>
              <a:gd name="connsiteY966" fmla="*/ 300660 h 448122"/>
              <a:gd name="connsiteX967" fmla="*/ 272556 w 447236"/>
              <a:gd name="connsiteY967" fmla="*/ 300357 h 448122"/>
              <a:gd name="connsiteX968" fmla="*/ 269826 w 447236"/>
              <a:gd name="connsiteY968" fmla="*/ 297327 h 448122"/>
              <a:gd name="connsiteX969" fmla="*/ 269826 w 447236"/>
              <a:gd name="connsiteY969" fmla="*/ 296115 h 448122"/>
              <a:gd name="connsiteX970" fmla="*/ 270080 w 447236"/>
              <a:gd name="connsiteY970" fmla="*/ 295945 h 448122"/>
              <a:gd name="connsiteX971" fmla="*/ 267013 w 447236"/>
              <a:gd name="connsiteY971" fmla="*/ 291778 h 448122"/>
              <a:gd name="connsiteX972" fmla="*/ 263323 w 447236"/>
              <a:gd name="connsiteY972" fmla="*/ 279826 h 448122"/>
              <a:gd name="connsiteX973" fmla="*/ 265779 w 447236"/>
              <a:gd name="connsiteY973" fmla="*/ 273049 h 448122"/>
              <a:gd name="connsiteX974" fmla="*/ 262462 w 447236"/>
              <a:gd name="connsiteY974" fmla="*/ 270057 h 448122"/>
              <a:gd name="connsiteX975" fmla="*/ 258464 w 447236"/>
              <a:gd name="connsiteY975" fmla="*/ 266991 h 448122"/>
              <a:gd name="connsiteX976" fmla="*/ 134694 w 447236"/>
              <a:gd name="connsiteY976" fmla="*/ 264484 h 448122"/>
              <a:gd name="connsiteX977" fmla="*/ 125178 w 447236"/>
              <a:gd name="connsiteY977" fmla="*/ 273989 h 448122"/>
              <a:gd name="connsiteX978" fmla="*/ 134694 w 447236"/>
              <a:gd name="connsiteY978" fmla="*/ 283800 h 448122"/>
              <a:gd name="connsiteX979" fmla="*/ 144516 w 447236"/>
              <a:gd name="connsiteY979" fmla="*/ 273989 h 448122"/>
              <a:gd name="connsiteX980" fmla="*/ 134694 w 447236"/>
              <a:gd name="connsiteY980" fmla="*/ 264484 h 448122"/>
              <a:gd name="connsiteX981" fmla="*/ 75146 w 447236"/>
              <a:gd name="connsiteY981" fmla="*/ 264484 h 448122"/>
              <a:gd name="connsiteX982" fmla="*/ 71770 w 447236"/>
              <a:gd name="connsiteY982" fmla="*/ 265403 h 448122"/>
              <a:gd name="connsiteX983" fmla="*/ 57036 w 447236"/>
              <a:gd name="connsiteY983" fmla="*/ 280121 h 448122"/>
              <a:gd name="connsiteX984" fmla="*/ 56423 w 447236"/>
              <a:gd name="connsiteY984" fmla="*/ 281347 h 448122"/>
              <a:gd name="connsiteX985" fmla="*/ 56423 w 447236"/>
              <a:gd name="connsiteY985" fmla="*/ 281961 h 448122"/>
              <a:gd name="connsiteX986" fmla="*/ 56423 w 447236"/>
              <a:gd name="connsiteY986" fmla="*/ 282267 h 448122"/>
              <a:gd name="connsiteX987" fmla="*/ 60413 w 447236"/>
              <a:gd name="connsiteY987" fmla="*/ 283494 h 448122"/>
              <a:gd name="connsiteX988" fmla="*/ 77295 w 447236"/>
              <a:gd name="connsiteY988" fmla="*/ 283494 h 448122"/>
              <a:gd name="connsiteX989" fmla="*/ 77295 w 447236"/>
              <a:gd name="connsiteY989" fmla="*/ 264484 h 448122"/>
              <a:gd name="connsiteX990" fmla="*/ 75146 w 447236"/>
              <a:gd name="connsiteY990" fmla="*/ 264484 h 448122"/>
              <a:gd name="connsiteX991" fmla="*/ 84969 w 447236"/>
              <a:gd name="connsiteY991" fmla="*/ 263870 h 448122"/>
              <a:gd name="connsiteX992" fmla="*/ 83434 w 447236"/>
              <a:gd name="connsiteY992" fmla="*/ 265403 h 448122"/>
              <a:gd name="connsiteX993" fmla="*/ 83434 w 447236"/>
              <a:gd name="connsiteY993" fmla="*/ 281961 h 448122"/>
              <a:gd name="connsiteX994" fmla="*/ 84969 w 447236"/>
              <a:gd name="connsiteY994" fmla="*/ 283494 h 448122"/>
              <a:gd name="connsiteX995" fmla="*/ 112594 w 447236"/>
              <a:gd name="connsiteY995" fmla="*/ 283494 h 448122"/>
              <a:gd name="connsiteX996" fmla="*/ 114128 w 447236"/>
              <a:gd name="connsiteY996" fmla="*/ 281961 h 448122"/>
              <a:gd name="connsiteX997" fmla="*/ 114128 w 447236"/>
              <a:gd name="connsiteY997" fmla="*/ 265403 h 448122"/>
              <a:gd name="connsiteX998" fmla="*/ 112594 w 447236"/>
              <a:gd name="connsiteY998" fmla="*/ 263870 h 448122"/>
              <a:gd name="connsiteX999" fmla="*/ 84969 w 447236"/>
              <a:gd name="connsiteY999" fmla="*/ 263870 h 448122"/>
              <a:gd name="connsiteX1000" fmla="*/ 245549 w 447236"/>
              <a:gd name="connsiteY1000" fmla="*/ 262392 h 448122"/>
              <a:gd name="connsiteX1001" fmla="*/ 237862 w 447236"/>
              <a:gd name="connsiteY1001" fmla="*/ 263006 h 448122"/>
              <a:gd name="connsiteX1002" fmla="*/ 236595 w 447236"/>
              <a:gd name="connsiteY1002" fmla="*/ 263848 h 448122"/>
              <a:gd name="connsiteX1003" fmla="*/ 236421 w 447236"/>
              <a:gd name="connsiteY1003" fmla="*/ 264568 h 448122"/>
              <a:gd name="connsiteX1004" fmla="*/ 234660 w 447236"/>
              <a:gd name="connsiteY1004" fmla="*/ 278095 h 448122"/>
              <a:gd name="connsiteX1005" fmla="*/ 235146 w 447236"/>
              <a:gd name="connsiteY1005" fmla="*/ 278581 h 448122"/>
              <a:gd name="connsiteX1006" fmla="*/ 235146 w 447236"/>
              <a:gd name="connsiteY1006" fmla="*/ 283173 h 448122"/>
              <a:gd name="connsiteX1007" fmla="*/ 235836 w 447236"/>
              <a:gd name="connsiteY1007" fmla="*/ 293122 h 448122"/>
              <a:gd name="connsiteX1008" fmla="*/ 244951 w 447236"/>
              <a:gd name="connsiteY1008" fmla="*/ 298298 h 448122"/>
              <a:gd name="connsiteX1009" fmla="*/ 253947 w 447236"/>
              <a:gd name="connsiteY1009" fmla="*/ 293122 h 448122"/>
              <a:gd name="connsiteX1010" fmla="*/ 254751 w 447236"/>
              <a:gd name="connsiteY1010" fmla="*/ 283173 h 448122"/>
              <a:gd name="connsiteX1011" fmla="*/ 254445 w 447236"/>
              <a:gd name="connsiteY1011" fmla="*/ 278581 h 448122"/>
              <a:gd name="connsiteX1012" fmla="*/ 255583 w 447236"/>
              <a:gd name="connsiteY1012" fmla="*/ 277444 h 448122"/>
              <a:gd name="connsiteX1013" fmla="*/ 253895 w 447236"/>
              <a:gd name="connsiteY1013" fmla="*/ 264568 h 448122"/>
              <a:gd name="connsiteX1014" fmla="*/ 253868 w 447236"/>
              <a:gd name="connsiteY1014" fmla="*/ 264466 h 448122"/>
              <a:gd name="connsiteX1015" fmla="*/ 289502 w 447236"/>
              <a:gd name="connsiteY1015" fmla="*/ 262075 h 448122"/>
              <a:gd name="connsiteX1016" fmla="*/ 289196 w 447236"/>
              <a:gd name="connsiteY1016" fmla="*/ 262381 h 448122"/>
              <a:gd name="connsiteX1017" fmla="*/ 289502 w 447236"/>
              <a:gd name="connsiteY1017" fmla="*/ 262688 h 448122"/>
              <a:gd name="connsiteX1018" fmla="*/ 295301 w 447236"/>
              <a:gd name="connsiteY1018" fmla="*/ 262688 h 448122"/>
              <a:gd name="connsiteX1019" fmla="*/ 295911 w 447236"/>
              <a:gd name="connsiteY1019" fmla="*/ 262381 h 448122"/>
              <a:gd name="connsiteX1020" fmla="*/ 295301 w 447236"/>
              <a:gd name="connsiteY1020" fmla="*/ 262075 h 448122"/>
              <a:gd name="connsiteX1021" fmla="*/ 289502 w 447236"/>
              <a:gd name="connsiteY1021" fmla="*/ 262075 h 448122"/>
              <a:gd name="connsiteX1022" fmla="*/ 187888 w 447236"/>
              <a:gd name="connsiteY1022" fmla="*/ 261809 h 448122"/>
              <a:gd name="connsiteX1023" fmla="*/ 186980 w 447236"/>
              <a:gd name="connsiteY1023" fmla="*/ 262458 h 448122"/>
              <a:gd name="connsiteX1024" fmla="*/ 187958 w 447236"/>
              <a:gd name="connsiteY1024" fmla="*/ 261809 h 448122"/>
              <a:gd name="connsiteX1025" fmla="*/ 156502 w 447236"/>
              <a:gd name="connsiteY1025" fmla="*/ 260519 h 448122"/>
              <a:gd name="connsiteX1026" fmla="*/ 156502 w 447236"/>
              <a:gd name="connsiteY1026" fmla="*/ 267870 h 448122"/>
              <a:gd name="connsiteX1027" fmla="*/ 157421 w 447236"/>
              <a:gd name="connsiteY1027" fmla="*/ 280734 h 448122"/>
              <a:gd name="connsiteX1028" fmla="*/ 157727 w 447236"/>
              <a:gd name="connsiteY1028" fmla="*/ 284104 h 448122"/>
              <a:gd name="connsiteX1029" fmla="*/ 158645 w 447236"/>
              <a:gd name="connsiteY1029" fmla="*/ 294211 h 448122"/>
              <a:gd name="connsiteX1030" fmla="*/ 158952 w 447236"/>
              <a:gd name="connsiteY1030" fmla="*/ 296662 h 448122"/>
              <a:gd name="connsiteX1031" fmla="*/ 159564 w 447236"/>
              <a:gd name="connsiteY1031" fmla="*/ 300950 h 448122"/>
              <a:gd name="connsiteX1032" fmla="*/ 160176 w 447236"/>
              <a:gd name="connsiteY1032" fmla="*/ 296662 h 448122"/>
              <a:gd name="connsiteX1033" fmla="*/ 160176 w 447236"/>
              <a:gd name="connsiteY1033" fmla="*/ 294211 h 448122"/>
              <a:gd name="connsiteX1034" fmla="*/ 161401 w 447236"/>
              <a:gd name="connsiteY1034" fmla="*/ 284104 h 448122"/>
              <a:gd name="connsiteX1035" fmla="*/ 161707 w 447236"/>
              <a:gd name="connsiteY1035" fmla="*/ 280734 h 448122"/>
              <a:gd name="connsiteX1036" fmla="*/ 162319 w 447236"/>
              <a:gd name="connsiteY1036" fmla="*/ 267870 h 448122"/>
              <a:gd name="connsiteX1037" fmla="*/ 162625 w 447236"/>
              <a:gd name="connsiteY1037" fmla="*/ 260519 h 448122"/>
              <a:gd name="connsiteX1038" fmla="*/ 162319 w 447236"/>
              <a:gd name="connsiteY1038" fmla="*/ 289004 h 448122"/>
              <a:gd name="connsiteX1039" fmla="*/ 161707 w 447236"/>
              <a:gd name="connsiteY1039" fmla="*/ 295436 h 448122"/>
              <a:gd name="connsiteX1040" fmla="*/ 161401 w 447236"/>
              <a:gd name="connsiteY1040" fmla="*/ 296968 h 448122"/>
              <a:gd name="connsiteX1041" fmla="*/ 161095 w 447236"/>
              <a:gd name="connsiteY1041" fmla="*/ 297581 h 448122"/>
              <a:gd name="connsiteX1042" fmla="*/ 160176 w 447236"/>
              <a:gd name="connsiteY1042" fmla="*/ 308301 h 448122"/>
              <a:gd name="connsiteX1043" fmla="*/ 159564 w 447236"/>
              <a:gd name="connsiteY1043" fmla="*/ 313508 h 448122"/>
              <a:gd name="connsiteX1044" fmla="*/ 158952 w 447236"/>
              <a:gd name="connsiteY1044" fmla="*/ 308301 h 448122"/>
              <a:gd name="connsiteX1045" fmla="*/ 158033 w 447236"/>
              <a:gd name="connsiteY1045" fmla="*/ 297581 h 448122"/>
              <a:gd name="connsiteX1046" fmla="*/ 157421 w 447236"/>
              <a:gd name="connsiteY1046" fmla="*/ 296968 h 448122"/>
              <a:gd name="connsiteX1047" fmla="*/ 157421 w 447236"/>
              <a:gd name="connsiteY1047" fmla="*/ 295436 h 448122"/>
              <a:gd name="connsiteX1048" fmla="*/ 156808 w 447236"/>
              <a:gd name="connsiteY1048" fmla="*/ 289004 h 448122"/>
              <a:gd name="connsiteX1049" fmla="*/ 156502 w 447236"/>
              <a:gd name="connsiteY1049" fmla="*/ 260519 h 448122"/>
              <a:gd name="connsiteX1050" fmla="*/ 289502 w 447236"/>
              <a:gd name="connsiteY1050" fmla="*/ 258396 h 448122"/>
              <a:gd name="connsiteX1051" fmla="*/ 289196 w 447236"/>
              <a:gd name="connsiteY1051" fmla="*/ 258703 h 448122"/>
              <a:gd name="connsiteX1052" fmla="*/ 289502 w 447236"/>
              <a:gd name="connsiteY1052" fmla="*/ 259316 h 448122"/>
              <a:gd name="connsiteX1053" fmla="*/ 295301 w 447236"/>
              <a:gd name="connsiteY1053" fmla="*/ 259316 h 448122"/>
              <a:gd name="connsiteX1054" fmla="*/ 295911 w 447236"/>
              <a:gd name="connsiteY1054" fmla="*/ 258703 h 448122"/>
              <a:gd name="connsiteX1055" fmla="*/ 295301 w 447236"/>
              <a:gd name="connsiteY1055" fmla="*/ 258396 h 448122"/>
              <a:gd name="connsiteX1056" fmla="*/ 289502 w 447236"/>
              <a:gd name="connsiteY1056" fmla="*/ 258396 h 448122"/>
              <a:gd name="connsiteX1057" fmla="*/ 289502 w 447236"/>
              <a:gd name="connsiteY1057" fmla="*/ 255024 h 448122"/>
              <a:gd name="connsiteX1058" fmla="*/ 289196 w 447236"/>
              <a:gd name="connsiteY1058" fmla="*/ 255330 h 448122"/>
              <a:gd name="connsiteX1059" fmla="*/ 289502 w 447236"/>
              <a:gd name="connsiteY1059" fmla="*/ 255637 h 448122"/>
              <a:gd name="connsiteX1060" fmla="*/ 295301 w 447236"/>
              <a:gd name="connsiteY1060" fmla="*/ 255637 h 448122"/>
              <a:gd name="connsiteX1061" fmla="*/ 295911 w 447236"/>
              <a:gd name="connsiteY1061" fmla="*/ 255330 h 448122"/>
              <a:gd name="connsiteX1062" fmla="*/ 295301 w 447236"/>
              <a:gd name="connsiteY1062" fmla="*/ 255024 h 448122"/>
              <a:gd name="connsiteX1063" fmla="*/ 289502 w 447236"/>
              <a:gd name="connsiteY1063" fmla="*/ 255024 h 448122"/>
              <a:gd name="connsiteX1064" fmla="*/ 84355 w 447236"/>
              <a:gd name="connsiteY1064" fmla="*/ 253139 h 448122"/>
              <a:gd name="connsiteX1065" fmla="*/ 88038 w 447236"/>
              <a:gd name="connsiteY1065" fmla="*/ 253139 h 448122"/>
              <a:gd name="connsiteX1066" fmla="*/ 91721 w 447236"/>
              <a:gd name="connsiteY1066" fmla="*/ 256818 h 448122"/>
              <a:gd name="connsiteX1067" fmla="*/ 91721 w 447236"/>
              <a:gd name="connsiteY1067" fmla="*/ 259271 h 448122"/>
              <a:gd name="connsiteX1068" fmla="*/ 146665 w 447236"/>
              <a:gd name="connsiteY1068" fmla="*/ 259271 h 448122"/>
              <a:gd name="connsiteX1069" fmla="*/ 151883 w 447236"/>
              <a:gd name="connsiteY1069" fmla="*/ 264484 h 448122"/>
              <a:gd name="connsiteX1070" fmla="*/ 151883 w 447236"/>
              <a:gd name="connsiteY1070" fmla="*/ 302197 h 448122"/>
              <a:gd name="connsiteX1071" fmla="*/ 146665 w 447236"/>
              <a:gd name="connsiteY1071" fmla="*/ 307409 h 448122"/>
              <a:gd name="connsiteX1072" fmla="*/ 139298 w 447236"/>
              <a:gd name="connsiteY1072" fmla="*/ 307409 h 448122"/>
              <a:gd name="connsiteX1073" fmla="*/ 130397 w 447236"/>
              <a:gd name="connsiteY1073" fmla="*/ 316608 h 448122"/>
              <a:gd name="connsiteX1074" fmla="*/ 121495 w 447236"/>
              <a:gd name="connsiteY1074" fmla="*/ 307409 h 448122"/>
              <a:gd name="connsiteX1075" fmla="*/ 80364 w 447236"/>
              <a:gd name="connsiteY1075" fmla="*/ 307409 h 448122"/>
              <a:gd name="connsiteX1076" fmla="*/ 72691 w 447236"/>
              <a:gd name="connsiteY1076" fmla="*/ 307409 h 448122"/>
              <a:gd name="connsiteX1077" fmla="*/ 63789 w 447236"/>
              <a:gd name="connsiteY1077" fmla="*/ 316608 h 448122"/>
              <a:gd name="connsiteX1078" fmla="*/ 54581 w 447236"/>
              <a:gd name="connsiteY1078" fmla="*/ 307409 h 448122"/>
              <a:gd name="connsiteX1079" fmla="*/ 50898 w 447236"/>
              <a:gd name="connsiteY1079" fmla="*/ 307409 h 448122"/>
              <a:gd name="connsiteX1080" fmla="*/ 43838 w 447236"/>
              <a:gd name="connsiteY1080" fmla="*/ 302197 h 448122"/>
              <a:gd name="connsiteX1081" fmla="*/ 43838 w 447236"/>
              <a:gd name="connsiteY1081" fmla="*/ 301277 h 448122"/>
              <a:gd name="connsiteX1082" fmla="*/ 43838 w 447236"/>
              <a:gd name="connsiteY1082" fmla="*/ 291466 h 448122"/>
              <a:gd name="connsiteX1083" fmla="*/ 45372 w 447236"/>
              <a:gd name="connsiteY1083" fmla="*/ 288399 h 448122"/>
              <a:gd name="connsiteX1084" fmla="*/ 70849 w 447236"/>
              <a:gd name="connsiteY1084" fmla="*/ 261417 h 448122"/>
              <a:gd name="connsiteX1085" fmla="*/ 76374 w 447236"/>
              <a:gd name="connsiteY1085" fmla="*/ 259271 h 448122"/>
              <a:gd name="connsiteX1086" fmla="*/ 80364 w 447236"/>
              <a:gd name="connsiteY1086" fmla="*/ 259271 h 448122"/>
              <a:gd name="connsiteX1087" fmla="*/ 80671 w 447236"/>
              <a:gd name="connsiteY1087" fmla="*/ 259271 h 448122"/>
              <a:gd name="connsiteX1088" fmla="*/ 80671 w 447236"/>
              <a:gd name="connsiteY1088" fmla="*/ 256818 h 448122"/>
              <a:gd name="connsiteX1089" fmla="*/ 84355 w 447236"/>
              <a:gd name="connsiteY1089" fmla="*/ 253139 h 448122"/>
              <a:gd name="connsiteX1090" fmla="*/ 337952 w 447236"/>
              <a:gd name="connsiteY1090" fmla="*/ 252548 h 448122"/>
              <a:gd name="connsiteX1091" fmla="*/ 340407 w 447236"/>
              <a:gd name="connsiteY1091" fmla="*/ 252548 h 448122"/>
              <a:gd name="connsiteX1092" fmla="*/ 341021 w 447236"/>
              <a:gd name="connsiteY1092" fmla="*/ 253773 h 448122"/>
              <a:gd name="connsiteX1093" fmla="*/ 342555 w 447236"/>
              <a:gd name="connsiteY1093" fmla="*/ 275213 h 448122"/>
              <a:gd name="connsiteX1094" fmla="*/ 347466 w 447236"/>
              <a:gd name="connsiteY1094" fmla="*/ 281952 h 448122"/>
              <a:gd name="connsiteX1095" fmla="*/ 358822 w 447236"/>
              <a:gd name="connsiteY1095" fmla="*/ 299410 h 448122"/>
              <a:gd name="connsiteX1096" fmla="*/ 348387 w 447236"/>
              <a:gd name="connsiteY1096" fmla="*/ 316869 h 448122"/>
              <a:gd name="connsiteX1097" fmla="*/ 344090 w 447236"/>
              <a:gd name="connsiteY1097" fmla="*/ 317788 h 448122"/>
              <a:gd name="connsiteX1098" fmla="*/ 335189 w 447236"/>
              <a:gd name="connsiteY1098" fmla="*/ 317788 h 448122"/>
              <a:gd name="connsiteX1099" fmla="*/ 330892 w 447236"/>
              <a:gd name="connsiteY1099" fmla="*/ 316869 h 448122"/>
              <a:gd name="connsiteX1100" fmla="*/ 320150 w 447236"/>
              <a:gd name="connsiteY1100" fmla="*/ 299410 h 448122"/>
              <a:gd name="connsiteX1101" fmla="*/ 331199 w 447236"/>
              <a:gd name="connsiteY1101" fmla="*/ 282258 h 448122"/>
              <a:gd name="connsiteX1102" fmla="*/ 335803 w 447236"/>
              <a:gd name="connsiteY1102" fmla="*/ 275520 h 448122"/>
              <a:gd name="connsiteX1103" fmla="*/ 337338 w 447236"/>
              <a:gd name="connsiteY1103" fmla="*/ 253773 h 448122"/>
              <a:gd name="connsiteX1104" fmla="*/ 337952 w 447236"/>
              <a:gd name="connsiteY1104" fmla="*/ 252548 h 448122"/>
              <a:gd name="connsiteX1105" fmla="*/ 289502 w 447236"/>
              <a:gd name="connsiteY1105" fmla="*/ 251039 h 448122"/>
              <a:gd name="connsiteX1106" fmla="*/ 289196 w 447236"/>
              <a:gd name="connsiteY1106" fmla="*/ 251652 h 448122"/>
              <a:gd name="connsiteX1107" fmla="*/ 289502 w 447236"/>
              <a:gd name="connsiteY1107" fmla="*/ 251958 h 448122"/>
              <a:gd name="connsiteX1108" fmla="*/ 295301 w 447236"/>
              <a:gd name="connsiteY1108" fmla="*/ 251958 h 448122"/>
              <a:gd name="connsiteX1109" fmla="*/ 295911 w 447236"/>
              <a:gd name="connsiteY1109" fmla="*/ 251652 h 448122"/>
              <a:gd name="connsiteX1110" fmla="*/ 295301 w 447236"/>
              <a:gd name="connsiteY1110" fmla="*/ 251039 h 448122"/>
              <a:gd name="connsiteX1111" fmla="*/ 289502 w 447236"/>
              <a:gd name="connsiteY1111" fmla="*/ 251039 h 448122"/>
              <a:gd name="connsiteX1112" fmla="*/ 187885 w 447236"/>
              <a:gd name="connsiteY1112" fmla="*/ 250936 h 448122"/>
              <a:gd name="connsiteX1113" fmla="*/ 187885 w 447236"/>
              <a:gd name="connsiteY1113" fmla="*/ 261504 h 448122"/>
              <a:gd name="connsiteX1114" fmla="*/ 187888 w 447236"/>
              <a:gd name="connsiteY1114" fmla="*/ 261503 h 448122"/>
              <a:gd name="connsiteX1115" fmla="*/ 187888 w 447236"/>
              <a:gd name="connsiteY1115" fmla="*/ 251081 h 448122"/>
              <a:gd name="connsiteX1116" fmla="*/ 185683 w 447236"/>
              <a:gd name="connsiteY1116" fmla="*/ 250402 h 448122"/>
              <a:gd name="connsiteX1117" fmla="*/ 185684 w 447236"/>
              <a:gd name="connsiteY1117" fmla="*/ 250433 h 448122"/>
              <a:gd name="connsiteX1118" fmla="*/ 185684 w 447236"/>
              <a:gd name="connsiteY1118" fmla="*/ 250433 h 448122"/>
              <a:gd name="connsiteX1119" fmla="*/ 351931 w 447236"/>
              <a:gd name="connsiteY1119" fmla="*/ 248299 h 448122"/>
              <a:gd name="connsiteX1120" fmla="*/ 352344 w 447236"/>
              <a:gd name="connsiteY1120" fmla="*/ 249826 h 448122"/>
              <a:gd name="connsiteX1121" fmla="*/ 360938 w 447236"/>
              <a:gd name="connsiteY1121" fmla="*/ 257804 h 448122"/>
              <a:gd name="connsiteX1122" fmla="*/ 381196 w 447236"/>
              <a:gd name="connsiteY1122" fmla="*/ 257804 h 448122"/>
              <a:gd name="connsiteX1123" fmla="*/ 389790 w 447236"/>
              <a:gd name="connsiteY1123" fmla="*/ 249826 h 448122"/>
              <a:gd name="connsiteX1124" fmla="*/ 389800 w 447236"/>
              <a:gd name="connsiteY1124" fmla="*/ 249791 h 448122"/>
              <a:gd name="connsiteX1125" fmla="*/ 381264 w 447236"/>
              <a:gd name="connsiteY1125" fmla="*/ 257714 h 448122"/>
              <a:gd name="connsiteX1126" fmla="*/ 361020 w 447236"/>
              <a:gd name="connsiteY1126" fmla="*/ 257714 h 448122"/>
              <a:gd name="connsiteX1127" fmla="*/ 352432 w 447236"/>
              <a:gd name="connsiteY1127" fmla="*/ 249743 h 448122"/>
              <a:gd name="connsiteX1128" fmla="*/ 289502 w 447236"/>
              <a:gd name="connsiteY1128" fmla="*/ 247360 h 448122"/>
              <a:gd name="connsiteX1129" fmla="*/ 289196 w 447236"/>
              <a:gd name="connsiteY1129" fmla="*/ 247973 h 448122"/>
              <a:gd name="connsiteX1130" fmla="*/ 289502 w 447236"/>
              <a:gd name="connsiteY1130" fmla="*/ 248279 h 448122"/>
              <a:gd name="connsiteX1131" fmla="*/ 295301 w 447236"/>
              <a:gd name="connsiteY1131" fmla="*/ 248279 h 448122"/>
              <a:gd name="connsiteX1132" fmla="*/ 295911 w 447236"/>
              <a:gd name="connsiteY1132" fmla="*/ 247973 h 448122"/>
              <a:gd name="connsiteX1133" fmla="*/ 295301 w 447236"/>
              <a:gd name="connsiteY1133" fmla="*/ 247360 h 448122"/>
              <a:gd name="connsiteX1134" fmla="*/ 289502 w 447236"/>
              <a:gd name="connsiteY1134" fmla="*/ 247360 h 448122"/>
              <a:gd name="connsiteX1135" fmla="*/ 289502 w 447236"/>
              <a:gd name="connsiteY1135" fmla="*/ 243988 h 448122"/>
              <a:gd name="connsiteX1136" fmla="*/ 289196 w 447236"/>
              <a:gd name="connsiteY1136" fmla="*/ 244601 h 448122"/>
              <a:gd name="connsiteX1137" fmla="*/ 289502 w 447236"/>
              <a:gd name="connsiteY1137" fmla="*/ 244907 h 448122"/>
              <a:gd name="connsiteX1138" fmla="*/ 295301 w 447236"/>
              <a:gd name="connsiteY1138" fmla="*/ 244907 h 448122"/>
              <a:gd name="connsiteX1139" fmla="*/ 295911 w 447236"/>
              <a:gd name="connsiteY1139" fmla="*/ 244601 h 448122"/>
              <a:gd name="connsiteX1140" fmla="*/ 295301 w 447236"/>
              <a:gd name="connsiteY1140" fmla="*/ 243988 h 448122"/>
              <a:gd name="connsiteX1141" fmla="*/ 289502 w 447236"/>
              <a:gd name="connsiteY1141" fmla="*/ 243988 h 448122"/>
              <a:gd name="connsiteX1142" fmla="*/ 245054 w 447236"/>
              <a:gd name="connsiteY1142" fmla="*/ 240858 h 448122"/>
              <a:gd name="connsiteX1143" fmla="*/ 241012 w 447236"/>
              <a:gd name="connsiteY1143" fmla="*/ 245557 h 448122"/>
              <a:gd name="connsiteX1144" fmla="*/ 237393 w 447236"/>
              <a:gd name="connsiteY1144" fmla="*/ 260542 h 448122"/>
              <a:gd name="connsiteX1145" fmla="*/ 245857 w 447236"/>
              <a:gd name="connsiteY1145" fmla="*/ 259939 h 448122"/>
              <a:gd name="connsiteX1146" fmla="*/ 253201 w 447236"/>
              <a:gd name="connsiteY1146" fmla="*/ 261892 h 448122"/>
              <a:gd name="connsiteX1147" fmla="*/ 248963 w 447236"/>
              <a:gd name="connsiteY1147" fmla="*/ 245557 h 448122"/>
              <a:gd name="connsiteX1148" fmla="*/ 289502 w 447236"/>
              <a:gd name="connsiteY1148" fmla="*/ 240309 h 448122"/>
              <a:gd name="connsiteX1149" fmla="*/ 289196 w 447236"/>
              <a:gd name="connsiteY1149" fmla="*/ 240615 h 448122"/>
              <a:gd name="connsiteX1150" fmla="*/ 289502 w 447236"/>
              <a:gd name="connsiteY1150" fmla="*/ 240922 h 448122"/>
              <a:gd name="connsiteX1151" fmla="*/ 295301 w 447236"/>
              <a:gd name="connsiteY1151" fmla="*/ 240922 h 448122"/>
              <a:gd name="connsiteX1152" fmla="*/ 295911 w 447236"/>
              <a:gd name="connsiteY1152" fmla="*/ 240615 h 448122"/>
              <a:gd name="connsiteX1153" fmla="*/ 295301 w 447236"/>
              <a:gd name="connsiteY1153" fmla="*/ 240309 h 448122"/>
              <a:gd name="connsiteX1154" fmla="*/ 289502 w 447236"/>
              <a:gd name="connsiteY1154" fmla="*/ 240309 h 448122"/>
              <a:gd name="connsiteX1155" fmla="*/ 205020 w 447236"/>
              <a:gd name="connsiteY1155" fmla="*/ 238723 h 448122"/>
              <a:gd name="connsiteX1156" fmla="*/ 204103 w 447236"/>
              <a:gd name="connsiteY1156" fmla="*/ 239395 h 448122"/>
              <a:gd name="connsiteX1157" fmla="*/ 202262 w 447236"/>
              <a:gd name="connsiteY1157" fmla="*/ 247053 h 448122"/>
              <a:gd name="connsiteX1158" fmla="*/ 204103 w 447236"/>
              <a:gd name="connsiteY1158" fmla="*/ 250729 h 448122"/>
              <a:gd name="connsiteX1159" fmla="*/ 205040 w 447236"/>
              <a:gd name="connsiteY1159" fmla="*/ 251633 h 448122"/>
              <a:gd name="connsiteX1160" fmla="*/ 205040 w 447236"/>
              <a:gd name="connsiteY1160" fmla="*/ 248268 h 448122"/>
              <a:gd name="connsiteX1161" fmla="*/ 205020 w 447236"/>
              <a:gd name="connsiteY1161" fmla="*/ 248268 h 448122"/>
              <a:gd name="connsiteX1162" fmla="*/ 11966 w 447236"/>
              <a:gd name="connsiteY1162" fmla="*/ 236875 h 448122"/>
              <a:gd name="connsiteX1163" fmla="*/ 27307 w 447236"/>
              <a:gd name="connsiteY1163" fmla="*/ 236875 h 448122"/>
              <a:gd name="connsiteX1164" fmla="*/ 29762 w 447236"/>
              <a:gd name="connsiteY1164" fmla="*/ 244843 h 448122"/>
              <a:gd name="connsiteX1165" fmla="*/ 38967 w 447236"/>
              <a:gd name="connsiteY1165" fmla="*/ 270891 h 448122"/>
              <a:gd name="connsiteX1166" fmla="*/ 38660 w 447236"/>
              <a:gd name="connsiteY1166" fmla="*/ 314407 h 448122"/>
              <a:gd name="connsiteX1167" fmla="*/ 34978 w 447236"/>
              <a:gd name="connsiteY1167" fmla="*/ 318084 h 448122"/>
              <a:gd name="connsiteX1168" fmla="*/ 3988 w 447236"/>
              <a:gd name="connsiteY1168" fmla="*/ 318084 h 448122"/>
              <a:gd name="connsiteX1169" fmla="*/ 307 w 447236"/>
              <a:gd name="connsiteY1169" fmla="*/ 314407 h 448122"/>
              <a:gd name="connsiteX1170" fmla="*/ 0 w 447236"/>
              <a:gd name="connsiteY1170" fmla="*/ 270891 h 448122"/>
              <a:gd name="connsiteX1171" fmla="*/ 9205 w 447236"/>
              <a:gd name="connsiteY1171" fmla="*/ 244843 h 448122"/>
              <a:gd name="connsiteX1172" fmla="*/ 11966 w 447236"/>
              <a:gd name="connsiteY1172" fmla="*/ 236875 h 448122"/>
              <a:gd name="connsiteX1173" fmla="*/ 184543 w 447236"/>
              <a:gd name="connsiteY1173" fmla="*/ 231534 h 448122"/>
              <a:gd name="connsiteX1174" fmla="*/ 185354 w 447236"/>
              <a:gd name="connsiteY1174" fmla="*/ 239304 h 448122"/>
              <a:gd name="connsiteX1175" fmla="*/ 185094 w 447236"/>
              <a:gd name="connsiteY1175" fmla="*/ 233901 h 448122"/>
              <a:gd name="connsiteX1176" fmla="*/ 184799 w 447236"/>
              <a:gd name="connsiteY1176" fmla="*/ 232064 h 448122"/>
              <a:gd name="connsiteX1177" fmla="*/ 186969 w 447236"/>
              <a:gd name="connsiteY1177" fmla="*/ 230851 h 448122"/>
              <a:gd name="connsiteX1178" fmla="*/ 187275 w 447236"/>
              <a:gd name="connsiteY1178" fmla="*/ 231157 h 448122"/>
              <a:gd name="connsiteX1179" fmla="*/ 187270 w 447236"/>
              <a:gd name="connsiteY1179" fmla="*/ 231157 h 448122"/>
              <a:gd name="connsiteX1180" fmla="*/ 187307 w 447236"/>
              <a:gd name="connsiteY1180" fmla="*/ 231287 h 448122"/>
              <a:gd name="connsiteX1181" fmla="*/ 187275 w 447236"/>
              <a:gd name="connsiteY1181" fmla="*/ 231157 h 448122"/>
              <a:gd name="connsiteX1182" fmla="*/ 187888 w 447236"/>
              <a:gd name="connsiteY1182" fmla="*/ 232077 h 448122"/>
              <a:gd name="connsiteX1183" fmla="*/ 187888 w 447236"/>
              <a:gd name="connsiteY1183" fmla="*/ 233303 h 448122"/>
              <a:gd name="connsiteX1184" fmla="*/ 188194 w 447236"/>
              <a:gd name="connsiteY1184" fmla="*/ 251081 h 448122"/>
              <a:gd name="connsiteX1185" fmla="*/ 188194 w 447236"/>
              <a:gd name="connsiteY1185" fmla="*/ 261809 h 448122"/>
              <a:gd name="connsiteX1186" fmla="*/ 188135 w 447236"/>
              <a:gd name="connsiteY1186" fmla="*/ 261809 h 448122"/>
              <a:gd name="connsiteX1187" fmla="*/ 189007 w 447236"/>
              <a:gd name="connsiteY1187" fmla="*/ 269397 h 448122"/>
              <a:gd name="connsiteX1188" fmla="*/ 190141 w 447236"/>
              <a:gd name="connsiteY1188" fmla="*/ 277736 h 448122"/>
              <a:gd name="connsiteX1189" fmla="*/ 188895 w 447236"/>
              <a:gd name="connsiteY1189" fmla="*/ 269852 h 448122"/>
              <a:gd name="connsiteX1190" fmla="*/ 187840 w 447236"/>
              <a:gd name="connsiteY1190" fmla="*/ 262193 h 448122"/>
              <a:gd name="connsiteX1191" fmla="*/ 188122 w 447236"/>
              <a:gd name="connsiteY1191" fmla="*/ 262006 h 448122"/>
              <a:gd name="connsiteX1192" fmla="*/ 187815 w 447236"/>
              <a:gd name="connsiteY1192" fmla="*/ 262006 h 448122"/>
              <a:gd name="connsiteX1193" fmla="*/ 187840 w 447236"/>
              <a:gd name="connsiteY1193" fmla="*/ 262193 h 448122"/>
              <a:gd name="connsiteX1194" fmla="*/ 187839 w 447236"/>
              <a:gd name="connsiteY1194" fmla="*/ 262194 h 448122"/>
              <a:gd name="connsiteX1195" fmla="*/ 188824 w 447236"/>
              <a:gd name="connsiteY1195" fmla="*/ 269402 h 448122"/>
              <a:gd name="connsiteX1196" fmla="*/ 188895 w 447236"/>
              <a:gd name="connsiteY1196" fmla="*/ 269852 h 448122"/>
              <a:gd name="connsiteX1197" fmla="*/ 190008 w 447236"/>
              <a:gd name="connsiteY1197" fmla="*/ 277937 h 448122"/>
              <a:gd name="connsiteX1198" fmla="*/ 190585 w 447236"/>
              <a:gd name="connsiteY1198" fmla="*/ 280999 h 448122"/>
              <a:gd name="connsiteX1199" fmla="*/ 190585 w 447236"/>
              <a:gd name="connsiteY1199" fmla="*/ 281001 h 448122"/>
              <a:gd name="connsiteX1200" fmla="*/ 191466 w 447236"/>
              <a:gd name="connsiteY1200" fmla="*/ 286111 h 448122"/>
              <a:gd name="connsiteX1201" fmla="*/ 192347 w 447236"/>
              <a:gd name="connsiteY1201" fmla="*/ 291685 h 448122"/>
              <a:gd name="connsiteX1202" fmla="*/ 192846 w 447236"/>
              <a:gd name="connsiteY1202" fmla="*/ 293001 h 448122"/>
              <a:gd name="connsiteX1203" fmla="*/ 192828 w 447236"/>
              <a:gd name="connsiteY1203" fmla="*/ 292905 h 448122"/>
              <a:gd name="connsiteX1204" fmla="*/ 192967 w 447236"/>
              <a:gd name="connsiteY1204" fmla="*/ 293318 h 448122"/>
              <a:gd name="connsiteX1205" fmla="*/ 194444 w 447236"/>
              <a:gd name="connsiteY1205" fmla="*/ 297210 h 448122"/>
              <a:gd name="connsiteX1206" fmla="*/ 194587 w 447236"/>
              <a:gd name="connsiteY1206" fmla="*/ 297544 h 448122"/>
              <a:gd name="connsiteX1207" fmla="*/ 194548 w 447236"/>
              <a:gd name="connsiteY1207" fmla="*/ 297485 h 448122"/>
              <a:gd name="connsiteX1208" fmla="*/ 194569 w 447236"/>
              <a:gd name="connsiteY1208" fmla="*/ 297540 h 448122"/>
              <a:gd name="connsiteX1209" fmla="*/ 194587 w 447236"/>
              <a:gd name="connsiteY1209" fmla="*/ 297544 h 448122"/>
              <a:gd name="connsiteX1210" fmla="*/ 195686 w 447236"/>
              <a:gd name="connsiteY1210" fmla="*/ 297763 h 448122"/>
              <a:gd name="connsiteX1211" fmla="*/ 196127 w 447236"/>
              <a:gd name="connsiteY1211" fmla="*/ 297544 h 448122"/>
              <a:gd name="connsiteX1212" fmla="*/ 201360 w 447236"/>
              <a:gd name="connsiteY1212" fmla="*/ 296319 h 448122"/>
              <a:gd name="connsiteX1213" fmla="*/ 201668 w 447236"/>
              <a:gd name="connsiteY1213" fmla="*/ 296319 h 448122"/>
              <a:gd name="connsiteX1214" fmla="*/ 206286 w 447236"/>
              <a:gd name="connsiteY1214" fmla="*/ 299382 h 448122"/>
              <a:gd name="connsiteX1215" fmla="*/ 201668 w 447236"/>
              <a:gd name="connsiteY1215" fmla="*/ 296625 h 448122"/>
              <a:gd name="connsiteX1216" fmla="*/ 201641 w 447236"/>
              <a:gd name="connsiteY1216" fmla="*/ 296625 h 448122"/>
              <a:gd name="connsiteX1217" fmla="*/ 206242 w 447236"/>
              <a:gd name="connsiteY1217" fmla="*/ 299379 h 448122"/>
              <a:gd name="connsiteX1218" fmla="*/ 207154 w 447236"/>
              <a:gd name="connsiteY1218" fmla="*/ 305898 h 448122"/>
              <a:gd name="connsiteX1219" fmla="*/ 207825 w 447236"/>
              <a:gd name="connsiteY1219" fmla="*/ 304897 h 448122"/>
              <a:gd name="connsiteX1220" fmla="*/ 207164 w 447236"/>
              <a:gd name="connsiteY1220" fmla="*/ 305970 h 448122"/>
              <a:gd name="connsiteX1221" fmla="*/ 207432 w 447236"/>
              <a:gd name="connsiteY1221" fmla="*/ 307882 h 448122"/>
              <a:gd name="connsiteX1222" fmla="*/ 202676 w 447236"/>
              <a:gd name="connsiteY1222" fmla="*/ 313257 h 448122"/>
              <a:gd name="connsiteX1223" fmla="*/ 201976 w 447236"/>
              <a:gd name="connsiteY1223" fmla="*/ 314394 h 448122"/>
              <a:gd name="connsiteX1224" fmla="*/ 200745 w 447236"/>
              <a:gd name="connsiteY1224" fmla="*/ 314394 h 448122"/>
              <a:gd name="connsiteX1225" fmla="*/ 199821 w 447236"/>
              <a:gd name="connsiteY1225" fmla="*/ 314394 h 448122"/>
              <a:gd name="connsiteX1226" fmla="*/ 196025 w 447236"/>
              <a:gd name="connsiteY1226" fmla="*/ 311197 h 448122"/>
              <a:gd name="connsiteX1227" fmla="*/ 195798 w 447236"/>
              <a:gd name="connsiteY1227" fmla="*/ 311023 h 448122"/>
              <a:gd name="connsiteX1228" fmla="*/ 195695 w 447236"/>
              <a:gd name="connsiteY1228" fmla="*/ 310594 h 448122"/>
              <a:gd name="connsiteX1229" fmla="*/ 193972 w 447236"/>
              <a:gd name="connsiteY1229" fmla="*/ 304590 h 448122"/>
              <a:gd name="connsiteX1230" fmla="*/ 193972 w 447236"/>
              <a:gd name="connsiteY1230" fmla="*/ 302562 h 448122"/>
              <a:gd name="connsiteX1231" fmla="*/ 193955 w 447236"/>
              <a:gd name="connsiteY1231" fmla="*/ 302443 h 448122"/>
              <a:gd name="connsiteX1232" fmla="*/ 193647 w 447236"/>
              <a:gd name="connsiteY1232" fmla="*/ 301524 h 448122"/>
              <a:gd name="connsiteX1233" fmla="*/ 192114 w 447236"/>
              <a:gd name="connsiteY1233" fmla="*/ 299689 h 448122"/>
              <a:gd name="connsiteX1234" fmla="*/ 190893 w 447236"/>
              <a:gd name="connsiteY1234" fmla="*/ 299689 h 448122"/>
              <a:gd name="connsiteX1235" fmla="*/ 188738 w 447236"/>
              <a:gd name="connsiteY1235" fmla="*/ 299995 h 448122"/>
              <a:gd name="connsiteX1236" fmla="*/ 188122 w 447236"/>
              <a:gd name="connsiteY1236" fmla="*/ 299995 h 448122"/>
              <a:gd name="connsiteX1237" fmla="*/ 187199 w 447236"/>
              <a:gd name="connsiteY1237" fmla="*/ 299689 h 448122"/>
              <a:gd name="connsiteX1238" fmla="*/ 186891 w 447236"/>
              <a:gd name="connsiteY1238" fmla="*/ 297850 h 448122"/>
              <a:gd name="connsiteX1239" fmla="*/ 187199 w 447236"/>
              <a:gd name="connsiteY1239" fmla="*/ 299382 h 448122"/>
              <a:gd name="connsiteX1240" fmla="*/ 188122 w 447236"/>
              <a:gd name="connsiteY1240" fmla="*/ 299689 h 448122"/>
              <a:gd name="connsiteX1241" fmla="*/ 188738 w 447236"/>
              <a:gd name="connsiteY1241" fmla="*/ 299689 h 448122"/>
              <a:gd name="connsiteX1242" fmla="*/ 188761 w 447236"/>
              <a:gd name="connsiteY1242" fmla="*/ 299685 h 448122"/>
              <a:gd name="connsiteX1243" fmla="*/ 188733 w 447236"/>
              <a:gd name="connsiteY1243" fmla="*/ 299685 h 448122"/>
              <a:gd name="connsiteX1244" fmla="*/ 186892 w 447236"/>
              <a:gd name="connsiteY1244" fmla="*/ 297849 h 448122"/>
              <a:gd name="connsiteX1245" fmla="*/ 186891 w 447236"/>
              <a:gd name="connsiteY1245" fmla="*/ 297850 h 448122"/>
              <a:gd name="connsiteX1246" fmla="*/ 186892 w 447236"/>
              <a:gd name="connsiteY1246" fmla="*/ 297849 h 448122"/>
              <a:gd name="connsiteX1247" fmla="*/ 186890 w 447236"/>
              <a:gd name="connsiteY1247" fmla="*/ 297847 h 448122"/>
              <a:gd name="connsiteX1248" fmla="*/ 186894 w 447236"/>
              <a:gd name="connsiteY1248" fmla="*/ 297844 h 448122"/>
              <a:gd name="connsiteX1249" fmla="*/ 187199 w 447236"/>
              <a:gd name="connsiteY1249" fmla="*/ 297238 h 448122"/>
              <a:gd name="connsiteX1250" fmla="*/ 187806 w 447236"/>
              <a:gd name="connsiteY1250" fmla="*/ 297238 h 448122"/>
              <a:gd name="connsiteX1251" fmla="*/ 187811 w 447236"/>
              <a:gd name="connsiteY1251" fmla="*/ 297234 h 448122"/>
              <a:gd name="connsiteX1252" fmla="*/ 187862 w 447236"/>
              <a:gd name="connsiteY1252" fmla="*/ 297228 h 448122"/>
              <a:gd name="connsiteX1253" fmla="*/ 189354 w 447236"/>
              <a:gd name="connsiteY1253" fmla="*/ 296931 h 448122"/>
              <a:gd name="connsiteX1254" fmla="*/ 190585 w 447236"/>
              <a:gd name="connsiteY1254" fmla="*/ 296625 h 448122"/>
              <a:gd name="connsiteX1255" fmla="*/ 191201 w 447236"/>
              <a:gd name="connsiteY1255" fmla="*/ 295400 h 448122"/>
              <a:gd name="connsiteX1256" fmla="*/ 191201 w 447236"/>
              <a:gd name="connsiteY1256" fmla="*/ 294787 h 448122"/>
              <a:gd name="connsiteX1257" fmla="*/ 189694 w 447236"/>
              <a:gd name="connsiteY1257" fmla="*/ 284887 h 448122"/>
              <a:gd name="connsiteX1258" fmla="*/ 189654 w 447236"/>
              <a:gd name="connsiteY1258" fmla="*/ 284670 h 448122"/>
              <a:gd name="connsiteX1259" fmla="*/ 186993 w 447236"/>
              <a:gd name="connsiteY1259" fmla="*/ 267539 h 448122"/>
              <a:gd name="connsiteX1260" fmla="*/ 186318 w 447236"/>
              <a:gd name="connsiteY1260" fmla="*/ 263203 h 448122"/>
              <a:gd name="connsiteX1261" fmla="*/ 186320 w 447236"/>
              <a:gd name="connsiteY1261" fmla="*/ 263202 h 448122"/>
              <a:gd name="connsiteX1262" fmla="*/ 186296 w 447236"/>
              <a:gd name="connsiteY1262" fmla="*/ 263046 h 448122"/>
              <a:gd name="connsiteX1263" fmla="*/ 186281 w 447236"/>
              <a:gd name="connsiteY1263" fmla="*/ 262957 h 448122"/>
              <a:gd name="connsiteX1264" fmla="*/ 186280 w 447236"/>
              <a:gd name="connsiteY1264" fmla="*/ 262958 h 448122"/>
              <a:gd name="connsiteX1265" fmla="*/ 186318 w 447236"/>
              <a:gd name="connsiteY1265" fmla="*/ 263203 h 448122"/>
              <a:gd name="connsiteX1266" fmla="*/ 186275 w 447236"/>
              <a:gd name="connsiteY1266" fmla="*/ 263232 h 448122"/>
              <a:gd name="connsiteX1267" fmla="*/ 186275 w 447236"/>
              <a:gd name="connsiteY1267" fmla="*/ 262961 h 448122"/>
              <a:gd name="connsiteX1268" fmla="*/ 185743 w 447236"/>
              <a:gd name="connsiteY1268" fmla="*/ 263342 h 448122"/>
              <a:gd name="connsiteX1269" fmla="*/ 184211 w 447236"/>
              <a:gd name="connsiteY1269" fmla="*/ 275296 h 448122"/>
              <a:gd name="connsiteX1270" fmla="*/ 182985 w 447236"/>
              <a:gd name="connsiteY1270" fmla="*/ 281733 h 448122"/>
              <a:gd name="connsiteX1271" fmla="*/ 181147 w 447236"/>
              <a:gd name="connsiteY1271" fmla="*/ 291235 h 448122"/>
              <a:gd name="connsiteX1272" fmla="*/ 181398 w 447236"/>
              <a:gd name="connsiteY1272" fmla="*/ 289676 h 448122"/>
              <a:gd name="connsiteX1273" fmla="*/ 181114 w 447236"/>
              <a:gd name="connsiteY1273" fmla="*/ 291136 h 448122"/>
              <a:gd name="connsiteX1274" fmla="*/ 180590 w 447236"/>
              <a:gd name="connsiteY1274" fmla="*/ 293741 h 448122"/>
              <a:gd name="connsiteX1275" fmla="*/ 181147 w 447236"/>
              <a:gd name="connsiteY1275" fmla="*/ 291235 h 448122"/>
              <a:gd name="connsiteX1276" fmla="*/ 180840 w 447236"/>
              <a:gd name="connsiteY1276" fmla="*/ 294300 h 448122"/>
              <a:gd name="connsiteX1277" fmla="*/ 180534 w 447236"/>
              <a:gd name="connsiteY1277" fmla="*/ 295833 h 448122"/>
              <a:gd name="connsiteX1278" fmla="*/ 180534 w 447236"/>
              <a:gd name="connsiteY1278" fmla="*/ 296182 h 448122"/>
              <a:gd name="connsiteX1279" fmla="*/ 181114 w 447236"/>
              <a:gd name="connsiteY1279" fmla="*/ 296951 h 448122"/>
              <a:gd name="connsiteX1280" fmla="*/ 181729 w 447236"/>
              <a:gd name="connsiteY1280" fmla="*/ 296951 h 448122"/>
              <a:gd name="connsiteX1281" fmla="*/ 183884 w 447236"/>
              <a:gd name="connsiteY1281" fmla="*/ 297257 h 448122"/>
              <a:gd name="connsiteX1282" fmla="*/ 184500 w 447236"/>
              <a:gd name="connsiteY1282" fmla="*/ 297257 h 448122"/>
              <a:gd name="connsiteX1283" fmla="*/ 184500 w 447236"/>
              <a:gd name="connsiteY1283" fmla="*/ 297365 h 448122"/>
              <a:gd name="connsiteX1284" fmla="*/ 184517 w 447236"/>
              <a:gd name="connsiteY1284" fmla="*/ 297365 h 448122"/>
              <a:gd name="connsiteX1285" fmla="*/ 185130 w 447236"/>
              <a:gd name="connsiteY1285" fmla="*/ 297672 h 448122"/>
              <a:gd name="connsiteX1286" fmla="*/ 185130 w 447236"/>
              <a:gd name="connsiteY1286" fmla="*/ 298285 h 448122"/>
              <a:gd name="connsiteX1287" fmla="*/ 185130 w 447236"/>
              <a:gd name="connsiteY1287" fmla="*/ 299204 h 448122"/>
              <a:gd name="connsiteX1288" fmla="*/ 184824 w 447236"/>
              <a:gd name="connsiteY1288" fmla="*/ 299511 h 448122"/>
              <a:gd name="connsiteX1289" fmla="*/ 184517 w 447236"/>
              <a:gd name="connsiteY1289" fmla="*/ 299511 h 448122"/>
              <a:gd name="connsiteX1290" fmla="*/ 184824 w 447236"/>
              <a:gd name="connsiteY1290" fmla="*/ 299204 h 448122"/>
              <a:gd name="connsiteX1291" fmla="*/ 184824 w 447236"/>
              <a:gd name="connsiteY1291" fmla="*/ 298285 h 448122"/>
              <a:gd name="connsiteX1292" fmla="*/ 184824 w 447236"/>
              <a:gd name="connsiteY1292" fmla="*/ 297672 h 448122"/>
              <a:gd name="connsiteX1293" fmla="*/ 184517 w 447236"/>
              <a:gd name="connsiteY1293" fmla="*/ 297672 h 448122"/>
              <a:gd name="connsiteX1294" fmla="*/ 184500 w 447236"/>
              <a:gd name="connsiteY1294" fmla="*/ 297672 h 448122"/>
              <a:gd name="connsiteX1295" fmla="*/ 184500 w 447236"/>
              <a:gd name="connsiteY1295" fmla="*/ 299399 h 448122"/>
              <a:gd name="connsiteX1296" fmla="*/ 184316 w 447236"/>
              <a:gd name="connsiteY1296" fmla="*/ 299486 h 448122"/>
              <a:gd name="connsiteX1297" fmla="*/ 184517 w 447236"/>
              <a:gd name="connsiteY1297" fmla="*/ 299511 h 448122"/>
              <a:gd name="connsiteX1298" fmla="*/ 184263 w 447236"/>
              <a:gd name="connsiteY1298" fmla="*/ 299511 h 448122"/>
              <a:gd name="connsiteX1299" fmla="*/ 178575 w 447236"/>
              <a:gd name="connsiteY1299" fmla="*/ 302204 h 448122"/>
              <a:gd name="connsiteX1300" fmla="*/ 178389 w 447236"/>
              <a:gd name="connsiteY1300" fmla="*/ 302576 h 448122"/>
              <a:gd name="connsiteX1301" fmla="*/ 178389 w 447236"/>
              <a:gd name="connsiteY1301" fmla="*/ 304109 h 448122"/>
              <a:gd name="connsiteX1302" fmla="*/ 175018 w 447236"/>
              <a:gd name="connsiteY1302" fmla="*/ 312998 h 448122"/>
              <a:gd name="connsiteX1303" fmla="*/ 171630 w 447236"/>
              <a:gd name="connsiteY1303" fmla="*/ 314450 h 448122"/>
              <a:gd name="connsiteX1304" fmla="*/ 174986 w 447236"/>
              <a:gd name="connsiteY1304" fmla="*/ 318380 h 448122"/>
              <a:gd name="connsiteX1305" fmla="*/ 174986 w 447236"/>
              <a:gd name="connsiteY1305" fmla="*/ 337389 h 448122"/>
              <a:gd name="connsiteX1306" fmla="*/ 175605 w 447236"/>
              <a:gd name="connsiteY1306" fmla="*/ 337389 h 448122"/>
              <a:gd name="connsiteX1307" fmla="*/ 176533 w 447236"/>
              <a:gd name="connsiteY1307" fmla="*/ 338309 h 448122"/>
              <a:gd name="connsiteX1308" fmla="*/ 176533 w 447236"/>
              <a:gd name="connsiteY1308" fmla="*/ 338922 h 448122"/>
              <a:gd name="connsiteX1309" fmla="*/ 175605 w 447236"/>
              <a:gd name="connsiteY1309" fmla="*/ 339842 h 448122"/>
              <a:gd name="connsiteX1310" fmla="*/ 174057 w 447236"/>
              <a:gd name="connsiteY1310" fmla="*/ 339842 h 448122"/>
              <a:gd name="connsiteX1311" fmla="*/ 174367 w 447236"/>
              <a:gd name="connsiteY1311" fmla="*/ 377247 h 448122"/>
              <a:gd name="connsiteX1312" fmla="*/ 172510 w 447236"/>
              <a:gd name="connsiteY1312" fmla="*/ 393804 h 448122"/>
              <a:gd name="connsiteX1313" fmla="*/ 170963 w 447236"/>
              <a:gd name="connsiteY1313" fmla="*/ 393804 h 448122"/>
              <a:gd name="connsiteX1314" fmla="*/ 169106 w 447236"/>
              <a:gd name="connsiteY1314" fmla="*/ 377247 h 448122"/>
              <a:gd name="connsiteX1315" fmla="*/ 169415 w 447236"/>
              <a:gd name="connsiteY1315" fmla="*/ 339842 h 448122"/>
              <a:gd name="connsiteX1316" fmla="*/ 167868 w 447236"/>
              <a:gd name="connsiteY1316" fmla="*/ 339842 h 448122"/>
              <a:gd name="connsiteX1317" fmla="*/ 166939 w 447236"/>
              <a:gd name="connsiteY1317" fmla="*/ 338922 h 448122"/>
              <a:gd name="connsiteX1318" fmla="*/ 166939 w 447236"/>
              <a:gd name="connsiteY1318" fmla="*/ 338309 h 448122"/>
              <a:gd name="connsiteX1319" fmla="*/ 167868 w 447236"/>
              <a:gd name="connsiteY1319" fmla="*/ 337389 h 448122"/>
              <a:gd name="connsiteX1320" fmla="*/ 168487 w 447236"/>
              <a:gd name="connsiteY1320" fmla="*/ 337389 h 448122"/>
              <a:gd name="connsiteX1321" fmla="*/ 168487 w 447236"/>
              <a:gd name="connsiteY1321" fmla="*/ 318380 h 448122"/>
              <a:gd name="connsiteX1322" fmla="*/ 171492 w 447236"/>
              <a:gd name="connsiteY1322" fmla="*/ 314509 h 448122"/>
              <a:gd name="connsiteX1323" fmla="*/ 170728 w 447236"/>
              <a:gd name="connsiteY1323" fmla="*/ 314837 h 448122"/>
              <a:gd name="connsiteX1324" fmla="*/ 170422 w 447236"/>
              <a:gd name="connsiteY1324" fmla="*/ 314837 h 448122"/>
              <a:gd name="connsiteX1325" fmla="*/ 167664 w 447236"/>
              <a:gd name="connsiteY1325" fmla="*/ 313917 h 448122"/>
              <a:gd name="connsiteX1326" fmla="*/ 165941 w 447236"/>
              <a:gd name="connsiteY1326" fmla="*/ 310327 h 448122"/>
              <a:gd name="connsiteX1327" fmla="*/ 164107 w 447236"/>
              <a:gd name="connsiteY1327" fmla="*/ 306782 h 448122"/>
              <a:gd name="connsiteX1328" fmla="*/ 164162 w 447236"/>
              <a:gd name="connsiteY1328" fmla="*/ 306621 h 448122"/>
              <a:gd name="connsiteX1329" fmla="*/ 163987 w 447236"/>
              <a:gd name="connsiteY1329" fmla="*/ 306254 h 448122"/>
              <a:gd name="connsiteX1330" fmla="*/ 165883 w 447236"/>
              <a:gd name="connsiteY1330" fmla="*/ 301617 h 448122"/>
              <a:gd name="connsiteX1331" fmla="*/ 166647 w 447236"/>
              <a:gd name="connsiteY1331" fmla="*/ 299399 h 448122"/>
              <a:gd name="connsiteX1332" fmla="*/ 167414 w 447236"/>
              <a:gd name="connsiteY1332" fmla="*/ 299254 h 448122"/>
              <a:gd name="connsiteX1333" fmla="*/ 170728 w 447236"/>
              <a:gd name="connsiteY1333" fmla="*/ 297978 h 448122"/>
              <a:gd name="connsiteX1334" fmla="*/ 172788 w 447236"/>
              <a:gd name="connsiteY1334" fmla="*/ 298236 h 448122"/>
              <a:gd name="connsiteX1335" fmla="*/ 173111 w 447236"/>
              <a:gd name="connsiteY1335" fmla="*/ 298175 h 448122"/>
              <a:gd name="connsiteX1336" fmla="*/ 176189 w 447236"/>
              <a:gd name="connsiteY1336" fmla="*/ 298787 h 448122"/>
              <a:gd name="connsiteX1337" fmla="*/ 177981 w 447236"/>
              <a:gd name="connsiteY1337" fmla="*/ 297005 h 448122"/>
              <a:gd name="connsiteX1338" fmla="*/ 178082 w 447236"/>
              <a:gd name="connsiteY1338" fmla="*/ 296752 h 448122"/>
              <a:gd name="connsiteX1339" fmla="*/ 180534 w 447236"/>
              <a:gd name="connsiteY1339" fmla="*/ 285411 h 448122"/>
              <a:gd name="connsiteX1340" fmla="*/ 183861 w 447236"/>
              <a:gd name="connsiteY1340" fmla="*/ 265440 h 448122"/>
              <a:gd name="connsiteX1341" fmla="*/ 184192 w 447236"/>
              <a:gd name="connsiteY1341" fmla="*/ 263289 h 448122"/>
              <a:gd name="connsiteX1342" fmla="*/ 184208 w 447236"/>
              <a:gd name="connsiteY1342" fmla="*/ 262977 h 448122"/>
              <a:gd name="connsiteX1343" fmla="*/ 184208 w 447236"/>
              <a:gd name="connsiteY1343" fmla="*/ 244010 h 448122"/>
              <a:gd name="connsiteX1344" fmla="*/ 184208 w 447236"/>
              <a:gd name="connsiteY1344" fmla="*/ 243997 h 448122"/>
              <a:gd name="connsiteX1345" fmla="*/ 183913 w 447236"/>
              <a:gd name="connsiteY1345" fmla="*/ 236350 h 448122"/>
              <a:gd name="connsiteX1346" fmla="*/ 184208 w 447236"/>
              <a:gd name="connsiteY1346" fmla="*/ 232064 h 448122"/>
              <a:gd name="connsiteX1347" fmla="*/ 184208 w 447236"/>
              <a:gd name="connsiteY1347" fmla="*/ 231452 h 448122"/>
              <a:gd name="connsiteX1348" fmla="*/ 184504 w 447236"/>
              <a:gd name="connsiteY1348" fmla="*/ 231146 h 448122"/>
              <a:gd name="connsiteX1349" fmla="*/ 184799 w 447236"/>
              <a:gd name="connsiteY1349" fmla="*/ 231146 h 448122"/>
              <a:gd name="connsiteX1350" fmla="*/ 185094 w 447236"/>
              <a:gd name="connsiteY1350" fmla="*/ 232370 h 448122"/>
              <a:gd name="connsiteX1351" fmla="*/ 185647 w 447236"/>
              <a:gd name="connsiteY1351" fmla="*/ 242205 h 448122"/>
              <a:gd name="connsiteX1352" fmla="*/ 185971 w 447236"/>
              <a:gd name="connsiteY1352" fmla="*/ 250240 h 448122"/>
              <a:gd name="connsiteX1353" fmla="*/ 186355 w 447236"/>
              <a:gd name="connsiteY1353" fmla="*/ 249856 h 448122"/>
              <a:gd name="connsiteX1354" fmla="*/ 186356 w 447236"/>
              <a:gd name="connsiteY1354" fmla="*/ 249819 h 448122"/>
              <a:gd name="connsiteX1355" fmla="*/ 186356 w 447236"/>
              <a:gd name="connsiteY1355" fmla="*/ 240046 h 448122"/>
              <a:gd name="connsiteX1356" fmla="*/ 186654 w 447236"/>
              <a:gd name="connsiteY1356" fmla="*/ 234673 h 448122"/>
              <a:gd name="connsiteX1357" fmla="*/ 186654 w 447236"/>
              <a:gd name="connsiteY1357" fmla="*/ 231463 h 448122"/>
              <a:gd name="connsiteX1358" fmla="*/ 186672 w 447236"/>
              <a:gd name="connsiteY1358" fmla="*/ 231454 h 448122"/>
              <a:gd name="connsiteX1359" fmla="*/ 186969 w 447236"/>
              <a:gd name="connsiteY1359" fmla="*/ 231157 h 448122"/>
              <a:gd name="connsiteX1360" fmla="*/ 186969 w 447236"/>
              <a:gd name="connsiteY1360" fmla="*/ 231307 h 448122"/>
              <a:gd name="connsiteX1361" fmla="*/ 187269 w 447236"/>
              <a:gd name="connsiteY1361" fmla="*/ 231157 h 448122"/>
              <a:gd name="connsiteX1362" fmla="*/ 186969 w 447236"/>
              <a:gd name="connsiteY1362" fmla="*/ 231157 h 448122"/>
              <a:gd name="connsiteX1363" fmla="*/ 186969 w 447236"/>
              <a:gd name="connsiteY1363" fmla="*/ 230851 h 448122"/>
              <a:gd name="connsiteX1364" fmla="*/ 133540 w 447236"/>
              <a:gd name="connsiteY1364" fmla="*/ 228046 h 448122"/>
              <a:gd name="connsiteX1365" fmla="*/ 135687 w 447236"/>
              <a:gd name="connsiteY1365" fmla="*/ 228046 h 448122"/>
              <a:gd name="connsiteX1366" fmla="*/ 136608 w 447236"/>
              <a:gd name="connsiteY1366" fmla="*/ 228966 h 448122"/>
              <a:gd name="connsiteX1367" fmla="*/ 136608 w 447236"/>
              <a:gd name="connsiteY1367" fmla="*/ 233875 h 448122"/>
              <a:gd name="connsiteX1368" fmla="*/ 141516 w 447236"/>
              <a:gd name="connsiteY1368" fmla="*/ 233875 h 448122"/>
              <a:gd name="connsiteX1369" fmla="*/ 142437 w 447236"/>
              <a:gd name="connsiteY1369" fmla="*/ 234488 h 448122"/>
              <a:gd name="connsiteX1370" fmla="*/ 142437 w 447236"/>
              <a:gd name="connsiteY1370" fmla="*/ 236943 h 448122"/>
              <a:gd name="connsiteX1371" fmla="*/ 141516 w 447236"/>
              <a:gd name="connsiteY1371" fmla="*/ 237863 h 448122"/>
              <a:gd name="connsiteX1372" fmla="*/ 136608 w 447236"/>
              <a:gd name="connsiteY1372" fmla="*/ 237863 h 448122"/>
              <a:gd name="connsiteX1373" fmla="*/ 136608 w 447236"/>
              <a:gd name="connsiteY1373" fmla="*/ 242772 h 448122"/>
              <a:gd name="connsiteX1374" fmla="*/ 135687 w 447236"/>
              <a:gd name="connsiteY1374" fmla="*/ 243692 h 448122"/>
              <a:gd name="connsiteX1375" fmla="*/ 133540 w 447236"/>
              <a:gd name="connsiteY1375" fmla="*/ 243692 h 448122"/>
              <a:gd name="connsiteX1376" fmla="*/ 132620 w 447236"/>
              <a:gd name="connsiteY1376" fmla="*/ 242772 h 448122"/>
              <a:gd name="connsiteX1377" fmla="*/ 132620 w 447236"/>
              <a:gd name="connsiteY1377" fmla="*/ 237863 h 448122"/>
              <a:gd name="connsiteX1378" fmla="*/ 127711 w 447236"/>
              <a:gd name="connsiteY1378" fmla="*/ 237863 h 448122"/>
              <a:gd name="connsiteX1379" fmla="*/ 126791 w 447236"/>
              <a:gd name="connsiteY1379" fmla="*/ 236943 h 448122"/>
              <a:gd name="connsiteX1380" fmla="*/ 126791 w 447236"/>
              <a:gd name="connsiteY1380" fmla="*/ 234488 h 448122"/>
              <a:gd name="connsiteX1381" fmla="*/ 127711 w 447236"/>
              <a:gd name="connsiteY1381" fmla="*/ 233875 h 448122"/>
              <a:gd name="connsiteX1382" fmla="*/ 132620 w 447236"/>
              <a:gd name="connsiteY1382" fmla="*/ 233875 h 448122"/>
              <a:gd name="connsiteX1383" fmla="*/ 132620 w 447236"/>
              <a:gd name="connsiteY1383" fmla="*/ 228966 h 448122"/>
              <a:gd name="connsiteX1384" fmla="*/ 133540 w 447236"/>
              <a:gd name="connsiteY1384" fmla="*/ 228046 h 448122"/>
              <a:gd name="connsiteX1385" fmla="*/ 437421 w 447236"/>
              <a:gd name="connsiteY1385" fmla="*/ 225537 h 448122"/>
              <a:gd name="connsiteX1386" fmla="*/ 441037 w 447236"/>
              <a:gd name="connsiteY1386" fmla="*/ 229225 h 448122"/>
              <a:gd name="connsiteX1387" fmla="*/ 439832 w 447236"/>
              <a:gd name="connsiteY1387" fmla="*/ 231990 h 448122"/>
              <a:gd name="connsiteX1388" fmla="*/ 439832 w 447236"/>
              <a:gd name="connsiteY1388" fmla="*/ 236017 h 448122"/>
              <a:gd name="connsiteX1389" fmla="*/ 442929 w 447236"/>
              <a:gd name="connsiteY1389" fmla="*/ 236017 h 448122"/>
              <a:gd name="connsiteX1390" fmla="*/ 443546 w 447236"/>
              <a:gd name="connsiteY1390" fmla="*/ 236312 h 448122"/>
              <a:gd name="connsiteX1391" fmla="*/ 442929 w 447236"/>
              <a:gd name="connsiteY1391" fmla="*/ 236903 h 448122"/>
              <a:gd name="connsiteX1392" fmla="*/ 439832 w 447236"/>
              <a:gd name="connsiteY1392" fmla="*/ 236903 h 448122"/>
              <a:gd name="connsiteX1393" fmla="*/ 439832 w 447236"/>
              <a:gd name="connsiteY1393" fmla="*/ 239707 h 448122"/>
              <a:gd name="connsiteX1394" fmla="*/ 441170 w 447236"/>
              <a:gd name="connsiteY1394" fmla="*/ 239707 h 448122"/>
              <a:gd name="connsiteX1395" fmla="*/ 441479 w 447236"/>
              <a:gd name="connsiteY1395" fmla="*/ 240002 h 448122"/>
              <a:gd name="connsiteX1396" fmla="*/ 441170 w 447236"/>
              <a:gd name="connsiteY1396" fmla="*/ 240297 h 448122"/>
              <a:gd name="connsiteX1397" fmla="*/ 439832 w 447236"/>
              <a:gd name="connsiteY1397" fmla="*/ 240297 h 448122"/>
              <a:gd name="connsiteX1398" fmla="*/ 439832 w 447236"/>
              <a:gd name="connsiteY1398" fmla="*/ 243692 h 448122"/>
              <a:gd name="connsiteX1399" fmla="*/ 442929 w 447236"/>
              <a:gd name="connsiteY1399" fmla="*/ 243692 h 448122"/>
              <a:gd name="connsiteX1400" fmla="*/ 443546 w 447236"/>
              <a:gd name="connsiteY1400" fmla="*/ 244283 h 448122"/>
              <a:gd name="connsiteX1401" fmla="*/ 442929 w 447236"/>
              <a:gd name="connsiteY1401" fmla="*/ 244578 h 448122"/>
              <a:gd name="connsiteX1402" fmla="*/ 439832 w 447236"/>
              <a:gd name="connsiteY1402" fmla="*/ 244578 h 448122"/>
              <a:gd name="connsiteX1403" fmla="*/ 439832 w 447236"/>
              <a:gd name="connsiteY1403" fmla="*/ 247382 h 448122"/>
              <a:gd name="connsiteX1404" fmla="*/ 441170 w 447236"/>
              <a:gd name="connsiteY1404" fmla="*/ 247382 h 448122"/>
              <a:gd name="connsiteX1405" fmla="*/ 441479 w 447236"/>
              <a:gd name="connsiteY1405" fmla="*/ 247677 h 448122"/>
              <a:gd name="connsiteX1406" fmla="*/ 441170 w 447236"/>
              <a:gd name="connsiteY1406" fmla="*/ 247972 h 448122"/>
              <a:gd name="connsiteX1407" fmla="*/ 439832 w 447236"/>
              <a:gd name="connsiteY1407" fmla="*/ 247972 h 448122"/>
              <a:gd name="connsiteX1408" fmla="*/ 439832 w 447236"/>
              <a:gd name="connsiteY1408" fmla="*/ 251368 h 448122"/>
              <a:gd name="connsiteX1409" fmla="*/ 442929 w 447236"/>
              <a:gd name="connsiteY1409" fmla="*/ 251368 h 448122"/>
              <a:gd name="connsiteX1410" fmla="*/ 443546 w 447236"/>
              <a:gd name="connsiteY1410" fmla="*/ 251663 h 448122"/>
              <a:gd name="connsiteX1411" fmla="*/ 442929 w 447236"/>
              <a:gd name="connsiteY1411" fmla="*/ 251958 h 448122"/>
              <a:gd name="connsiteX1412" fmla="*/ 439832 w 447236"/>
              <a:gd name="connsiteY1412" fmla="*/ 251958 h 448122"/>
              <a:gd name="connsiteX1413" fmla="*/ 439832 w 447236"/>
              <a:gd name="connsiteY1413" fmla="*/ 255058 h 448122"/>
              <a:gd name="connsiteX1414" fmla="*/ 441170 w 447236"/>
              <a:gd name="connsiteY1414" fmla="*/ 255058 h 448122"/>
              <a:gd name="connsiteX1415" fmla="*/ 441479 w 447236"/>
              <a:gd name="connsiteY1415" fmla="*/ 255353 h 448122"/>
              <a:gd name="connsiteX1416" fmla="*/ 441170 w 447236"/>
              <a:gd name="connsiteY1416" fmla="*/ 255648 h 448122"/>
              <a:gd name="connsiteX1417" fmla="*/ 439832 w 447236"/>
              <a:gd name="connsiteY1417" fmla="*/ 255648 h 448122"/>
              <a:gd name="connsiteX1418" fmla="*/ 439832 w 447236"/>
              <a:gd name="connsiteY1418" fmla="*/ 259338 h 448122"/>
              <a:gd name="connsiteX1419" fmla="*/ 442929 w 447236"/>
              <a:gd name="connsiteY1419" fmla="*/ 259338 h 448122"/>
              <a:gd name="connsiteX1420" fmla="*/ 443546 w 447236"/>
              <a:gd name="connsiteY1420" fmla="*/ 259633 h 448122"/>
              <a:gd name="connsiteX1421" fmla="*/ 442929 w 447236"/>
              <a:gd name="connsiteY1421" fmla="*/ 259928 h 448122"/>
              <a:gd name="connsiteX1422" fmla="*/ 439832 w 447236"/>
              <a:gd name="connsiteY1422" fmla="*/ 259928 h 448122"/>
              <a:gd name="connsiteX1423" fmla="*/ 439832 w 447236"/>
              <a:gd name="connsiteY1423" fmla="*/ 263028 h 448122"/>
              <a:gd name="connsiteX1424" fmla="*/ 439856 w 447236"/>
              <a:gd name="connsiteY1424" fmla="*/ 263028 h 448122"/>
              <a:gd name="connsiteX1425" fmla="*/ 441170 w 447236"/>
              <a:gd name="connsiteY1425" fmla="*/ 263028 h 448122"/>
              <a:gd name="connsiteX1426" fmla="*/ 441479 w 447236"/>
              <a:gd name="connsiteY1426" fmla="*/ 263323 h 448122"/>
              <a:gd name="connsiteX1427" fmla="*/ 441170 w 447236"/>
              <a:gd name="connsiteY1427" fmla="*/ 263618 h 448122"/>
              <a:gd name="connsiteX1428" fmla="*/ 439856 w 447236"/>
              <a:gd name="connsiteY1428" fmla="*/ 263618 h 448122"/>
              <a:gd name="connsiteX1429" fmla="*/ 439856 w 447236"/>
              <a:gd name="connsiteY1429" fmla="*/ 266718 h 448122"/>
              <a:gd name="connsiteX1430" fmla="*/ 442929 w 447236"/>
              <a:gd name="connsiteY1430" fmla="*/ 266718 h 448122"/>
              <a:gd name="connsiteX1431" fmla="*/ 443546 w 447236"/>
              <a:gd name="connsiteY1431" fmla="*/ 267013 h 448122"/>
              <a:gd name="connsiteX1432" fmla="*/ 442929 w 447236"/>
              <a:gd name="connsiteY1432" fmla="*/ 267308 h 448122"/>
              <a:gd name="connsiteX1433" fmla="*/ 439856 w 447236"/>
              <a:gd name="connsiteY1433" fmla="*/ 267308 h 448122"/>
              <a:gd name="connsiteX1434" fmla="*/ 439856 w 447236"/>
              <a:gd name="connsiteY1434" fmla="*/ 269965 h 448122"/>
              <a:gd name="connsiteX1435" fmla="*/ 441170 w 447236"/>
              <a:gd name="connsiteY1435" fmla="*/ 269965 h 448122"/>
              <a:gd name="connsiteX1436" fmla="*/ 441479 w 447236"/>
              <a:gd name="connsiteY1436" fmla="*/ 270654 h 448122"/>
              <a:gd name="connsiteX1437" fmla="*/ 441170 w 447236"/>
              <a:gd name="connsiteY1437" fmla="*/ 270998 h 448122"/>
              <a:gd name="connsiteX1438" fmla="*/ 439856 w 447236"/>
              <a:gd name="connsiteY1438" fmla="*/ 270998 h 448122"/>
              <a:gd name="connsiteX1439" fmla="*/ 439856 w 447236"/>
              <a:gd name="connsiteY1439" fmla="*/ 274246 h 448122"/>
              <a:gd name="connsiteX1440" fmla="*/ 442929 w 447236"/>
              <a:gd name="connsiteY1440" fmla="*/ 274246 h 448122"/>
              <a:gd name="connsiteX1441" fmla="*/ 443546 w 447236"/>
              <a:gd name="connsiteY1441" fmla="*/ 274615 h 448122"/>
              <a:gd name="connsiteX1442" fmla="*/ 442929 w 447236"/>
              <a:gd name="connsiteY1442" fmla="*/ 274984 h 448122"/>
              <a:gd name="connsiteX1443" fmla="*/ 439856 w 447236"/>
              <a:gd name="connsiteY1443" fmla="*/ 274984 h 448122"/>
              <a:gd name="connsiteX1444" fmla="*/ 439856 w 447236"/>
              <a:gd name="connsiteY1444" fmla="*/ 277936 h 448122"/>
              <a:gd name="connsiteX1445" fmla="*/ 441170 w 447236"/>
              <a:gd name="connsiteY1445" fmla="*/ 277936 h 448122"/>
              <a:gd name="connsiteX1446" fmla="*/ 441479 w 447236"/>
              <a:gd name="connsiteY1446" fmla="*/ 278305 h 448122"/>
              <a:gd name="connsiteX1447" fmla="*/ 441170 w 447236"/>
              <a:gd name="connsiteY1447" fmla="*/ 278674 h 448122"/>
              <a:gd name="connsiteX1448" fmla="*/ 439856 w 447236"/>
              <a:gd name="connsiteY1448" fmla="*/ 278674 h 448122"/>
              <a:gd name="connsiteX1449" fmla="*/ 439856 w 447236"/>
              <a:gd name="connsiteY1449" fmla="*/ 281921 h 448122"/>
              <a:gd name="connsiteX1450" fmla="*/ 442929 w 447236"/>
              <a:gd name="connsiteY1450" fmla="*/ 281921 h 448122"/>
              <a:gd name="connsiteX1451" fmla="*/ 443546 w 447236"/>
              <a:gd name="connsiteY1451" fmla="*/ 282290 h 448122"/>
              <a:gd name="connsiteX1452" fmla="*/ 442929 w 447236"/>
              <a:gd name="connsiteY1452" fmla="*/ 282659 h 448122"/>
              <a:gd name="connsiteX1453" fmla="*/ 439856 w 447236"/>
              <a:gd name="connsiteY1453" fmla="*/ 282659 h 448122"/>
              <a:gd name="connsiteX1454" fmla="*/ 439856 w 447236"/>
              <a:gd name="connsiteY1454" fmla="*/ 285316 h 448122"/>
              <a:gd name="connsiteX1455" fmla="*/ 441170 w 447236"/>
              <a:gd name="connsiteY1455" fmla="*/ 285316 h 448122"/>
              <a:gd name="connsiteX1456" fmla="*/ 441479 w 447236"/>
              <a:gd name="connsiteY1456" fmla="*/ 285611 h 448122"/>
              <a:gd name="connsiteX1457" fmla="*/ 441170 w 447236"/>
              <a:gd name="connsiteY1457" fmla="*/ 286202 h 448122"/>
              <a:gd name="connsiteX1458" fmla="*/ 439856 w 447236"/>
              <a:gd name="connsiteY1458" fmla="*/ 286202 h 448122"/>
              <a:gd name="connsiteX1459" fmla="*/ 439856 w 447236"/>
              <a:gd name="connsiteY1459" fmla="*/ 289597 h 448122"/>
              <a:gd name="connsiteX1460" fmla="*/ 442929 w 447236"/>
              <a:gd name="connsiteY1460" fmla="*/ 289597 h 448122"/>
              <a:gd name="connsiteX1461" fmla="*/ 443546 w 447236"/>
              <a:gd name="connsiteY1461" fmla="*/ 289892 h 448122"/>
              <a:gd name="connsiteX1462" fmla="*/ 442929 w 447236"/>
              <a:gd name="connsiteY1462" fmla="*/ 290187 h 448122"/>
              <a:gd name="connsiteX1463" fmla="*/ 439856 w 447236"/>
              <a:gd name="connsiteY1463" fmla="*/ 290187 h 448122"/>
              <a:gd name="connsiteX1464" fmla="*/ 439856 w 447236"/>
              <a:gd name="connsiteY1464" fmla="*/ 292275 h 448122"/>
              <a:gd name="connsiteX1465" fmla="*/ 439856 w 447236"/>
              <a:gd name="connsiteY1465" fmla="*/ 293287 h 448122"/>
              <a:gd name="connsiteX1466" fmla="*/ 441170 w 447236"/>
              <a:gd name="connsiteY1466" fmla="*/ 293287 h 448122"/>
              <a:gd name="connsiteX1467" fmla="*/ 441479 w 447236"/>
              <a:gd name="connsiteY1467" fmla="*/ 293582 h 448122"/>
              <a:gd name="connsiteX1468" fmla="*/ 441170 w 447236"/>
              <a:gd name="connsiteY1468" fmla="*/ 293877 h 448122"/>
              <a:gd name="connsiteX1469" fmla="*/ 439856 w 447236"/>
              <a:gd name="connsiteY1469" fmla="*/ 293877 h 448122"/>
              <a:gd name="connsiteX1470" fmla="*/ 439856 w 447236"/>
              <a:gd name="connsiteY1470" fmla="*/ 296453 h 448122"/>
              <a:gd name="connsiteX1471" fmla="*/ 437416 w 447236"/>
              <a:gd name="connsiteY1471" fmla="*/ 298600 h 448122"/>
              <a:gd name="connsiteX1472" fmla="*/ 435280 w 447236"/>
              <a:gd name="connsiteY1472" fmla="*/ 296453 h 448122"/>
              <a:gd name="connsiteX1473" fmla="*/ 435280 w 447236"/>
              <a:gd name="connsiteY1473" fmla="*/ 293877 h 448122"/>
              <a:gd name="connsiteX1474" fmla="*/ 433058 w 447236"/>
              <a:gd name="connsiteY1474" fmla="*/ 293877 h 448122"/>
              <a:gd name="connsiteX1475" fmla="*/ 431899 w 447236"/>
              <a:gd name="connsiteY1475" fmla="*/ 293877 h 448122"/>
              <a:gd name="connsiteX1476" fmla="*/ 431590 w 447236"/>
              <a:gd name="connsiteY1476" fmla="*/ 293582 h 448122"/>
              <a:gd name="connsiteX1477" fmla="*/ 431899 w 447236"/>
              <a:gd name="connsiteY1477" fmla="*/ 293287 h 448122"/>
              <a:gd name="connsiteX1478" fmla="*/ 435280 w 447236"/>
              <a:gd name="connsiteY1478" fmla="*/ 293287 h 448122"/>
              <a:gd name="connsiteX1479" fmla="*/ 435280 w 447236"/>
              <a:gd name="connsiteY1479" fmla="*/ 290187 h 448122"/>
              <a:gd name="connsiteX1480" fmla="*/ 434827 w 447236"/>
              <a:gd name="connsiteY1480" fmla="*/ 290187 h 448122"/>
              <a:gd name="connsiteX1481" fmla="*/ 433670 w 447236"/>
              <a:gd name="connsiteY1481" fmla="*/ 290187 h 448122"/>
              <a:gd name="connsiteX1482" fmla="*/ 433361 w 447236"/>
              <a:gd name="connsiteY1482" fmla="*/ 289892 h 448122"/>
              <a:gd name="connsiteX1483" fmla="*/ 433670 w 447236"/>
              <a:gd name="connsiteY1483" fmla="*/ 289597 h 448122"/>
              <a:gd name="connsiteX1484" fmla="*/ 435280 w 447236"/>
              <a:gd name="connsiteY1484" fmla="*/ 289597 h 448122"/>
              <a:gd name="connsiteX1485" fmla="*/ 435280 w 447236"/>
              <a:gd name="connsiteY1485" fmla="*/ 286202 h 448122"/>
              <a:gd name="connsiteX1486" fmla="*/ 433058 w 447236"/>
              <a:gd name="connsiteY1486" fmla="*/ 286202 h 448122"/>
              <a:gd name="connsiteX1487" fmla="*/ 431899 w 447236"/>
              <a:gd name="connsiteY1487" fmla="*/ 286202 h 448122"/>
              <a:gd name="connsiteX1488" fmla="*/ 431590 w 447236"/>
              <a:gd name="connsiteY1488" fmla="*/ 285611 h 448122"/>
              <a:gd name="connsiteX1489" fmla="*/ 431899 w 447236"/>
              <a:gd name="connsiteY1489" fmla="*/ 285316 h 448122"/>
              <a:gd name="connsiteX1490" fmla="*/ 435280 w 447236"/>
              <a:gd name="connsiteY1490" fmla="*/ 285316 h 448122"/>
              <a:gd name="connsiteX1491" fmla="*/ 435280 w 447236"/>
              <a:gd name="connsiteY1491" fmla="*/ 282659 h 448122"/>
              <a:gd name="connsiteX1492" fmla="*/ 434827 w 447236"/>
              <a:gd name="connsiteY1492" fmla="*/ 282659 h 448122"/>
              <a:gd name="connsiteX1493" fmla="*/ 433670 w 447236"/>
              <a:gd name="connsiteY1493" fmla="*/ 282659 h 448122"/>
              <a:gd name="connsiteX1494" fmla="*/ 433361 w 447236"/>
              <a:gd name="connsiteY1494" fmla="*/ 282290 h 448122"/>
              <a:gd name="connsiteX1495" fmla="*/ 433670 w 447236"/>
              <a:gd name="connsiteY1495" fmla="*/ 281921 h 448122"/>
              <a:gd name="connsiteX1496" fmla="*/ 435280 w 447236"/>
              <a:gd name="connsiteY1496" fmla="*/ 281921 h 448122"/>
              <a:gd name="connsiteX1497" fmla="*/ 435280 w 447236"/>
              <a:gd name="connsiteY1497" fmla="*/ 278674 h 448122"/>
              <a:gd name="connsiteX1498" fmla="*/ 433058 w 447236"/>
              <a:gd name="connsiteY1498" fmla="*/ 278674 h 448122"/>
              <a:gd name="connsiteX1499" fmla="*/ 431899 w 447236"/>
              <a:gd name="connsiteY1499" fmla="*/ 278674 h 448122"/>
              <a:gd name="connsiteX1500" fmla="*/ 431590 w 447236"/>
              <a:gd name="connsiteY1500" fmla="*/ 278305 h 448122"/>
              <a:gd name="connsiteX1501" fmla="*/ 431899 w 447236"/>
              <a:gd name="connsiteY1501" fmla="*/ 277936 h 448122"/>
              <a:gd name="connsiteX1502" fmla="*/ 435280 w 447236"/>
              <a:gd name="connsiteY1502" fmla="*/ 277936 h 448122"/>
              <a:gd name="connsiteX1503" fmla="*/ 435280 w 447236"/>
              <a:gd name="connsiteY1503" fmla="*/ 274984 h 448122"/>
              <a:gd name="connsiteX1504" fmla="*/ 434827 w 447236"/>
              <a:gd name="connsiteY1504" fmla="*/ 274984 h 448122"/>
              <a:gd name="connsiteX1505" fmla="*/ 433670 w 447236"/>
              <a:gd name="connsiteY1505" fmla="*/ 274984 h 448122"/>
              <a:gd name="connsiteX1506" fmla="*/ 433361 w 447236"/>
              <a:gd name="connsiteY1506" fmla="*/ 274615 h 448122"/>
              <a:gd name="connsiteX1507" fmla="*/ 433670 w 447236"/>
              <a:gd name="connsiteY1507" fmla="*/ 274246 h 448122"/>
              <a:gd name="connsiteX1508" fmla="*/ 435280 w 447236"/>
              <a:gd name="connsiteY1508" fmla="*/ 274246 h 448122"/>
              <a:gd name="connsiteX1509" fmla="*/ 435280 w 447236"/>
              <a:gd name="connsiteY1509" fmla="*/ 270998 h 448122"/>
              <a:gd name="connsiteX1510" fmla="*/ 433058 w 447236"/>
              <a:gd name="connsiteY1510" fmla="*/ 270998 h 448122"/>
              <a:gd name="connsiteX1511" fmla="*/ 431899 w 447236"/>
              <a:gd name="connsiteY1511" fmla="*/ 270998 h 448122"/>
              <a:gd name="connsiteX1512" fmla="*/ 431590 w 447236"/>
              <a:gd name="connsiteY1512" fmla="*/ 270654 h 448122"/>
              <a:gd name="connsiteX1513" fmla="*/ 431899 w 447236"/>
              <a:gd name="connsiteY1513" fmla="*/ 269965 h 448122"/>
              <a:gd name="connsiteX1514" fmla="*/ 435280 w 447236"/>
              <a:gd name="connsiteY1514" fmla="*/ 269965 h 448122"/>
              <a:gd name="connsiteX1515" fmla="*/ 435280 w 447236"/>
              <a:gd name="connsiteY1515" fmla="*/ 267308 h 448122"/>
              <a:gd name="connsiteX1516" fmla="*/ 434827 w 447236"/>
              <a:gd name="connsiteY1516" fmla="*/ 267308 h 448122"/>
              <a:gd name="connsiteX1517" fmla="*/ 433670 w 447236"/>
              <a:gd name="connsiteY1517" fmla="*/ 267308 h 448122"/>
              <a:gd name="connsiteX1518" fmla="*/ 433361 w 447236"/>
              <a:gd name="connsiteY1518" fmla="*/ 267013 h 448122"/>
              <a:gd name="connsiteX1519" fmla="*/ 433670 w 447236"/>
              <a:gd name="connsiteY1519" fmla="*/ 266718 h 448122"/>
              <a:gd name="connsiteX1520" fmla="*/ 435280 w 447236"/>
              <a:gd name="connsiteY1520" fmla="*/ 266718 h 448122"/>
              <a:gd name="connsiteX1521" fmla="*/ 435280 w 447236"/>
              <a:gd name="connsiteY1521" fmla="*/ 263618 h 448122"/>
              <a:gd name="connsiteX1522" fmla="*/ 433058 w 447236"/>
              <a:gd name="connsiteY1522" fmla="*/ 263618 h 448122"/>
              <a:gd name="connsiteX1523" fmla="*/ 431899 w 447236"/>
              <a:gd name="connsiteY1523" fmla="*/ 263618 h 448122"/>
              <a:gd name="connsiteX1524" fmla="*/ 431590 w 447236"/>
              <a:gd name="connsiteY1524" fmla="*/ 263323 h 448122"/>
              <a:gd name="connsiteX1525" fmla="*/ 431899 w 447236"/>
              <a:gd name="connsiteY1525" fmla="*/ 263028 h 448122"/>
              <a:gd name="connsiteX1526" fmla="*/ 435280 w 447236"/>
              <a:gd name="connsiteY1526" fmla="*/ 263028 h 448122"/>
              <a:gd name="connsiteX1527" fmla="*/ 435311 w 447236"/>
              <a:gd name="connsiteY1527" fmla="*/ 263028 h 448122"/>
              <a:gd name="connsiteX1528" fmla="*/ 435311 w 447236"/>
              <a:gd name="connsiteY1528" fmla="*/ 259928 h 448122"/>
              <a:gd name="connsiteX1529" fmla="*/ 434827 w 447236"/>
              <a:gd name="connsiteY1529" fmla="*/ 259928 h 448122"/>
              <a:gd name="connsiteX1530" fmla="*/ 433670 w 447236"/>
              <a:gd name="connsiteY1530" fmla="*/ 259928 h 448122"/>
              <a:gd name="connsiteX1531" fmla="*/ 433361 w 447236"/>
              <a:gd name="connsiteY1531" fmla="*/ 259633 h 448122"/>
              <a:gd name="connsiteX1532" fmla="*/ 433670 w 447236"/>
              <a:gd name="connsiteY1532" fmla="*/ 259338 h 448122"/>
              <a:gd name="connsiteX1533" fmla="*/ 435311 w 447236"/>
              <a:gd name="connsiteY1533" fmla="*/ 259338 h 448122"/>
              <a:gd name="connsiteX1534" fmla="*/ 435311 w 447236"/>
              <a:gd name="connsiteY1534" fmla="*/ 255648 h 448122"/>
              <a:gd name="connsiteX1535" fmla="*/ 433058 w 447236"/>
              <a:gd name="connsiteY1535" fmla="*/ 255648 h 448122"/>
              <a:gd name="connsiteX1536" fmla="*/ 431899 w 447236"/>
              <a:gd name="connsiteY1536" fmla="*/ 255648 h 448122"/>
              <a:gd name="connsiteX1537" fmla="*/ 431590 w 447236"/>
              <a:gd name="connsiteY1537" fmla="*/ 255353 h 448122"/>
              <a:gd name="connsiteX1538" fmla="*/ 431899 w 447236"/>
              <a:gd name="connsiteY1538" fmla="*/ 255058 h 448122"/>
              <a:gd name="connsiteX1539" fmla="*/ 435311 w 447236"/>
              <a:gd name="connsiteY1539" fmla="*/ 255058 h 448122"/>
              <a:gd name="connsiteX1540" fmla="*/ 435311 w 447236"/>
              <a:gd name="connsiteY1540" fmla="*/ 251958 h 448122"/>
              <a:gd name="connsiteX1541" fmla="*/ 434827 w 447236"/>
              <a:gd name="connsiteY1541" fmla="*/ 251958 h 448122"/>
              <a:gd name="connsiteX1542" fmla="*/ 433670 w 447236"/>
              <a:gd name="connsiteY1542" fmla="*/ 251958 h 448122"/>
              <a:gd name="connsiteX1543" fmla="*/ 433361 w 447236"/>
              <a:gd name="connsiteY1543" fmla="*/ 251663 h 448122"/>
              <a:gd name="connsiteX1544" fmla="*/ 433670 w 447236"/>
              <a:gd name="connsiteY1544" fmla="*/ 251368 h 448122"/>
              <a:gd name="connsiteX1545" fmla="*/ 435311 w 447236"/>
              <a:gd name="connsiteY1545" fmla="*/ 251368 h 448122"/>
              <a:gd name="connsiteX1546" fmla="*/ 435311 w 447236"/>
              <a:gd name="connsiteY1546" fmla="*/ 247972 h 448122"/>
              <a:gd name="connsiteX1547" fmla="*/ 433058 w 447236"/>
              <a:gd name="connsiteY1547" fmla="*/ 247972 h 448122"/>
              <a:gd name="connsiteX1548" fmla="*/ 431899 w 447236"/>
              <a:gd name="connsiteY1548" fmla="*/ 247972 h 448122"/>
              <a:gd name="connsiteX1549" fmla="*/ 431590 w 447236"/>
              <a:gd name="connsiteY1549" fmla="*/ 247677 h 448122"/>
              <a:gd name="connsiteX1550" fmla="*/ 431899 w 447236"/>
              <a:gd name="connsiteY1550" fmla="*/ 247382 h 448122"/>
              <a:gd name="connsiteX1551" fmla="*/ 435311 w 447236"/>
              <a:gd name="connsiteY1551" fmla="*/ 247382 h 448122"/>
              <a:gd name="connsiteX1552" fmla="*/ 435311 w 447236"/>
              <a:gd name="connsiteY1552" fmla="*/ 245084 h 448122"/>
              <a:gd name="connsiteX1553" fmla="*/ 435311 w 447236"/>
              <a:gd name="connsiteY1553" fmla="*/ 244578 h 448122"/>
              <a:gd name="connsiteX1554" fmla="*/ 434827 w 447236"/>
              <a:gd name="connsiteY1554" fmla="*/ 244578 h 448122"/>
              <a:gd name="connsiteX1555" fmla="*/ 433670 w 447236"/>
              <a:gd name="connsiteY1555" fmla="*/ 244578 h 448122"/>
              <a:gd name="connsiteX1556" fmla="*/ 433361 w 447236"/>
              <a:gd name="connsiteY1556" fmla="*/ 244283 h 448122"/>
              <a:gd name="connsiteX1557" fmla="*/ 433670 w 447236"/>
              <a:gd name="connsiteY1557" fmla="*/ 243692 h 448122"/>
              <a:gd name="connsiteX1558" fmla="*/ 435311 w 447236"/>
              <a:gd name="connsiteY1558" fmla="*/ 243692 h 448122"/>
              <a:gd name="connsiteX1559" fmla="*/ 435311 w 447236"/>
              <a:gd name="connsiteY1559" fmla="*/ 240297 h 448122"/>
              <a:gd name="connsiteX1560" fmla="*/ 433058 w 447236"/>
              <a:gd name="connsiteY1560" fmla="*/ 240297 h 448122"/>
              <a:gd name="connsiteX1561" fmla="*/ 431899 w 447236"/>
              <a:gd name="connsiteY1561" fmla="*/ 240297 h 448122"/>
              <a:gd name="connsiteX1562" fmla="*/ 431590 w 447236"/>
              <a:gd name="connsiteY1562" fmla="*/ 240002 h 448122"/>
              <a:gd name="connsiteX1563" fmla="*/ 431899 w 447236"/>
              <a:gd name="connsiteY1563" fmla="*/ 239707 h 448122"/>
              <a:gd name="connsiteX1564" fmla="*/ 435311 w 447236"/>
              <a:gd name="connsiteY1564" fmla="*/ 239707 h 448122"/>
              <a:gd name="connsiteX1565" fmla="*/ 435311 w 447236"/>
              <a:gd name="connsiteY1565" fmla="*/ 236903 h 448122"/>
              <a:gd name="connsiteX1566" fmla="*/ 434827 w 447236"/>
              <a:gd name="connsiteY1566" fmla="*/ 236903 h 448122"/>
              <a:gd name="connsiteX1567" fmla="*/ 433670 w 447236"/>
              <a:gd name="connsiteY1567" fmla="*/ 236903 h 448122"/>
              <a:gd name="connsiteX1568" fmla="*/ 433361 w 447236"/>
              <a:gd name="connsiteY1568" fmla="*/ 236312 h 448122"/>
              <a:gd name="connsiteX1569" fmla="*/ 433670 w 447236"/>
              <a:gd name="connsiteY1569" fmla="*/ 236017 h 448122"/>
              <a:gd name="connsiteX1570" fmla="*/ 435311 w 447236"/>
              <a:gd name="connsiteY1570" fmla="*/ 236017 h 448122"/>
              <a:gd name="connsiteX1571" fmla="*/ 435311 w 447236"/>
              <a:gd name="connsiteY1571" fmla="*/ 235870 h 448122"/>
              <a:gd name="connsiteX1572" fmla="*/ 435311 w 447236"/>
              <a:gd name="connsiteY1572" fmla="*/ 231990 h 448122"/>
              <a:gd name="connsiteX1573" fmla="*/ 433804 w 447236"/>
              <a:gd name="connsiteY1573" fmla="*/ 229225 h 448122"/>
              <a:gd name="connsiteX1574" fmla="*/ 437421 w 447236"/>
              <a:gd name="connsiteY1574" fmla="*/ 225537 h 448122"/>
              <a:gd name="connsiteX1575" fmla="*/ 49373 w 447236"/>
              <a:gd name="connsiteY1575" fmla="*/ 225537 h 448122"/>
              <a:gd name="connsiteX1576" fmla="*/ 51513 w 447236"/>
              <a:gd name="connsiteY1576" fmla="*/ 227679 h 448122"/>
              <a:gd name="connsiteX1577" fmla="*/ 51513 w 447236"/>
              <a:gd name="connsiteY1577" fmla="*/ 238083 h 448122"/>
              <a:gd name="connsiteX1578" fmla="*/ 53826 w 447236"/>
              <a:gd name="connsiteY1578" fmla="*/ 238083 h 448122"/>
              <a:gd name="connsiteX1579" fmla="*/ 55288 w 447236"/>
              <a:gd name="connsiteY1579" fmla="*/ 238083 h 448122"/>
              <a:gd name="connsiteX1580" fmla="*/ 56827 w 447236"/>
              <a:gd name="connsiteY1580" fmla="*/ 239327 h 448122"/>
              <a:gd name="connsiteX1581" fmla="*/ 56827 w 447236"/>
              <a:gd name="connsiteY1581" fmla="*/ 245548 h 448122"/>
              <a:gd name="connsiteX1582" fmla="*/ 55288 w 447236"/>
              <a:gd name="connsiteY1582" fmla="*/ 246792 h 448122"/>
              <a:gd name="connsiteX1583" fmla="*/ 54053 w 447236"/>
              <a:gd name="connsiteY1583" fmla="*/ 246792 h 448122"/>
              <a:gd name="connsiteX1584" fmla="*/ 57123 w 447236"/>
              <a:gd name="connsiteY1584" fmla="*/ 249848 h 448122"/>
              <a:gd name="connsiteX1585" fmla="*/ 57123 w 447236"/>
              <a:gd name="connsiteY1585" fmla="*/ 269714 h 448122"/>
              <a:gd name="connsiteX1586" fmla="*/ 54053 w 447236"/>
              <a:gd name="connsiteY1586" fmla="*/ 272770 h 448122"/>
              <a:gd name="connsiteX1587" fmla="*/ 44842 w 447236"/>
              <a:gd name="connsiteY1587" fmla="*/ 272770 h 448122"/>
              <a:gd name="connsiteX1588" fmla="*/ 41772 w 447236"/>
              <a:gd name="connsiteY1588" fmla="*/ 269714 h 448122"/>
              <a:gd name="connsiteX1589" fmla="*/ 41772 w 447236"/>
              <a:gd name="connsiteY1589" fmla="*/ 249848 h 448122"/>
              <a:gd name="connsiteX1590" fmla="*/ 44842 w 447236"/>
              <a:gd name="connsiteY1590" fmla="*/ 246792 h 448122"/>
              <a:gd name="connsiteX1591" fmla="*/ 43593 w 447236"/>
              <a:gd name="connsiteY1591" fmla="*/ 246792 h 448122"/>
              <a:gd name="connsiteX1592" fmla="*/ 42362 w 447236"/>
              <a:gd name="connsiteY1592" fmla="*/ 245548 h 448122"/>
              <a:gd name="connsiteX1593" fmla="*/ 42362 w 447236"/>
              <a:gd name="connsiteY1593" fmla="*/ 239327 h 448122"/>
              <a:gd name="connsiteX1594" fmla="*/ 43593 w 447236"/>
              <a:gd name="connsiteY1594" fmla="*/ 238083 h 448122"/>
              <a:gd name="connsiteX1595" fmla="*/ 47233 w 447236"/>
              <a:gd name="connsiteY1595" fmla="*/ 238083 h 448122"/>
              <a:gd name="connsiteX1596" fmla="*/ 47233 w 447236"/>
              <a:gd name="connsiteY1596" fmla="*/ 227679 h 448122"/>
              <a:gd name="connsiteX1597" fmla="*/ 49373 w 447236"/>
              <a:gd name="connsiteY1597" fmla="*/ 225537 h 448122"/>
              <a:gd name="connsiteX1598" fmla="*/ 14421 w 447236"/>
              <a:gd name="connsiteY1598" fmla="*/ 225537 h 448122"/>
              <a:gd name="connsiteX1599" fmla="*/ 24853 w 447236"/>
              <a:gd name="connsiteY1599" fmla="*/ 225537 h 448122"/>
              <a:gd name="connsiteX1600" fmla="*/ 28535 w 447236"/>
              <a:gd name="connsiteY1600" fmla="*/ 228908 h 448122"/>
              <a:gd name="connsiteX1601" fmla="*/ 28535 w 447236"/>
              <a:gd name="connsiteY1601" fmla="*/ 235956 h 448122"/>
              <a:gd name="connsiteX1602" fmla="*/ 10739 w 447236"/>
              <a:gd name="connsiteY1602" fmla="*/ 235956 h 448122"/>
              <a:gd name="connsiteX1603" fmla="*/ 10739 w 447236"/>
              <a:gd name="connsiteY1603" fmla="*/ 229214 h 448122"/>
              <a:gd name="connsiteX1604" fmla="*/ 14421 w 447236"/>
              <a:gd name="connsiteY1604" fmla="*/ 225537 h 448122"/>
              <a:gd name="connsiteX1605" fmla="*/ 134460 w 447236"/>
              <a:gd name="connsiteY1605" fmla="*/ 225001 h 448122"/>
              <a:gd name="connsiteX1606" fmla="*/ 123723 w 447236"/>
              <a:gd name="connsiteY1606" fmla="*/ 235712 h 448122"/>
              <a:gd name="connsiteX1607" fmla="*/ 134460 w 447236"/>
              <a:gd name="connsiteY1607" fmla="*/ 246424 h 448122"/>
              <a:gd name="connsiteX1608" fmla="*/ 145504 w 447236"/>
              <a:gd name="connsiteY1608" fmla="*/ 235712 h 448122"/>
              <a:gd name="connsiteX1609" fmla="*/ 134460 w 447236"/>
              <a:gd name="connsiteY1609" fmla="*/ 225001 h 448122"/>
              <a:gd name="connsiteX1610" fmla="*/ 133846 w 447236"/>
              <a:gd name="connsiteY1610" fmla="*/ 223471 h 448122"/>
              <a:gd name="connsiteX1611" fmla="*/ 173728 w 447236"/>
              <a:gd name="connsiteY1611" fmla="*/ 239385 h 448122"/>
              <a:gd name="connsiteX1612" fmla="*/ 163297 w 447236"/>
              <a:gd name="connsiteY1612" fmla="*/ 256829 h 448122"/>
              <a:gd name="connsiteX1613" fmla="*/ 133846 w 447236"/>
              <a:gd name="connsiteY1613" fmla="*/ 248260 h 448122"/>
              <a:gd name="connsiteX1614" fmla="*/ 106236 w 447236"/>
              <a:gd name="connsiteY1614" fmla="*/ 255911 h 448122"/>
              <a:gd name="connsiteX1615" fmla="*/ 95499 w 447236"/>
              <a:gd name="connsiteY1615" fmla="*/ 237855 h 448122"/>
              <a:gd name="connsiteX1616" fmla="*/ 133846 w 447236"/>
              <a:gd name="connsiteY1616" fmla="*/ 223471 h 448122"/>
              <a:gd name="connsiteX1617" fmla="*/ 83458 w 447236"/>
              <a:gd name="connsiteY1617" fmla="*/ 219838 h 448122"/>
              <a:gd name="connsiteX1618" fmla="*/ 87799 w 447236"/>
              <a:gd name="connsiteY1618" fmla="*/ 221869 h 448122"/>
              <a:gd name="connsiteX1619" fmla="*/ 86877 w 447236"/>
              <a:gd name="connsiteY1619" fmla="*/ 228613 h 448122"/>
              <a:gd name="connsiteX1620" fmla="*/ 85033 w 447236"/>
              <a:gd name="connsiteY1620" fmla="*/ 231372 h 448122"/>
              <a:gd name="connsiteX1621" fmla="*/ 84418 w 447236"/>
              <a:gd name="connsiteY1621" fmla="*/ 241795 h 448122"/>
              <a:gd name="connsiteX1622" fmla="*/ 83189 w 447236"/>
              <a:gd name="connsiteY1622" fmla="*/ 248233 h 448122"/>
              <a:gd name="connsiteX1623" fmla="*/ 81345 w 447236"/>
              <a:gd name="connsiteY1623" fmla="*/ 252525 h 448122"/>
              <a:gd name="connsiteX1624" fmla="*/ 80423 w 447236"/>
              <a:gd name="connsiteY1624" fmla="*/ 252831 h 448122"/>
              <a:gd name="connsiteX1625" fmla="*/ 79501 w 447236"/>
              <a:gd name="connsiteY1625" fmla="*/ 243328 h 448122"/>
              <a:gd name="connsiteX1626" fmla="*/ 78271 w 447236"/>
              <a:gd name="connsiteY1626" fmla="*/ 238423 h 448122"/>
              <a:gd name="connsiteX1627" fmla="*/ 77349 w 447236"/>
              <a:gd name="connsiteY1627" fmla="*/ 237810 h 448122"/>
              <a:gd name="connsiteX1628" fmla="*/ 76120 w 447236"/>
              <a:gd name="connsiteY1628" fmla="*/ 238423 h 448122"/>
              <a:gd name="connsiteX1629" fmla="*/ 75198 w 447236"/>
              <a:gd name="connsiteY1629" fmla="*/ 243328 h 448122"/>
              <a:gd name="connsiteX1630" fmla="*/ 73969 w 447236"/>
              <a:gd name="connsiteY1630" fmla="*/ 252831 h 448122"/>
              <a:gd name="connsiteX1631" fmla="*/ 73047 w 447236"/>
              <a:gd name="connsiteY1631" fmla="*/ 252525 h 448122"/>
              <a:gd name="connsiteX1632" fmla="*/ 71510 w 447236"/>
              <a:gd name="connsiteY1632" fmla="*/ 248233 h 448122"/>
              <a:gd name="connsiteX1633" fmla="*/ 69973 w 447236"/>
              <a:gd name="connsiteY1633" fmla="*/ 241795 h 448122"/>
              <a:gd name="connsiteX1634" fmla="*/ 69359 w 447236"/>
              <a:gd name="connsiteY1634" fmla="*/ 231372 h 448122"/>
              <a:gd name="connsiteX1635" fmla="*/ 67514 w 447236"/>
              <a:gd name="connsiteY1635" fmla="*/ 228613 h 448122"/>
              <a:gd name="connsiteX1636" fmla="*/ 66900 w 447236"/>
              <a:gd name="connsiteY1636" fmla="*/ 221869 h 448122"/>
              <a:gd name="connsiteX1637" fmla="*/ 77964 w 447236"/>
              <a:gd name="connsiteY1637" fmla="*/ 221256 h 448122"/>
              <a:gd name="connsiteX1638" fmla="*/ 83458 w 447236"/>
              <a:gd name="connsiteY1638" fmla="*/ 219838 h 448122"/>
              <a:gd name="connsiteX1639" fmla="*/ 399708 w 447236"/>
              <a:gd name="connsiteY1639" fmla="*/ 215205 h 448122"/>
              <a:gd name="connsiteX1640" fmla="*/ 407089 w 447236"/>
              <a:gd name="connsiteY1640" fmla="*/ 228636 h 448122"/>
              <a:gd name="connsiteX1641" fmla="*/ 416831 w 447236"/>
              <a:gd name="connsiteY1641" fmla="*/ 228636 h 448122"/>
              <a:gd name="connsiteX1642" fmla="*/ 417716 w 447236"/>
              <a:gd name="connsiteY1642" fmla="*/ 238083 h 448122"/>
              <a:gd name="connsiteX1643" fmla="*/ 418371 w 447236"/>
              <a:gd name="connsiteY1643" fmla="*/ 238083 h 448122"/>
              <a:gd name="connsiteX1644" fmla="*/ 420904 w 447236"/>
              <a:gd name="connsiteY1644" fmla="*/ 238083 h 448122"/>
              <a:gd name="connsiteX1645" fmla="*/ 422439 w 447236"/>
              <a:gd name="connsiteY1645" fmla="*/ 239323 h 448122"/>
              <a:gd name="connsiteX1646" fmla="*/ 422439 w 447236"/>
              <a:gd name="connsiteY1646" fmla="*/ 239943 h 448122"/>
              <a:gd name="connsiteX1647" fmla="*/ 420904 w 447236"/>
              <a:gd name="connsiteY1647" fmla="*/ 241183 h 448122"/>
              <a:gd name="connsiteX1648" fmla="*/ 420223 w 447236"/>
              <a:gd name="connsiteY1648" fmla="*/ 241183 h 448122"/>
              <a:gd name="connsiteX1649" fmla="*/ 424210 w 447236"/>
              <a:gd name="connsiteY1649" fmla="*/ 250692 h 448122"/>
              <a:gd name="connsiteX1650" fmla="*/ 424210 w 447236"/>
              <a:gd name="connsiteY1650" fmla="*/ 314800 h 448122"/>
              <a:gd name="connsiteX1651" fmla="*/ 419610 w 447236"/>
              <a:gd name="connsiteY1651" fmla="*/ 319708 h 448122"/>
              <a:gd name="connsiteX1652" fmla="*/ 410409 w 447236"/>
              <a:gd name="connsiteY1652" fmla="*/ 319708 h 448122"/>
              <a:gd name="connsiteX1653" fmla="*/ 401209 w 447236"/>
              <a:gd name="connsiteY1653" fmla="*/ 319708 h 448122"/>
              <a:gd name="connsiteX1654" fmla="*/ 396608 w 447236"/>
              <a:gd name="connsiteY1654" fmla="*/ 314800 h 448122"/>
              <a:gd name="connsiteX1655" fmla="*/ 396608 w 447236"/>
              <a:gd name="connsiteY1655" fmla="*/ 250692 h 448122"/>
              <a:gd name="connsiteX1656" fmla="*/ 400595 w 447236"/>
              <a:gd name="connsiteY1656" fmla="*/ 241183 h 448122"/>
              <a:gd name="connsiteX1657" fmla="*/ 400641 w 447236"/>
              <a:gd name="connsiteY1657" fmla="*/ 241183 h 448122"/>
              <a:gd name="connsiteX1658" fmla="*/ 399413 w 447236"/>
              <a:gd name="connsiteY1658" fmla="*/ 239943 h 448122"/>
              <a:gd name="connsiteX1659" fmla="*/ 399413 w 447236"/>
              <a:gd name="connsiteY1659" fmla="*/ 239323 h 448122"/>
              <a:gd name="connsiteX1660" fmla="*/ 400641 w 447236"/>
              <a:gd name="connsiteY1660" fmla="*/ 238083 h 448122"/>
              <a:gd name="connsiteX1661" fmla="*/ 403694 w 447236"/>
              <a:gd name="connsiteY1661" fmla="*/ 238083 h 448122"/>
              <a:gd name="connsiteX1662" fmla="*/ 404284 w 447236"/>
              <a:gd name="connsiteY1662" fmla="*/ 229522 h 448122"/>
              <a:gd name="connsiteX1663" fmla="*/ 397494 w 447236"/>
              <a:gd name="connsiteY1663" fmla="*/ 216386 h 448122"/>
              <a:gd name="connsiteX1664" fmla="*/ 136532 w 447236"/>
              <a:gd name="connsiteY1664" fmla="*/ 213286 h 448122"/>
              <a:gd name="connsiteX1665" fmla="*/ 136975 w 447236"/>
              <a:gd name="connsiteY1665" fmla="*/ 213286 h 448122"/>
              <a:gd name="connsiteX1666" fmla="*/ 137270 w 447236"/>
              <a:gd name="connsiteY1666" fmla="*/ 213286 h 448122"/>
              <a:gd name="connsiteX1667" fmla="*/ 137270 w 447236"/>
              <a:gd name="connsiteY1667" fmla="*/ 213876 h 448122"/>
              <a:gd name="connsiteX1668" fmla="*/ 136532 w 447236"/>
              <a:gd name="connsiteY1668" fmla="*/ 213876 h 448122"/>
              <a:gd name="connsiteX1669" fmla="*/ 434047 w 447236"/>
              <a:gd name="connsiteY1669" fmla="*/ 212400 h 448122"/>
              <a:gd name="connsiteX1670" fmla="*/ 434047 w 447236"/>
              <a:gd name="connsiteY1670" fmla="*/ 214023 h 448122"/>
              <a:gd name="connsiteX1671" fmla="*/ 434047 w 447236"/>
              <a:gd name="connsiteY1671" fmla="*/ 216092 h 448122"/>
              <a:gd name="connsiteX1672" fmla="*/ 433433 w 447236"/>
              <a:gd name="connsiteY1672" fmla="*/ 217932 h 448122"/>
              <a:gd name="connsiteX1673" fmla="*/ 432206 w 447236"/>
              <a:gd name="connsiteY1673" fmla="*/ 219158 h 448122"/>
              <a:gd name="connsiteX1674" fmla="*/ 429446 w 447236"/>
              <a:gd name="connsiteY1674" fmla="*/ 221917 h 448122"/>
              <a:gd name="connsiteX1675" fmla="*/ 428525 w 447236"/>
              <a:gd name="connsiteY1675" fmla="*/ 225596 h 448122"/>
              <a:gd name="connsiteX1676" fmla="*/ 428525 w 447236"/>
              <a:gd name="connsiteY1676" fmla="*/ 298832 h 448122"/>
              <a:gd name="connsiteX1677" fmla="*/ 428525 w 447236"/>
              <a:gd name="connsiteY1677" fmla="*/ 299252 h 448122"/>
              <a:gd name="connsiteX1678" fmla="*/ 440799 w 447236"/>
              <a:gd name="connsiteY1678" fmla="*/ 306253 h 448122"/>
              <a:gd name="connsiteX1679" fmla="*/ 446316 w 447236"/>
              <a:gd name="connsiteY1679" fmla="*/ 304876 h 448122"/>
              <a:gd name="connsiteX1680" fmla="*/ 446316 w 447236"/>
              <a:gd name="connsiteY1680" fmla="*/ 281667 h 448122"/>
              <a:gd name="connsiteX1681" fmla="*/ 446316 w 447236"/>
              <a:gd name="connsiteY1681" fmla="*/ 225596 h 448122"/>
              <a:gd name="connsiteX1682" fmla="*/ 445396 w 447236"/>
              <a:gd name="connsiteY1682" fmla="*/ 221917 h 448122"/>
              <a:gd name="connsiteX1683" fmla="*/ 442635 w 447236"/>
              <a:gd name="connsiteY1683" fmla="*/ 219158 h 448122"/>
              <a:gd name="connsiteX1684" fmla="*/ 441408 w 447236"/>
              <a:gd name="connsiteY1684" fmla="*/ 217932 h 448122"/>
              <a:gd name="connsiteX1685" fmla="*/ 440795 w 447236"/>
              <a:gd name="connsiteY1685" fmla="*/ 216399 h 448122"/>
              <a:gd name="connsiteX1686" fmla="*/ 440795 w 447236"/>
              <a:gd name="connsiteY1686" fmla="*/ 212400 h 448122"/>
              <a:gd name="connsiteX1687" fmla="*/ 434764 w 447236"/>
              <a:gd name="connsiteY1687" fmla="*/ 212400 h 448122"/>
              <a:gd name="connsiteX1688" fmla="*/ 307625 w 447236"/>
              <a:gd name="connsiteY1688" fmla="*/ 212400 h 448122"/>
              <a:gd name="connsiteX1689" fmla="*/ 311595 w 447236"/>
              <a:gd name="connsiteY1689" fmla="*/ 214546 h 448122"/>
              <a:gd name="connsiteX1690" fmla="*/ 313427 w 447236"/>
              <a:gd name="connsiteY1690" fmla="*/ 236928 h 448122"/>
              <a:gd name="connsiteX1691" fmla="*/ 312816 w 447236"/>
              <a:gd name="connsiteY1691" fmla="*/ 236928 h 448122"/>
              <a:gd name="connsiteX1692" fmla="*/ 312816 w 447236"/>
              <a:gd name="connsiteY1692" fmla="*/ 246432 h 448122"/>
              <a:gd name="connsiteX1693" fmla="*/ 314038 w 447236"/>
              <a:gd name="connsiteY1693" fmla="*/ 246739 h 448122"/>
              <a:gd name="connsiteX1694" fmla="*/ 314343 w 447236"/>
              <a:gd name="connsiteY1694" fmla="*/ 247965 h 448122"/>
              <a:gd name="connsiteX1695" fmla="*/ 313427 w 447236"/>
              <a:gd name="connsiteY1695" fmla="*/ 279238 h 448122"/>
              <a:gd name="connsiteX1696" fmla="*/ 313733 w 447236"/>
              <a:gd name="connsiteY1696" fmla="*/ 282304 h 448122"/>
              <a:gd name="connsiteX1697" fmla="*/ 315259 w 447236"/>
              <a:gd name="connsiteY1697" fmla="*/ 308978 h 448122"/>
              <a:gd name="connsiteX1698" fmla="*/ 311290 w 447236"/>
              <a:gd name="connsiteY1698" fmla="*/ 311737 h 448122"/>
              <a:gd name="connsiteX1699" fmla="*/ 307014 w 447236"/>
              <a:gd name="connsiteY1699" fmla="*/ 308978 h 448122"/>
              <a:gd name="connsiteX1700" fmla="*/ 308541 w 447236"/>
              <a:gd name="connsiteY1700" fmla="*/ 281997 h 448122"/>
              <a:gd name="connsiteX1701" fmla="*/ 308541 w 447236"/>
              <a:gd name="connsiteY1701" fmla="*/ 279238 h 448122"/>
              <a:gd name="connsiteX1702" fmla="*/ 307930 w 447236"/>
              <a:gd name="connsiteY1702" fmla="*/ 247965 h 448122"/>
              <a:gd name="connsiteX1703" fmla="*/ 308236 w 447236"/>
              <a:gd name="connsiteY1703" fmla="*/ 246739 h 448122"/>
              <a:gd name="connsiteX1704" fmla="*/ 309457 w 447236"/>
              <a:gd name="connsiteY1704" fmla="*/ 246432 h 448122"/>
              <a:gd name="connsiteX1705" fmla="*/ 309457 w 447236"/>
              <a:gd name="connsiteY1705" fmla="*/ 236928 h 448122"/>
              <a:gd name="connsiteX1706" fmla="*/ 309152 w 447236"/>
              <a:gd name="connsiteY1706" fmla="*/ 236928 h 448122"/>
              <a:gd name="connsiteX1707" fmla="*/ 308236 w 447236"/>
              <a:gd name="connsiteY1707" fmla="*/ 231102 h 448122"/>
              <a:gd name="connsiteX1708" fmla="*/ 307320 w 447236"/>
              <a:gd name="connsiteY1708" fmla="*/ 221904 h 448122"/>
              <a:gd name="connsiteX1709" fmla="*/ 307320 w 447236"/>
              <a:gd name="connsiteY1709" fmla="*/ 215159 h 448122"/>
              <a:gd name="connsiteX1710" fmla="*/ 307625 w 447236"/>
              <a:gd name="connsiteY1710" fmla="*/ 212400 h 448122"/>
              <a:gd name="connsiteX1711" fmla="*/ 68707 w 447236"/>
              <a:gd name="connsiteY1711" fmla="*/ 212130 h 448122"/>
              <a:gd name="connsiteX1712" fmla="*/ 68400 w 447236"/>
              <a:gd name="connsiteY1712" fmla="*/ 212437 h 448122"/>
              <a:gd name="connsiteX1713" fmla="*/ 68707 w 447236"/>
              <a:gd name="connsiteY1713" fmla="*/ 212745 h 448122"/>
              <a:gd name="connsiteX1714" fmla="*/ 81921 w 447236"/>
              <a:gd name="connsiteY1714" fmla="*/ 212745 h 448122"/>
              <a:gd name="connsiteX1715" fmla="*/ 82228 w 447236"/>
              <a:gd name="connsiteY1715" fmla="*/ 212437 h 448122"/>
              <a:gd name="connsiteX1716" fmla="*/ 81921 w 447236"/>
              <a:gd name="connsiteY1716" fmla="*/ 212130 h 448122"/>
              <a:gd name="connsiteX1717" fmla="*/ 68707 w 447236"/>
              <a:gd name="connsiteY1717" fmla="*/ 212130 h 448122"/>
              <a:gd name="connsiteX1718" fmla="*/ 151905 w 447236"/>
              <a:gd name="connsiteY1718" fmla="*/ 212052 h 448122"/>
              <a:gd name="connsiteX1719" fmla="*/ 155056 w 447236"/>
              <a:gd name="connsiteY1719" fmla="*/ 215205 h 448122"/>
              <a:gd name="connsiteX1720" fmla="*/ 156679 w 447236"/>
              <a:gd name="connsiteY1720" fmla="*/ 213581 h 448122"/>
              <a:gd name="connsiteX1721" fmla="*/ 153462 w 447236"/>
              <a:gd name="connsiteY1721" fmla="*/ 213581 h 448122"/>
              <a:gd name="connsiteX1722" fmla="*/ 152843 w 447236"/>
              <a:gd name="connsiteY1722" fmla="*/ 212969 h 448122"/>
              <a:gd name="connsiteX1723" fmla="*/ 152843 w 447236"/>
              <a:gd name="connsiteY1723" fmla="*/ 212052 h 448122"/>
              <a:gd name="connsiteX1724" fmla="*/ 138746 w 447236"/>
              <a:gd name="connsiteY1724" fmla="*/ 211809 h 448122"/>
              <a:gd name="connsiteX1725" fmla="*/ 138451 w 447236"/>
              <a:gd name="connsiteY1725" fmla="*/ 213285 h 448122"/>
              <a:gd name="connsiteX1726" fmla="*/ 139927 w 447236"/>
              <a:gd name="connsiteY1726" fmla="*/ 213285 h 448122"/>
              <a:gd name="connsiteX1727" fmla="*/ 140222 w 447236"/>
              <a:gd name="connsiteY1727" fmla="*/ 211809 h 448122"/>
              <a:gd name="connsiteX1728" fmla="*/ 134170 w 447236"/>
              <a:gd name="connsiteY1728" fmla="*/ 211514 h 448122"/>
              <a:gd name="connsiteX1729" fmla="*/ 134170 w 447236"/>
              <a:gd name="connsiteY1729" fmla="*/ 211809 h 448122"/>
              <a:gd name="connsiteX1730" fmla="*/ 134170 w 447236"/>
              <a:gd name="connsiteY1730" fmla="*/ 213285 h 448122"/>
              <a:gd name="connsiteX1731" fmla="*/ 133580 w 447236"/>
              <a:gd name="connsiteY1731" fmla="*/ 213581 h 448122"/>
              <a:gd name="connsiteX1732" fmla="*/ 133580 w 447236"/>
              <a:gd name="connsiteY1732" fmla="*/ 213285 h 448122"/>
              <a:gd name="connsiteX1733" fmla="*/ 133580 w 447236"/>
              <a:gd name="connsiteY1733" fmla="*/ 211809 h 448122"/>
              <a:gd name="connsiteX1734" fmla="*/ 138451 w 447236"/>
              <a:gd name="connsiteY1734" fmla="*/ 211219 h 448122"/>
              <a:gd name="connsiteX1735" fmla="*/ 138746 w 447236"/>
              <a:gd name="connsiteY1735" fmla="*/ 211219 h 448122"/>
              <a:gd name="connsiteX1736" fmla="*/ 140665 w 447236"/>
              <a:gd name="connsiteY1736" fmla="*/ 211219 h 448122"/>
              <a:gd name="connsiteX1737" fmla="*/ 140665 w 447236"/>
              <a:gd name="connsiteY1737" fmla="*/ 211514 h 448122"/>
              <a:gd name="connsiteX1738" fmla="*/ 140961 w 447236"/>
              <a:gd name="connsiteY1738" fmla="*/ 211514 h 448122"/>
              <a:gd name="connsiteX1739" fmla="*/ 140961 w 447236"/>
              <a:gd name="connsiteY1739" fmla="*/ 211809 h 448122"/>
              <a:gd name="connsiteX1740" fmla="*/ 140665 w 447236"/>
              <a:gd name="connsiteY1740" fmla="*/ 213285 h 448122"/>
              <a:gd name="connsiteX1741" fmla="*/ 140222 w 447236"/>
              <a:gd name="connsiteY1741" fmla="*/ 213581 h 448122"/>
              <a:gd name="connsiteX1742" fmla="*/ 139927 w 447236"/>
              <a:gd name="connsiteY1742" fmla="*/ 213876 h 448122"/>
              <a:gd name="connsiteX1743" fmla="*/ 138451 w 447236"/>
              <a:gd name="connsiteY1743" fmla="*/ 213876 h 448122"/>
              <a:gd name="connsiteX1744" fmla="*/ 138156 w 447236"/>
              <a:gd name="connsiteY1744" fmla="*/ 213581 h 448122"/>
              <a:gd name="connsiteX1745" fmla="*/ 137861 w 447236"/>
              <a:gd name="connsiteY1745" fmla="*/ 213285 h 448122"/>
              <a:gd name="connsiteX1746" fmla="*/ 138156 w 447236"/>
              <a:gd name="connsiteY1746" fmla="*/ 211809 h 448122"/>
              <a:gd name="connsiteX1747" fmla="*/ 138451 w 447236"/>
              <a:gd name="connsiteY1747" fmla="*/ 211514 h 448122"/>
              <a:gd name="connsiteX1748" fmla="*/ 134170 w 447236"/>
              <a:gd name="connsiteY1748" fmla="*/ 211219 h 448122"/>
              <a:gd name="connsiteX1749" fmla="*/ 134465 w 447236"/>
              <a:gd name="connsiteY1749" fmla="*/ 211219 h 448122"/>
              <a:gd name="connsiteX1750" fmla="*/ 135941 w 447236"/>
              <a:gd name="connsiteY1750" fmla="*/ 211219 h 448122"/>
              <a:gd name="connsiteX1751" fmla="*/ 136237 w 447236"/>
              <a:gd name="connsiteY1751" fmla="*/ 211219 h 448122"/>
              <a:gd name="connsiteX1752" fmla="*/ 136237 w 447236"/>
              <a:gd name="connsiteY1752" fmla="*/ 211514 h 448122"/>
              <a:gd name="connsiteX1753" fmla="*/ 136532 w 447236"/>
              <a:gd name="connsiteY1753" fmla="*/ 211809 h 448122"/>
              <a:gd name="connsiteX1754" fmla="*/ 136237 w 447236"/>
              <a:gd name="connsiteY1754" fmla="*/ 213285 h 448122"/>
              <a:gd name="connsiteX1755" fmla="*/ 135941 w 447236"/>
              <a:gd name="connsiteY1755" fmla="*/ 213581 h 448122"/>
              <a:gd name="connsiteX1756" fmla="*/ 135646 w 447236"/>
              <a:gd name="connsiteY1756" fmla="*/ 213876 h 448122"/>
              <a:gd name="connsiteX1757" fmla="*/ 135351 w 447236"/>
              <a:gd name="connsiteY1757" fmla="*/ 213876 h 448122"/>
              <a:gd name="connsiteX1758" fmla="*/ 133875 w 447236"/>
              <a:gd name="connsiteY1758" fmla="*/ 213876 h 448122"/>
              <a:gd name="connsiteX1759" fmla="*/ 133875 w 447236"/>
              <a:gd name="connsiteY1759" fmla="*/ 213581 h 448122"/>
              <a:gd name="connsiteX1760" fmla="*/ 134170 w 447236"/>
              <a:gd name="connsiteY1760" fmla="*/ 213285 h 448122"/>
              <a:gd name="connsiteX1761" fmla="*/ 135646 w 447236"/>
              <a:gd name="connsiteY1761" fmla="*/ 213285 h 448122"/>
              <a:gd name="connsiteX1762" fmla="*/ 135941 w 447236"/>
              <a:gd name="connsiteY1762" fmla="*/ 211809 h 448122"/>
              <a:gd name="connsiteX1763" fmla="*/ 134465 w 447236"/>
              <a:gd name="connsiteY1763" fmla="*/ 211809 h 448122"/>
              <a:gd name="connsiteX1764" fmla="*/ 134170 w 447236"/>
              <a:gd name="connsiteY1764" fmla="*/ 211514 h 448122"/>
              <a:gd name="connsiteX1765" fmla="*/ 130481 w 447236"/>
              <a:gd name="connsiteY1765" fmla="*/ 211219 h 448122"/>
              <a:gd name="connsiteX1766" fmla="*/ 131071 w 447236"/>
              <a:gd name="connsiteY1766" fmla="*/ 211219 h 448122"/>
              <a:gd name="connsiteX1767" fmla="*/ 132547 w 447236"/>
              <a:gd name="connsiteY1767" fmla="*/ 211219 h 448122"/>
              <a:gd name="connsiteX1768" fmla="*/ 132990 w 447236"/>
              <a:gd name="connsiteY1768" fmla="*/ 211219 h 448122"/>
              <a:gd name="connsiteX1769" fmla="*/ 132990 w 447236"/>
              <a:gd name="connsiteY1769" fmla="*/ 211514 h 448122"/>
              <a:gd name="connsiteX1770" fmla="*/ 133286 w 447236"/>
              <a:gd name="connsiteY1770" fmla="*/ 211809 h 448122"/>
              <a:gd name="connsiteX1771" fmla="*/ 132990 w 447236"/>
              <a:gd name="connsiteY1771" fmla="*/ 213285 h 448122"/>
              <a:gd name="connsiteX1772" fmla="*/ 132547 w 447236"/>
              <a:gd name="connsiteY1772" fmla="*/ 213581 h 448122"/>
              <a:gd name="connsiteX1773" fmla="*/ 132252 w 447236"/>
              <a:gd name="connsiteY1773" fmla="*/ 213876 h 448122"/>
              <a:gd name="connsiteX1774" fmla="*/ 130481 w 447236"/>
              <a:gd name="connsiteY1774" fmla="*/ 213876 h 448122"/>
              <a:gd name="connsiteX1775" fmla="*/ 130186 w 447236"/>
              <a:gd name="connsiteY1775" fmla="*/ 213581 h 448122"/>
              <a:gd name="connsiteX1776" fmla="*/ 130481 w 447236"/>
              <a:gd name="connsiteY1776" fmla="*/ 213285 h 448122"/>
              <a:gd name="connsiteX1777" fmla="*/ 132252 w 447236"/>
              <a:gd name="connsiteY1777" fmla="*/ 213285 h 448122"/>
              <a:gd name="connsiteX1778" fmla="*/ 132547 w 447236"/>
              <a:gd name="connsiteY1778" fmla="*/ 211809 h 448122"/>
              <a:gd name="connsiteX1779" fmla="*/ 130776 w 447236"/>
              <a:gd name="connsiteY1779" fmla="*/ 211809 h 448122"/>
              <a:gd name="connsiteX1780" fmla="*/ 130481 w 447236"/>
              <a:gd name="connsiteY1780" fmla="*/ 211514 h 448122"/>
              <a:gd name="connsiteX1781" fmla="*/ 157492 w 447236"/>
              <a:gd name="connsiteY1781" fmla="*/ 210263 h 448122"/>
              <a:gd name="connsiteX1782" fmla="*/ 157492 w 447236"/>
              <a:gd name="connsiteY1782" fmla="*/ 212767 h 448122"/>
              <a:gd name="connsiteX1783" fmla="*/ 158743 w 447236"/>
              <a:gd name="connsiteY1783" fmla="*/ 211515 h 448122"/>
              <a:gd name="connsiteX1784" fmla="*/ 152843 w 447236"/>
              <a:gd name="connsiteY1784" fmla="*/ 210039 h 448122"/>
              <a:gd name="connsiteX1785" fmla="*/ 152053 w 447236"/>
              <a:gd name="connsiteY1785" fmla="*/ 210829 h 448122"/>
              <a:gd name="connsiteX1786" fmla="*/ 152843 w 447236"/>
              <a:gd name="connsiteY1786" fmla="*/ 210829 h 448122"/>
              <a:gd name="connsiteX1787" fmla="*/ 138746 w 447236"/>
              <a:gd name="connsiteY1787" fmla="*/ 209005 h 448122"/>
              <a:gd name="connsiteX1788" fmla="*/ 139042 w 447236"/>
              <a:gd name="connsiteY1788" fmla="*/ 209300 h 448122"/>
              <a:gd name="connsiteX1789" fmla="*/ 138746 w 447236"/>
              <a:gd name="connsiteY1789" fmla="*/ 210924 h 448122"/>
              <a:gd name="connsiteX1790" fmla="*/ 138451 w 447236"/>
              <a:gd name="connsiteY1790" fmla="*/ 211219 h 448122"/>
              <a:gd name="connsiteX1791" fmla="*/ 138156 w 447236"/>
              <a:gd name="connsiteY1791" fmla="*/ 210924 h 448122"/>
              <a:gd name="connsiteX1792" fmla="*/ 138451 w 447236"/>
              <a:gd name="connsiteY1792" fmla="*/ 209300 h 448122"/>
              <a:gd name="connsiteX1793" fmla="*/ 139337 w 447236"/>
              <a:gd name="connsiteY1793" fmla="*/ 208710 h 448122"/>
              <a:gd name="connsiteX1794" fmla="*/ 140961 w 447236"/>
              <a:gd name="connsiteY1794" fmla="*/ 208710 h 448122"/>
              <a:gd name="connsiteX1795" fmla="*/ 141256 w 447236"/>
              <a:gd name="connsiteY1795" fmla="*/ 209005 h 448122"/>
              <a:gd name="connsiteX1796" fmla="*/ 140961 w 447236"/>
              <a:gd name="connsiteY1796" fmla="*/ 209300 h 448122"/>
              <a:gd name="connsiteX1797" fmla="*/ 139042 w 447236"/>
              <a:gd name="connsiteY1797" fmla="*/ 209300 h 448122"/>
              <a:gd name="connsiteX1798" fmla="*/ 139042 w 447236"/>
              <a:gd name="connsiteY1798" fmla="*/ 209005 h 448122"/>
              <a:gd name="connsiteX1799" fmla="*/ 134761 w 447236"/>
              <a:gd name="connsiteY1799" fmla="*/ 208710 h 448122"/>
              <a:gd name="connsiteX1800" fmla="*/ 136532 w 447236"/>
              <a:gd name="connsiteY1800" fmla="*/ 208710 h 448122"/>
              <a:gd name="connsiteX1801" fmla="*/ 136975 w 447236"/>
              <a:gd name="connsiteY1801" fmla="*/ 209005 h 448122"/>
              <a:gd name="connsiteX1802" fmla="*/ 136532 w 447236"/>
              <a:gd name="connsiteY1802" fmla="*/ 209300 h 448122"/>
              <a:gd name="connsiteX1803" fmla="*/ 134761 w 447236"/>
              <a:gd name="connsiteY1803" fmla="*/ 209300 h 448122"/>
              <a:gd name="connsiteX1804" fmla="*/ 134465 w 447236"/>
              <a:gd name="connsiteY1804" fmla="*/ 210924 h 448122"/>
              <a:gd name="connsiteX1805" fmla="*/ 134170 w 447236"/>
              <a:gd name="connsiteY1805" fmla="*/ 211219 h 448122"/>
              <a:gd name="connsiteX1806" fmla="*/ 133875 w 447236"/>
              <a:gd name="connsiteY1806" fmla="*/ 210924 h 448122"/>
              <a:gd name="connsiteX1807" fmla="*/ 134170 w 447236"/>
              <a:gd name="connsiteY1807" fmla="*/ 209300 h 448122"/>
              <a:gd name="connsiteX1808" fmla="*/ 134465 w 447236"/>
              <a:gd name="connsiteY1808" fmla="*/ 209005 h 448122"/>
              <a:gd name="connsiteX1809" fmla="*/ 131367 w 447236"/>
              <a:gd name="connsiteY1809" fmla="*/ 208710 h 448122"/>
              <a:gd name="connsiteX1810" fmla="*/ 133286 w 447236"/>
              <a:gd name="connsiteY1810" fmla="*/ 208710 h 448122"/>
              <a:gd name="connsiteX1811" fmla="*/ 133286 w 447236"/>
              <a:gd name="connsiteY1811" fmla="*/ 209005 h 448122"/>
              <a:gd name="connsiteX1812" fmla="*/ 133581 w 447236"/>
              <a:gd name="connsiteY1812" fmla="*/ 209005 h 448122"/>
              <a:gd name="connsiteX1813" fmla="*/ 133581 w 447236"/>
              <a:gd name="connsiteY1813" fmla="*/ 209300 h 448122"/>
              <a:gd name="connsiteX1814" fmla="*/ 133286 w 447236"/>
              <a:gd name="connsiteY1814" fmla="*/ 210924 h 448122"/>
              <a:gd name="connsiteX1815" fmla="*/ 132990 w 447236"/>
              <a:gd name="connsiteY1815" fmla="*/ 211219 h 448122"/>
              <a:gd name="connsiteX1816" fmla="*/ 132547 w 447236"/>
              <a:gd name="connsiteY1816" fmla="*/ 210924 h 448122"/>
              <a:gd name="connsiteX1817" fmla="*/ 132990 w 447236"/>
              <a:gd name="connsiteY1817" fmla="*/ 209300 h 448122"/>
              <a:gd name="connsiteX1818" fmla="*/ 131367 w 447236"/>
              <a:gd name="connsiteY1818" fmla="*/ 209300 h 448122"/>
              <a:gd name="connsiteX1819" fmla="*/ 131071 w 447236"/>
              <a:gd name="connsiteY1819" fmla="*/ 209005 h 448122"/>
              <a:gd name="connsiteX1820" fmla="*/ 155056 w 447236"/>
              <a:gd name="connsiteY1820" fmla="*/ 207825 h 448122"/>
              <a:gd name="connsiteX1821" fmla="*/ 153581 w 447236"/>
              <a:gd name="connsiteY1821" fmla="*/ 209301 h 448122"/>
              <a:gd name="connsiteX1822" fmla="*/ 156531 w 447236"/>
              <a:gd name="connsiteY1822" fmla="*/ 209301 h 448122"/>
              <a:gd name="connsiteX1823" fmla="*/ 128629 w 447236"/>
              <a:gd name="connsiteY1823" fmla="*/ 207825 h 448122"/>
              <a:gd name="connsiteX1824" fmla="*/ 127400 w 447236"/>
              <a:gd name="connsiteY1824" fmla="*/ 208747 h 448122"/>
              <a:gd name="connsiteX1825" fmla="*/ 127400 w 447236"/>
              <a:gd name="connsiteY1825" fmla="*/ 214282 h 448122"/>
              <a:gd name="connsiteX1826" fmla="*/ 128629 w 447236"/>
              <a:gd name="connsiteY1826" fmla="*/ 215205 h 448122"/>
              <a:gd name="connsiteX1827" fmla="*/ 142764 w 447236"/>
              <a:gd name="connsiteY1827" fmla="*/ 215205 h 448122"/>
              <a:gd name="connsiteX1828" fmla="*/ 143993 w 447236"/>
              <a:gd name="connsiteY1828" fmla="*/ 214282 h 448122"/>
              <a:gd name="connsiteX1829" fmla="*/ 143993 w 447236"/>
              <a:gd name="connsiteY1829" fmla="*/ 208747 h 448122"/>
              <a:gd name="connsiteX1830" fmla="*/ 142764 w 447236"/>
              <a:gd name="connsiteY1830" fmla="*/ 207825 h 448122"/>
              <a:gd name="connsiteX1831" fmla="*/ 128629 w 447236"/>
              <a:gd name="connsiteY1831" fmla="*/ 207825 h 448122"/>
              <a:gd name="connsiteX1832" fmla="*/ 191847 w 447236"/>
              <a:gd name="connsiteY1832" fmla="*/ 205020 h 448122"/>
              <a:gd name="connsiteX1833" fmla="*/ 192462 w 447236"/>
              <a:gd name="connsiteY1833" fmla="*/ 205325 h 448122"/>
              <a:gd name="connsiteX1834" fmla="*/ 192154 w 447236"/>
              <a:gd name="connsiteY1834" fmla="*/ 206240 h 448122"/>
              <a:gd name="connsiteX1835" fmla="*/ 191847 w 447236"/>
              <a:gd name="connsiteY1835" fmla="*/ 207155 h 448122"/>
              <a:gd name="connsiteX1836" fmla="*/ 191539 w 447236"/>
              <a:gd name="connsiteY1836" fmla="*/ 208681 h 448122"/>
              <a:gd name="connsiteX1837" fmla="*/ 190617 w 447236"/>
              <a:gd name="connsiteY1837" fmla="*/ 209291 h 448122"/>
              <a:gd name="connsiteX1838" fmla="*/ 190002 w 447236"/>
              <a:gd name="connsiteY1838" fmla="*/ 209596 h 448122"/>
              <a:gd name="connsiteX1839" fmla="*/ 189387 w 447236"/>
              <a:gd name="connsiteY1839" fmla="*/ 209291 h 448122"/>
              <a:gd name="connsiteX1840" fmla="*/ 189694 w 447236"/>
              <a:gd name="connsiteY1840" fmla="*/ 208376 h 448122"/>
              <a:gd name="connsiteX1841" fmla="*/ 190002 w 447236"/>
              <a:gd name="connsiteY1841" fmla="*/ 208071 h 448122"/>
              <a:gd name="connsiteX1842" fmla="*/ 190309 w 447236"/>
              <a:gd name="connsiteY1842" fmla="*/ 208071 h 448122"/>
              <a:gd name="connsiteX1843" fmla="*/ 190617 w 447236"/>
              <a:gd name="connsiteY1843" fmla="*/ 207155 h 448122"/>
              <a:gd name="connsiteX1844" fmla="*/ 191847 w 447236"/>
              <a:gd name="connsiteY1844" fmla="*/ 205020 h 448122"/>
              <a:gd name="connsiteX1845" fmla="*/ 49064 w 447236"/>
              <a:gd name="connsiteY1845" fmla="*/ 204421 h 448122"/>
              <a:gd name="connsiteX1846" fmla="*/ 49371 w 447236"/>
              <a:gd name="connsiteY1846" fmla="*/ 204421 h 448122"/>
              <a:gd name="connsiteX1847" fmla="*/ 49678 w 447236"/>
              <a:gd name="connsiteY1847" fmla="*/ 205953 h 448122"/>
              <a:gd name="connsiteX1848" fmla="*/ 49984 w 447236"/>
              <a:gd name="connsiteY1848" fmla="*/ 207484 h 448122"/>
              <a:gd name="connsiteX1849" fmla="*/ 49678 w 447236"/>
              <a:gd name="connsiteY1849" fmla="*/ 207484 h 448122"/>
              <a:gd name="connsiteX1850" fmla="*/ 48758 w 447236"/>
              <a:gd name="connsiteY1850" fmla="*/ 207484 h 448122"/>
              <a:gd name="connsiteX1851" fmla="*/ 49064 w 447236"/>
              <a:gd name="connsiteY1851" fmla="*/ 205953 h 448122"/>
              <a:gd name="connsiteX1852" fmla="*/ 49064 w 447236"/>
              <a:gd name="connsiteY1852" fmla="*/ 204421 h 448122"/>
              <a:gd name="connsiteX1853" fmla="*/ 115108 w 447236"/>
              <a:gd name="connsiteY1853" fmla="*/ 204135 h 448122"/>
              <a:gd name="connsiteX1854" fmla="*/ 164582 w 447236"/>
              <a:gd name="connsiteY1854" fmla="*/ 204135 h 448122"/>
              <a:gd name="connsiteX1855" fmla="*/ 169806 w 447236"/>
              <a:gd name="connsiteY1855" fmla="*/ 206287 h 448122"/>
              <a:gd name="connsiteX1856" fmla="*/ 171957 w 447236"/>
              <a:gd name="connsiteY1856" fmla="*/ 211515 h 448122"/>
              <a:gd name="connsiteX1857" fmla="*/ 169806 w 447236"/>
              <a:gd name="connsiteY1857" fmla="*/ 216742 h 448122"/>
              <a:gd name="connsiteX1858" fmla="*/ 164582 w 447236"/>
              <a:gd name="connsiteY1858" fmla="*/ 218895 h 448122"/>
              <a:gd name="connsiteX1859" fmla="*/ 114801 w 447236"/>
              <a:gd name="connsiteY1859" fmla="*/ 218587 h 448122"/>
              <a:gd name="connsiteX1860" fmla="*/ 90832 w 447236"/>
              <a:gd name="connsiteY1860" fmla="*/ 214282 h 448122"/>
              <a:gd name="connsiteX1861" fmla="*/ 80692 w 447236"/>
              <a:gd name="connsiteY1861" fmla="*/ 213667 h 448122"/>
              <a:gd name="connsiteX1862" fmla="*/ 70244 w 447236"/>
              <a:gd name="connsiteY1862" fmla="*/ 213360 h 448122"/>
              <a:gd name="connsiteX1863" fmla="*/ 67478 w 447236"/>
              <a:gd name="connsiteY1863" fmla="*/ 213052 h 448122"/>
              <a:gd name="connsiteX1864" fmla="*/ 66864 w 447236"/>
              <a:gd name="connsiteY1864" fmla="*/ 212130 h 448122"/>
              <a:gd name="connsiteX1865" fmla="*/ 67478 w 447236"/>
              <a:gd name="connsiteY1865" fmla="*/ 211515 h 448122"/>
              <a:gd name="connsiteX1866" fmla="*/ 70244 w 447236"/>
              <a:gd name="connsiteY1866" fmla="*/ 210900 h 448122"/>
              <a:gd name="connsiteX1867" fmla="*/ 80692 w 447236"/>
              <a:gd name="connsiteY1867" fmla="*/ 210285 h 448122"/>
              <a:gd name="connsiteX1868" fmla="*/ 90832 w 447236"/>
              <a:gd name="connsiteY1868" fmla="*/ 209362 h 448122"/>
              <a:gd name="connsiteX1869" fmla="*/ 115108 w 447236"/>
              <a:gd name="connsiteY1869" fmla="*/ 204135 h 448122"/>
              <a:gd name="connsiteX1870" fmla="*/ 31274 w 447236"/>
              <a:gd name="connsiteY1870" fmla="*/ 203809 h 448122"/>
              <a:gd name="connsiteX1871" fmla="*/ 31581 w 447236"/>
              <a:gd name="connsiteY1871" fmla="*/ 203809 h 448122"/>
              <a:gd name="connsiteX1872" fmla="*/ 32501 w 447236"/>
              <a:gd name="connsiteY1872" fmla="*/ 203809 h 448122"/>
              <a:gd name="connsiteX1873" fmla="*/ 33115 w 447236"/>
              <a:gd name="connsiteY1873" fmla="*/ 204115 h 448122"/>
              <a:gd name="connsiteX1874" fmla="*/ 33115 w 447236"/>
              <a:gd name="connsiteY1874" fmla="*/ 204728 h 448122"/>
              <a:gd name="connsiteX1875" fmla="*/ 33115 w 447236"/>
              <a:gd name="connsiteY1875" fmla="*/ 205340 h 448122"/>
              <a:gd name="connsiteX1876" fmla="*/ 32501 w 447236"/>
              <a:gd name="connsiteY1876" fmla="*/ 205340 h 448122"/>
              <a:gd name="connsiteX1877" fmla="*/ 31581 w 447236"/>
              <a:gd name="connsiteY1877" fmla="*/ 205340 h 448122"/>
              <a:gd name="connsiteX1878" fmla="*/ 31274 w 447236"/>
              <a:gd name="connsiteY1878" fmla="*/ 205340 h 448122"/>
              <a:gd name="connsiteX1879" fmla="*/ 31274 w 447236"/>
              <a:gd name="connsiteY1879" fmla="*/ 205034 h 448122"/>
              <a:gd name="connsiteX1880" fmla="*/ 31274 w 447236"/>
              <a:gd name="connsiteY1880" fmla="*/ 204115 h 448122"/>
              <a:gd name="connsiteX1881" fmla="*/ 31274 w 447236"/>
              <a:gd name="connsiteY1881" fmla="*/ 203809 h 448122"/>
              <a:gd name="connsiteX1882" fmla="*/ 16858 w 447236"/>
              <a:gd name="connsiteY1882" fmla="*/ 203503 h 448122"/>
              <a:gd name="connsiteX1883" fmla="*/ 17471 w 447236"/>
              <a:gd name="connsiteY1883" fmla="*/ 203809 h 448122"/>
              <a:gd name="connsiteX1884" fmla="*/ 17778 w 447236"/>
              <a:gd name="connsiteY1884" fmla="*/ 204728 h 448122"/>
              <a:gd name="connsiteX1885" fmla="*/ 17778 w 447236"/>
              <a:gd name="connsiteY1885" fmla="*/ 208097 h 448122"/>
              <a:gd name="connsiteX1886" fmla="*/ 17471 w 447236"/>
              <a:gd name="connsiteY1886" fmla="*/ 208709 h 448122"/>
              <a:gd name="connsiteX1887" fmla="*/ 16858 w 447236"/>
              <a:gd name="connsiteY1887" fmla="*/ 209016 h 448122"/>
              <a:gd name="connsiteX1888" fmla="*/ 15938 w 447236"/>
              <a:gd name="connsiteY1888" fmla="*/ 208709 h 448122"/>
              <a:gd name="connsiteX1889" fmla="*/ 15631 w 447236"/>
              <a:gd name="connsiteY1889" fmla="*/ 208097 h 448122"/>
              <a:gd name="connsiteX1890" fmla="*/ 15631 w 447236"/>
              <a:gd name="connsiteY1890" fmla="*/ 204728 h 448122"/>
              <a:gd name="connsiteX1891" fmla="*/ 15938 w 447236"/>
              <a:gd name="connsiteY1891" fmla="*/ 203809 h 448122"/>
              <a:gd name="connsiteX1892" fmla="*/ 16858 w 447236"/>
              <a:gd name="connsiteY1892" fmla="*/ 203503 h 448122"/>
              <a:gd name="connsiteX1893" fmla="*/ 53972 w 447236"/>
              <a:gd name="connsiteY1893" fmla="*/ 201971 h 448122"/>
              <a:gd name="connsiteX1894" fmla="*/ 53972 w 447236"/>
              <a:gd name="connsiteY1894" fmla="*/ 202277 h 448122"/>
              <a:gd name="connsiteX1895" fmla="*/ 53972 w 447236"/>
              <a:gd name="connsiteY1895" fmla="*/ 210547 h 448122"/>
              <a:gd name="connsiteX1896" fmla="*/ 54279 w 447236"/>
              <a:gd name="connsiteY1896" fmla="*/ 210853 h 448122"/>
              <a:gd name="connsiteX1897" fmla="*/ 59186 w 447236"/>
              <a:gd name="connsiteY1897" fmla="*/ 210853 h 448122"/>
              <a:gd name="connsiteX1898" fmla="*/ 59493 w 447236"/>
              <a:gd name="connsiteY1898" fmla="*/ 210547 h 448122"/>
              <a:gd name="connsiteX1899" fmla="*/ 59493 w 447236"/>
              <a:gd name="connsiteY1899" fmla="*/ 209322 h 448122"/>
              <a:gd name="connsiteX1900" fmla="*/ 59493 w 447236"/>
              <a:gd name="connsiteY1900" fmla="*/ 209016 h 448122"/>
              <a:gd name="connsiteX1901" fmla="*/ 59186 w 447236"/>
              <a:gd name="connsiteY1901" fmla="*/ 209016 h 448122"/>
              <a:gd name="connsiteX1902" fmla="*/ 56119 w 447236"/>
              <a:gd name="connsiteY1902" fmla="*/ 209016 h 448122"/>
              <a:gd name="connsiteX1903" fmla="*/ 55812 w 447236"/>
              <a:gd name="connsiteY1903" fmla="*/ 209016 h 448122"/>
              <a:gd name="connsiteX1904" fmla="*/ 55812 w 447236"/>
              <a:gd name="connsiteY1904" fmla="*/ 208709 h 448122"/>
              <a:gd name="connsiteX1905" fmla="*/ 55812 w 447236"/>
              <a:gd name="connsiteY1905" fmla="*/ 202277 h 448122"/>
              <a:gd name="connsiteX1906" fmla="*/ 55812 w 447236"/>
              <a:gd name="connsiteY1906" fmla="*/ 201971 h 448122"/>
              <a:gd name="connsiteX1907" fmla="*/ 55506 w 447236"/>
              <a:gd name="connsiteY1907" fmla="*/ 201971 h 448122"/>
              <a:gd name="connsiteX1908" fmla="*/ 54279 w 447236"/>
              <a:gd name="connsiteY1908" fmla="*/ 201971 h 448122"/>
              <a:gd name="connsiteX1909" fmla="*/ 53972 w 447236"/>
              <a:gd name="connsiteY1909" fmla="*/ 201971 h 448122"/>
              <a:gd name="connsiteX1910" fmla="*/ 48144 w 447236"/>
              <a:gd name="connsiteY1910" fmla="*/ 201971 h 448122"/>
              <a:gd name="connsiteX1911" fmla="*/ 47837 w 447236"/>
              <a:gd name="connsiteY1911" fmla="*/ 202277 h 448122"/>
              <a:gd name="connsiteX1912" fmla="*/ 45690 w 447236"/>
              <a:gd name="connsiteY1912" fmla="*/ 210547 h 448122"/>
              <a:gd name="connsiteX1913" fmla="*/ 45690 w 447236"/>
              <a:gd name="connsiteY1913" fmla="*/ 210853 h 448122"/>
              <a:gd name="connsiteX1914" fmla="*/ 45997 w 447236"/>
              <a:gd name="connsiteY1914" fmla="*/ 210853 h 448122"/>
              <a:gd name="connsiteX1915" fmla="*/ 47531 w 447236"/>
              <a:gd name="connsiteY1915" fmla="*/ 210853 h 448122"/>
              <a:gd name="connsiteX1916" fmla="*/ 47837 w 447236"/>
              <a:gd name="connsiteY1916" fmla="*/ 210853 h 448122"/>
              <a:gd name="connsiteX1917" fmla="*/ 47837 w 447236"/>
              <a:gd name="connsiteY1917" fmla="*/ 210547 h 448122"/>
              <a:gd name="connsiteX1918" fmla="*/ 48144 w 447236"/>
              <a:gd name="connsiteY1918" fmla="*/ 209628 h 448122"/>
              <a:gd name="connsiteX1919" fmla="*/ 48144 w 447236"/>
              <a:gd name="connsiteY1919" fmla="*/ 209322 h 448122"/>
              <a:gd name="connsiteX1920" fmla="*/ 48451 w 447236"/>
              <a:gd name="connsiteY1920" fmla="*/ 209322 h 448122"/>
              <a:gd name="connsiteX1921" fmla="*/ 50291 w 447236"/>
              <a:gd name="connsiteY1921" fmla="*/ 209322 h 448122"/>
              <a:gd name="connsiteX1922" fmla="*/ 50291 w 447236"/>
              <a:gd name="connsiteY1922" fmla="*/ 209628 h 448122"/>
              <a:gd name="connsiteX1923" fmla="*/ 50598 w 447236"/>
              <a:gd name="connsiteY1923" fmla="*/ 210547 h 448122"/>
              <a:gd name="connsiteX1924" fmla="*/ 50905 w 447236"/>
              <a:gd name="connsiteY1924" fmla="*/ 210853 h 448122"/>
              <a:gd name="connsiteX1925" fmla="*/ 52438 w 447236"/>
              <a:gd name="connsiteY1925" fmla="*/ 210853 h 448122"/>
              <a:gd name="connsiteX1926" fmla="*/ 52745 w 447236"/>
              <a:gd name="connsiteY1926" fmla="*/ 210547 h 448122"/>
              <a:gd name="connsiteX1927" fmla="*/ 50598 w 447236"/>
              <a:gd name="connsiteY1927" fmla="*/ 202277 h 448122"/>
              <a:gd name="connsiteX1928" fmla="*/ 50598 w 447236"/>
              <a:gd name="connsiteY1928" fmla="*/ 201971 h 448122"/>
              <a:gd name="connsiteX1929" fmla="*/ 50291 w 447236"/>
              <a:gd name="connsiteY1929" fmla="*/ 201971 h 448122"/>
              <a:gd name="connsiteX1930" fmla="*/ 48144 w 447236"/>
              <a:gd name="connsiteY1930" fmla="*/ 201971 h 448122"/>
              <a:gd name="connsiteX1931" fmla="*/ 39863 w 447236"/>
              <a:gd name="connsiteY1931" fmla="*/ 201971 h 448122"/>
              <a:gd name="connsiteX1932" fmla="*/ 39863 w 447236"/>
              <a:gd name="connsiteY1932" fmla="*/ 202277 h 448122"/>
              <a:gd name="connsiteX1933" fmla="*/ 39863 w 447236"/>
              <a:gd name="connsiteY1933" fmla="*/ 203503 h 448122"/>
              <a:gd name="connsiteX1934" fmla="*/ 39863 w 447236"/>
              <a:gd name="connsiteY1934" fmla="*/ 203809 h 448122"/>
              <a:gd name="connsiteX1935" fmla="*/ 40169 w 447236"/>
              <a:gd name="connsiteY1935" fmla="*/ 203809 h 448122"/>
              <a:gd name="connsiteX1936" fmla="*/ 41396 w 447236"/>
              <a:gd name="connsiteY1936" fmla="*/ 203809 h 448122"/>
              <a:gd name="connsiteX1937" fmla="*/ 41703 w 447236"/>
              <a:gd name="connsiteY1937" fmla="*/ 203809 h 448122"/>
              <a:gd name="connsiteX1938" fmla="*/ 41703 w 447236"/>
              <a:gd name="connsiteY1938" fmla="*/ 204115 h 448122"/>
              <a:gd name="connsiteX1939" fmla="*/ 41703 w 447236"/>
              <a:gd name="connsiteY1939" fmla="*/ 210547 h 448122"/>
              <a:gd name="connsiteX1940" fmla="*/ 42010 w 447236"/>
              <a:gd name="connsiteY1940" fmla="*/ 210853 h 448122"/>
              <a:gd name="connsiteX1941" fmla="*/ 43543 w 447236"/>
              <a:gd name="connsiteY1941" fmla="*/ 210853 h 448122"/>
              <a:gd name="connsiteX1942" fmla="*/ 43850 w 447236"/>
              <a:gd name="connsiteY1942" fmla="*/ 210547 h 448122"/>
              <a:gd name="connsiteX1943" fmla="*/ 43850 w 447236"/>
              <a:gd name="connsiteY1943" fmla="*/ 204115 h 448122"/>
              <a:gd name="connsiteX1944" fmla="*/ 43850 w 447236"/>
              <a:gd name="connsiteY1944" fmla="*/ 203809 h 448122"/>
              <a:gd name="connsiteX1945" fmla="*/ 44157 w 447236"/>
              <a:gd name="connsiteY1945" fmla="*/ 203809 h 448122"/>
              <a:gd name="connsiteX1946" fmla="*/ 45690 w 447236"/>
              <a:gd name="connsiteY1946" fmla="*/ 203809 h 448122"/>
              <a:gd name="connsiteX1947" fmla="*/ 45997 w 447236"/>
              <a:gd name="connsiteY1947" fmla="*/ 203809 h 448122"/>
              <a:gd name="connsiteX1948" fmla="*/ 45997 w 447236"/>
              <a:gd name="connsiteY1948" fmla="*/ 203503 h 448122"/>
              <a:gd name="connsiteX1949" fmla="*/ 45997 w 447236"/>
              <a:gd name="connsiteY1949" fmla="*/ 202277 h 448122"/>
              <a:gd name="connsiteX1950" fmla="*/ 45690 w 447236"/>
              <a:gd name="connsiteY1950" fmla="*/ 201971 h 448122"/>
              <a:gd name="connsiteX1951" fmla="*/ 40169 w 447236"/>
              <a:gd name="connsiteY1951" fmla="*/ 201971 h 448122"/>
              <a:gd name="connsiteX1952" fmla="*/ 39863 w 447236"/>
              <a:gd name="connsiteY1952" fmla="*/ 201971 h 448122"/>
              <a:gd name="connsiteX1953" fmla="*/ 36795 w 447236"/>
              <a:gd name="connsiteY1953" fmla="*/ 201971 h 448122"/>
              <a:gd name="connsiteX1954" fmla="*/ 36489 w 447236"/>
              <a:gd name="connsiteY1954" fmla="*/ 202277 h 448122"/>
              <a:gd name="connsiteX1955" fmla="*/ 36489 w 447236"/>
              <a:gd name="connsiteY1955" fmla="*/ 210547 h 448122"/>
              <a:gd name="connsiteX1956" fmla="*/ 36795 w 447236"/>
              <a:gd name="connsiteY1956" fmla="*/ 210853 h 448122"/>
              <a:gd name="connsiteX1957" fmla="*/ 38329 w 447236"/>
              <a:gd name="connsiteY1957" fmla="*/ 210853 h 448122"/>
              <a:gd name="connsiteX1958" fmla="*/ 38636 w 447236"/>
              <a:gd name="connsiteY1958" fmla="*/ 210547 h 448122"/>
              <a:gd name="connsiteX1959" fmla="*/ 38636 w 447236"/>
              <a:gd name="connsiteY1959" fmla="*/ 202277 h 448122"/>
              <a:gd name="connsiteX1960" fmla="*/ 38636 w 447236"/>
              <a:gd name="connsiteY1960" fmla="*/ 201971 h 448122"/>
              <a:gd name="connsiteX1961" fmla="*/ 38329 w 447236"/>
              <a:gd name="connsiteY1961" fmla="*/ 201971 h 448122"/>
              <a:gd name="connsiteX1962" fmla="*/ 36795 w 447236"/>
              <a:gd name="connsiteY1962" fmla="*/ 201971 h 448122"/>
              <a:gd name="connsiteX1963" fmla="*/ 29434 w 447236"/>
              <a:gd name="connsiteY1963" fmla="*/ 201971 h 448122"/>
              <a:gd name="connsiteX1964" fmla="*/ 29127 w 447236"/>
              <a:gd name="connsiteY1964" fmla="*/ 202277 h 448122"/>
              <a:gd name="connsiteX1965" fmla="*/ 29127 w 447236"/>
              <a:gd name="connsiteY1965" fmla="*/ 210547 h 448122"/>
              <a:gd name="connsiteX1966" fmla="*/ 29434 w 447236"/>
              <a:gd name="connsiteY1966" fmla="*/ 210853 h 448122"/>
              <a:gd name="connsiteX1967" fmla="*/ 30967 w 447236"/>
              <a:gd name="connsiteY1967" fmla="*/ 210853 h 448122"/>
              <a:gd name="connsiteX1968" fmla="*/ 31274 w 447236"/>
              <a:gd name="connsiteY1968" fmla="*/ 210547 h 448122"/>
              <a:gd name="connsiteX1969" fmla="*/ 31274 w 447236"/>
              <a:gd name="connsiteY1969" fmla="*/ 207484 h 448122"/>
              <a:gd name="connsiteX1970" fmla="*/ 31274 w 447236"/>
              <a:gd name="connsiteY1970" fmla="*/ 207178 h 448122"/>
              <a:gd name="connsiteX1971" fmla="*/ 31581 w 447236"/>
              <a:gd name="connsiteY1971" fmla="*/ 207178 h 448122"/>
              <a:gd name="connsiteX1972" fmla="*/ 32501 w 447236"/>
              <a:gd name="connsiteY1972" fmla="*/ 207178 h 448122"/>
              <a:gd name="connsiteX1973" fmla="*/ 33421 w 447236"/>
              <a:gd name="connsiteY1973" fmla="*/ 207178 h 448122"/>
              <a:gd name="connsiteX1974" fmla="*/ 34341 w 447236"/>
              <a:gd name="connsiteY1974" fmla="*/ 206565 h 448122"/>
              <a:gd name="connsiteX1975" fmla="*/ 34955 w 447236"/>
              <a:gd name="connsiteY1975" fmla="*/ 205647 h 448122"/>
              <a:gd name="connsiteX1976" fmla="*/ 35262 w 447236"/>
              <a:gd name="connsiteY1976" fmla="*/ 204728 h 448122"/>
              <a:gd name="connsiteX1977" fmla="*/ 34955 w 447236"/>
              <a:gd name="connsiteY1977" fmla="*/ 203503 h 448122"/>
              <a:gd name="connsiteX1978" fmla="*/ 34341 w 447236"/>
              <a:gd name="connsiteY1978" fmla="*/ 202584 h 448122"/>
              <a:gd name="connsiteX1979" fmla="*/ 33421 w 447236"/>
              <a:gd name="connsiteY1979" fmla="*/ 202277 h 448122"/>
              <a:gd name="connsiteX1980" fmla="*/ 32501 w 447236"/>
              <a:gd name="connsiteY1980" fmla="*/ 201971 h 448122"/>
              <a:gd name="connsiteX1981" fmla="*/ 29434 w 447236"/>
              <a:gd name="connsiteY1981" fmla="*/ 201971 h 448122"/>
              <a:gd name="connsiteX1982" fmla="*/ 23299 w 447236"/>
              <a:gd name="connsiteY1982" fmla="*/ 201971 h 448122"/>
              <a:gd name="connsiteX1983" fmla="*/ 22379 w 447236"/>
              <a:gd name="connsiteY1983" fmla="*/ 202584 h 448122"/>
              <a:gd name="connsiteX1984" fmla="*/ 21766 w 447236"/>
              <a:gd name="connsiteY1984" fmla="*/ 203503 h 448122"/>
              <a:gd name="connsiteX1985" fmla="*/ 21459 w 447236"/>
              <a:gd name="connsiteY1985" fmla="*/ 204421 h 448122"/>
              <a:gd name="connsiteX1986" fmla="*/ 21766 w 447236"/>
              <a:gd name="connsiteY1986" fmla="*/ 205340 h 448122"/>
              <a:gd name="connsiteX1987" fmla="*/ 22072 w 447236"/>
              <a:gd name="connsiteY1987" fmla="*/ 206259 h 448122"/>
              <a:gd name="connsiteX1988" fmla="*/ 22686 w 447236"/>
              <a:gd name="connsiteY1988" fmla="*/ 206565 h 448122"/>
              <a:gd name="connsiteX1989" fmla="*/ 23606 w 447236"/>
              <a:gd name="connsiteY1989" fmla="*/ 206872 h 448122"/>
              <a:gd name="connsiteX1990" fmla="*/ 25140 w 447236"/>
              <a:gd name="connsiteY1990" fmla="*/ 207484 h 448122"/>
              <a:gd name="connsiteX1991" fmla="*/ 25753 w 447236"/>
              <a:gd name="connsiteY1991" fmla="*/ 208403 h 448122"/>
              <a:gd name="connsiteX1992" fmla="*/ 25753 w 447236"/>
              <a:gd name="connsiteY1992" fmla="*/ 208709 h 448122"/>
              <a:gd name="connsiteX1993" fmla="*/ 25446 w 447236"/>
              <a:gd name="connsiteY1993" fmla="*/ 208709 h 448122"/>
              <a:gd name="connsiteX1994" fmla="*/ 25140 w 447236"/>
              <a:gd name="connsiteY1994" fmla="*/ 209016 h 448122"/>
              <a:gd name="connsiteX1995" fmla="*/ 24526 w 447236"/>
              <a:gd name="connsiteY1995" fmla="*/ 209016 h 448122"/>
              <a:gd name="connsiteX1996" fmla="*/ 24219 w 447236"/>
              <a:gd name="connsiteY1996" fmla="*/ 209016 h 448122"/>
              <a:gd name="connsiteX1997" fmla="*/ 23606 w 447236"/>
              <a:gd name="connsiteY1997" fmla="*/ 209016 h 448122"/>
              <a:gd name="connsiteX1998" fmla="*/ 22993 w 447236"/>
              <a:gd name="connsiteY1998" fmla="*/ 208709 h 448122"/>
              <a:gd name="connsiteX1999" fmla="*/ 22686 w 447236"/>
              <a:gd name="connsiteY1999" fmla="*/ 208403 h 448122"/>
              <a:gd name="connsiteX2000" fmla="*/ 22379 w 447236"/>
              <a:gd name="connsiteY2000" fmla="*/ 208097 h 448122"/>
              <a:gd name="connsiteX2001" fmla="*/ 22072 w 447236"/>
              <a:gd name="connsiteY2001" fmla="*/ 208403 h 448122"/>
              <a:gd name="connsiteX2002" fmla="*/ 21459 w 447236"/>
              <a:gd name="connsiteY2002" fmla="*/ 209322 h 448122"/>
              <a:gd name="connsiteX2003" fmla="*/ 21459 w 447236"/>
              <a:gd name="connsiteY2003" fmla="*/ 209628 h 448122"/>
              <a:gd name="connsiteX2004" fmla="*/ 21459 w 447236"/>
              <a:gd name="connsiteY2004" fmla="*/ 209935 h 448122"/>
              <a:gd name="connsiteX2005" fmla="*/ 22993 w 447236"/>
              <a:gd name="connsiteY2005" fmla="*/ 210547 h 448122"/>
              <a:gd name="connsiteX2006" fmla="*/ 24526 w 447236"/>
              <a:gd name="connsiteY2006" fmla="*/ 210853 h 448122"/>
              <a:gd name="connsiteX2007" fmla="*/ 25753 w 447236"/>
              <a:gd name="connsiteY2007" fmla="*/ 210853 h 448122"/>
              <a:gd name="connsiteX2008" fmla="*/ 26980 w 447236"/>
              <a:gd name="connsiteY2008" fmla="*/ 210241 h 448122"/>
              <a:gd name="connsiteX2009" fmla="*/ 27593 w 447236"/>
              <a:gd name="connsiteY2009" fmla="*/ 209322 h 448122"/>
              <a:gd name="connsiteX2010" fmla="*/ 27900 w 447236"/>
              <a:gd name="connsiteY2010" fmla="*/ 208097 h 448122"/>
              <a:gd name="connsiteX2011" fmla="*/ 27593 w 447236"/>
              <a:gd name="connsiteY2011" fmla="*/ 207178 h 448122"/>
              <a:gd name="connsiteX2012" fmla="*/ 26673 w 447236"/>
              <a:gd name="connsiteY2012" fmla="*/ 206259 h 448122"/>
              <a:gd name="connsiteX2013" fmla="*/ 25753 w 447236"/>
              <a:gd name="connsiteY2013" fmla="*/ 205647 h 448122"/>
              <a:gd name="connsiteX2014" fmla="*/ 24833 w 447236"/>
              <a:gd name="connsiteY2014" fmla="*/ 205340 h 448122"/>
              <a:gd name="connsiteX2015" fmla="*/ 24526 w 447236"/>
              <a:gd name="connsiteY2015" fmla="*/ 205340 h 448122"/>
              <a:gd name="connsiteX2016" fmla="*/ 24219 w 447236"/>
              <a:gd name="connsiteY2016" fmla="*/ 205034 h 448122"/>
              <a:gd name="connsiteX2017" fmla="*/ 23913 w 447236"/>
              <a:gd name="connsiteY2017" fmla="*/ 204728 h 448122"/>
              <a:gd name="connsiteX2018" fmla="*/ 23606 w 447236"/>
              <a:gd name="connsiteY2018" fmla="*/ 204421 h 448122"/>
              <a:gd name="connsiteX2019" fmla="*/ 23913 w 447236"/>
              <a:gd name="connsiteY2019" fmla="*/ 203809 h 448122"/>
              <a:gd name="connsiteX2020" fmla="*/ 24526 w 447236"/>
              <a:gd name="connsiteY2020" fmla="*/ 203503 h 448122"/>
              <a:gd name="connsiteX2021" fmla="*/ 25446 w 447236"/>
              <a:gd name="connsiteY2021" fmla="*/ 203809 h 448122"/>
              <a:gd name="connsiteX2022" fmla="*/ 26367 w 447236"/>
              <a:gd name="connsiteY2022" fmla="*/ 204115 h 448122"/>
              <a:gd name="connsiteX2023" fmla="*/ 26673 w 447236"/>
              <a:gd name="connsiteY2023" fmla="*/ 203809 h 448122"/>
              <a:gd name="connsiteX2024" fmla="*/ 27287 w 447236"/>
              <a:gd name="connsiteY2024" fmla="*/ 203196 h 448122"/>
              <a:gd name="connsiteX2025" fmla="*/ 27287 w 447236"/>
              <a:gd name="connsiteY2025" fmla="*/ 202584 h 448122"/>
              <a:gd name="connsiteX2026" fmla="*/ 26980 w 447236"/>
              <a:gd name="connsiteY2026" fmla="*/ 202584 h 448122"/>
              <a:gd name="connsiteX2027" fmla="*/ 26060 w 447236"/>
              <a:gd name="connsiteY2027" fmla="*/ 201971 h 448122"/>
              <a:gd name="connsiteX2028" fmla="*/ 24526 w 447236"/>
              <a:gd name="connsiteY2028" fmla="*/ 201971 h 448122"/>
              <a:gd name="connsiteX2029" fmla="*/ 23299 w 447236"/>
              <a:gd name="connsiteY2029" fmla="*/ 201971 h 448122"/>
              <a:gd name="connsiteX2030" fmla="*/ 15631 w 447236"/>
              <a:gd name="connsiteY2030" fmla="*/ 201971 h 448122"/>
              <a:gd name="connsiteX2031" fmla="*/ 14404 w 447236"/>
              <a:gd name="connsiteY2031" fmla="*/ 202584 h 448122"/>
              <a:gd name="connsiteX2032" fmla="*/ 13791 w 447236"/>
              <a:gd name="connsiteY2032" fmla="*/ 203503 h 448122"/>
              <a:gd name="connsiteX2033" fmla="*/ 13484 w 447236"/>
              <a:gd name="connsiteY2033" fmla="*/ 204728 h 448122"/>
              <a:gd name="connsiteX2034" fmla="*/ 13484 w 447236"/>
              <a:gd name="connsiteY2034" fmla="*/ 208097 h 448122"/>
              <a:gd name="connsiteX2035" fmla="*/ 13791 w 447236"/>
              <a:gd name="connsiteY2035" fmla="*/ 209322 h 448122"/>
              <a:gd name="connsiteX2036" fmla="*/ 14404 w 447236"/>
              <a:gd name="connsiteY2036" fmla="*/ 210241 h 448122"/>
              <a:gd name="connsiteX2037" fmla="*/ 15631 w 447236"/>
              <a:gd name="connsiteY2037" fmla="*/ 210853 h 448122"/>
              <a:gd name="connsiteX2038" fmla="*/ 16858 w 447236"/>
              <a:gd name="connsiteY2038" fmla="*/ 210853 h 448122"/>
              <a:gd name="connsiteX2039" fmla="*/ 18085 w 447236"/>
              <a:gd name="connsiteY2039" fmla="*/ 210853 h 448122"/>
              <a:gd name="connsiteX2040" fmla="*/ 19005 w 447236"/>
              <a:gd name="connsiteY2040" fmla="*/ 210241 h 448122"/>
              <a:gd name="connsiteX2041" fmla="*/ 19619 w 447236"/>
              <a:gd name="connsiteY2041" fmla="*/ 209322 h 448122"/>
              <a:gd name="connsiteX2042" fmla="*/ 19925 w 447236"/>
              <a:gd name="connsiteY2042" fmla="*/ 208097 h 448122"/>
              <a:gd name="connsiteX2043" fmla="*/ 19925 w 447236"/>
              <a:gd name="connsiteY2043" fmla="*/ 204728 h 448122"/>
              <a:gd name="connsiteX2044" fmla="*/ 19619 w 447236"/>
              <a:gd name="connsiteY2044" fmla="*/ 203503 h 448122"/>
              <a:gd name="connsiteX2045" fmla="*/ 19005 w 447236"/>
              <a:gd name="connsiteY2045" fmla="*/ 202584 h 448122"/>
              <a:gd name="connsiteX2046" fmla="*/ 18085 w 447236"/>
              <a:gd name="connsiteY2046" fmla="*/ 201971 h 448122"/>
              <a:gd name="connsiteX2047" fmla="*/ 16858 w 447236"/>
              <a:gd name="connsiteY2047" fmla="*/ 201971 h 448122"/>
              <a:gd name="connsiteX2048" fmla="*/ 15631 w 447236"/>
              <a:gd name="connsiteY2048" fmla="*/ 201971 h 448122"/>
              <a:gd name="connsiteX2049" fmla="*/ 5509 w 447236"/>
              <a:gd name="connsiteY2049" fmla="*/ 201971 h 448122"/>
              <a:gd name="connsiteX2050" fmla="*/ 5202 w 447236"/>
              <a:gd name="connsiteY2050" fmla="*/ 202277 h 448122"/>
              <a:gd name="connsiteX2051" fmla="*/ 5202 w 447236"/>
              <a:gd name="connsiteY2051" fmla="*/ 210547 h 448122"/>
              <a:gd name="connsiteX2052" fmla="*/ 5509 w 447236"/>
              <a:gd name="connsiteY2052" fmla="*/ 210853 h 448122"/>
              <a:gd name="connsiteX2053" fmla="*/ 7043 w 447236"/>
              <a:gd name="connsiteY2053" fmla="*/ 210853 h 448122"/>
              <a:gd name="connsiteX2054" fmla="*/ 7349 w 447236"/>
              <a:gd name="connsiteY2054" fmla="*/ 210547 h 448122"/>
              <a:gd name="connsiteX2055" fmla="*/ 7349 w 447236"/>
              <a:gd name="connsiteY2055" fmla="*/ 207484 h 448122"/>
              <a:gd name="connsiteX2056" fmla="*/ 7349 w 447236"/>
              <a:gd name="connsiteY2056" fmla="*/ 207178 h 448122"/>
              <a:gd name="connsiteX2057" fmla="*/ 7656 w 447236"/>
              <a:gd name="connsiteY2057" fmla="*/ 207178 h 448122"/>
              <a:gd name="connsiteX2058" fmla="*/ 9497 w 447236"/>
              <a:gd name="connsiteY2058" fmla="*/ 207178 h 448122"/>
              <a:gd name="connsiteX2059" fmla="*/ 9803 w 447236"/>
              <a:gd name="connsiteY2059" fmla="*/ 207178 h 448122"/>
              <a:gd name="connsiteX2060" fmla="*/ 9803 w 447236"/>
              <a:gd name="connsiteY2060" fmla="*/ 207484 h 448122"/>
              <a:gd name="connsiteX2061" fmla="*/ 9803 w 447236"/>
              <a:gd name="connsiteY2061" fmla="*/ 210547 h 448122"/>
              <a:gd name="connsiteX2062" fmla="*/ 10110 w 447236"/>
              <a:gd name="connsiteY2062" fmla="*/ 210853 h 448122"/>
              <a:gd name="connsiteX2063" fmla="*/ 11644 w 447236"/>
              <a:gd name="connsiteY2063" fmla="*/ 210853 h 448122"/>
              <a:gd name="connsiteX2064" fmla="*/ 11950 w 447236"/>
              <a:gd name="connsiteY2064" fmla="*/ 210547 h 448122"/>
              <a:gd name="connsiteX2065" fmla="*/ 11950 w 447236"/>
              <a:gd name="connsiteY2065" fmla="*/ 202277 h 448122"/>
              <a:gd name="connsiteX2066" fmla="*/ 11644 w 447236"/>
              <a:gd name="connsiteY2066" fmla="*/ 201971 h 448122"/>
              <a:gd name="connsiteX2067" fmla="*/ 10110 w 447236"/>
              <a:gd name="connsiteY2067" fmla="*/ 201971 h 448122"/>
              <a:gd name="connsiteX2068" fmla="*/ 9803 w 447236"/>
              <a:gd name="connsiteY2068" fmla="*/ 201971 h 448122"/>
              <a:gd name="connsiteX2069" fmla="*/ 9803 w 447236"/>
              <a:gd name="connsiteY2069" fmla="*/ 202277 h 448122"/>
              <a:gd name="connsiteX2070" fmla="*/ 9803 w 447236"/>
              <a:gd name="connsiteY2070" fmla="*/ 205034 h 448122"/>
              <a:gd name="connsiteX2071" fmla="*/ 9803 w 447236"/>
              <a:gd name="connsiteY2071" fmla="*/ 205340 h 448122"/>
              <a:gd name="connsiteX2072" fmla="*/ 9497 w 447236"/>
              <a:gd name="connsiteY2072" fmla="*/ 205340 h 448122"/>
              <a:gd name="connsiteX2073" fmla="*/ 7656 w 447236"/>
              <a:gd name="connsiteY2073" fmla="*/ 205340 h 448122"/>
              <a:gd name="connsiteX2074" fmla="*/ 7349 w 447236"/>
              <a:gd name="connsiteY2074" fmla="*/ 205340 h 448122"/>
              <a:gd name="connsiteX2075" fmla="*/ 7349 w 447236"/>
              <a:gd name="connsiteY2075" fmla="*/ 205034 h 448122"/>
              <a:gd name="connsiteX2076" fmla="*/ 7349 w 447236"/>
              <a:gd name="connsiteY2076" fmla="*/ 202277 h 448122"/>
              <a:gd name="connsiteX2077" fmla="*/ 7349 w 447236"/>
              <a:gd name="connsiteY2077" fmla="*/ 201971 h 448122"/>
              <a:gd name="connsiteX2078" fmla="*/ 7043 w 447236"/>
              <a:gd name="connsiteY2078" fmla="*/ 201971 h 448122"/>
              <a:gd name="connsiteX2079" fmla="*/ 5509 w 447236"/>
              <a:gd name="connsiteY2079" fmla="*/ 201971 h 448122"/>
              <a:gd name="connsiteX2080" fmla="*/ 421101 w 447236"/>
              <a:gd name="connsiteY2080" fmla="*/ 200777 h 448122"/>
              <a:gd name="connsiteX2081" fmla="*/ 429081 w 447236"/>
              <a:gd name="connsiteY2081" fmla="*/ 206870 h 448122"/>
              <a:gd name="connsiteX2082" fmla="*/ 421101 w 447236"/>
              <a:gd name="connsiteY2082" fmla="*/ 212963 h 448122"/>
              <a:gd name="connsiteX2083" fmla="*/ 414348 w 447236"/>
              <a:gd name="connsiteY2083" fmla="*/ 211135 h 448122"/>
              <a:gd name="connsiteX2084" fmla="*/ 411586 w 447236"/>
              <a:gd name="connsiteY2084" fmla="*/ 206870 h 448122"/>
              <a:gd name="connsiteX2085" fmla="*/ 421101 w 447236"/>
              <a:gd name="connsiteY2085" fmla="*/ 200777 h 448122"/>
              <a:gd name="connsiteX2086" fmla="*/ 418339 w 447236"/>
              <a:gd name="connsiteY2086" fmla="*/ 199559 h 448122"/>
              <a:gd name="connsiteX2087" fmla="*/ 421101 w 447236"/>
              <a:gd name="connsiteY2087" fmla="*/ 199864 h 448122"/>
              <a:gd name="connsiteX2088" fmla="*/ 410665 w 447236"/>
              <a:gd name="connsiteY2088" fmla="*/ 206870 h 448122"/>
              <a:gd name="connsiteX2089" fmla="*/ 413735 w 447236"/>
              <a:gd name="connsiteY2089" fmla="*/ 211744 h 448122"/>
              <a:gd name="connsiteX2090" fmla="*/ 421101 w 447236"/>
              <a:gd name="connsiteY2090" fmla="*/ 213572 h 448122"/>
              <a:gd name="connsiteX2091" fmla="*/ 418339 w 447236"/>
              <a:gd name="connsiteY2091" fmla="*/ 213877 h 448122"/>
              <a:gd name="connsiteX2092" fmla="*/ 408210 w 447236"/>
              <a:gd name="connsiteY2092" fmla="*/ 209307 h 448122"/>
              <a:gd name="connsiteX2093" fmla="*/ 384269 w 447236"/>
              <a:gd name="connsiteY2093" fmla="*/ 209307 h 448122"/>
              <a:gd name="connsiteX2094" fmla="*/ 382734 w 447236"/>
              <a:gd name="connsiteY2094" fmla="*/ 207784 h 448122"/>
              <a:gd name="connsiteX2095" fmla="*/ 382734 w 447236"/>
              <a:gd name="connsiteY2095" fmla="*/ 205652 h 448122"/>
              <a:gd name="connsiteX2096" fmla="*/ 384269 w 447236"/>
              <a:gd name="connsiteY2096" fmla="*/ 204128 h 448122"/>
              <a:gd name="connsiteX2097" fmla="*/ 408210 w 447236"/>
              <a:gd name="connsiteY2097" fmla="*/ 204128 h 448122"/>
              <a:gd name="connsiteX2098" fmla="*/ 418339 w 447236"/>
              <a:gd name="connsiteY2098" fmla="*/ 199559 h 448122"/>
              <a:gd name="connsiteX2099" fmla="*/ 266736 w 447236"/>
              <a:gd name="connsiteY2099" fmla="*/ 198876 h 448122"/>
              <a:gd name="connsiteX2100" fmla="*/ 266430 w 447236"/>
              <a:gd name="connsiteY2100" fmla="*/ 199182 h 448122"/>
              <a:gd name="connsiteX2101" fmla="*/ 266736 w 447236"/>
              <a:gd name="connsiteY2101" fmla="*/ 199489 h 448122"/>
              <a:gd name="connsiteX2102" fmla="*/ 274080 w 447236"/>
              <a:gd name="connsiteY2102" fmla="*/ 199489 h 448122"/>
              <a:gd name="connsiteX2103" fmla="*/ 274386 w 447236"/>
              <a:gd name="connsiteY2103" fmla="*/ 199182 h 448122"/>
              <a:gd name="connsiteX2104" fmla="*/ 274080 w 447236"/>
              <a:gd name="connsiteY2104" fmla="*/ 198876 h 448122"/>
              <a:gd name="connsiteX2105" fmla="*/ 266736 w 447236"/>
              <a:gd name="connsiteY2105" fmla="*/ 198876 h 448122"/>
              <a:gd name="connsiteX2106" fmla="*/ 438409 w 447236"/>
              <a:gd name="connsiteY2106" fmla="*/ 198605 h 448122"/>
              <a:gd name="connsiteX2107" fmla="*/ 438102 w 447236"/>
              <a:gd name="connsiteY2107" fmla="*/ 199218 h 448122"/>
              <a:gd name="connsiteX2108" fmla="*/ 438102 w 447236"/>
              <a:gd name="connsiteY2108" fmla="*/ 210561 h 448122"/>
              <a:gd name="connsiteX2109" fmla="*/ 438409 w 447236"/>
              <a:gd name="connsiteY2109" fmla="*/ 210867 h 448122"/>
              <a:gd name="connsiteX2110" fmla="*/ 439023 w 447236"/>
              <a:gd name="connsiteY2110" fmla="*/ 210561 h 448122"/>
              <a:gd name="connsiteX2111" fmla="*/ 439023 w 447236"/>
              <a:gd name="connsiteY2111" fmla="*/ 199218 h 448122"/>
              <a:gd name="connsiteX2112" fmla="*/ 438409 w 447236"/>
              <a:gd name="connsiteY2112" fmla="*/ 198605 h 448122"/>
              <a:gd name="connsiteX2113" fmla="*/ 439383 w 447236"/>
              <a:gd name="connsiteY2113" fmla="*/ 197431 h 448122"/>
              <a:gd name="connsiteX2114" fmla="*/ 440447 w 447236"/>
              <a:gd name="connsiteY2114" fmla="*/ 198494 h 448122"/>
              <a:gd name="connsiteX2115" fmla="*/ 440181 w 447236"/>
              <a:gd name="connsiteY2115" fmla="*/ 197697 h 448122"/>
              <a:gd name="connsiteX2116" fmla="*/ 435791 w 447236"/>
              <a:gd name="connsiteY2116" fmla="*/ 197320 h 448122"/>
              <a:gd name="connsiteX2117" fmla="*/ 434660 w 447236"/>
              <a:gd name="connsiteY2117" fmla="*/ 197697 h 448122"/>
              <a:gd name="connsiteX2118" fmla="*/ 434196 w 447236"/>
              <a:gd name="connsiteY2118" fmla="*/ 199090 h 448122"/>
              <a:gd name="connsiteX2119" fmla="*/ 266736 w 447236"/>
              <a:gd name="connsiteY2119" fmla="*/ 196425 h 448122"/>
              <a:gd name="connsiteX2120" fmla="*/ 266430 w 447236"/>
              <a:gd name="connsiteY2120" fmla="*/ 196732 h 448122"/>
              <a:gd name="connsiteX2121" fmla="*/ 266736 w 447236"/>
              <a:gd name="connsiteY2121" fmla="*/ 197038 h 448122"/>
              <a:gd name="connsiteX2122" fmla="*/ 274080 w 447236"/>
              <a:gd name="connsiteY2122" fmla="*/ 197038 h 448122"/>
              <a:gd name="connsiteX2123" fmla="*/ 274386 w 447236"/>
              <a:gd name="connsiteY2123" fmla="*/ 196732 h 448122"/>
              <a:gd name="connsiteX2124" fmla="*/ 274080 w 447236"/>
              <a:gd name="connsiteY2124" fmla="*/ 196425 h 448122"/>
              <a:gd name="connsiteX2125" fmla="*/ 266736 w 447236"/>
              <a:gd name="connsiteY2125" fmla="*/ 196425 h 448122"/>
              <a:gd name="connsiteX2126" fmla="*/ 436501 w 447236"/>
              <a:gd name="connsiteY2126" fmla="*/ 196164 h 448122"/>
              <a:gd name="connsiteX2127" fmla="*/ 438341 w 447236"/>
              <a:gd name="connsiteY2127" fmla="*/ 196164 h 448122"/>
              <a:gd name="connsiteX2128" fmla="*/ 440795 w 447236"/>
              <a:gd name="connsiteY2128" fmla="*/ 197084 h 448122"/>
              <a:gd name="connsiteX2129" fmla="*/ 441715 w 447236"/>
              <a:gd name="connsiteY2129" fmla="*/ 199536 h 448122"/>
              <a:gd name="connsiteX2130" fmla="*/ 441715 w 447236"/>
              <a:gd name="connsiteY2130" fmla="*/ 216399 h 448122"/>
              <a:gd name="connsiteX2131" fmla="*/ 442022 w 447236"/>
              <a:gd name="connsiteY2131" fmla="*/ 217625 h 448122"/>
              <a:gd name="connsiteX2132" fmla="*/ 443249 w 447236"/>
              <a:gd name="connsiteY2132" fmla="*/ 218545 h 448122"/>
              <a:gd name="connsiteX2133" fmla="*/ 446316 w 447236"/>
              <a:gd name="connsiteY2133" fmla="*/ 221611 h 448122"/>
              <a:gd name="connsiteX2134" fmla="*/ 447236 w 447236"/>
              <a:gd name="connsiteY2134" fmla="*/ 225596 h 448122"/>
              <a:gd name="connsiteX2135" fmla="*/ 447236 w 447236"/>
              <a:gd name="connsiteY2135" fmla="*/ 309294 h 448122"/>
              <a:gd name="connsiteX2136" fmla="*/ 444476 w 447236"/>
              <a:gd name="connsiteY2136" fmla="*/ 316346 h 448122"/>
              <a:gd name="connsiteX2137" fmla="*/ 437421 w 447236"/>
              <a:gd name="connsiteY2137" fmla="*/ 319412 h 448122"/>
              <a:gd name="connsiteX2138" fmla="*/ 430366 w 447236"/>
              <a:gd name="connsiteY2138" fmla="*/ 316346 h 448122"/>
              <a:gd name="connsiteX2139" fmla="*/ 427605 w 447236"/>
              <a:gd name="connsiteY2139" fmla="*/ 309294 h 448122"/>
              <a:gd name="connsiteX2140" fmla="*/ 427605 w 447236"/>
              <a:gd name="connsiteY2140" fmla="*/ 225596 h 448122"/>
              <a:gd name="connsiteX2141" fmla="*/ 428832 w 447236"/>
              <a:gd name="connsiteY2141" fmla="*/ 221304 h 448122"/>
              <a:gd name="connsiteX2142" fmla="*/ 431900 w 447236"/>
              <a:gd name="connsiteY2142" fmla="*/ 218545 h 448122"/>
              <a:gd name="connsiteX2143" fmla="*/ 432820 w 447236"/>
              <a:gd name="connsiteY2143" fmla="*/ 217625 h 448122"/>
              <a:gd name="connsiteX2144" fmla="*/ 433126 w 447236"/>
              <a:gd name="connsiteY2144" fmla="*/ 216092 h 448122"/>
              <a:gd name="connsiteX2145" fmla="*/ 433126 w 447236"/>
              <a:gd name="connsiteY2145" fmla="*/ 199536 h 448122"/>
              <a:gd name="connsiteX2146" fmla="*/ 434047 w 447236"/>
              <a:gd name="connsiteY2146" fmla="*/ 197084 h 448122"/>
              <a:gd name="connsiteX2147" fmla="*/ 436501 w 447236"/>
              <a:gd name="connsiteY2147" fmla="*/ 196164 h 448122"/>
              <a:gd name="connsiteX2148" fmla="*/ 247684 w 447236"/>
              <a:gd name="connsiteY2148" fmla="*/ 194983 h 448122"/>
              <a:gd name="connsiteX2149" fmla="*/ 255353 w 447236"/>
              <a:gd name="connsiteY2149" fmla="*/ 217621 h 448122"/>
              <a:gd name="connsiteX2150" fmla="*/ 239707 w 447236"/>
              <a:gd name="connsiteY2150" fmla="*/ 217621 h 448122"/>
              <a:gd name="connsiteX2151" fmla="*/ 247684 w 447236"/>
              <a:gd name="connsiteY2151" fmla="*/ 194983 h 448122"/>
              <a:gd name="connsiteX2152" fmla="*/ 266736 w 447236"/>
              <a:gd name="connsiteY2152" fmla="*/ 194281 h 448122"/>
              <a:gd name="connsiteX2153" fmla="*/ 266430 w 447236"/>
              <a:gd name="connsiteY2153" fmla="*/ 194587 h 448122"/>
              <a:gd name="connsiteX2154" fmla="*/ 266736 w 447236"/>
              <a:gd name="connsiteY2154" fmla="*/ 194894 h 448122"/>
              <a:gd name="connsiteX2155" fmla="*/ 274080 w 447236"/>
              <a:gd name="connsiteY2155" fmla="*/ 194894 h 448122"/>
              <a:gd name="connsiteX2156" fmla="*/ 274386 w 447236"/>
              <a:gd name="connsiteY2156" fmla="*/ 194587 h 448122"/>
              <a:gd name="connsiteX2157" fmla="*/ 274080 w 447236"/>
              <a:gd name="connsiteY2157" fmla="*/ 194281 h 448122"/>
              <a:gd name="connsiteX2158" fmla="*/ 266736 w 447236"/>
              <a:gd name="connsiteY2158" fmla="*/ 194281 h 448122"/>
              <a:gd name="connsiteX2159" fmla="*/ 292844 w 447236"/>
              <a:gd name="connsiteY2159" fmla="*/ 193360 h 448122"/>
              <a:gd name="connsiteX2160" fmla="*/ 292844 w 447236"/>
              <a:gd name="connsiteY2160" fmla="*/ 220076 h 448122"/>
              <a:gd name="connsiteX2161" fmla="*/ 293775 w 447236"/>
              <a:gd name="connsiteY2161" fmla="*/ 220076 h 448122"/>
              <a:gd name="connsiteX2162" fmla="*/ 294385 w 447236"/>
              <a:gd name="connsiteY2162" fmla="*/ 220689 h 448122"/>
              <a:gd name="connsiteX2163" fmla="*/ 294385 w 447236"/>
              <a:gd name="connsiteY2163" fmla="*/ 226820 h 448122"/>
              <a:gd name="connsiteX2164" fmla="*/ 294690 w 447236"/>
              <a:gd name="connsiteY2164" fmla="*/ 226820 h 448122"/>
              <a:gd name="connsiteX2165" fmla="*/ 295606 w 447236"/>
              <a:gd name="connsiteY2165" fmla="*/ 227740 h 448122"/>
              <a:gd name="connsiteX2166" fmla="*/ 295606 w 447236"/>
              <a:gd name="connsiteY2166" fmla="*/ 232951 h 448122"/>
              <a:gd name="connsiteX2167" fmla="*/ 297132 w 447236"/>
              <a:gd name="connsiteY2167" fmla="*/ 232951 h 448122"/>
              <a:gd name="connsiteX2168" fmla="*/ 297437 w 447236"/>
              <a:gd name="connsiteY2168" fmla="*/ 232951 h 448122"/>
              <a:gd name="connsiteX2169" fmla="*/ 297743 w 447236"/>
              <a:gd name="connsiteY2169" fmla="*/ 232951 h 448122"/>
              <a:gd name="connsiteX2170" fmla="*/ 298048 w 447236"/>
              <a:gd name="connsiteY2170" fmla="*/ 232951 h 448122"/>
              <a:gd name="connsiteX2171" fmla="*/ 298048 w 447236"/>
              <a:gd name="connsiteY2171" fmla="*/ 233258 h 448122"/>
              <a:gd name="connsiteX2172" fmla="*/ 298353 w 447236"/>
              <a:gd name="connsiteY2172" fmla="*/ 233258 h 448122"/>
              <a:gd name="connsiteX2173" fmla="*/ 298353 w 447236"/>
              <a:gd name="connsiteY2173" fmla="*/ 233565 h 448122"/>
              <a:gd name="connsiteX2174" fmla="*/ 298353 w 447236"/>
              <a:gd name="connsiteY2174" fmla="*/ 234178 h 448122"/>
              <a:gd name="connsiteX2175" fmla="*/ 298353 w 447236"/>
              <a:gd name="connsiteY2175" fmla="*/ 253184 h 448122"/>
              <a:gd name="connsiteX2176" fmla="*/ 298353 w 447236"/>
              <a:gd name="connsiteY2176" fmla="*/ 284147 h 448122"/>
              <a:gd name="connsiteX2177" fmla="*/ 299879 w 447236"/>
              <a:gd name="connsiteY2177" fmla="*/ 284147 h 448122"/>
              <a:gd name="connsiteX2178" fmla="*/ 301405 w 447236"/>
              <a:gd name="connsiteY2178" fmla="*/ 285680 h 448122"/>
              <a:gd name="connsiteX2179" fmla="*/ 301405 w 447236"/>
              <a:gd name="connsiteY2179" fmla="*/ 285987 h 448122"/>
              <a:gd name="connsiteX2180" fmla="*/ 299879 w 447236"/>
              <a:gd name="connsiteY2180" fmla="*/ 287826 h 448122"/>
              <a:gd name="connsiteX2181" fmla="*/ 296827 w 447236"/>
              <a:gd name="connsiteY2181" fmla="*/ 287826 h 448122"/>
              <a:gd name="connsiteX2182" fmla="*/ 296827 w 447236"/>
              <a:gd name="connsiteY2182" fmla="*/ 290022 h 448122"/>
              <a:gd name="connsiteX2183" fmla="*/ 296827 w 447236"/>
              <a:gd name="connsiteY2183" fmla="*/ 307465 h 448122"/>
              <a:gd name="connsiteX2184" fmla="*/ 299574 w 447236"/>
              <a:gd name="connsiteY2184" fmla="*/ 307465 h 448122"/>
              <a:gd name="connsiteX2185" fmla="*/ 301405 w 447236"/>
              <a:gd name="connsiteY2185" fmla="*/ 309306 h 448122"/>
              <a:gd name="connsiteX2186" fmla="*/ 299574 w 447236"/>
              <a:gd name="connsiteY2186" fmla="*/ 311146 h 448122"/>
              <a:gd name="connsiteX2187" fmla="*/ 285229 w 447236"/>
              <a:gd name="connsiteY2187" fmla="*/ 311146 h 448122"/>
              <a:gd name="connsiteX2188" fmla="*/ 283397 w 447236"/>
              <a:gd name="connsiteY2188" fmla="*/ 309306 h 448122"/>
              <a:gd name="connsiteX2189" fmla="*/ 285229 w 447236"/>
              <a:gd name="connsiteY2189" fmla="*/ 307465 h 448122"/>
              <a:gd name="connsiteX2190" fmla="*/ 288281 w 447236"/>
              <a:gd name="connsiteY2190" fmla="*/ 307465 h 448122"/>
              <a:gd name="connsiteX2191" fmla="*/ 288281 w 447236"/>
              <a:gd name="connsiteY2191" fmla="*/ 304973 h 448122"/>
              <a:gd name="connsiteX2192" fmla="*/ 288281 w 447236"/>
              <a:gd name="connsiteY2192" fmla="*/ 287826 h 448122"/>
              <a:gd name="connsiteX2193" fmla="*/ 287060 w 447236"/>
              <a:gd name="connsiteY2193" fmla="*/ 287826 h 448122"/>
              <a:gd name="connsiteX2194" fmla="*/ 285229 w 447236"/>
              <a:gd name="connsiteY2194" fmla="*/ 287826 h 448122"/>
              <a:gd name="connsiteX2195" fmla="*/ 283397 w 447236"/>
              <a:gd name="connsiteY2195" fmla="*/ 285987 h 448122"/>
              <a:gd name="connsiteX2196" fmla="*/ 283397 w 447236"/>
              <a:gd name="connsiteY2196" fmla="*/ 285680 h 448122"/>
              <a:gd name="connsiteX2197" fmla="*/ 285229 w 447236"/>
              <a:gd name="connsiteY2197" fmla="*/ 284147 h 448122"/>
              <a:gd name="connsiteX2198" fmla="*/ 286449 w 447236"/>
              <a:gd name="connsiteY2198" fmla="*/ 284147 h 448122"/>
              <a:gd name="connsiteX2199" fmla="*/ 286449 w 447236"/>
              <a:gd name="connsiteY2199" fmla="*/ 253184 h 448122"/>
              <a:gd name="connsiteX2200" fmla="*/ 286449 w 447236"/>
              <a:gd name="connsiteY2200" fmla="*/ 234178 h 448122"/>
              <a:gd name="connsiteX2201" fmla="*/ 286449 w 447236"/>
              <a:gd name="connsiteY2201" fmla="*/ 233565 h 448122"/>
              <a:gd name="connsiteX2202" fmla="*/ 286755 w 447236"/>
              <a:gd name="connsiteY2202" fmla="*/ 233258 h 448122"/>
              <a:gd name="connsiteX2203" fmla="*/ 287060 w 447236"/>
              <a:gd name="connsiteY2203" fmla="*/ 233258 h 448122"/>
              <a:gd name="connsiteX2204" fmla="*/ 287060 w 447236"/>
              <a:gd name="connsiteY2204" fmla="*/ 232951 h 448122"/>
              <a:gd name="connsiteX2205" fmla="*/ 287670 w 447236"/>
              <a:gd name="connsiteY2205" fmla="*/ 232951 h 448122"/>
              <a:gd name="connsiteX2206" fmla="*/ 289196 w 447236"/>
              <a:gd name="connsiteY2206" fmla="*/ 232951 h 448122"/>
              <a:gd name="connsiteX2207" fmla="*/ 289196 w 447236"/>
              <a:gd name="connsiteY2207" fmla="*/ 227740 h 448122"/>
              <a:gd name="connsiteX2208" fmla="*/ 290112 w 447236"/>
              <a:gd name="connsiteY2208" fmla="*/ 226820 h 448122"/>
              <a:gd name="connsiteX2209" fmla="*/ 290417 w 447236"/>
              <a:gd name="connsiteY2209" fmla="*/ 226820 h 448122"/>
              <a:gd name="connsiteX2210" fmla="*/ 290417 w 447236"/>
              <a:gd name="connsiteY2210" fmla="*/ 220689 h 448122"/>
              <a:gd name="connsiteX2211" fmla="*/ 291333 w 447236"/>
              <a:gd name="connsiteY2211" fmla="*/ 220076 h 448122"/>
              <a:gd name="connsiteX2212" fmla="*/ 291958 w 447236"/>
              <a:gd name="connsiteY2212" fmla="*/ 220076 h 448122"/>
              <a:gd name="connsiteX2213" fmla="*/ 291958 w 447236"/>
              <a:gd name="connsiteY2213" fmla="*/ 194983 h 448122"/>
              <a:gd name="connsiteX2214" fmla="*/ 220318 w 447236"/>
              <a:gd name="connsiteY2214" fmla="*/ 191945 h 448122"/>
              <a:gd name="connsiteX2215" fmla="*/ 231888 w 447236"/>
              <a:gd name="connsiteY2215" fmla="*/ 201314 h 448122"/>
              <a:gd name="connsiteX2216" fmla="*/ 233065 w 447236"/>
              <a:gd name="connsiteY2216" fmla="*/ 210629 h 448122"/>
              <a:gd name="connsiteX2217" fmla="*/ 236064 w 447236"/>
              <a:gd name="connsiteY2217" fmla="*/ 210629 h 448122"/>
              <a:gd name="connsiteX2218" fmla="*/ 237003 w 447236"/>
              <a:gd name="connsiteY2218" fmla="*/ 210629 h 448122"/>
              <a:gd name="connsiteX2219" fmla="*/ 238230 w 447236"/>
              <a:gd name="connsiteY2219" fmla="*/ 211847 h 448122"/>
              <a:gd name="connsiteX2220" fmla="*/ 237003 w 447236"/>
              <a:gd name="connsiteY2220" fmla="*/ 213369 h 448122"/>
              <a:gd name="connsiteX2221" fmla="*/ 236390 w 447236"/>
              <a:gd name="connsiteY2221" fmla="*/ 213369 h 448122"/>
              <a:gd name="connsiteX2222" fmla="*/ 227531 w 447236"/>
              <a:gd name="connsiteY2222" fmla="*/ 221817 h 448122"/>
              <a:gd name="connsiteX2223" fmla="*/ 227046 w 447236"/>
              <a:gd name="connsiteY2223" fmla="*/ 221898 h 448122"/>
              <a:gd name="connsiteX2224" fmla="*/ 223128 w 447236"/>
              <a:gd name="connsiteY2224" fmla="*/ 228060 h 448122"/>
              <a:gd name="connsiteX2225" fmla="*/ 211468 w 447236"/>
              <a:gd name="connsiteY2225" fmla="*/ 234493 h 448122"/>
              <a:gd name="connsiteX2226" fmla="*/ 208712 w 447236"/>
              <a:gd name="connsiteY2226" fmla="*/ 236022 h 448122"/>
              <a:gd name="connsiteX2227" fmla="*/ 208712 w 447236"/>
              <a:gd name="connsiteY2227" fmla="*/ 244141 h 448122"/>
              <a:gd name="connsiteX2228" fmla="*/ 208712 w 447236"/>
              <a:gd name="connsiteY2228" fmla="*/ 253316 h 448122"/>
              <a:gd name="connsiteX2229" fmla="*/ 208712 w 447236"/>
              <a:gd name="connsiteY2229" fmla="*/ 255181 h 448122"/>
              <a:gd name="connsiteX2230" fmla="*/ 213616 w 447236"/>
              <a:gd name="connsiteY2230" fmla="*/ 259918 h 448122"/>
              <a:gd name="connsiteX2231" fmla="*/ 212633 w 447236"/>
              <a:gd name="connsiteY2231" fmla="*/ 261941 h 448122"/>
              <a:gd name="connsiteX2232" fmla="*/ 212995 w 447236"/>
              <a:gd name="connsiteY2232" fmla="*/ 262380 h 448122"/>
              <a:gd name="connsiteX2233" fmla="*/ 221256 w 447236"/>
              <a:gd name="connsiteY2233" fmla="*/ 267888 h 448122"/>
              <a:gd name="connsiteX2234" fmla="*/ 221256 w 447236"/>
              <a:gd name="connsiteY2234" fmla="*/ 268194 h 448122"/>
              <a:gd name="connsiteX2235" fmla="*/ 209597 w 447236"/>
              <a:gd name="connsiteY2235" fmla="*/ 268194 h 448122"/>
              <a:gd name="connsiteX2236" fmla="*/ 208706 w 447236"/>
              <a:gd name="connsiteY2236" fmla="*/ 270027 h 448122"/>
              <a:gd name="connsiteX2237" fmla="*/ 206865 w 447236"/>
              <a:gd name="connsiteY2237" fmla="*/ 271252 h 448122"/>
              <a:gd name="connsiteX2238" fmla="*/ 201955 w 447236"/>
              <a:gd name="connsiteY2238" fmla="*/ 274928 h 448122"/>
              <a:gd name="connsiteX2239" fmla="*/ 201035 w 447236"/>
              <a:gd name="connsiteY2239" fmla="*/ 276460 h 448122"/>
              <a:gd name="connsiteX2240" fmla="*/ 201342 w 447236"/>
              <a:gd name="connsiteY2240" fmla="*/ 274316 h 448122"/>
              <a:gd name="connsiteX2241" fmla="*/ 203183 w 447236"/>
              <a:gd name="connsiteY2241" fmla="*/ 272784 h 448122"/>
              <a:gd name="connsiteX2242" fmla="*/ 205331 w 447236"/>
              <a:gd name="connsiteY2242" fmla="*/ 270946 h 448122"/>
              <a:gd name="connsiteX2243" fmla="*/ 208088 w 447236"/>
              <a:gd name="connsiteY2243" fmla="*/ 268194 h 448122"/>
              <a:gd name="connsiteX2244" fmla="*/ 204452 w 447236"/>
              <a:gd name="connsiteY2244" fmla="*/ 268194 h 448122"/>
              <a:gd name="connsiteX2245" fmla="*/ 192189 w 447236"/>
              <a:gd name="connsiteY2245" fmla="*/ 268194 h 448122"/>
              <a:gd name="connsiteX2246" fmla="*/ 191883 w 447236"/>
              <a:gd name="connsiteY2246" fmla="*/ 267888 h 448122"/>
              <a:gd name="connsiteX2247" fmla="*/ 200756 w 447236"/>
              <a:gd name="connsiteY2247" fmla="*/ 262380 h 448122"/>
              <a:gd name="connsiteX2248" fmla="*/ 205040 w 447236"/>
              <a:gd name="connsiteY2248" fmla="*/ 257179 h 448122"/>
              <a:gd name="connsiteX2249" fmla="*/ 205040 w 447236"/>
              <a:gd name="connsiteY2249" fmla="*/ 254737 h 448122"/>
              <a:gd name="connsiteX2250" fmla="*/ 201342 w 447236"/>
              <a:gd name="connsiteY2250" fmla="*/ 251954 h 448122"/>
              <a:gd name="connsiteX2251" fmla="*/ 197966 w 447236"/>
              <a:gd name="connsiteY2251" fmla="*/ 242151 h 448122"/>
              <a:gd name="connsiteX2252" fmla="*/ 205020 w 447236"/>
              <a:gd name="connsiteY2252" fmla="*/ 234006 h 448122"/>
              <a:gd name="connsiteX2253" fmla="*/ 205020 w 447236"/>
              <a:gd name="connsiteY2253" fmla="*/ 230851 h 448122"/>
              <a:gd name="connsiteX2254" fmla="*/ 205040 w 447236"/>
              <a:gd name="connsiteY2254" fmla="*/ 230851 h 448122"/>
              <a:gd name="connsiteX2255" fmla="*/ 205040 w 447236"/>
              <a:gd name="connsiteY2255" fmla="*/ 226275 h 448122"/>
              <a:gd name="connsiteX2256" fmla="*/ 208712 w 447236"/>
              <a:gd name="connsiteY2256" fmla="*/ 226275 h 448122"/>
              <a:gd name="connsiteX2257" fmla="*/ 208712 w 447236"/>
              <a:gd name="connsiteY2257" fmla="*/ 231824 h 448122"/>
              <a:gd name="connsiteX2258" fmla="*/ 215150 w 447236"/>
              <a:gd name="connsiteY2258" fmla="*/ 228060 h 448122"/>
              <a:gd name="connsiteX2259" fmla="*/ 219446 w 447236"/>
              <a:gd name="connsiteY2259" fmla="*/ 225304 h 448122"/>
              <a:gd name="connsiteX2260" fmla="*/ 221267 w 447236"/>
              <a:gd name="connsiteY2260" fmla="*/ 222859 h 448122"/>
              <a:gd name="connsiteX2261" fmla="*/ 206939 w 447236"/>
              <a:gd name="connsiteY2261" fmla="*/ 225242 h 448122"/>
              <a:gd name="connsiteX2262" fmla="*/ 177181 w 447236"/>
              <a:gd name="connsiteY2262" fmla="*/ 213369 h 448122"/>
              <a:gd name="connsiteX2263" fmla="*/ 176874 w 447236"/>
              <a:gd name="connsiteY2263" fmla="*/ 213369 h 448122"/>
              <a:gd name="connsiteX2264" fmla="*/ 175647 w 447236"/>
              <a:gd name="connsiteY2264" fmla="*/ 211847 h 448122"/>
              <a:gd name="connsiteX2265" fmla="*/ 176874 w 447236"/>
              <a:gd name="connsiteY2265" fmla="*/ 210629 h 448122"/>
              <a:gd name="connsiteX2266" fmla="*/ 211636 w 447236"/>
              <a:gd name="connsiteY2266" fmla="*/ 210629 h 448122"/>
              <a:gd name="connsiteX2267" fmla="*/ 228345 w 447236"/>
              <a:gd name="connsiteY2267" fmla="*/ 210629 h 448122"/>
              <a:gd name="connsiteX2268" fmla="*/ 228345 w 447236"/>
              <a:gd name="connsiteY2268" fmla="*/ 207537 h 448122"/>
              <a:gd name="connsiteX2269" fmla="*/ 215150 w 447236"/>
              <a:gd name="connsiteY2269" fmla="*/ 194977 h 448122"/>
              <a:gd name="connsiteX2270" fmla="*/ 211468 w 447236"/>
              <a:gd name="connsiteY2270" fmla="*/ 195284 h 448122"/>
              <a:gd name="connsiteX2271" fmla="*/ 204103 w 447236"/>
              <a:gd name="connsiteY2271" fmla="*/ 198347 h 448122"/>
              <a:gd name="connsiteX2272" fmla="*/ 193670 w 447236"/>
              <a:gd name="connsiteY2272" fmla="*/ 206618 h 448122"/>
              <a:gd name="connsiteX2273" fmla="*/ 198887 w 447236"/>
              <a:gd name="connsiteY2273" fmla="*/ 194365 h 448122"/>
              <a:gd name="connsiteX2274" fmla="*/ 203796 w 447236"/>
              <a:gd name="connsiteY2274" fmla="*/ 192527 h 448122"/>
              <a:gd name="connsiteX2275" fmla="*/ 220318 w 447236"/>
              <a:gd name="connsiteY2275" fmla="*/ 191945 h 448122"/>
              <a:gd name="connsiteX2276" fmla="*/ 263982 w 447236"/>
              <a:gd name="connsiteY2276" fmla="*/ 191830 h 448122"/>
              <a:gd name="connsiteX2277" fmla="*/ 263676 w 447236"/>
              <a:gd name="connsiteY2277" fmla="*/ 192137 h 448122"/>
              <a:gd name="connsiteX2278" fmla="*/ 263982 w 447236"/>
              <a:gd name="connsiteY2278" fmla="*/ 192443 h 448122"/>
              <a:gd name="connsiteX2279" fmla="*/ 276834 w 447236"/>
              <a:gd name="connsiteY2279" fmla="*/ 192443 h 448122"/>
              <a:gd name="connsiteX2280" fmla="*/ 277140 w 447236"/>
              <a:gd name="connsiteY2280" fmla="*/ 192137 h 448122"/>
              <a:gd name="connsiteX2281" fmla="*/ 276834 w 447236"/>
              <a:gd name="connsiteY2281" fmla="*/ 191830 h 448122"/>
              <a:gd name="connsiteX2282" fmla="*/ 263982 w 447236"/>
              <a:gd name="connsiteY2282" fmla="*/ 191830 h 448122"/>
              <a:gd name="connsiteX2283" fmla="*/ 107509 w 447236"/>
              <a:gd name="connsiteY2283" fmla="*/ 189745 h 448122"/>
              <a:gd name="connsiteX2284" fmla="*/ 106691 w 447236"/>
              <a:gd name="connsiteY2284" fmla="*/ 190811 h 448122"/>
              <a:gd name="connsiteX2285" fmla="*/ 107118 w 447236"/>
              <a:gd name="connsiteY2285" fmla="*/ 190622 h 448122"/>
              <a:gd name="connsiteX2286" fmla="*/ 266736 w 447236"/>
              <a:gd name="connsiteY2286" fmla="*/ 189379 h 448122"/>
              <a:gd name="connsiteX2287" fmla="*/ 266430 w 447236"/>
              <a:gd name="connsiteY2287" fmla="*/ 189686 h 448122"/>
              <a:gd name="connsiteX2288" fmla="*/ 266736 w 447236"/>
              <a:gd name="connsiteY2288" fmla="*/ 189992 h 448122"/>
              <a:gd name="connsiteX2289" fmla="*/ 274080 w 447236"/>
              <a:gd name="connsiteY2289" fmla="*/ 189992 h 448122"/>
              <a:gd name="connsiteX2290" fmla="*/ 274386 w 447236"/>
              <a:gd name="connsiteY2290" fmla="*/ 189686 h 448122"/>
              <a:gd name="connsiteX2291" fmla="*/ 274080 w 447236"/>
              <a:gd name="connsiteY2291" fmla="*/ 189379 h 448122"/>
              <a:gd name="connsiteX2292" fmla="*/ 266736 w 447236"/>
              <a:gd name="connsiteY2292" fmla="*/ 189379 h 448122"/>
              <a:gd name="connsiteX2293" fmla="*/ 77477 w 447236"/>
              <a:gd name="connsiteY2293" fmla="*/ 189257 h 448122"/>
              <a:gd name="connsiteX2294" fmla="*/ 76169 w 447236"/>
              <a:gd name="connsiteY2294" fmla="*/ 190961 h 448122"/>
              <a:gd name="connsiteX2295" fmla="*/ 77020 w 447236"/>
              <a:gd name="connsiteY2295" fmla="*/ 190622 h 448122"/>
              <a:gd name="connsiteX2296" fmla="*/ 92769 w 447236"/>
              <a:gd name="connsiteY2296" fmla="*/ 189067 h 448122"/>
              <a:gd name="connsiteX2297" fmla="*/ 91527 w 447236"/>
              <a:gd name="connsiteY2297" fmla="*/ 190865 h 448122"/>
              <a:gd name="connsiteX2298" fmla="*/ 92075 w 447236"/>
              <a:gd name="connsiteY2298" fmla="*/ 190622 h 448122"/>
              <a:gd name="connsiteX2299" fmla="*/ 123178 w 447236"/>
              <a:gd name="connsiteY2299" fmla="*/ 189063 h 448122"/>
              <a:gd name="connsiteX2300" fmla="*/ 121933 w 447236"/>
              <a:gd name="connsiteY2300" fmla="*/ 190865 h 448122"/>
              <a:gd name="connsiteX2301" fmla="*/ 122482 w 447236"/>
              <a:gd name="connsiteY2301" fmla="*/ 190622 h 448122"/>
              <a:gd name="connsiteX2302" fmla="*/ 115991 w 447236"/>
              <a:gd name="connsiteY2302" fmla="*/ 188699 h 448122"/>
              <a:gd name="connsiteX2303" fmla="*/ 116634 w 447236"/>
              <a:gd name="connsiteY2303" fmla="*/ 190622 h 448122"/>
              <a:gd name="connsiteX2304" fmla="*/ 119094 w 447236"/>
              <a:gd name="connsiteY2304" fmla="*/ 191603 h 448122"/>
              <a:gd name="connsiteX2305" fmla="*/ 85584 w 447236"/>
              <a:gd name="connsiteY2305" fmla="*/ 188697 h 448122"/>
              <a:gd name="connsiteX2306" fmla="*/ 86227 w 447236"/>
              <a:gd name="connsiteY2306" fmla="*/ 190622 h 448122"/>
              <a:gd name="connsiteX2307" fmla="*/ 88689 w 447236"/>
              <a:gd name="connsiteY2307" fmla="*/ 191603 h 448122"/>
              <a:gd name="connsiteX2308" fmla="*/ 70187 w 447236"/>
              <a:gd name="connsiteY2308" fmla="*/ 188414 h 448122"/>
              <a:gd name="connsiteX2309" fmla="*/ 71172 w 447236"/>
              <a:gd name="connsiteY2309" fmla="*/ 190622 h 448122"/>
              <a:gd name="connsiteX2310" fmla="*/ 73354 w 447236"/>
              <a:gd name="connsiteY2310" fmla="*/ 191589 h 448122"/>
              <a:gd name="connsiteX2311" fmla="*/ 100592 w 447236"/>
              <a:gd name="connsiteY2311" fmla="*/ 188412 h 448122"/>
              <a:gd name="connsiteX2312" fmla="*/ 101578 w 447236"/>
              <a:gd name="connsiteY2312" fmla="*/ 190622 h 448122"/>
              <a:gd name="connsiteX2313" fmla="*/ 103762 w 447236"/>
              <a:gd name="connsiteY2313" fmla="*/ 191589 h 448122"/>
              <a:gd name="connsiteX2314" fmla="*/ 301115 w 447236"/>
              <a:gd name="connsiteY2314" fmla="*/ 187013 h 448122"/>
              <a:gd name="connsiteX2315" fmla="*/ 305095 w 447236"/>
              <a:gd name="connsiteY2315" fmla="*/ 187013 h 448122"/>
              <a:gd name="connsiteX2316" fmla="*/ 309075 w 447236"/>
              <a:gd name="connsiteY2316" fmla="*/ 187013 h 448122"/>
              <a:gd name="connsiteX2317" fmla="*/ 309687 w 447236"/>
              <a:gd name="connsiteY2317" fmla="*/ 187320 h 448122"/>
              <a:gd name="connsiteX2318" fmla="*/ 311524 w 447236"/>
              <a:gd name="connsiteY2318" fmla="*/ 194377 h 448122"/>
              <a:gd name="connsiteX2319" fmla="*/ 312749 w 447236"/>
              <a:gd name="connsiteY2319" fmla="*/ 197753 h 448122"/>
              <a:gd name="connsiteX2320" fmla="*/ 308463 w 447236"/>
              <a:gd name="connsiteY2320" fmla="*/ 210334 h 448122"/>
              <a:gd name="connsiteX2321" fmla="*/ 305095 w 447236"/>
              <a:gd name="connsiteY2321" fmla="*/ 210334 h 448122"/>
              <a:gd name="connsiteX2322" fmla="*/ 304789 w 447236"/>
              <a:gd name="connsiteY2322" fmla="*/ 210334 h 448122"/>
              <a:gd name="connsiteX2323" fmla="*/ 301421 w 447236"/>
              <a:gd name="connsiteY2323" fmla="*/ 210334 h 448122"/>
              <a:gd name="connsiteX2324" fmla="*/ 297442 w 447236"/>
              <a:gd name="connsiteY2324" fmla="*/ 197753 h 448122"/>
              <a:gd name="connsiteX2325" fmla="*/ 298360 w 447236"/>
              <a:gd name="connsiteY2325" fmla="*/ 194377 h 448122"/>
              <a:gd name="connsiteX2326" fmla="*/ 300197 w 447236"/>
              <a:gd name="connsiteY2326" fmla="*/ 187320 h 448122"/>
              <a:gd name="connsiteX2327" fmla="*/ 301115 w 447236"/>
              <a:gd name="connsiteY2327" fmla="*/ 187013 h 448122"/>
              <a:gd name="connsiteX2328" fmla="*/ 266736 w 447236"/>
              <a:gd name="connsiteY2328" fmla="*/ 186929 h 448122"/>
              <a:gd name="connsiteX2329" fmla="*/ 266430 w 447236"/>
              <a:gd name="connsiteY2329" fmla="*/ 187235 h 448122"/>
              <a:gd name="connsiteX2330" fmla="*/ 266736 w 447236"/>
              <a:gd name="connsiteY2330" fmla="*/ 187541 h 448122"/>
              <a:gd name="connsiteX2331" fmla="*/ 274080 w 447236"/>
              <a:gd name="connsiteY2331" fmla="*/ 187541 h 448122"/>
              <a:gd name="connsiteX2332" fmla="*/ 274386 w 447236"/>
              <a:gd name="connsiteY2332" fmla="*/ 187235 h 448122"/>
              <a:gd name="connsiteX2333" fmla="*/ 274080 w 447236"/>
              <a:gd name="connsiteY2333" fmla="*/ 186929 h 448122"/>
              <a:gd name="connsiteX2334" fmla="*/ 266736 w 447236"/>
              <a:gd name="connsiteY2334" fmla="*/ 186929 h 448122"/>
              <a:gd name="connsiteX2335" fmla="*/ 266736 w 447236"/>
              <a:gd name="connsiteY2335" fmla="*/ 184784 h 448122"/>
              <a:gd name="connsiteX2336" fmla="*/ 266430 w 447236"/>
              <a:gd name="connsiteY2336" fmla="*/ 185091 h 448122"/>
              <a:gd name="connsiteX2337" fmla="*/ 266736 w 447236"/>
              <a:gd name="connsiteY2337" fmla="*/ 185397 h 448122"/>
              <a:gd name="connsiteX2338" fmla="*/ 274080 w 447236"/>
              <a:gd name="connsiteY2338" fmla="*/ 185397 h 448122"/>
              <a:gd name="connsiteX2339" fmla="*/ 274386 w 447236"/>
              <a:gd name="connsiteY2339" fmla="*/ 185091 h 448122"/>
              <a:gd name="connsiteX2340" fmla="*/ 274080 w 447236"/>
              <a:gd name="connsiteY2340" fmla="*/ 184784 h 448122"/>
              <a:gd name="connsiteX2341" fmla="*/ 266736 w 447236"/>
              <a:gd name="connsiteY2341" fmla="*/ 184784 h 448122"/>
              <a:gd name="connsiteX2342" fmla="*/ 340741 w 447236"/>
              <a:gd name="connsiteY2342" fmla="*/ 184417 h 448122"/>
              <a:gd name="connsiteX2343" fmla="*/ 344062 w 447236"/>
              <a:gd name="connsiteY2343" fmla="*/ 189473 h 448122"/>
              <a:gd name="connsiteX2344" fmla="*/ 341345 w 447236"/>
              <a:gd name="connsiteY2344" fmla="*/ 197133 h 448122"/>
              <a:gd name="connsiteX2345" fmla="*/ 341345 w 447236"/>
              <a:gd name="connsiteY2345" fmla="*/ 232981 h 448122"/>
              <a:gd name="connsiteX2346" fmla="*/ 344062 w 447236"/>
              <a:gd name="connsiteY2346" fmla="*/ 240335 h 448122"/>
              <a:gd name="connsiteX2347" fmla="*/ 337420 w 447236"/>
              <a:gd name="connsiteY2347" fmla="*/ 240335 h 448122"/>
              <a:gd name="connsiteX2348" fmla="*/ 340137 w 447236"/>
              <a:gd name="connsiteY2348" fmla="*/ 232981 h 448122"/>
              <a:gd name="connsiteX2349" fmla="*/ 340137 w 447236"/>
              <a:gd name="connsiteY2349" fmla="*/ 197133 h 448122"/>
              <a:gd name="connsiteX2350" fmla="*/ 337420 w 447236"/>
              <a:gd name="connsiteY2350" fmla="*/ 189473 h 448122"/>
              <a:gd name="connsiteX2351" fmla="*/ 340741 w 447236"/>
              <a:gd name="connsiteY2351" fmla="*/ 184417 h 448122"/>
              <a:gd name="connsiteX2352" fmla="*/ 263982 w 447236"/>
              <a:gd name="connsiteY2352" fmla="*/ 181721 h 448122"/>
              <a:gd name="connsiteX2353" fmla="*/ 263676 w 447236"/>
              <a:gd name="connsiteY2353" fmla="*/ 182027 h 448122"/>
              <a:gd name="connsiteX2354" fmla="*/ 263982 w 447236"/>
              <a:gd name="connsiteY2354" fmla="*/ 182334 h 448122"/>
              <a:gd name="connsiteX2355" fmla="*/ 276834 w 447236"/>
              <a:gd name="connsiteY2355" fmla="*/ 182334 h 448122"/>
              <a:gd name="connsiteX2356" fmla="*/ 277140 w 447236"/>
              <a:gd name="connsiteY2356" fmla="*/ 182027 h 448122"/>
              <a:gd name="connsiteX2357" fmla="*/ 276834 w 447236"/>
              <a:gd name="connsiteY2357" fmla="*/ 181721 h 448122"/>
              <a:gd name="connsiteX2358" fmla="*/ 263982 w 447236"/>
              <a:gd name="connsiteY2358" fmla="*/ 181721 h 448122"/>
              <a:gd name="connsiteX2359" fmla="*/ 136887 w 447236"/>
              <a:gd name="connsiteY2359" fmla="*/ 180801 h 448122"/>
              <a:gd name="connsiteX2360" fmla="*/ 135660 w 447236"/>
              <a:gd name="connsiteY2360" fmla="*/ 183557 h 448122"/>
              <a:gd name="connsiteX2361" fmla="*/ 158353 w 447236"/>
              <a:gd name="connsiteY2361" fmla="*/ 183557 h 448122"/>
              <a:gd name="connsiteX2362" fmla="*/ 157126 w 447236"/>
              <a:gd name="connsiteY2362" fmla="*/ 180801 h 448122"/>
              <a:gd name="connsiteX2363" fmla="*/ 136887 w 447236"/>
              <a:gd name="connsiteY2363" fmla="*/ 180801 h 448122"/>
              <a:gd name="connsiteX2364" fmla="*/ 367752 w 447236"/>
              <a:gd name="connsiteY2364" fmla="*/ 178747 h 448122"/>
              <a:gd name="connsiteX2365" fmla="*/ 368416 w 447236"/>
              <a:gd name="connsiteY2365" fmla="*/ 179358 h 448122"/>
              <a:gd name="connsiteX2366" fmla="*/ 368416 w 447236"/>
              <a:gd name="connsiteY2366" fmla="*/ 217251 h 448122"/>
              <a:gd name="connsiteX2367" fmla="*/ 367752 w 447236"/>
              <a:gd name="connsiteY2367" fmla="*/ 217862 h 448122"/>
              <a:gd name="connsiteX2368" fmla="*/ 367088 w 447236"/>
              <a:gd name="connsiteY2368" fmla="*/ 217251 h 448122"/>
              <a:gd name="connsiteX2369" fmla="*/ 367088 w 447236"/>
              <a:gd name="connsiteY2369" fmla="*/ 179358 h 448122"/>
              <a:gd name="connsiteX2370" fmla="*/ 367752 w 447236"/>
              <a:gd name="connsiteY2370" fmla="*/ 178747 h 448122"/>
              <a:gd name="connsiteX2371" fmla="*/ 405090 w 447236"/>
              <a:gd name="connsiteY2371" fmla="*/ 176936 h 448122"/>
              <a:gd name="connsiteX2372" fmla="*/ 390798 w 447236"/>
              <a:gd name="connsiteY2372" fmla="*/ 180281 h 448122"/>
              <a:gd name="connsiteX2373" fmla="*/ 390798 w 447236"/>
              <a:gd name="connsiteY2373" fmla="*/ 180893 h 448122"/>
              <a:gd name="connsiteX2374" fmla="*/ 397855 w 447236"/>
              <a:gd name="connsiteY2374" fmla="*/ 189157 h 448122"/>
              <a:gd name="connsiteX2375" fmla="*/ 407982 w 447236"/>
              <a:gd name="connsiteY2375" fmla="*/ 191248 h 448122"/>
              <a:gd name="connsiteX2376" fmla="*/ 406739 w 447236"/>
              <a:gd name="connsiteY2376" fmla="*/ 190738 h 448122"/>
              <a:gd name="connsiteX2377" fmla="*/ 403103 w 447236"/>
              <a:gd name="connsiteY2377" fmla="*/ 181773 h 448122"/>
              <a:gd name="connsiteX2378" fmla="*/ 425919 w 447236"/>
              <a:gd name="connsiteY2378" fmla="*/ 176898 h 448122"/>
              <a:gd name="connsiteX2379" fmla="*/ 427900 w 447236"/>
              <a:gd name="connsiteY2379" fmla="*/ 181773 h 448122"/>
              <a:gd name="connsiteX2380" fmla="*/ 424303 w 447236"/>
              <a:gd name="connsiteY2380" fmla="*/ 190738 h 448122"/>
              <a:gd name="connsiteX2381" fmla="*/ 422887 w 447236"/>
              <a:gd name="connsiteY2381" fmla="*/ 191336 h 448122"/>
              <a:gd name="connsiteX2382" fmla="*/ 433445 w 447236"/>
              <a:gd name="connsiteY2382" fmla="*/ 189157 h 448122"/>
              <a:gd name="connsiteX2383" fmla="*/ 440195 w 447236"/>
              <a:gd name="connsiteY2383" fmla="*/ 180893 h 448122"/>
              <a:gd name="connsiteX2384" fmla="*/ 440195 w 447236"/>
              <a:gd name="connsiteY2384" fmla="*/ 180281 h 448122"/>
              <a:gd name="connsiteX2385" fmla="*/ 415654 w 447236"/>
              <a:gd name="connsiteY2385" fmla="*/ 176828 h 448122"/>
              <a:gd name="connsiteX2386" fmla="*/ 420225 w 447236"/>
              <a:gd name="connsiteY2386" fmla="*/ 180845 h 448122"/>
              <a:gd name="connsiteX2387" fmla="*/ 418702 w 447236"/>
              <a:gd name="connsiteY2387" fmla="*/ 180536 h 448122"/>
              <a:gd name="connsiteX2388" fmla="*/ 415959 w 447236"/>
              <a:gd name="connsiteY2388" fmla="*/ 183318 h 448122"/>
              <a:gd name="connsiteX2389" fmla="*/ 418397 w 447236"/>
              <a:gd name="connsiteY2389" fmla="*/ 186099 h 448122"/>
              <a:gd name="connsiteX2390" fmla="*/ 415654 w 447236"/>
              <a:gd name="connsiteY2390" fmla="*/ 186717 h 448122"/>
              <a:gd name="connsiteX2391" fmla="*/ 410778 w 447236"/>
              <a:gd name="connsiteY2391" fmla="*/ 181772 h 448122"/>
              <a:gd name="connsiteX2392" fmla="*/ 415654 w 447236"/>
              <a:gd name="connsiteY2392" fmla="*/ 176828 h 448122"/>
              <a:gd name="connsiteX2393" fmla="*/ 352394 w 447236"/>
              <a:gd name="connsiteY2393" fmla="*/ 176238 h 448122"/>
              <a:gd name="connsiteX2394" fmla="*/ 352998 w 447236"/>
              <a:gd name="connsiteY2394" fmla="*/ 176238 h 448122"/>
              <a:gd name="connsiteX2395" fmla="*/ 356017 w 447236"/>
              <a:gd name="connsiteY2395" fmla="*/ 179308 h 448122"/>
              <a:gd name="connsiteX2396" fmla="*/ 356017 w 447236"/>
              <a:gd name="connsiteY2396" fmla="*/ 214927 h 448122"/>
              <a:gd name="connsiteX2397" fmla="*/ 352998 w 447236"/>
              <a:gd name="connsiteY2397" fmla="*/ 218305 h 448122"/>
              <a:gd name="connsiteX2398" fmla="*/ 352394 w 447236"/>
              <a:gd name="connsiteY2398" fmla="*/ 218305 h 448122"/>
              <a:gd name="connsiteX2399" fmla="*/ 349375 w 447236"/>
              <a:gd name="connsiteY2399" fmla="*/ 214927 h 448122"/>
              <a:gd name="connsiteX2400" fmla="*/ 349375 w 447236"/>
              <a:gd name="connsiteY2400" fmla="*/ 179308 h 448122"/>
              <a:gd name="connsiteX2401" fmla="*/ 352394 w 447236"/>
              <a:gd name="connsiteY2401" fmla="*/ 176238 h 448122"/>
              <a:gd name="connsiteX2402" fmla="*/ 361552 w 447236"/>
              <a:gd name="connsiteY2402" fmla="*/ 174955 h 448122"/>
              <a:gd name="connsiteX2403" fmla="*/ 360632 w 447236"/>
              <a:gd name="connsiteY2403" fmla="*/ 175262 h 448122"/>
              <a:gd name="connsiteX2404" fmla="*/ 360632 w 447236"/>
              <a:gd name="connsiteY2404" fmla="*/ 176183 h 448122"/>
              <a:gd name="connsiteX2405" fmla="*/ 360632 w 447236"/>
              <a:gd name="connsiteY2405" fmla="*/ 176796 h 448122"/>
              <a:gd name="connsiteX2406" fmla="*/ 360632 w 447236"/>
              <a:gd name="connsiteY2406" fmla="*/ 177410 h 448122"/>
              <a:gd name="connsiteX2407" fmla="*/ 361552 w 447236"/>
              <a:gd name="connsiteY2407" fmla="*/ 177717 h 448122"/>
              <a:gd name="connsiteX2408" fmla="*/ 364008 w 447236"/>
              <a:gd name="connsiteY2408" fmla="*/ 177717 h 448122"/>
              <a:gd name="connsiteX2409" fmla="*/ 364622 w 447236"/>
              <a:gd name="connsiteY2409" fmla="*/ 177717 h 448122"/>
              <a:gd name="connsiteX2410" fmla="*/ 364622 w 447236"/>
              <a:gd name="connsiteY2410" fmla="*/ 178331 h 448122"/>
              <a:gd name="connsiteX2411" fmla="*/ 364622 w 447236"/>
              <a:gd name="connsiteY2411" fmla="*/ 217300 h 448122"/>
              <a:gd name="connsiteX2412" fmla="*/ 364622 w 447236"/>
              <a:gd name="connsiteY2412" fmla="*/ 217607 h 448122"/>
              <a:gd name="connsiteX2413" fmla="*/ 364008 w 447236"/>
              <a:gd name="connsiteY2413" fmla="*/ 217914 h 448122"/>
              <a:gd name="connsiteX2414" fmla="*/ 353265 w 447236"/>
              <a:gd name="connsiteY2414" fmla="*/ 225892 h 448122"/>
              <a:gd name="connsiteX2415" fmla="*/ 349275 w 447236"/>
              <a:gd name="connsiteY2415" fmla="*/ 238472 h 448122"/>
              <a:gd name="connsiteX2416" fmla="*/ 350167 w 447236"/>
              <a:gd name="connsiteY2416" fmla="*/ 241773 h 448122"/>
              <a:gd name="connsiteX2417" fmla="*/ 350347 w 447236"/>
              <a:gd name="connsiteY2417" fmla="*/ 241773 h 448122"/>
              <a:gd name="connsiteX2418" fmla="*/ 367916 w 447236"/>
              <a:gd name="connsiteY2418" fmla="*/ 241773 h 448122"/>
              <a:gd name="connsiteX2419" fmla="*/ 392185 w 447236"/>
              <a:gd name="connsiteY2419" fmla="*/ 241773 h 448122"/>
              <a:gd name="connsiteX2420" fmla="*/ 393167 w 447236"/>
              <a:gd name="connsiteY2420" fmla="*/ 238472 h 448122"/>
              <a:gd name="connsiteX2421" fmla="*/ 388869 w 447236"/>
              <a:gd name="connsiteY2421" fmla="*/ 225892 h 448122"/>
              <a:gd name="connsiteX2422" fmla="*/ 378127 w 447236"/>
              <a:gd name="connsiteY2422" fmla="*/ 217914 h 448122"/>
              <a:gd name="connsiteX2423" fmla="*/ 377820 w 447236"/>
              <a:gd name="connsiteY2423" fmla="*/ 217607 h 448122"/>
              <a:gd name="connsiteX2424" fmla="*/ 377820 w 447236"/>
              <a:gd name="connsiteY2424" fmla="*/ 217300 h 448122"/>
              <a:gd name="connsiteX2425" fmla="*/ 377820 w 447236"/>
              <a:gd name="connsiteY2425" fmla="*/ 178331 h 448122"/>
              <a:gd name="connsiteX2426" fmla="*/ 377820 w 447236"/>
              <a:gd name="connsiteY2426" fmla="*/ 177717 h 448122"/>
              <a:gd name="connsiteX2427" fmla="*/ 378434 w 447236"/>
              <a:gd name="connsiteY2427" fmla="*/ 177717 h 448122"/>
              <a:gd name="connsiteX2428" fmla="*/ 380889 w 447236"/>
              <a:gd name="connsiteY2428" fmla="*/ 177717 h 448122"/>
              <a:gd name="connsiteX2429" fmla="*/ 381503 w 447236"/>
              <a:gd name="connsiteY2429" fmla="*/ 177410 h 448122"/>
              <a:gd name="connsiteX2430" fmla="*/ 381810 w 447236"/>
              <a:gd name="connsiteY2430" fmla="*/ 176796 h 448122"/>
              <a:gd name="connsiteX2431" fmla="*/ 381810 w 447236"/>
              <a:gd name="connsiteY2431" fmla="*/ 176183 h 448122"/>
              <a:gd name="connsiteX2432" fmla="*/ 381503 w 447236"/>
              <a:gd name="connsiteY2432" fmla="*/ 175262 h 448122"/>
              <a:gd name="connsiteX2433" fmla="*/ 380889 w 447236"/>
              <a:gd name="connsiteY2433" fmla="*/ 175262 h 448122"/>
              <a:gd name="connsiteX2434" fmla="*/ 361552 w 447236"/>
              <a:gd name="connsiteY2434" fmla="*/ 174955 h 448122"/>
              <a:gd name="connsiteX2435" fmla="*/ 415650 w 447236"/>
              <a:gd name="connsiteY2435" fmla="*/ 174465 h 448122"/>
              <a:gd name="connsiteX2436" fmla="*/ 407144 w 447236"/>
              <a:gd name="connsiteY2436" fmla="*/ 176456 h 448122"/>
              <a:gd name="connsiteX2437" fmla="*/ 404940 w 447236"/>
              <a:gd name="connsiteY2437" fmla="*/ 181773 h 448122"/>
              <a:gd name="connsiteX2438" fmla="*/ 408001 w 447236"/>
              <a:gd name="connsiteY2438" fmla="*/ 189468 h 448122"/>
              <a:gd name="connsiteX2439" fmla="*/ 415655 w 447236"/>
              <a:gd name="connsiteY2439" fmla="*/ 192546 h 448122"/>
              <a:gd name="connsiteX2440" fmla="*/ 423002 w 447236"/>
              <a:gd name="connsiteY2440" fmla="*/ 189468 h 448122"/>
              <a:gd name="connsiteX2441" fmla="*/ 426063 w 447236"/>
              <a:gd name="connsiteY2441" fmla="*/ 181773 h 448122"/>
              <a:gd name="connsiteX2442" fmla="*/ 423839 w 447236"/>
              <a:gd name="connsiteY2442" fmla="*/ 176405 h 448122"/>
              <a:gd name="connsiteX2443" fmla="*/ 361552 w 447236"/>
              <a:gd name="connsiteY2443" fmla="*/ 173728 h 448122"/>
              <a:gd name="connsiteX2444" fmla="*/ 380889 w 447236"/>
              <a:gd name="connsiteY2444" fmla="*/ 173728 h 448122"/>
              <a:gd name="connsiteX2445" fmla="*/ 382424 w 447236"/>
              <a:gd name="connsiteY2445" fmla="*/ 174342 h 448122"/>
              <a:gd name="connsiteX2446" fmla="*/ 383345 w 447236"/>
              <a:gd name="connsiteY2446" fmla="*/ 176183 h 448122"/>
              <a:gd name="connsiteX2447" fmla="*/ 383345 w 447236"/>
              <a:gd name="connsiteY2447" fmla="*/ 176796 h 448122"/>
              <a:gd name="connsiteX2448" fmla="*/ 382424 w 447236"/>
              <a:gd name="connsiteY2448" fmla="*/ 178331 h 448122"/>
              <a:gd name="connsiteX2449" fmla="*/ 380889 w 447236"/>
              <a:gd name="connsiteY2449" fmla="*/ 178944 h 448122"/>
              <a:gd name="connsiteX2450" fmla="*/ 379048 w 447236"/>
              <a:gd name="connsiteY2450" fmla="*/ 178944 h 448122"/>
              <a:gd name="connsiteX2451" fmla="*/ 379048 w 447236"/>
              <a:gd name="connsiteY2451" fmla="*/ 216686 h 448122"/>
              <a:gd name="connsiteX2452" fmla="*/ 390097 w 447236"/>
              <a:gd name="connsiteY2452" fmla="*/ 224971 h 448122"/>
              <a:gd name="connsiteX2453" fmla="*/ 394394 w 447236"/>
              <a:gd name="connsiteY2453" fmla="*/ 238472 h 448122"/>
              <a:gd name="connsiteX2454" fmla="*/ 391018 w 447236"/>
              <a:gd name="connsiteY2454" fmla="*/ 250746 h 448122"/>
              <a:gd name="connsiteX2455" fmla="*/ 381810 w 447236"/>
              <a:gd name="connsiteY2455" fmla="*/ 259031 h 448122"/>
              <a:gd name="connsiteX2456" fmla="*/ 381810 w 447236"/>
              <a:gd name="connsiteY2456" fmla="*/ 259338 h 448122"/>
              <a:gd name="connsiteX2457" fmla="*/ 381503 w 447236"/>
              <a:gd name="connsiteY2457" fmla="*/ 259338 h 448122"/>
              <a:gd name="connsiteX2458" fmla="*/ 360938 w 447236"/>
              <a:gd name="connsiteY2458" fmla="*/ 259338 h 448122"/>
              <a:gd name="connsiteX2459" fmla="*/ 360632 w 447236"/>
              <a:gd name="connsiteY2459" fmla="*/ 259338 h 448122"/>
              <a:gd name="connsiteX2460" fmla="*/ 360632 w 447236"/>
              <a:gd name="connsiteY2460" fmla="*/ 259031 h 448122"/>
              <a:gd name="connsiteX2461" fmla="*/ 351424 w 447236"/>
              <a:gd name="connsiteY2461" fmla="*/ 250746 h 448122"/>
              <a:gd name="connsiteX2462" fmla="*/ 348047 w 447236"/>
              <a:gd name="connsiteY2462" fmla="*/ 238472 h 448122"/>
              <a:gd name="connsiteX2463" fmla="*/ 352344 w 447236"/>
              <a:gd name="connsiteY2463" fmla="*/ 224971 h 448122"/>
              <a:gd name="connsiteX2464" fmla="*/ 363087 w 447236"/>
              <a:gd name="connsiteY2464" fmla="*/ 216686 h 448122"/>
              <a:gd name="connsiteX2465" fmla="*/ 363087 w 447236"/>
              <a:gd name="connsiteY2465" fmla="*/ 178944 h 448122"/>
              <a:gd name="connsiteX2466" fmla="*/ 361552 w 447236"/>
              <a:gd name="connsiteY2466" fmla="*/ 178944 h 448122"/>
              <a:gd name="connsiteX2467" fmla="*/ 359711 w 447236"/>
              <a:gd name="connsiteY2467" fmla="*/ 178331 h 448122"/>
              <a:gd name="connsiteX2468" fmla="*/ 359097 w 447236"/>
              <a:gd name="connsiteY2468" fmla="*/ 176796 h 448122"/>
              <a:gd name="connsiteX2469" fmla="*/ 359097 w 447236"/>
              <a:gd name="connsiteY2469" fmla="*/ 176183 h 448122"/>
              <a:gd name="connsiteX2470" fmla="*/ 359711 w 447236"/>
              <a:gd name="connsiteY2470" fmla="*/ 174342 h 448122"/>
              <a:gd name="connsiteX2471" fmla="*/ 361552 w 447236"/>
              <a:gd name="connsiteY2471" fmla="*/ 173728 h 448122"/>
              <a:gd name="connsiteX2472" fmla="*/ 326338 w 447236"/>
              <a:gd name="connsiteY2472" fmla="*/ 173728 h 448122"/>
              <a:gd name="connsiteX2473" fmla="*/ 339511 w 447236"/>
              <a:gd name="connsiteY2473" fmla="*/ 174649 h 448122"/>
              <a:gd name="connsiteX2474" fmla="*/ 342881 w 447236"/>
              <a:gd name="connsiteY2474" fmla="*/ 178025 h 448122"/>
              <a:gd name="connsiteX2475" fmla="*/ 342881 w 447236"/>
              <a:gd name="connsiteY2475" fmla="*/ 178638 h 448122"/>
              <a:gd name="connsiteX2476" fmla="*/ 339511 w 447236"/>
              <a:gd name="connsiteY2476" fmla="*/ 182014 h 448122"/>
              <a:gd name="connsiteX2477" fmla="*/ 327870 w 447236"/>
              <a:gd name="connsiteY2477" fmla="*/ 182628 h 448122"/>
              <a:gd name="connsiteX2478" fmla="*/ 327870 w 447236"/>
              <a:gd name="connsiteY2478" fmla="*/ 217616 h 448122"/>
              <a:gd name="connsiteX2479" fmla="*/ 328483 w 447236"/>
              <a:gd name="connsiteY2479" fmla="*/ 217616 h 448122"/>
              <a:gd name="connsiteX2480" fmla="*/ 330934 w 447236"/>
              <a:gd name="connsiteY2480" fmla="*/ 220071 h 448122"/>
              <a:gd name="connsiteX2481" fmla="*/ 330934 w 447236"/>
              <a:gd name="connsiteY2481" fmla="*/ 235724 h 448122"/>
              <a:gd name="connsiteX2482" fmla="*/ 332159 w 447236"/>
              <a:gd name="connsiteY2482" fmla="*/ 258742 h 448122"/>
              <a:gd name="connsiteX2483" fmla="*/ 326951 w 447236"/>
              <a:gd name="connsiteY2483" fmla="*/ 262732 h 448122"/>
              <a:gd name="connsiteX2484" fmla="*/ 326645 w 447236"/>
              <a:gd name="connsiteY2484" fmla="*/ 262732 h 448122"/>
              <a:gd name="connsiteX2485" fmla="*/ 321130 w 447236"/>
              <a:gd name="connsiteY2485" fmla="*/ 258742 h 448122"/>
              <a:gd name="connsiteX2486" fmla="*/ 322662 w 447236"/>
              <a:gd name="connsiteY2486" fmla="*/ 235724 h 448122"/>
              <a:gd name="connsiteX2487" fmla="*/ 322662 w 447236"/>
              <a:gd name="connsiteY2487" fmla="*/ 219458 h 448122"/>
              <a:gd name="connsiteX2488" fmla="*/ 324807 w 447236"/>
              <a:gd name="connsiteY2488" fmla="*/ 217616 h 448122"/>
              <a:gd name="connsiteX2489" fmla="*/ 325726 w 447236"/>
              <a:gd name="connsiteY2489" fmla="*/ 217616 h 448122"/>
              <a:gd name="connsiteX2490" fmla="*/ 325726 w 447236"/>
              <a:gd name="connsiteY2490" fmla="*/ 182628 h 448122"/>
              <a:gd name="connsiteX2491" fmla="*/ 313778 w 447236"/>
              <a:gd name="connsiteY2491" fmla="*/ 182014 h 448122"/>
              <a:gd name="connsiteX2492" fmla="*/ 310408 w 447236"/>
              <a:gd name="connsiteY2492" fmla="*/ 178638 h 448122"/>
              <a:gd name="connsiteX2493" fmla="*/ 310408 w 447236"/>
              <a:gd name="connsiteY2493" fmla="*/ 178025 h 448122"/>
              <a:gd name="connsiteX2494" fmla="*/ 313778 w 447236"/>
              <a:gd name="connsiteY2494" fmla="*/ 174649 h 448122"/>
              <a:gd name="connsiteX2495" fmla="*/ 326338 w 447236"/>
              <a:gd name="connsiteY2495" fmla="*/ 173728 h 448122"/>
              <a:gd name="connsiteX2496" fmla="*/ 304504 w 447236"/>
              <a:gd name="connsiteY2496" fmla="*/ 173433 h 448122"/>
              <a:gd name="connsiteX2497" fmla="*/ 305685 w 447236"/>
              <a:gd name="connsiteY2497" fmla="*/ 173433 h 448122"/>
              <a:gd name="connsiteX2498" fmla="*/ 305980 w 447236"/>
              <a:gd name="connsiteY2498" fmla="*/ 179337 h 448122"/>
              <a:gd name="connsiteX2499" fmla="*/ 306335 w 447236"/>
              <a:gd name="connsiteY2499" fmla="*/ 179337 h 448122"/>
              <a:gd name="connsiteX2500" fmla="*/ 308194 w 447236"/>
              <a:gd name="connsiteY2500" fmla="*/ 185684 h 448122"/>
              <a:gd name="connsiteX2501" fmla="*/ 309070 w 447236"/>
              <a:gd name="connsiteY2501" fmla="*/ 185684 h 448122"/>
              <a:gd name="connsiteX2502" fmla="*/ 309375 w 447236"/>
              <a:gd name="connsiteY2502" fmla="*/ 186016 h 448122"/>
              <a:gd name="connsiteX2503" fmla="*/ 309375 w 447236"/>
              <a:gd name="connsiteY2503" fmla="*/ 186348 h 448122"/>
              <a:gd name="connsiteX2504" fmla="*/ 309070 w 447236"/>
              <a:gd name="connsiteY2504" fmla="*/ 187012 h 448122"/>
              <a:gd name="connsiteX2505" fmla="*/ 301130 w 447236"/>
              <a:gd name="connsiteY2505" fmla="*/ 187012 h 448122"/>
              <a:gd name="connsiteX2506" fmla="*/ 300519 w 447236"/>
              <a:gd name="connsiteY2506" fmla="*/ 186348 h 448122"/>
              <a:gd name="connsiteX2507" fmla="*/ 300519 w 447236"/>
              <a:gd name="connsiteY2507" fmla="*/ 186016 h 448122"/>
              <a:gd name="connsiteX2508" fmla="*/ 301130 w 447236"/>
              <a:gd name="connsiteY2508" fmla="*/ 185684 h 448122"/>
              <a:gd name="connsiteX2509" fmla="*/ 301995 w 447236"/>
              <a:gd name="connsiteY2509" fmla="*/ 185684 h 448122"/>
              <a:gd name="connsiteX2510" fmla="*/ 303855 w 447236"/>
              <a:gd name="connsiteY2510" fmla="*/ 179337 h 448122"/>
              <a:gd name="connsiteX2511" fmla="*/ 304209 w 447236"/>
              <a:gd name="connsiteY2511" fmla="*/ 179337 h 448122"/>
              <a:gd name="connsiteX2512" fmla="*/ 19304 w 447236"/>
              <a:gd name="connsiteY2512" fmla="*/ 171088 h 448122"/>
              <a:gd name="connsiteX2513" fmla="*/ 30702 w 447236"/>
              <a:gd name="connsiteY2513" fmla="*/ 175942 h 448122"/>
              <a:gd name="connsiteX2514" fmla="*/ 16840 w 447236"/>
              <a:gd name="connsiteY2514" fmla="*/ 175942 h 448122"/>
              <a:gd name="connsiteX2515" fmla="*/ 16532 w 447236"/>
              <a:gd name="connsiteY2515" fmla="*/ 174425 h 448122"/>
              <a:gd name="connsiteX2516" fmla="*/ 19304 w 447236"/>
              <a:gd name="connsiteY2516" fmla="*/ 171088 h 448122"/>
              <a:gd name="connsiteX2517" fmla="*/ 147006 w 447236"/>
              <a:gd name="connsiteY2517" fmla="*/ 169168 h 448122"/>
              <a:gd name="connsiteX2518" fmla="*/ 140567 w 447236"/>
              <a:gd name="connsiteY2518" fmla="*/ 175597 h 448122"/>
              <a:gd name="connsiteX2519" fmla="*/ 153446 w 447236"/>
              <a:gd name="connsiteY2519" fmla="*/ 175597 h 448122"/>
              <a:gd name="connsiteX2520" fmla="*/ 147006 w 447236"/>
              <a:gd name="connsiteY2520" fmla="*/ 169168 h 448122"/>
              <a:gd name="connsiteX2521" fmla="*/ 198303 w 447236"/>
              <a:gd name="connsiteY2521" fmla="*/ 168273 h 448122"/>
              <a:gd name="connsiteX2522" fmla="*/ 202905 w 447236"/>
              <a:gd name="connsiteY2522" fmla="*/ 170717 h 448122"/>
              <a:gd name="connsiteX2523" fmla="*/ 205973 w 447236"/>
              <a:gd name="connsiteY2523" fmla="*/ 170106 h 448122"/>
              <a:gd name="connsiteX2524" fmla="*/ 209348 w 447236"/>
              <a:gd name="connsiteY2524" fmla="*/ 170717 h 448122"/>
              <a:gd name="connsiteX2525" fmla="*/ 213950 w 447236"/>
              <a:gd name="connsiteY2525" fmla="*/ 168273 h 448122"/>
              <a:gd name="connsiteX2526" fmla="*/ 219578 w 447236"/>
              <a:gd name="connsiteY2526" fmla="*/ 168635 h 448122"/>
              <a:gd name="connsiteX2527" fmla="*/ 213950 w 447236"/>
              <a:gd name="connsiteY2527" fmla="*/ 170412 h 448122"/>
              <a:gd name="connsiteX2528" fmla="*/ 211496 w 447236"/>
              <a:gd name="connsiteY2528" fmla="*/ 175911 h 448122"/>
              <a:gd name="connsiteX2529" fmla="*/ 213644 w 447236"/>
              <a:gd name="connsiteY2529" fmla="*/ 181715 h 448122"/>
              <a:gd name="connsiteX2530" fmla="*/ 228677 w 447236"/>
              <a:gd name="connsiteY2530" fmla="*/ 188131 h 448122"/>
              <a:gd name="connsiteX2531" fmla="*/ 241564 w 447236"/>
              <a:gd name="connsiteY2531" fmla="*/ 179271 h 448122"/>
              <a:gd name="connsiteX2532" fmla="*/ 241870 w 447236"/>
              <a:gd name="connsiteY2532" fmla="*/ 175605 h 448122"/>
              <a:gd name="connsiteX2533" fmla="*/ 240336 w 447236"/>
              <a:gd name="connsiteY2533" fmla="*/ 171328 h 448122"/>
              <a:gd name="connsiteX2534" fmla="*/ 236258 w 447236"/>
              <a:gd name="connsiteY2534" fmla="*/ 169706 h 448122"/>
              <a:gd name="connsiteX2535" fmla="*/ 242484 w 447236"/>
              <a:gd name="connsiteY2535" fmla="*/ 170106 h 448122"/>
              <a:gd name="connsiteX2536" fmla="*/ 247086 w 447236"/>
              <a:gd name="connsiteY2536" fmla="*/ 171328 h 448122"/>
              <a:gd name="connsiteX2537" fmla="*/ 247086 w 447236"/>
              <a:gd name="connsiteY2537" fmla="*/ 175605 h 448122"/>
              <a:gd name="connsiteX2538" fmla="*/ 243711 w 447236"/>
              <a:gd name="connsiteY2538" fmla="*/ 177744 h 448122"/>
              <a:gd name="connsiteX2539" fmla="*/ 242177 w 447236"/>
              <a:gd name="connsiteY2539" fmla="*/ 181104 h 448122"/>
              <a:gd name="connsiteX2540" fmla="*/ 236348 w 447236"/>
              <a:gd name="connsiteY2540" fmla="*/ 187520 h 448122"/>
              <a:gd name="connsiteX2541" fmla="*/ 226837 w 447236"/>
              <a:gd name="connsiteY2541" fmla="*/ 189658 h 448122"/>
              <a:gd name="connsiteX2542" fmla="*/ 214564 w 447236"/>
              <a:gd name="connsiteY2542" fmla="*/ 185381 h 448122"/>
              <a:gd name="connsiteX2543" fmla="*/ 209962 w 447236"/>
              <a:gd name="connsiteY2543" fmla="*/ 175911 h 448122"/>
              <a:gd name="connsiteX2544" fmla="*/ 207814 w 447236"/>
              <a:gd name="connsiteY2544" fmla="*/ 173161 h 448122"/>
              <a:gd name="connsiteX2545" fmla="*/ 205973 w 447236"/>
              <a:gd name="connsiteY2545" fmla="*/ 173161 h 448122"/>
              <a:gd name="connsiteX2546" fmla="*/ 204439 w 447236"/>
              <a:gd name="connsiteY2546" fmla="*/ 173161 h 448122"/>
              <a:gd name="connsiteX2547" fmla="*/ 202292 w 447236"/>
              <a:gd name="connsiteY2547" fmla="*/ 175911 h 448122"/>
              <a:gd name="connsiteX2548" fmla="*/ 197689 w 447236"/>
              <a:gd name="connsiteY2548" fmla="*/ 185381 h 448122"/>
              <a:gd name="connsiteX2549" fmla="*/ 185417 w 447236"/>
              <a:gd name="connsiteY2549" fmla="*/ 189658 h 448122"/>
              <a:gd name="connsiteX2550" fmla="*/ 175906 w 447236"/>
              <a:gd name="connsiteY2550" fmla="*/ 187520 h 448122"/>
              <a:gd name="connsiteX2551" fmla="*/ 170076 w 447236"/>
              <a:gd name="connsiteY2551" fmla="*/ 181104 h 448122"/>
              <a:gd name="connsiteX2552" fmla="*/ 168542 w 447236"/>
              <a:gd name="connsiteY2552" fmla="*/ 177744 h 448122"/>
              <a:gd name="connsiteX2553" fmla="*/ 165167 w 447236"/>
              <a:gd name="connsiteY2553" fmla="*/ 175605 h 448122"/>
              <a:gd name="connsiteX2554" fmla="*/ 165167 w 447236"/>
              <a:gd name="connsiteY2554" fmla="*/ 171328 h 448122"/>
              <a:gd name="connsiteX2555" fmla="*/ 169769 w 447236"/>
              <a:gd name="connsiteY2555" fmla="*/ 170106 h 448122"/>
              <a:gd name="connsiteX2556" fmla="*/ 175996 w 447236"/>
              <a:gd name="connsiteY2556" fmla="*/ 169706 h 448122"/>
              <a:gd name="connsiteX2557" fmla="*/ 171917 w 447236"/>
              <a:gd name="connsiteY2557" fmla="*/ 171328 h 448122"/>
              <a:gd name="connsiteX2558" fmla="*/ 170383 w 447236"/>
              <a:gd name="connsiteY2558" fmla="*/ 175605 h 448122"/>
              <a:gd name="connsiteX2559" fmla="*/ 170690 w 447236"/>
              <a:gd name="connsiteY2559" fmla="*/ 179271 h 448122"/>
              <a:gd name="connsiteX2560" fmla="*/ 183269 w 447236"/>
              <a:gd name="connsiteY2560" fmla="*/ 188131 h 448122"/>
              <a:gd name="connsiteX2561" fmla="*/ 198610 w 447236"/>
              <a:gd name="connsiteY2561" fmla="*/ 181715 h 448122"/>
              <a:gd name="connsiteX2562" fmla="*/ 200758 w 447236"/>
              <a:gd name="connsiteY2562" fmla="*/ 175911 h 448122"/>
              <a:gd name="connsiteX2563" fmla="*/ 198303 w 447236"/>
              <a:gd name="connsiteY2563" fmla="*/ 170412 h 448122"/>
              <a:gd name="connsiteX2564" fmla="*/ 192676 w 447236"/>
              <a:gd name="connsiteY2564" fmla="*/ 168635 h 448122"/>
              <a:gd name="connsiteX2565" fmla="*/ 270408 w 447236"/>
              <a:gd name="connsiteY2565" fmla="*/ 167935 h 448122"/>
              <a:gd name="connsiteX2566" fmla="*/ 269796 w 447236"/>
              <a:gd name="connsiteY2566" fmla="*/ 168242 h 448122"/>
              <a:gd name="connsiteX2567" fmla="*/ 269490 w 447236"/>
              <a:gd name="connsiteY2567" fmla="*/ 169161 h 448122"/>
              <a:gd name="connsiteX2568" fmla="*/ 269796 w 447236"/>
              <a:gd name="connsiteY2568" fmla="*/ 169773 h 448122"/>
              <a:gd name="connsiteX2569" fmla="*/ 270408 w 447236"/>
              <a:gd name="connsiteY2569" fmla="*/ 170080 h 448122"/>
              <a:gd name="connsiteX2570" fmla="*/ 271020 w 447236"/>
              <a:gd name="connsiteY2570" fmla="*/ 169773 h 448122"/>
              <a:gd name="connsiteX2571" fmla="*/ 271326 w 447236"/>
              <a:gd name="connsiteY2571" fmla="*/ 169161 h 448122"/>
              <a:gd name="connsiteX2572" fmla="*/ 271020 w 447236"/>
              <a:gd name="connsiteY2572" fmla="*/ 168242 h 448122"/>
              <a:gd name="connsiteX2573" fmla="*/ 270408 w 447236"/>
              <a:gd name="connsiteY2573" fmla="*/ 167935 h 448122"/>
              <a:gd name="connsiteX2574" fmla="*/ 415650 w 447236"/>
              <a:gd name="connsiteY2574" fmla="*/ 166201 h 448122"/>
              <a:gd name="connsiteX2575" fmla="*/ 434672 w 447236"/>
              <a:gd name="connsiteY2575" fmla="*/ 170486 h 448122"/>
              <a:gd name="connsiteX2576" fmla="*/ 442956 w 447236"/>
              <a:gd name="connsiteY2576" fmla="*/ 180893 h 448122"/>
              <a:gd name="connsiteX2577" fmla="*/ 434672 w 447236"/>
              <a:gd name="connsiteY2577" fmla="*/ 191300 h 448122"/>
              <a:gd name="connsiteX2578" fmla="*/ 415650 w 447236"/>
              <a:gd name="connsiteY2578" fmla="*/ 195279 h 448122"/>
              <a:gd name="connsiteX2579" fmla="*/ 396627 w 447236"/>
              <a:gd name="connsiteY2579" fmla="*/ 191300 h 448122"/>
              <a:gd name="connsiteX2580" fmla="*/ 388343 w 447236"/>
              <a:gd name="connsiteY2580" fmla="*/ 180893 h 448122"/>
              <a:gd name="connsiteX2581" fmla="*/ 396627 w 447236"/>
              <a:gd name="connsiteY2581" fmla="*/ 170486 h 448122"/>
              <a:gd name="connsiteX2582" fmla="*/ 415650 w 447236"/>
              <a:gd name="connsiteY2582" fmla="*/ 166201 h 448122"/>
              <a:gd name="connsiteX2583" fmla="*/ 227374 w 447236"/>
              <a:gd name="connsiteY2583" fmla="*/ 166173 h 448122"/>
              <a:gd name="connsiteX2584" fmla="*/ 236258 w 447236"/>
              <a:gd name="connsiteY2584" fmla="*/ 169706 h 448122"/>
              <a:gd name="connsiteX2585" fmla="*/ 219578 w 447236"/>
              <a:gd name="connsiteY2585" fmla="*/ 168635 h 448122"/>
              <a:gd name="connsiteX2586" fmla="*/ 184880 w 447236"/>
              <a:gd name="connsiteY2586" fmla="*/ 166173 h 448122"/>
              <a:gd name="connsiteX2587" fmla="*/ 192676 w 447236"/>
              <a:gd name="connsiteY2587" fmla="*/ 168635 h 448122"/>
              <a:gd name="connsiteX2588" fmla="*/ 175996 w 447236"/>
              <a:gd name="connsiteY2588" fmla="*/ 169706 h 448122"/>
              <a:gd name="connsiteX2589" fmla="*/ 270408 w 447236"/>
              <a:gd name="connsiteY2589" fmla="*/ 164872 h 448122"/>
              <a:gd name="connsiteX2590" fmla="*/ 273468 w 447236"/>
              <a:gd name="connsiteY2590" fmla="*/ 166097 h 448122"/>
              <a:gd name="connsiteX2591" fmla="*/ 274998 w 447236"/>
              <a:gd name="connsiteY2591" fmla="*/ 168242 h 448122"/>
              <a:gd name="connsiteX2592" fmla="*/ 275916 w 447236"/>
              <a:gd name="connsiteY2592" fmla="*/ 169467 h 448122"/>
              <a:gd name="connsiteX2593" fmla="*/ 277752 w 447236"/>
              <a:gd name="connsiteY2593" fmla="*/ 170080 h 448122"/>
              <a:gd name="connsiteX2594" fmla="*/ 279588 w 447236"/>
              <a:gd name="connsiteY2594" fmla="*/ 170999 h 448122"/>
              <a:gd name="connsiteX2595" fmla="*/ 280506 w 447236"/>
              <a:gd name="connsiteY2595" fmla="*/ 173450 h 448122"/>
              <a:gd name="connsiteX2596" fmla="*/ 282954 w 447236"/>
              <a:gd name="connsiteY2596" fmla="*/ 207454 h 448122"/>
              <a:gd name="connsiteX2597" fmla="*/ 282036 w 447236"/>
              <a:gd name="connsiteY2597" fmla="*/ 209598 h 448122"/>
              <a:gd name="connsiteX2598" fmla="*/ 279894 w 447236"/>
              <a:gd name="connsiteY2598" fmla="*/ 210517 h 448122"/>
              <a:gd name="connsiteX2599" fmla="*/ 279588 w 447236"/>
              <a:gd name="connsiteY2599" fmla="*/ 210517 h 448122"/>
              <a:gd name="connsiteX2600" fmla="*/ 277140 w 447236"/>
              <a:gd name="connsiteY2600" fmla="*/ 210517 h 448122"/>
              <a:gd name="connsiteX2601" fmla="*/ 274692 w 447236"/>
              <a:gd name="connsiteY2601" fmla="*/ 211743 h 448122"/>
              <a:gd name="connsiteX2602" fmla="*/ 273468 w 447236"/>
              <a:gd name="connsiteY2602" fmla="*/ 214193 h 448122"/>
              <a:gd name="connsiteX2603" fmla="*/ 273468 w 447236"/>
              <a:gd name="connsiteY2603" fmla="*/ 217563 h 448122"/>
              <a:gd name="connsiteX2604" fmla="*/ 274998 w 447236"/>
              <a:gd name="connsiteY2604" fmla="*/ 217563 h 448122"/>
              <a:gd name="connsiteX2605" fmla="*/ 275610 w 447236"/>
              <a:gd name="connsiteY2605" fmla="*/ 218788 h 448122"/>
              <a:gd name="connsiteX2606" fmla="*/ 274998 w 447236"/>
              <a:gd name="connsiteY2606" fmla="*/ 220014 h 448122"/>
              <a:gd name="connsiteX2607" fmla="*/ 271938 w 447236"/>
              <a:gd name="connsiteY2607" fmla="*/ 220014 h 448122"/>
              <a:gd name="connsiteX2608" fmla="*/ 271938 w 447236"/>
              <a:gd name="connsiteY2608" fmla="*/ 228285 h 448122"/>
              <a:gd name="connsiteX2609" fmla="*/ 271068 w 447236"/>
              <a:gd name="connsiteY2609" fmla="*/ 229156 h 448122"/>
              <a:gd name="connsiteX2610" fmla="*/ 272241 w 447236"/>
              <a:gd name="connsiteY2610" fmla="*/ 230793 h 448122"/>
              <a:gd name="connsiteX2611" fmla="*/ 276546 w 447236"/>
              <a:gd name="connsiteY2611" fmla="*/ 238148 h 448122"/>
              <a:gd name="connsiteX2612" fmla="*/ 270088 w 447236"/>
              <a:gd name="connsiteY2612" fmla="*/ 268180 h 448122"/>
              <a:gd name="connsiteX2613" fmla="*/ 267936 w 447236"/>
              <a:gd name="connsiteY2613" fmla="*/ 269713 h 448122"/>
              <a:gd name="connsiteX2614" fmla="*/ 267441 w 447236"/>
              <a:gd name="connsiteY2614" fmla="*/ 271193 h 448122"/>
              <a:gd name="connsiteX2615" fmla="*/ 270765 w 447236"/>
              <a:gd name="connsiteY2615" fmla="*/ 274350 h 448122"/>
              <a:gd name="connsiteX2616" fmla="*/ 275992 w 447236"/>
              <a:gd name="connsiteY2616" fmla="*/ 281095 h 448122"/>
              <a:gd name="connsiteX2617" fmla="*/ 280297 w 447236"/>
              <a:gd name="connsiteY2617" fmla="*/ 296119 h 448122"/>
              <a:gd name="connsiteX2618" fmla="*/ 274762 w 447236"/>
              <a:gd name="connsiteY2618" fmla="*/ 309916 h 448122"/>
              <a:gd name="connsiteX2619" fmla="*/ 267997 w 447236"/>
              <a:gd name="connsiteY2619" fmla="*/ 315128 h 448122"/>
              <a:gd name="connsiteX2620" fmla="*/ 259694 w 447236"/>
              <a:gd name="connsiteY2620" fmla="*/ 316661 h 448122"/>
              <a:gd name="connsiteX2621" fmla="*/ 251699 w 447236"/>
              <a:gd name="connsiteY2621" fmla="*/ 314208 h 448122"/>
              <a:gd name="connsiteX2622" fmla="*/ 250469 w 447236"/>
              <a:gd name="connsiteY2622" fmla="*/ 313288 h 448122"/>
              <a:gd name="connsiteX2623" fmla="*/ 250162 w 447236"/>
              <a:gd name="connsiteY2623" fmla="*/ 313288 h 448122"/>
              <a:gd name="connsiteX2624" fmla="*/ 250162 w 447236"/>
              <a:gd name="connsiteY2624" fmla="*/ 312982 h 448122"/>
              <a:gd name="connsiteX2625" fmla="*/ 245549 w 447236"/>
              <a:gd name="connsiteY2625" fmla="*/ 306236 h 448122"/>
              <a:gd name="connsiteX2626" fmla="*/ 245242 w 447236"/>
              <a:gd name="connsiteY2626" fmla="*/ 305623 h 448122"/>
              <a:gd name="connsiteX2627" fmla="*/ 245242 w 447236"/>
              <a:gd name="connsiteY2627" fmla="*/ 305317 h 448122"/>
              <a:gd name="connsiteX2628" fmla="*/ 244066 w 447236"/>
              <a:gd name="connsiteY2628" fmla="*/ 301212 h 448122"/>
              <a:gd name="connsiteX2629" fmla="*/ 232807 w 447236"/>
              <a:gd name="connsiteY2629" fmla="*/ 294959 h 448122"/>
              <a:gd name="connsiteX2630" fmla="*/ 231772 w 447236"/>
              <a:gd name="connsiteY2630" fmla="*/ 282866 h 448122"/>
              <a:gd name="connsiteX2631" fmla="*/ 232078 w 447236"/>
              <a:gd name="connsiteY2631" fmla="*/ 278581 h 448122"/>
              <a:gd name="connsiteX2632" fmla="*/ 233561 w 447236"/>
              <a:gd name="connsiteY2632" fmla="*/ 277101 h 448122"/>
              <a:gd name="connsiteX2633" fmla="*/ 235125 w 447236"/>
              <a:gd name="connsiteY2633" fmla="*/ 264825 h 448122"/>
              <a:gd name="connsiteX2634" fmla="*/ 227714 w 447236"/>
              <a:gd name="connsiteY2634" fmla="*/ 269751 h 448122"/>
              <a:gd name="connsiteX2635" fmla="*/ 223716 w 447236"/>
              <a:gd name="connsiteY2635" fmla="*/ 281095 h 448122"/>
              <a:gd name="connsiteX2636" fmla="*/ 224024 w 447236"/>
              <a:gd name="connsiteY2636" fmla="*/ 287227 h 448122"/>
              <a:gd name="connsiteX2637" fmla="*/ 225869 w 447236"/>
              <a:gd name="connsiteY2637" fmla="*/ 292746 h 448122"/>
              <a:gd name="connsiteX2638" fmla="*/ 235709 w 447236"/>
              <a:gd name="connsiteY2638" fmla="*/ 307156 h 448122"/>
              <a:gd name="connsiteX2639" fmla="*/ 248009 w 447236"/>
              <a:gd name="connsiteY2639" fmla="*/ 326166 h 448122"/>
              <a:gd name="connsiteX2640" fmla="*/ 248009 w 447236"/>
              <a:gd name="connsiteY2640" fmla="*/ 326472 h 448122"/>
              <a:gd name="connsiteX2641" fmla="*/ 249036 w 447236"/>
              <a:gd name="connsiteY2641" fmla="*/ 335944 h 448122"/>
              <a:gd name="connsiteX2642" fmla="*/ 249867 w 447236"/>
              <a:gd name="connsiteY2642" fmla="*/ 335944 h 448122"/>
              <a:gd name="connsiteX2643" fmla="*/ 250474 w 447236"/>
              <a:gd name="connsiteY2643" fmla="*/ 336247 h 448122"/>
              <a:gd name="connsiteX2644" fmla="*/ 250777 w 447236"/>
              <a:gd name="connsiteY2644" fmla="*/ 336854 h 448122"/>
              <a:gd name="connsiteX2645" fmla="*/ 250777 w 447236"/>
              <a:gd name="connsiteY2645" fmla="*/ 340798 h 448122"/>
              <a:gd name="connsiteX2646" fmla="*/ 250474 w 447236"/>
              <a:gd name="connsiteY2646" fmla="*/ 341405 h 448122"/>
              <a:gd name="connsiteX2647" fmla="*/ 249867 w 447236"/>
              <a:gd name="connsiteY2647" fmla="*/ 341405 h 448122"/>
              <a:gd name="connsiteX2648" fmla="*/ 249580 w 447236"/>
              <a:gd name="connsiteY2648" fmla="*/ 341405 h 448122"/>
              <a:gd name="connsiteX2649" fmla="*/ 255989 w 447236"/>
              <a:gd name="connsiteY2649" fmla="*/ 343871 h 448122"/>
              <a:gd name="connsiteX2650" fmla="*/ 259043 w 447236"/>
              <a:gd name="connsiteY2650" fmla="*/ 351817 h 448122"/>
              <a:gd name="connsiteX2651" fmla="*/ 255989 w 447236"/>
              <a:gd name="connsiteY2651" fmla="*/ 359457 h 448122"/>
              <a:gd name="connsiteX2652" fmla="*/ 248047 w 447236"/>
              <a:gd name="connsiteY2652" fmla="*/ 362513 h 448122"/>
              <a:gd name="connsiteX2653" fmla="*/ 240410 w 447236"/>
              <a:gd name="connsiteY2653" fmla="*/ 359457 h 448122"/>
              <a:gd name="connsiteX2654" fmla="*/ 237050 w 447236"/>
              <a:gd name="connsiteY2654" fmla="*/ 351817 h 448122"/>
              <a:gd name="connsiteX2655" fmla="*/ 240410 w 447236"/>
              <a:gd name="connsiteY2655" fmla="*/ 343871 h 448122"/>
              <a:gd name="connsiteX2656" fmla="*/ 246572 w 447236"/>
              <a:gd name="connsiteY2656" fmla="*/ 341405 h 448122"/>
              <a:gd name="connsiteX2657" fmla="*/ 246226 w 447236"/>
              <a:gd name="connsiteY2657" fmla="*/ 341405 h 448122"/>
              <a:gd name="connsiteX2658" fmla="*/ 245620 w 447236"/>
              <a:gd name="connsiteY2658" fmla="*/ 341405 h 448122"/>
              <a:gd name="connsiteX2659" fmla="*/ 245316 w 447236"/>
              <a:gd name="connsiteY2659" fmla="*/ 340798 h 448122"/>
              <a:gd name="connsiteX2660" fmla="*/ 245316 w 447236"/>
              <a:gd name="connsiteY2660" fmla="*/ 336854 h 448122"/>
              <a:gd name="connsiteX2661" fmla="*/ 245620 w 447236"/>
              <a:gd name="connsiteY2661" fmla="*/ 336247 h 448122"/>
              <a:gd name="connsiteX2662" fmla="*/ 246226 w 447236"/>
              <a:gd name="connsiteY2662" fmla="*/ 335944 h 448122"/>
              <a:gd name="connsiteX2663" fmla="*/ 246536 w 447236"/>
              <a:gd name="connsiteY2663" fmla="*/ 335944 h 448122"/>
              <a:gd name="connsiteX2664" fmla="*/ 245549 w 447236"/>
              <a:gd name="connsiteY2664" fmla="*/ 327085 h 448122"/>
              <a:gd name="connsiteX2665" fmla="*/ 233864 w 447236"/>
              <a:gd name="connsiteY2665" fmla="*/ 308689 h 448122"/>
              <a:gd name="connsiteX2666" fmla="*/ 223716 w 447236"/>
              <a:gd name="connsiteY2666" fmla="*/ 293972 h 448122"/>
              <a:gd name="connsiteX2667" fmla="*/ 223409 w 447236"/>
              <a:gd name="connsiteY2667" fmla="*/ 293972 h 448122"/>
              <a:gd name="connsiteX2668" fmla="*/ 221564 w 447236"/>
              <a:gd name="connsiteY2668" fmla="*/ 287840 h 448122"/>
              <a:gd name="connsiteX2669" fmla="*/ 221256 w 447236"/>
              <a:gd name="connsiteY2669" fmla="*/ 281095 h 448122"/>
              <a:gd name="connsiteX2670" fmla="*/ 225561 w 447236"/>
              <a:gd name="connsiteY2670" fmla="*/ 268218 h 448122"/>
              <a:gd name="connsiteX2671" fmla="*/ 235916 w 447236"/>
              <a:gd name="connsiteY2671" fmla="*/ 261426 h 448122"/>
              <a:gd name="connsiteX2672" fmla="*/ 240094 w 447236"/>
              <a:gd name="connsiteY2672" fmla="*/ 244943 h 448122"/>
              <a:gd name="connsiteX2673" fmla="*/ 244441 w 447236"/>
              <a:gd name="connsiteY2673" fmla="*/ 240121 h 448122"/>
              <a:gd name="connsiteX2674" fmla="*/ 241565 w 447236"/>
              <a:gd name="connsiteY2674" fmla="*/ 236664 h 448122"/>
              <a:gd name="connsiteX2675" fmla="*/ 241257 w 447236"/>
              <a:gd name="connsiteY2675" fmla="*/ 236664 h 448122"/>
              <a:gd name="connsiteX2676" fmla="*/ 239100 w 447236"/>
              <a:gd name="connsiteY2676" fmla="*/ 236971 h 448122"/>
              <a:gd name="connsiteX2677" fmla="*/ 236634 w 447236"/>
              <a:gd name="connsiteY2677" fmla="*/ 237891 h 448122"/>
              <a:gd name="connsiteX2678" fmla="*/ 236230 w 447236"/>
              <a:gd name="connsiteY2678" fmla="*/ 237088 h 448122"/>
              <a:gd name="connsiteX2679" fmla="*/ 236607 w 447236"/>
              <a:gd name="connsiteY2679" fmla="*/ 238758 h 448122"/>
              <a:gd name="connsiteX2680" fmla="*/ 233537 w 447236"/>
              <a:gd name="connsiteY2680" fmla="*/ 240873 h 448122"/>
              <a:gd name="connsiteX2681" fmla="*/ 229546 w 447236"/>
              <a:gd name="connsiteY2681" fmla="*/ 239060 h 448122"/>
              <a:gd name="connsiteX2682" fmla="*/ 232309 w 447236"/>
              <a:gd name="connsiteY2682" fmla="*/ 235433 h 448122"/>
              <a:gd name="connsiteX2683" fmla="*/ 235993 w 447236"/>
              <a:gd name="connsiteY2683" fmla="*/ 236038 h 448122"/>
              <a:gd name="connsiteX2684" fmla="*/ 236126 w 447236"/>
              <a:gd name="connsiteY2684" fmla="*/ 236628 h 448122"/>
              <a:gd name="connsiteX2685" fmla="*/ 238791 w 447236"/>
              <a:gd name="connsiteY2685" fmla="*/ 235744 h 448122"/>
              <a:gd name="connsiteX2686" fmla="*/ 240949 w 447236"/>
              <a:gd name="connsiteY2686" fmla="*/ 235438 h 448122"/>
              <a:gd name="connsiteX2687" fmla="*/ 241565 w 447236"/>
              <a:gd name="connsiteY2687" fmla="*/ 235438 h 448122"/>
              <a:gd name="connsiteX2688" fmla="*/ 245127 w 447236"/>
              <a:gd name="connsiteY2688" fmla="*/ 239360 h 448122"/>
              <a:gd name="connsiteX2689" fmla="*/ 248663 w 447236"/>
              <a:gd name="connsiteY2689" fmla="*/ 235438 h 448122"/>
              <a:gd name="connsiteX2690" fmla="*/ 248969 w 447236"/>
              <a:gd name="connsiteY2690" fmla="*/ 235438 h 448122"/>
              <a:gd name="connsiteX2691" fmla="*/ 251418 w 447236"/>
              <a:gd name="connsiteY2691" fmla="*/ 235744 h 448122"/>
              <a:gd name="connsiteX2692" fmla="*/ 253787 w 447236"/>
              <a:gd name="connsiteY2692" fmla="*/ 236535 h 448122"/>
              <a:gd name="connsiteX2693" fmla="*/ 253899 w 447236"/>
              <a:gd name="connsiteY2693" fmla="*/ 236038 h 448122"/>
              <a:gd name="connsiteX2694" fmla="*/ 257885 w 447236"/>
              <a:gd name="connsiteY2694" fmla="*/ 235433 h 448122"/>
              <a:gd name="connsiteX2695" fmla="*/ 260644 w 447236"/>
              <a:gd name="connsiteY2695" fmla="*/ 239060 h 448122"/>
              <a:gd name="connsiteX2696" fmla="*/ 256659 w 447236"/>
              <a:gd name="connsiteY2696" fmla="*/ 240873 h 448122"/>
              <a:gd name="connsiteX2697" fmla="*/ 253286 w 447236"/>
              <a:gd name="connsiteY2697" fmla="*/ 238758 h 448122"/>
              <a:gd name="connsiteX2698" fmla="*/ 253488 w 447236"/>
              <a:gd name="connsiteY2698" fmla="*/ 237863 h 448122"/>
              <a:gd name="connsiteX2699" fmla="*/ 251112 w 447236"/>
              <a:gd name="connsiteY2699" fmla="*/ 236971 h 448122"/>
              <a:gd name="connsiteX2700" fmla="*/ 248969 w 447236"/>
              <a:gd name="connsiteY2700" fmla="*/ 236664 h 448122"/>
              <a:gd name="connsiteX2701" fmla="*/ 248663 w 447236"/>
              <a:gd name="connsiteY2701" fmla="*/ 236664 h 448122"/>
              <a:gd name="connsiteX2702" fmla="*/ 245751 w 447236"/>
              <a:gd name="connsiteY2702" fmla="*/ 240048 h 448122"/>
              <a:gd name="connsiteX2703" fmla="*/ 250196 w 447236"/>
              <a:gd name="connsiteY2703" fmla="*/ 244943 h 448122"/>
              <a:gd name="connsiteX2704" fmla="*/ 254619 w 447236"/>
              <a:gd name="connsiteY2704" fmla="*/ 262269 h 448122"/>
              <a:gd name="connsiteX2705" fmla="*/ 255082 w 447236"/>
              <a:gd name="connsiteY2705" fmla="*/ 262392 h 448122"/>
              <a:gd name="connsiteX2706" fmla="*/ 259694 w 447236"/>
              <a:gd name="connsiteY2706" fmla="*/ 264845 h 448122"/>
              <a:gd name="connsiteX2707" fmla="*/ 264307 w 447236"/>
              <a:gd name="connsiteY2707" fmla="*/ 268218 h 448122"/>
              <a:gd name="connsiteX2708" fmla="*/ 266704 w 447236"/>
              <a:gd name="connsiteY2708" fmla="*/ 270494 h 448122"/>
              <a:gd name="connsiteX2709" fmla="*/ 267321 w 447236"/>
              <a:gd name="connsiteY2709" fmla="*/ 268793 h 448122"/>
              <a:gd name="connsiteX2710" fmla="*/ 269473 w 447236"/>
              <a:gd name="connsiteY2710" fmla="*/ 267261 h 448122"/>
              <a:gd name="connsiteX2711" fmla="*/ 275623 w 447236"/>
              <a:gd name="connsiteY2711" fmla="*/ 238454 h 448122"/>
              <a:gd name="connsiteX2712" fmla="*/ 271318 w 447236"/>
              <a:gd name="connsiteY2712" fmla="*/ 231405 h 448122"/>
              <a:gd name="connsiteX2713" fmla="*/ 269781 w 447236"/>
              <a:gd name="connsiteY2713" fmla="*/ 229260 h 448122"/>
              <a:gd name="connsiteX2714" fmla="*/ 269805 w 447236"/>
              <a:gd name="connsiteY2714" fmla="*/ 229213 h 448122"/>
              <a:gd name="connsiteX2715" fmla="*/ 268878 w 447236"/>
              <a:gd name="connsiteY2715" fmla="*/ 228285 h 448122"/>
              <a:gd name="connsiteX2716" fmla="*/ 268878 w 447236"/>
              <a:gd name="connsiteY2716" fmla="*/ 220014 h 448122"/>
              <a:gd name="connsiteX2717" fmla="*/ 265818 w 447236"/>
              <a:gd name="connsiteY2717" fmla="*/ 220014 h 448122"/>
              <a:gd name="connsiteX2718" fmla="*/ 265206 w 447236"/>
              <a:gd name="connsiteY2718" fmla="*/ 218788 h 448122"/>
              <a:gd name="connsiteX2719" fmla="*/ 265818 w 447236"/>
              <a:gd name="connsiteY2719" fmla="*/ 217563 h 448122"/>
              <a:gd name="connsiteX2720" fmla="*/ 267348 w 447236"/>
              <a:gd name="connsiteY2720" fmla="*/ 217563 h 448122"/>
              <a:gd name="connsiteX2721" fmla="*/ 267348 w 447236"/>
              <a:gd name="connsiteY2721" fmla="*/ 214193 h 448122"/>
              <a:gd name="connsiteX2722" fmla="*/ 266124 w 447236"/>
              <a:gd name="connsiteY2722" fmla="*/ 211743 h 448122"/>
              <a:gd name="connsiteX2723" fmla="*/ 263676 w 447236"/>
              <a:gd name="connsiteY2723" fmla="*/ 210517 h 448122"/>
              <a:gd name="connsiteX2724" fmla="*/ 261228 w 447236"/>
              <a:gd name="connsiteY2724" fmla="*/ 210517 h 448122"/>
              <a:gd name="connsiteX2725" fmla="*/ 260922 w 447236"/>
              <a:gd name="connsiteY2725" fmla="*/ 210517 h 448122"/>
              <a:gd name="connsiteX2726" fmla="*/ 258780 w 447236"/>
              <a:gd name="connsiteY2726" fmla="*/ 209598 h 448122"/>
              <a:gd name="connsiteX2727" fmla="*/ 257862 w 447236"/>
              <a:gd name="connsiteY2727" fmla="*/ 207454 h 448122"/>
              <a:gd name="connsiteX2728" fmla="*/ 260310 w 447236"/>
              <a:gd name="connsiteY2728" fmla="*/ 173450 h 448122"/>
              <a:gd name="connsiteX2729" fmla="*/ 261228 w 447236"/>
              <a:gd name="connsiteY2729" fmla="*/ 171305 h 448122"/>
              <a:gd name="connsiteX2730" fmla="*/ 263064 w 447236"/>
              <a:gd name="connsiteY2730" fmla="*/ 170080 h 448122"/>
              <a:gd name="connsiteX2731" fmla="*/ 264900 w 447236"/>
              <a:gd name="connsiteY2731" fmla="*/ 169467 h 448122"/>
              <a:gd name="connsiteX2732" fmla="*/ 265818 w 447236"/>
              <a:gd name="connsiteY2732" fmla="*/ 168242 h 448122"/>
              <a:gd name="connsiteX2733" fmla="*/ 267348 w 447236"/>
              <a:gd name="connsiteY2733" fmla="*/ 165791 h 448122"/>
              <a:gd name="connsiteX2734" fmla="*/ 270408 w 447236"/>
              <a:gd name="connsiteY2734" fmla="*/ 164872 h 448122"/>
              <a:gd name="connsiteX2735" fmla="*/ 11995 w 447236"/>
              <a:gd name="connsiteY2735" fmla="*/ 163396 h 448122"/>
              <a:gd name="connsiteX2736" fmla="*/ 14130 w 447236"/>
              <a:gd name="connsiteY2736" fmla="*/ 163396 h 448122"/>
              <a:gd name="connsiteX2737" fmla="*/ 15351 w 447236"/>
              <a:gd name="connsiteY2737" fmla="*/ 164619 h 448122"/>
              <a:gd name="connsiteX2738" fmla="*/ 15351 w 447236"/>
              <a:gd name="connsiteY2738" fmla="*/ 177123 h 448122"/>
              <a:gd name="connsiteX2739" fmla="*/ 35270 w 447236"/>
              <a:gd name="connsiteY2739" fmla="*/ 177123 h 448122"/>
              <a:gd name="connsiteX2740" fmla="*/ 48144 w 447236"/>
              <a:gd name="connsiteY2740" fmla="*/ 177123 h 448122"/>
              <a:gd name="connsiteX2741" fmla="*/ 48857 w 447236"/>
              <a:gd name="connsiteY2741" fmla="*/ 177123 h 448122"/>
              <a:gd name="connsiteX2742" fmla="*/ 48857 w 447236"/>
              <a:gd name="connsiteY2742" fmla="*/ 172554 h 448122"/>
              <a:gd name="connsiteX2743" fmla="*/ 48857 w 447236"/>
              <a:gd name="connsiteY2743" fmla="*/ 170368 h 448122"/>
              <a:gd name="connsiteX2744" fmla="*/ 49776 w 447236"/>
              <a:gd name="connsiteY2744" fmla="*/ 169448 h 448122"/>
              <a:gd name="connsiteX2745" fmla="*/ 51616 w 447236"/>
              <a:gd name="connsiteY2745" fmla="*/ 169448 h 448122"/>
              <a:gd name="connsiteX2746" fmla="*/ 52842 w 447236"/>
              <a:gd name="connsiteY2746" fmla="*/ 170368 h 448122"/>
              <a:gd name="connsiteX2747" fmla="*/ 52842 w 447236"/>
              <a:gd name="connsiteY2747" fmla="*/ 187852 h 448122"/>
              <a:gd name="connsiteX2748" fmla="*/ 51616 w 447236"/>
              <a:gd name="connsiteY2748" fmla="*/ 189079 h 448122"/>
              <a:gd name="connsiteX2749" fmla="*/ 49776 w 447236"/>
              <a:gd name="connsiteY2749" fmla="*/ 189079 h 448122"/>
              <a:gd name="connsiteX2750" fmla="*/ 48857 w 447236"/>
              <a:gd name="connsiteY2750" fmla="*/ 187852 h 448122"/>
              <a:gd name="connsiteX2751" fmla="*/ 48857 w 447236"/>
              <a:gd name="connsiteY2751" fmla="*/ 182732 h 448122"/>
              <a:gd name="connsiteX2752" fmla="*/ 29821 w 447236"/>
              <a:gd name="connsiteY2752" fmla="*/ 182732 h 448122"/>
              <a:gd name="connsiteX2753" fmla="*/ 19468 w 447236"/>
              <a:gd name="connsiteY2753" fmla="*/ 182732 h 448122"/>
              <a:gd name="connsiteX2754" fmla="*/ 15351 w 447236"/>
              <a:gd name="connsiteY2754" fmla="*/ 182732 h 448122"/>
              <a:gd name="connsiteX2755" fmla="*/ 15351 w 447236"/>
              <a:gd name="connsiteY2755" fmla="*/ 184951 h 448122"/>
              <a:gd name="connsiteX2756" fmla="*/ 15351 w 447236"/>
              <a:gd name="connsiteY2756" fmla="*/ 187856 h 448122"/>
              <a:gd name="connsiteX2757" fmla="*/ 14130 w 447236"/>
              <a:gd name="connsiteY2757" fmla="*/ 189079 h 448122"/>
              <a:gd name="connsiteX2758" fmla="*/ 11995 w 447236"/>
              <a:gd name="connsiteY2758" fmla="*/ 189079 h 448122"/>
              <a:gd name="connsiteX2759" fmla="*/ 10775 w 447236"/>
              <a:gd name="connsiteY2759" fmla="*/ 187856 h 448122"/>
              <a:gd name="connsiteX2760" fmla="*/ 10775 w 447236"/>
              <a:gd name="connsiteY2760" fmla="*/ 164619 h 448122"/>
              <a:gd name="connsiteX2761" fmla="*/ 11995 w 447236"/>
              <a:gd name="connsiteY2761" fmla="*/ 163396 h 448122"/>
              <a:gd name="connsiteX2762" fmla="*/ 432845 w 447236"/>
              <a:gd name="connsiteY2762" fmla="*/ 157493 h 448122"/>
              <a:gd name="connsiteX2763" fmla="*/ 432855 w 447236"/>
              <a:gd name="connsiteY2763" fmla="*/ 157502 h 448122"/>
              <a:gd name="connsiteX2764" fmla="*/ 432864 w 447236"/>
              <a:gd name="connsiteY2764" fmla="*/ 157493 h 448122"/>
              <a:gd name="connsiteX2765" fmla="*/ 414424 w 447236"/>
              <a:gd name="connsiteY2765" fmla="*/ 157493 h 448122"/>
              <a:gd name="connsiteX2766" fmla="*/ 414434 w 447236"/>
              <a:gd name="connsiteY2766" fmla="*/ 157502 h 448122"/>
              <a:gd name="connsiteX2767" fmla="*/ 414444 w 447236"/>
              <a:gd name="connsiteY2767" fmla="*/ 157493 h 448122"/>
              <a:gd name="connsiteX2768" fmla="*/ 396617 w 447236"/>
              <a:gd name="connsiteY2768" fmla="*/ 157493 h 448122"/>
              <a:gd name="connsiteX2769" fmla="*/ 396627 w 447236"/>
              <a:gd name="connsiteY2769" fmla="*/ 157502 h 448122"/>
              <a:gd name="connsiteX2770" fmla="*/ 396636 w 447236"/>
              <a:gd name="connsiteY2770" fmla="*/ 157493 h 448122"/>
              <a:gd name="connsiteX2771" fmla="*/ 136580 w 447236"/>
              <a:gd name="connsiteY2771" fmla="*/ 153248 h 448122"/>
              <a:gd name="connsiteX2772" fmla="*/ 145780 w 447236"/>
              <a:gd name="connsiteY2772" fmla="*/ 161514 h 448122"/>
              <a:gd name="connsiteX2773" fmla="*/ 147006 w 447236"/>
              <a:gd name="connsiteY2773" fmla="*/ 162738 h 448122"/>
              <a:gd name="connsiteX2774" fmla="*/ 148540 w 447236"/>
              <a:gd name="connsiteY2774" fmla="*/ 161514 h 448122"/>
              <a:gd name="connsiteX2775" fmla="*/ 157739 w 447236"/>
              <a:gd name="connsiteY2775" fmla="*/ 153248 h 448122"/>
              <a:gd name="connsiteX2776" fmla="*/ 136580 w 447236"/>
              <a:gd name="connsiteY2776" fmla="*/ 153248 h 448122"/>
              <a:gd name="connsiteX2777" fmla="*/ 290072 w 447236"/>
              <a:gd name="connsiteY2777" fmla="*/ 152896 h 448122"/>
              <a:gd name="connsiteX2778" fmla="*/ 366482 w 447236"/>
              <a:gd name="connsiteY2778" fmla="*/ 152896 h 448122"/>
              <a:gd name="connsiteX2779" fmla="*/ 366482 w 447236"/>
              <a:gd name="connsiteY2779" fmla="*/ 156572 h 448122"/>
              <a:gd name="connsiteX2780" fmla="*/ 290072 w 447236"/>
              <a:gd name="connsiteY2780" fmla="*/ 156572 h 448122"/>
              <a:gd name="connsiteX2781" fmla="*/ 290072 w 447236"/>
              <a:gd name="connsiteY2781" fmla="*/ 152896 h 448122"/>
              <a:gd name="connsiteX2782" fmla="*/ 415058 w 447236"/>
              <a:gd name="connsiteY2782" fmla="*/ 150738 h 448122"/>
              <a:gd name="connsiteX2783" fmla="*/ 415058 w 447236"/>
              <a:gd name="connsiteY2783" fmla="*/ 156928 h 448122"/>
              <a:gd name="connsiteX2784" fmla="*/ 418425 w 447236"/>
              <a:gd name="connsiteY2784" fmla="*/ 153833 h 448122"/>
              <a:gd name="connsiteX2785" fmla="*/ 414025 w 447236"/>
              <a:gd name="connsiteY2785" fmla="*/ 150571 h 448122"/>
              <a:gd name="connsiteX2786" fmla="*/ 410750 w 447236"/>
              <a:gd name="connsiteY2786" fmla="*/ 153833 h 448122"/>
              <a:gd name="connsiteX2787" fmla="*/ 414025 w 447236"/>
              <a:gd name="connsiteY2787" fmla="*/ 157095 h 448122"/>
              <a:gd name="connsiteX2788" fmla="*/ 432476 w 447236"/>
              <a:gd name="connsiteY2788" fmla="*/ 150541 h 448122"/>
              <a:gd name="connsiteX2789" fmla="*/ 429170 w 447236"/>
              <a:gd name="connsiteY2789" fmla="*/ 153833 h 448122"/>
              <a:gd name="connsiteX2790" fmla="*/ 432476 w 447236"/>
              <a:gd name="connsiteY2790" fmla="*/ 157125 h 448122"/>
              <a:gd name="connsiteX2791" fmla="*/ 396313 w 447236"/>
              <a:gd name="connsiteY2791" fmla="*/ 150477 h 448122"/>
              <a:gd name="connsiteX2792" fmla="*/ 392943 w 447236"/>
              <a:gd name="connsiteY2792" fmla="*/ 153833 h 448122"/>
              <a:gd name="connsiteX2793" fmla="*/ 396313 w 447236"/>
              <a:gd name="connsiteY2793" fmla="*/ 157190 h 448122"/>
              <a:gd name="connsiteX2794" fmla="*/ 396903 w 447236"/>
              <a:gd name="connsiteY2794" fmla="*/ 150440 h 448122"/>
              <a:gd name="connsiteX2795" fmla="*/ 396903 w 447236"/>
              <a:gd name="connsiteY2795" fmla="*/ 157227 h 448122"/>
              <a:gd name="connsiteX2796" fmla="*/ 400311 w 447236"/>
              <a:gd name="connsiteY2796" fmla="*/ 153833 h 448122"/>
              <a:gd name="connsiteX2797" fmla="*/ 433066 w 447236"/>
              <a:gd name="connsiteY2797" fmla="*/ 150375 h 448122"/>
              <a:gd name="connsiteX2798" fmla="*/ 433066 w 447236"/>
              <a:gd name="connsiteY2798" fmla="*/ 157292 h 448122"/>
              <a:gd name="connsiteX2799" fmla="*/ 436539 w 447236"/>
              <a:gd name="connsiteY2799" fmla="*/ 153833 h 448122"/>
              <a:gd name="connsiteX2800" fmla="*/ 432855 w 447236"/>
              <a:gd name="connsiteY2800" fmla="*/ 150164 h 448122"/>
              <a:gd name="connsiteX2801" fmla="*/ 432759 w 447236"/>
              <a:gd name="connsiteY2801" fmla="*/ 150260 h 448122"/>
              <a:gd name="connsiteX2802" fmla="*/ 432951 w 447236"/>
              <a:gd name="connsiteY2802" fmla="*/ 150260 h 448122"/>
              <a:gd name="connsiteX2803" fmla="*/ 414434 w 447236"/>
              <a:gd name="connsiteY2803" fmla="*/ 150164 h 448122"/>
              <a:gd name="connsiteX2804" fmla="*/ 414338 w 447236"/>
              <a:gd name="connsiteY2804" fmla="*/ 150260 h 448122"/>
              <a:gd name="connsiteX2805" fmla="*/ 414538 w 447236"/>
              <a:gd name="connsiteY2805" fmla="*/ 150260 h 448122"/>
              <a:gd name="connsiteX2806" fmla="*/ 396627 w 447236"/>
              <a:gd name="connsiteY2806" fmla="*/ 150164 h 448122"/>
              <a:gd name="connsiteX2807" fmla="*/ 396531 w 447236"/>
              <a:gd name="connsiteY2807" fmla="*/ 150260 h 448122"/>
              <a:gd name="connsiteX2808" fmla="*/ 396723 w 447236"/>
              <a:gd name="connsiteY2808" fmla="*/ 150260 h 448122"/>
              <a:gd name="connsiteX2809" fmla="*/ 290072 w 447236"/>
              <a:gd name="connsiteY2809" fmla="*/ 148608 h 448122"/>
              <a:gd name="connsiteX2810" fmla="*/ 366482 w 447236"/>
              <a:gd name="connsiteY2810" fmla="*/ 148608 h 448122"/>
              <a:gd name="connsiteX2811" fmla="*/ 366482 w 447236"/>
              <a:gd name="connsiteY2811" fmla="*/ 151977 h 448122"/>
              <a:gd name="connsiteX2812" fmla="*/ 290072 w 447236"/>
              <a:gd name="connsiteY2812" fmla="*/ 151977 h 448122"/>
              <a:gd name="connsiteX2813" fmla="*/ 290072 w 447236"/>
              <a:gd name="connsiteY2813" fmla="*/ 148608 h 448122"/>
              <a:gd name="connsiteX2814" fmla="*/ 133207 w 447236"/>
              <a:gd name="connsiteY2814" fmla="*/ 145594 h 448122"/>
              <a:gd name="connsiteX2815" fmla="*/ 133514 w 447236"/>
              <a:gd name="connsiteY2815" fmla="*/ 147737 h 448122"/>
              <a:gd name="connsiteX2816" fmla="*/ 160499 w 447236"/>
              <a:gd name="connsiteY2816" fmla="*/ 147737 h 448122"/>
              <a:gd name="connsiteX2817" fmla="*/ 160806 w 447236"/>
              <a:gd name="connsiteY2817" fmla="*/ 145594 h 448122"/>
              <a:gd name="connsiteX2818" fmla="*/ 133207 w 447236"/>
              <a:gd name="connsiteY2818" fmla="*/ 145594 h 448122"/>
              <a:gd name="connsiteX2819" fmla="*/ 389565 w 447236"/>
              <a:gd name="connsiteY2819" fmla="*/ 145578 h 448122"/>
              <a:gd name="connsiteX2820" fmla="*/ 388644 w 447236"/>
              <a:gd name="connsiteY2820" fmla="*/ 146495 h 448122"/>
              <a:gd name="connsiteX2821" fmla="*/ 389565 w 447236"/>
              <a:gd name="connsiteY2821" fmla="*/ 147413 h 448122"/>
              <a:gd name="connsiteX2822" fmla="*/ 441758 w 447236"/>
              <a:gd name="connsiteY2822" fmla="*/ 147413 h 448122"/>
              <a:gd name="connsiteX2823" fmla="*/ 442372 w 447236"/>
              <a:gd name="connsiteY2823" fmla="*/ 146495 h 448122"/>
              <a:gd name="connsiteX2824" fmla="*/ 441758 w 447236"/>
              <a:gd name="connsiteY2824" fmla="*/ 145578 h 448122"/>
              <a:gd name="connsiteX2825" fmla="*/ 389565 w 447236"/>
              <a:gd name="connsiteY2825" fmla="*/ 145578 h 448122"/>
              <a:gd name="connsiteX2826" fmla="*/ 30427 w 447236"/>
              <a:gd name="connsiteY2826" fmla="*/ 144060 h 448122"/>
              <a:gd name="connsiteX2827" fmla="*/ 33189 w 447236"/>
              <a:gd name="connsiteY2827" fmla="*/ 144060 h 448122"/>
              <a:gd name="connsiteX2828" fmla="*/ 34110 w 447236"/>
              <a:gd name="connsiteY2828" fmla="*/ 145287 h 448122"/>
              <a:gd name="connsiteX2829" fmla="*/ 34110 w 447236"/>
              <a:gd name="connsiteY2829" fmla="*/ 151421 h 448122"/>
              <a:gd name="connsiteX2830" fmla="*/ 40555 w 447236"/>
              <a:gd name="connsiteY2830" fmla="*/ 151421 h 448122"/>
              <a:gd name="connsiteX2831" fmla="*/ 41476 w 447236"/>
              <a:gd name="connsiteY2831" fmla="*/ 152342 h 448122"/>
              <a:gd name="connsiteX2832" fmla="*/ 41476 w 447236"/>
              <a:gd name="connsiteY2832" fmla="*/ 155409 h 448122"/>
              <a:gd name="connsiteX2833" fmla="*/ 40555 w 447236"/>
              <a:gd name="connsiteY2833" fmla="*/ 156329 h 448122"/>
              <a:gd name="connsiteX2834" fmla="*/ 34110 w 447236"/>
              <a:gd name="connsiteY2834" fmla="*/ 156329 h 448122"/>
              <a:gd name="connsiteX2835" fmla="*/ 34110 w 447236"/>
              <a:gd name="connsiteY2835" fmla="*/ 162464 h 448122"/>
              <a:gd name="connsiteX2836" fmla="*/ 33189 w 447236"/>
              <a:gd name="connsiteY2836" fmla="*/ 163691 h 448122"/>
              <a:gd name="connsiteX2837" fmla="*/ 30427 w 447236"/>
              <a:gd name="connsiteY2837" fmla="*/ 163691 h 448122"/>
              <a:gd name="connsiteX2838" fmla="*/ 29199 w 447236"/>
              <a:gd name="connsiteY2838" fmla="*/ 162464 h 448122"/>
              <a:gd name="connsiteX2839" fmla="*/ 29199 w 447236"/>
              <a:gd name="connsiteY2839" fmla="*/ 156329 h 448122"/>
              <a:gd name="connsiteX2840" fmla="*/ 23061 w 447236"/>
              <a:gd name="connsiteY2840" fmla="*/ 156329 h 448122"/>
              <a:gd name="connsiteX2841" fmla="*/ 22140 w 447236"/>
              <a:gd name="connsiteY2841" fmla="*/ 155409 h 448122"/>
              <a:gd name="connsiteX2842" fmla="*/ 22140 w 447236"/>
              <a:gd name="connsiteY2842" fmla="*/ 152342 h 448122"/>
              <a:gd name="connsiteX2843" fmla="*/ 23061 w 447236"/>
              <a:gd name="connsiteY2843" fmla="*/ 151421 h 448122"/>
              <a:gd name="connsiteX2844" fmla="*/ 29199 w 447236"/>
              <a:gd name="connsiteY2844" fmla="*/ 151421 h 448122"/>
              <a:gd name="connsiteX2845" fmla="*/ 29199 w 447236"/>
              <a:gd name="connsiteY2845" fmla="*/ 145287 h 448122"/>
              <a:gd name="connsiteX2846" fmla="*/ 30427 w 447236"/>
              <a:gd name="connsiteY2846" fmla="*/ 144060 h 448122"/>
              <a:gd name="connsiteX2847" fmla="*/ 115711 w 447236"/>
              <a:gd name="connsiteY2847" fmla="*/ 141994 h 448122"/>
              <a:gd name="connsiteX2848" fmla="*/ 115711 w 447236"/>
              <a:gd name="connsiteY2848" fmla="*/ 164445 h 448122"/>
              <a:gd name="connsiteX2849" fmla="*/ 115711 w 447236"/>
              <a:gd name="connsiteY2849" fmla="*/ 180924 h 448122"/>
              <a:gd name="connsiteX2850" fmla="*/ 115711 w 447236"/>
              <a:gd name="connsiteY2850" fmla="*/ 183913 h 448122"/>
              <a:gd name="connsiteX2851" fmla="*/ 115893 w 447236"/>
              <a:gd name="connsiteY2851" fmla="*/ 183913 h 448122"/>
              <a:gd name="connsiteX2852" fmla="*/ 121237 w 447236"/>
              <a:gd name="connsiteY2852" fmla="*/ 183913 h 448122"/>
              <a:gd name="connsiteX2853" fmla="*/ 123713 w 447236"/>
              <a:gd name="connsiteY2853" fmla="*/ 183913 h 448122"/>
              <a:gd name="connsiteX2854" fmla="*/ 123713 w 447236"/>
              <a:gd name="connsiteY2854" fmla="*/ 155772 h 448122"/>
              <a:gd name="connsiteX2855" fmla="*/ 123713 w 447236"/>
              <a:gd name="connsiteY2855" fmla="*/ 142234 h 448122"/>
              <a:gd name="connsiteX2856" fmla="*/ 123713 w 447236"/>
              <a:gd name="connsiteY2856" fmla="*/ 141994 h 448122"/>
              <a:gd name="connsiteX2857" fmla="*/ 117934 w 447236"/>
              <a:gd name="connsiteY2857" fmla="*/ 141994 h 448122"/>
              <a:gd name="connsiteX2858" fmla="*/ 117934 w 447236"/>
              <a:gd name="connsiteY2858" fmla="*/ 161309 h 448122"/>
              <a:gd name="connsiteX2859" fmla="*/ 117934 w 447236"/>
              <a:gd name="connsiteY2859" fmla="*/ 181096 h 448122"/>
              <a:gd name="connsiteX2860" fmla="*/ 117589 w 447236"/>
              <a:gd name="connsiteY2860" fmla="*/ 181403 h 448122"/>
              <a:gd name="connsiteX2861" fmla="*/ 116901 w 447236"/>
              <a:gd name="connsiteY2861" fmla="*/ 181096 h 448122"/>
              <a:gd name="connsiteX2862" fmla="*/ 116901 w 447236"/>
              <a:gd name="connsiteY2862" fmla="*/ 141994 h 448122"/>
              <a:gd name="connsiteX2863" fmla="*/ 100347 w 447236"/>
              <a:gd name="connsiteY2863" fmla="*/ 141994 h 448122"/>
              <a:gd name="connsiteX2864" fmla="*/ 100347 w 447236"/>
              <a:gd name="connsiteY2864" fmla="*/ 164445 h 448122"/>
              <a:gd name="connsiteX2865" fmla="*/ 100347 w 447236"/>
              <a:gd name="connsiteY2865" fmla="*/ 180924 h 448122"/>
              <a:gd name="connsiteX2866" fmla="*/ 100347 w 447236"/>
              <a:gd name="connsiteY2866" fmla="*/ 183913 h 448122"/>
              <a:gd name="connsiteX2867" fmla="*/ 100800 w 447236"/>
              <a:gd name="connsiteY2867" fmla="*/ 183913 h 448122"/>
              <a:gd name="connsiteX2868" fmla="*/ 105877 w 447236"/>
              <a:gd name="connsiteY2868" fmla="*/ 183913 h 448122"/>
              <a:gd name="connsiteX2869" fmla="*/ 108349 w 447236"/>
              <a:gd name="connsiteY2869" fmla="*/ 183913 h 448122"/>
              <a:gd name="connsiteX2870" fmla="*/ 108349 w 447236"/>
              <a:gd name="connsiteY2870" fmla="*/ 155772 h 448122"/>
              <a:gd name="connsiteX2871" fmla="*/ 108349 w 447236"/>
              <a:gd name="connsiteY2871" fmla="*/ 142234 h 448122"/>
              <a:gd name="connsiteX2872" fmla="*/ 108349 w 447236"/>
              <a:gd name="connsiteY2872" fmla="*/ 141994 h 448122"/>
              <a:gd name="connsiteX2873" fmla="*/ 102879 w 447236"/>
              <a:gd name="connsiteY2873" fmla="*/ 141994 h 448122"/>
              <a:gd name="connsiteX2874" fmla="*/ 102879 w 447236"/>
              <a:gd name="connsiteY2874" fmla="*/ 161309 h 448122"/>
              <a:gd name="connsiteX2875" fmla="*/ 102879 w 447236"/>
              <a:gd name="connsiteY2875" fmla="*/ 181096 h 448122"/>
              <a:gd name="connsiteX2876" fmla="*/ 102190 w 447236"/>
              <a:gd name="connsiteY2876" fmla="*/ 181403 h 448122"/>
              <a:gd name="connsiteX2877" fmla="*/ 101846 w 447236"/>
              <a:gd name="connsiteY2877" fmla="*/ 181096 h 448122"/>
              <a:gd name="connsiteX2878" fmla="*/ 101846 w 447236"/>
              <a:gd name="connsiteY2878" fmla="*/ 141994 h 448122"/>
              <a:gd name="connsiteX2879" fmla="*/ 85304 w 447236"/>
              <a:gd name="connsiteY2879" fmla="*/ 141994 h 448122"/>
              <a:gd name="connsiteX2880" fmla="*/ 85304 w 447236"/>
              <a:gd name="connsiteY2880" fmla="*/ 164445 h 448122"/>
              <a:gd name="connsiteX2881" fmla="*/ 85304 w 447236"/>
              <a:gd name="connsiteY2881" fmla="*/ 180924 h 448122"/>
              <a:gd name="connsiteX2882" fmla="*/ 85304 w 447236"/>
              <a:gd name="connsiteY2882" fmla="*/ 183913 h 448122"/>
              <a:gd name="connsiteX2883" fmla="*/ 85487 w 447236"/>
              <a:gd name="connsiteY2883" fmla="*/ 183913 h 448122"/>
              <a:gd name="connsiteX2884" fmla="*/ 90831 w 447236"/>
              <a:gd name="connsiteY2884" fmla="*/ 183913 h 448122"/>
              <a:gd name="connsiteX2885" fmla="*/ 93306 w 447236"/>
              <a:gd name="connsiteY2885" fmla="*/ 183913 h 448122"/>
              <a:gd name="connsiteX2886" fmla="*/ 93306 w 447236"/>
              <a:gd name="connsiteY2886" fmla="*/ 155772 h 448122"/>
              <a:gd name="connsiteX2887" fmla="*/ 93306 w 447236"/>
              <a:gd name="connsiteY2887" fmla="*/ 142234 h 448122"/>
              <a:gd name="connsiteX2888" fmla="*/ 93306 w 447236"/>
              <a:gd name="connsiteY2888" fmla="*/ 141994 h 448122"/>
              <a:gd name="connsiteX2889" fmla="*/ 92190 w 447236"/>
              <a:gd name="connsiteY2889" fmla="*/ 141994 h 448122"/>
              <a:gd name="connsiteX2890" fmla="*/ 87528 w 447236"/>
              <a:gd name="connsiteY2890" fmla="*/ 141994 h 448122"/>
              <a:gd name="connsiteX2891" fmla="*/ 87528 w 447236"/>
              <a:gd name="connsiteY2891" fmla="*/ 161309 h 448122"/>
              <a:gd name="connsiteX2892" fmla="*/ 87528 w 447236"/>
              <a:gd name="connsiteY2892" fmla="*/ 181096 h 448122"/>
              <a:gd name="connsiteX2893" fmla="*/ 87233 w 447236"/>
              <a:gd name="connsiteY2893" fmla="*/ 181403 h 448122"/>
              <a:gd name="connsiteX2894" fmla="*/ 86938 w 447236"/>
              <a:gd name="connsiteY2894" fmla="*/ 181096 h 448122"/>
              <a:gd name="connsiteX2895" fmla="*/ 86938 w 447236"/>
              <a:gd name="connsiteY2895" fmla="*/ 141994 h 448122"/>
              <a:gd name="connsiteX2896" fmla="*/ 69941 w 447236"/>
              <a:gd name="connsiteY2896" fmla="*/ 141994 h 448122"/>
              <a:gd name="connsiteX2897" fmla="*/ 69941 w 447236"/>
              <a:gd name="connsiteY2897" fmla="*/ 164445 h 448122"/>
              <a:gd name="connsiteX2898" fmla="*/ 69941 w 447236"/>
              <a:gd name="connsiteY2898" fmla="*/ 180924 h 448122"/>
              <a:gd name="connsiteX2899" fmla="*/ 69941 w 447236"/>
              <a:gd name="connsiteY2899" fmla="*/ 183913 h 448122"/>
              <a:gd name="connsiteX2900" fmla="*/ 70393 w 447236"/>
              <a:gd name="connsiteY2900" fmla="*/ 183913 h 448122"/>
              <a:gd name="connsiteX2901" fmla="*/ 75470 w 447236"/>
              <a:gd name="connsiteY2901" fmla="*/ 183913 h 448122"/>
              <a:gd name="connsiteX2902" fmla="*/ 77943 w 447236"/>
              <a:gd name="connsiteY2902" fmla="*/ 183913 h 448122"/>
              <a:gd name="connsiteX2903" fmla="*/ 77943 w 447236"/>
              <a:gd name="connsiteY2903" fmla="*/ 155772 h 448122"/>
              <a:gd name="connsiteX2904" fmla="*/ 77943 w 447236"/>
              <a:gd name="connsiteY2904" fmla="*/ 142234 h 448122"/>
              <a:gd name="connsiteX2905" fmla="*/ 77943 w 447236"/>
              <a:gd name="connsiteY2905" fmla="*/ 141994 h 448122"/>
              <a:gd name="connsiteX2906" fmla="*/ 73985 w 447236"/>
              <a:gd name="connsiteY2906" fmla="*/ 141994 h 448122"/>
              <a:gd name="connsiteX2907" fmla="*/ 72473 w 447236"/>
              <a:gd name="connsiteY2907" fmla="*/ 141994 h 448122"/>
              <a:gd name="connsiteX2908" fmla="*/ 72473 w 447236"/>
              <a:gd name="connsiteY2908" fmla="*/ 161309 h 448122"/>
              <a:gd name="connsiteX2909" fmla="*/ 72473 w 447236"/>
              <a:gd name="connsiteY2909" fmla="*/ 181096 h 448122"/>
              <a:gd name="connsiteX2910" fmla="*/ 71882 w 447236"/>
              <a:gd name="connsiteY2910" fmla="*/ 181403 h 448122"/>
              <a:gd name="connsiteX2911" fmla="*/ 71587 w 447236"/>
              <a:gd name="connsiteY2911" fmla="*/ 181096 h 448122"/>
              <a:gd name="connsiteX2912" fmla="*/ 71587 w 447236"/>
              <a:gd name="connsiteY2912" fmla="*/ 141994 h 448122"/>
              <a:gd name="connsiteX2913" fmla="*/ 134127 w 447236"/>
              <a:gd name="connsiteY2913" fmla="*/ 137634 h 448122"/>
              <a:gd name="connsiteX2914" fmla="*/ 133514 w 447236"/>
              <a:gd name="connsiteY2914" fmla="*/ 140083 h 448122"/>
              <a:gd name="connsiteX2915" fmla="*/ 160499 w 447236"/>
              <a:gd name="connsiteY2915" fmla="*/ 140083 h 448122"/>
              <a:gd name="connsiteX2916" fmla="*/ 159886 w 447236"/>
              <a:gd name="connsiteY2916" fmla="*/ 137634 h 448122"/>
              <a:gd name="connsiteX2917" fmla="*/ 134127 w 447236"/>
              <a:gd name="connsiteY2917" fmla="*/ 137634 h 448122"/>
              <a:gd name="connsiteX2918" fmla="*/ 11030 w 447236"/>
              <a:gd name="connsiteY2918" fmla="*/ 136732 h 448122"/>
              <a:gd name="connsiteX2919" fmla="*/ 7043 w 447236"/>
              <a:gd name="connsiteY2919" fmla="*/ 140714 h 448122"/>
              <a:gd name="connsiteX2920" fmla="*/ 7043 w 447236"/>
              <a:gd name="connsiteY2920" fmla="*/ 188188 h 448122"/>
              <a:gd name="connsiteX2921" fmla="*/ 11030 w 447236"/>
              <a:gd name="connsiteY2921" fmla="*/ 192170 h 448122"/>
              <a:gd name="connsiteX2922" fmla="*/ 52438 w 447236"/>
              <a:gd name="connsiteY2922" fmla="*/ 192170 h 448122"/>
              <a:gd name="connsiteX2923" fmla="*/ 56426 w 447236"/>
              <a:gd name="connsiteY2923" fmla="*/ 188188 h 448122"/>
              <a:gd name="connsiteX2924" fmla="*/ 56426 w 447236"/>
              <a:gd name="connsiteY2924" fmla="*/ 140714 h 448122"/>
              <a:gd name="connsiteX2925" fmla="*/ 52438 w 447236"/>
              <a:gd name="connsiteY2925" fmla="*/ 136732 h 448122"/>
              <a:gd name="connsiteX2926" fmla="*/ 11030 w 447236"/>
              <a:gd name="connsiteY2926" fmla="*/ 136732 h 448122"/>
              <a:gd name="connsiteX2927" fmla="*/ 415058 w 447236"/>
              <a:gd name="connsiteY2927" fmla="*/ 135805 h 448122"/>
              <a:gd name="connsiteX2928" fmla="*/ 415058 w 447236"/>
              <a:gd name="connsiteY2928" fmla="*/ 142252 h 448122"/>
              <a:gd name="connsiteX2929" fmla="*/ 418425 w 447236"/>
              <a:gd name="connsiteY2929" fmla="*/ 139157 h 448122"/>
              <a:gd name="connsiteX2930" fmla="*/ 414025 w 447236"/>
              <a:gd name="connsiteY2930" fmla="*/ 135624 h 448122"/>
              <a:gd name="connsiteX2931" fmla="*/ 410750 w 447236"/>
              <a:gd name="connsiteY2931" fmla="*/ 139157 h 448122"/>
              <a:gd name="connsiteX2932" fmla="*/ 414025 w 447236"/>
              <a:gd name="connsiteY2932" fmla="*/ 142420 h 448122"/>
              <a:gd name="connsiteX2933" fmla="*/ 432476 w 447236"/>
              <a:gd name="connsiteY2933" fmla="*/ 135591 h 448122"/>
              <a:gd name="connsiteX2934" fmla="*/ 429170 w 447236"/>
              <a:gd name="connsiteY2934" fmla="*/ 139157 h 448122"/>
              <a:gd name="connsiteX2935" fmla="*/ 432476 w 447236"/>
              <a:gd name="connsiteY2935" fmla="*/ 142449 h 448122"/>
              <a:gd name="connsiteX2936" fmla="*/ 396313 w 447236"/>
              <a:gd name="connsiteY2936" fmla="*/ 135521 h 448122"/>
              <a:gd name="connsiteX2937" fmla="*/ 392943 w 447236"/>
              <a:gd name="connsiteY2937" fmla="*/ 139157 h 448122"/>
              <a:gd name="connsiteX2938" fmla="*/ 396313 w 447236"/>
              <a:gd name="connsiteY2938" fmla="*/ 142514 h 448122"/>
              <a:gd name="connsiteX2939" fmla="*/ 396903 w 447236"/>
              <a:gd name="connsiteY2939" fmla="*/ 135481 h 448122"/>
              <a:gd name="connsiteX2940" fmla="*/ 396903 w 447236"/>
              <a:gd name="connsiteY2940" fmla="*/ 142551 h 448122"/>
              <a:gd name="connsiteX2941" fmla="*/ 400311 w 447236"/>
              <a:gd name="connsiteY2941" fmla="*/ 139157 h 448122"/>
              <a:gd name="connsiteX2942" fmla="*/ 433066 w 447236"/>
              <a:gd name="connsiteY2942" fmla="*/ 135411 h 448122"/>
              <a:gd name="connsiteX2943" fmla="*/ 433066 w 447236"/>
              <a:gd name="connsiteY2943" fmla="*/ 142616 h 448122"/>
              <a:gd name="connsiteX2944" fmla="*/ 436539 w 447236"/>
              <a:gd name="connsiteY2944" fmla="*/ 139157 h 448122"/>
              <a:gd name="connsiteX2945" fmla="*/ 432855 w 447236"/>
              <a:gd name="connsiteY2945" fmla="*/ 135183 h 448122"/>
              <a:gd name="connsiteX2946" fmla="*/ 432835 w 447236"/>
              <a:gd name="connsiteY2946" fmla="*/ 135204 h 448122"/>
              <a:gd name="connsiteX2947" fmla="*/ 432874 w 447236"/>
              <a:gd name="connsiteY2947" fmla="*/ 135204 h 448122"/>
              <a:gd name="connsiteX2948" fmla="*/ 414434 w 447236"/>
              <a:gd name="connsiteY2948" fmla="*/ 135183 h 448122"/>
              <a:gd name="connsiteX2949" fmla="*/ 414414 w 447236"/>
              <a:gd name="connsiteY2949" fmla="*/ 135204 h 448122"/>
              <a:gd name="connsiteX2950" fmla="*/ 414455 w 447236"/>
              <a:gd name="connsiteY2950" fmla="*/ 135204 h 448122"/>
              <a:gd name="connsiteX2951" fmla="*/ 396627 w 447236"/>
              <a:gd name="connsiteY2951" fmla="*/ 135183 h 448122"/>
              <a:gd name="connsiteX2952" fmla="*/ 396607 w 447236"/>
              <a:gd name="connsiteY2952" fmla="*/ 135204 h 448122"/>
              <a:gd name="connsiteX2953" fmla="*/ 396646 w 447236"/>
              <a:gd name="connsiteY2953" fmla="*/ 135204 h 448122"/>
              <a:gd name="connsiteX2954" fmla="*/ 232646 w 447236"/>
              <a:gd name="connsiteY2954" fmla="*/ 133285 h 448122"/>
              <a:gd name="connsiteX2955" fmla="*/ 236017 w 447236"/>
              <a:gd name="connsiteY2955" fmla="*/ 143129 h 448122"/>
              <a:gd name="connsiteX2956" fmla="*/ 192493 w 447236"/>
              <a:gd name="connsiteY2956" fmla="*/ 159125 h 448122"/>
              <a:gd name="connsiteX2957" fmla="*/ 181765 w 447236"/>
              <a:gd name="connsiteY2957" fmla="*/ 163124 h 448122"/>
              <a:gd name="connsiteX2958" fmla="*/ 190654 w 447236"/>
              <a:gd name="connsiteY2958" fmla="*/ 154203 h 448122"/>
              <a:gd name="connsiteX2959" fmla="*/ 176555 w 447236"/>
              <a:gd name="connsiteY2959" fmla="*/ 158817 h 448122"/>
              <a:gd name="connsiteX2960" fmla="*/ 175328 w 447236"/>
              <a:gd name="connsiteY2960" fmla="*/ 159125 h 448122"/>
              <a:gd name="connsiteX2961" fmla="*/ 174409 w 447236"/>
              <a:gd name="connsiteY2961" fmla="*/ 155433 h 448122"/>
              <a:gd name="connsiteX2962" fmla="*/ 176555 w 447236"/>
              <a:gd name="connsiteY2962" fmla="*/ 154203 h 448122"/>
              <a:gd name="connsiteX2963" fmla="*/ 187282 w 447236"/>
              <a:gd name="connsiteY2963" fmla="*/ 149589 h 448122"/>
              <a:gd name="connsiteX2964" fmla="*/ 176555 w 447236"/>
              <a:gd name="connsiteY2964" fmla="*/ 152665 h 448122"/>
              <a:gd name="connsiteX2965" fmla="*/ 171344 w 447236"/>
              <a:gd name="connsiteY2965" fmla="*/ 154203 h 448122"/>
              <a:gd name="connsiteX2966" fmla="*/ 168585 w 447236"/>
              <a:gd name="connsiteY2966" fmla="*/ 151742 h 448122"/>
              <a:gd name="connsiteX2967" fmla="*/ 171957 w 447236"/>
              <a:gd name="connsiteY2967" fmla="*/ 149281 h 448122"/>
              <a:gd name="connsiteX2968" fmla="*/ 176555 w 447236"/>
              <a:gd name="connsiteY2968" fmla="*/ 147435 h 448122"/>
              <a:gd name="connsiteX2969" fmla="*/ 186056 w 447236"/>
              <a:gd name="connsiteY2969" fmla="*/ 143436 h 448122"/>
              <a:gd name="connsiteX2970" fmla="*/ 176555 w 447236"/>
              <a:gd name="connsiteY2970" fmla="*/ 145282 h 448122"/>
              <a:gd name="connsiteX2971" fmla="*/ 169198 w 447236"/>
              <a:gd name="connsiteY2971" fmla="*/ 143744 h 448122"/>
              <a:gd name="connsiteX2972" fmla="*/ 175941 w 447236"/>
              <a:gd name="connsiteY2972" fmla="*/ 139745 h 448122"/>
              <a:gd name="connsiteX2973" fmla="*/ 176555 w 447236"/>
              <a:gd name="connsiteY2973" fmla="*/ 139745 h 448122"/>
              <a:gd name="connsiteX2974" fmla="*/ 181765 w 447236"/>
              <a:gd name="connsiteY2974" fmla="*/ 138822 h 448122"/>
              <a:gd name="connsiteX2975" fmla="*/ 181152 w 447236"/>
              <a:gd name="connsiteY2975" fmla="*/ 140668 h 448122"/>
              <a:gd name="connsiteX2976" fmla="*/ 181152 w 447236"/>
              <a:gd name="connsiteY2976" fmla="*/ 140975 h 448122"/>
              <a:gd name="connsiteX2977" fmla="*/ 181459 w 447236"/>
              <a:gd name="connsiteY2977" fmla="*/ 141591 h 448122"/>
              <a:gd name="connsiteX2978" fmla="*/ 185750 w 447236"/>
              <a:gd name="connsiteY2978" fmla="*/ 143129 h 448122"/>
              <a:gd name="connsiteX2979" fmla="*/ 192799 w 447236"/>
              <a:gd name="connsiteY2979" fmla="*/ 142206 h 448122"/>
              <a:gd name="connsiteX2980" fmla="*/ 205060 w 447236"/>
              <a:gd name="connsiteY2980" fmla="*/ 138207 h 448122"/>
              <a:gd name="connsiteX2981" fmla="*/ 223144 w 447236"/>
              <a:gd name="connsiteY2981" fmla="*/ 142206 h 448122"/>
              <a:gd name="connsiteX2982" fmla="*/ 229581 w 447236"/>
              <a:gd name="connsiteY2982" fmla="*/ 144051 h 448122"/>
              <a:gd name="connsiteX2983" fmla="*/ 230194 w 447236"/>
              <a:gd name="connsiteY2983" fmla="*/ 143744 h 448122"/>
              <a:gd name="connsiteX2984" fmla="*/ 232646 w 447236"/>
              <a:gd name="connsiteY2984" fmla="*/ 133285 h 448122"/>
              <a:gd name="connsiteX2985" fmla="*/ 387416 w 447236"/>
              <a:gd name="connsiteY2985" fmla="*/ 131514 h 448122"/>
              <a:gd name="connsiteX2986" fmla="*/ 443293 w 447236"/>
              <a:gd name="connsiteY2986" fmla="*/ 131514 h 448122"/>
              <a:gd name="connsiteX2987" fmla="*/ 446056 w 447236"/>
              <a:gd name="connsiteY2987" fmla="*/ 134266 h 448122"/>
              <a:gd name="connsiteX2988" fmla="*/ 446056 w 447236"/>
              <a:gd name="connsiteY2988" fmla="*/ 158725 h 448122"/>
              <a:gd name="connsiteX2989" fmla="*/ 443293 w 447236"/>
              <a:gd name="connsiteY2989" fmla="*/ 161477 h 448122"/>
              <a:gd name="connsiteX2990" fmla="*/ 387416 w 447236"/>
              <a:gd name="connsiteY2990" fmla="*/ 161477 h 448122"/>
              <a:gd name="connsiteX2991" fmla="*/ 384653 w 447236"/>
              <a:gd name="connsiteY2991" fmla="*/ 158725 h 448122"/>
              <a:gd name="connsiteX2992" fmla="*/ 384653 w 447236"/>
              <a:gd name="connsiteY2992" fmla="*/ 134266 h 448122"/>
              <a:gd name="connsiteX2993" fmla="*/ 387416 w 447236"/>
              <a:gd name="connsiteY2993" fmla="*/ 131514 h 448122"/>
              <a:gd name="connsiteX2994" fmla="*/ 4589 w 447236"/>
              <a:gd name="connsiteY2994" fmla="*/ 131219 h 448122"/>
              <a:gd name="connsiteX2995" fmla="*/ 58880 w 447236"/>
              <a:gd name="connsiteY2995" fmla="*/ 131219 h 448122"/>
              <a:gd name="connsiteX2996" fmla="*/ 63174 w 447236"/>
              <a:gd name="connsiteY2996" fmla="*/ 135507 h 448122"/>
              <a:gd name="connsiteX2997" fmla="*/ 63174 w 447236"/>
              <a:gd name="connsiteY2997" fmla="*/ 216673 h 448122"/>
              <a:gd name="connsiteX2998" fmla="*/ 58880 w 447236"/>
              <a:gd name="connsiteY2998" fmla="*/ 220961 h 448122"/>
              <a:gd name="connsiteX2999" fmla="*/ 4589 w 447236"/>
              <a:gd name="connsiteY2999" fmla="*/ 220961 h 448122"/>
              <a:gd name="connsiteX3000" fmla="*/ 295 w 447236"/>
              <a:gd name="connsiteY3000" fmla="*/ 216673 h 448122"/>
              <a:gd name="connsiteX3001" fmla="*/ 295 w 447236"/>
              <a:gd name="connsiteY3001" fmla="*/ 135507 h 448122"/>
              <a:gd name="connsiteX3002" fmla="*/ 4589 w 447236"/>
              <a:gd name="connsiteY3002" fmla="*/ 131219 h 448122"/>
              <a:gd name="connsiteX3003" fmla="*/ 374461 w 447236"/>
              <a:gd name="connsiteY3003" fmla="*/ 130843 h 448122"/>
              <a:gd name="connsiteX3004" fmla="*/ 366482 w 447236"/>
              <a:gd name="connsiteY3004" fmla="*/ 136356 h 448122"/>
              <a:gd name="connsiteX3005" fmla="*/ 366482 w 447236"/>
              <a:gd name="connsiteY3005" fmla="*/ 147383 h 448122"/>
              <a:gd name="connsiteX3006" fmla="*/ 290072 w 447236"/>
              <a:gd name="connsiteY3006" fmla="*/ 147383 h 448122"/>
              <a:gd name="connsiteX3007" fmla="*/ 290072 w 447236"/>
              <a:gd name="connsiteY3007" fmla="*/ 136356 h 448122"/>
              <a:gd name="connsiteX3008" fmla="*/ 288230 w 447236"/>
              <a:gd name="connsiteY3008" fmla="*/ 136050 h 448122"/>
              <a:gd name="connsiteX3009" fmla="*/ 286389 w 447236"/>
              <a:gd name="connsiteY3009" fmla="*/ 135743 h 448122"/>
              <a:gd name="connsiteX3010" fmla="*/ 273194 w 447236"/>
              <a:gd name="connsiteY3010" fmla="*/ 138806 h 448122"/>
              <a:gd name="connsiteX3011" fmla="*/ 272887 w 447236"/>
              <a:gd name="connsiteY3011" fmla="*/ 147689 h 448122"/>
              <a:gd name="connsiteX3012" fmla="*/ 273808 w 447236"/>
              <a:gd name="connsiteY3012" fmla="*/ 152590 h 448122"/>
              <a:gd name="connsiteX3013" fmla="*/ 279331 w 447236"/>
              <a:gd name="connsiteY3013" fmla="*/ 160860 h 448122"/>
              <a:gd name="connsiteX3014" fmla="*/ 290072 w 447236"/>
              <a:gd name="connsiteY3014" fmla="*/ 163617 h 448122"/>
              <a:gd name="connsiteX3015" fmla="*/ 290072 w 447236"/>
              <a:gd name="connsiteY3015" fmla="*/ 157491 h 448122"/>
              <a:gd name="connsiteX3016" fmla="*/ 366482 w 447236"/>
              <a:gd name="connsiteY3016" fmla="*/ 157491 h 448122"/>
              <a:gd name="connsiteX3017" fmla="*/ 366482 w 447236"/>
              <a:gd name="connsiteY3017" fmla="*/ 165148 h 448122"/>
              <a:gd name="connsiteX3018" fmla="*/ 367096 w 447236"/>
              <a:gd name="connsiteY3018" fmla="*/ 164536 h 448122"/>
              <a:gd name="connsiteX3019" fmla="*/ 372619 w 447236"/>
              <a:gd name="connsiteY3019" fmla="*/ 153815 h 448122"/>
              <a:gd name="connsiteX3020" fmla="*/ 377529 w 447236"/>
              <a:gd name="connsiteY3020" fmla="*/ 140644 h 448122"/>
              <a:gd name="connsiteX3021" fmla="*/ 380291 w 447236"/>
              <a:gd name="connsiteY3021" fmla="*/ 136969 h 448122"/>
              <a:gd name="connsiteX3022" fmla="*/ 379984 w 447236"/>
              <a:gd name="connsiteY3022" fmla="*/ 132374 h 448122"/>
              <a:gd name="connsiteX3023" fmla="*/ 377836 w 447236"/>
              <a:gd name="connsiteY3023" fmla="*/ 130843 h 448122"/>
              <a:gd name="connsiteX3024" fmla="*/ 374461 w 447236"/>
              <a:gd name="connsiteY3024" fmla="*/ 130843 h 448122"/>
              <a:gd name="connsiteX3025" fmla="*/ 113865 w 447236"/>
              <a:gd name="connsiteY3025" fmla="*/ 130515 h 448122"/>
              <a:gd name="connsiteX3026" fmla="*/ 113557 w 447236"/>
              <a:gd name="connsiteY3026" fmla="*/ 130822 h 448122"/>
              <a:gd name="connsiteX3027" fmla="*/ 113249 w 447236"/>
              <a:gd name="connsiteY3027" fmla="*/ 131435 h 448122"/>
              <a:gd name="connsiteX3028" fmla="*/ 113557 w 447236"/>
              <a:gd name="connsiteY3028" fmla="*/ 131742 h 448122"/>
              <a:gd name="connsiteX3029" fmla="*/ 113865 w 447236"/>
              <a:gd name="connsiteY3029" fmla="*/ 132048 h 448122"/>
              <a:gd name="connsiteX3030" fmla="*/ 115096 w 447236"/>
              <a:gd name="connsiteY3030" fmla="*/ 132048 h 448122"/>
              <a:gd name="connsiteX3031" fmla="*/ 115711 w 447236"/>
              <a:gd name="connsiteY3031" fmla="*/ 132048 h 448122"/>
              <a:gd name="connsiteX3032" fmla="*/ 115711 w 447236"/>
              <a:gd name="connsiteY3032" fmla="*/ 132355 h 448122"/>
              <a:gd name="connsiteX3033" fmla="*/ 115711 w 447236"/>
              <a:gd name="connsiteY3033" fmla="*/ 139780 h 448122"/>
              <a:gd name="connsiteX3034" fmla="*/ 116901 w 447236"/>
              <a:gd name="connsiteY3034" fmla="*/ 139780 h 448122"/>
              <a:gd name="connsiteX3035" fmla="*/ 116901 w 447236"/>
              <a:gd name="connsiteY3035" fmla="*/ 134193 h 448122"/>
              <a:gd name="connsiteX3036" fmla="*/ 117589 w 447236"/>
              <a:gd name="connsiteY3036" fmla="*/ 133580 h 448122"/>
              <a:gd name="connsiteX3037" fmla="*/ 117934 w 447236"/>
              <a:gd name="connsiteY3037" fmla="*/ 134193 h 448122"/>
              <a:gd name="connsiteX3038" fmla="*/ 117934 w 447236"/>
              <a:gd name="connsiteY3038" fmla="*/ 139780 h 448122"/>
              <a:gd name="connsiteX3039" fmla="*/ 119976 w 447236"/>
              <a:gd name="connsiteY3039" fmla="*/ 139780 h 448122"/>
              <a:gd name="connsiteX3040" fmla="*/ 123713 w 447236"/>
              <a:gd name="connsiteY3040" fmla="*/ 139780 h 448122"/>
              <a:gd name="connsiteX3041" fmla="*/ 123713 w 447236"/>
              <a:gd name="connsiteY3041" fmla="*/ 135282 h 448122"/>
              <a:gd name="connsiteX3042" fmla="*/ 123713 w 447236"/>
              <a:gd name="connsiteY3042" fmla="*/ 132355 h 448122"/>
              <a:gd name="connsiteX3043" fmla="*/ 123713 w 447236"/>
              <a:gd name="connsiteY3043" fmla="*/ 132048 h 448122"/>
              <a:gd name="connsiteX3044" fmla="*/ 124021 w 447236"/>
              <a:gd name="connsiteY3044" fmla="*/ 132048 h 448122"/>
              <a:gd name="connsiteX3045" fmla="*/ 125252 w 447236"/>
              <a:gd name="connsiteY3045" fmla="*/ 132048 h 448122"/>
              <a:gd name="connsiteX3046" fmla="*/ 125867 w 447236"/>
              <a:gd name="connsiteY3046" fmla="*/ 131742 h 448122"/>
              <a:gd name="connsiteX3047" fmla="*/ 125867 w 447236"/>
              <a:gd name="connsiteY3047" fmla="*/ 131435 h 448122"/>
              <a:gd name="connsiteX3048" fmla="*/ 125867 w 447236"/>
              <a:gd name="connsiteY3048" fmla="*/ 130822 h 448122"/>
              <a:gd name="connsiteX3049" fmla="*/ 125252 w 447236"/>
              <a:gd name="connsiteY3049" fmla="*/ 130515 h 448122"/>
              <a:gd name="connsiteX3050" fmla="*/ 113865 w 447236"/>
              <a:gd name="connsiteY3050" fmla="*/ 130515 h 448122"/>
              <a:gd name="connsiteX3051" fmla="*/ 98809 w 447236"/>
              <a:gd name="connsiteY3051" fmla="*/ 130515 h 448122"/>
              <a:gd name="connsiteX3052" fmla="*/ 98193 w 447236"/>
              <a:gd name="connsiteY3052" fmla="*/ 130822 h 448122"/>
              <a:gd name="connsiteX3053" fmla="*/ 98193 w 447236"/>
              <a:gd name="connsiteY3053" fmla="*/ 131435 h 448122"/>
              <a:gd name="connsiteX3054" fmla="*/ 98193 w 447236"/>
              <a:gd name="connsiteY3054" fmla="*/ 131742 h 448122"/>
              <a:gd name="connsiteX3055" fmla="*/ 98809 w 447236"/>
              <a:gd name="connsiteY3055" fmla="*/ 132048 h 448122"/>
              <a:gd name="connsiteX3056" fmla="*/ 100040 w 447236"/>
              <a:gd name="connsiteY3056" fmla="*/ 132048 h 448122"/>
              <a:gd name="connsiteX3057" fmla="*/ 100347 w 447236"/>
              <a:gd name="connsiteY3057" fmla="*/ 132048 h 448122"/>
              <a:gd name="connsiteX3058" fmla="*/ 100347 w 447236"/>
              <a:gd name="connsiteY3058" fmla="*/ 132355 h 448122"/>
              <a:gd name="connsiteX3059" fmla="*/ 100347 w 447236"/>
              <a:gd name="connsiteY3059" fmla="*/ 139780 h 448122"/>
              <a:gd name="connsiteX3060" fmla="*/ 101771 w 447236"/>
              <a:gd name="connsiteY3060" fmla="*/ 139780 h 448122"/>
              <a:gd name="connsiteX3061" fmla="*/ 101846 w 447236"/>
              <a:gd name="connsiteY3061" fmla="*/ 139780 h 448122"/>
              <a:gd name="connsiteX3062" fmla="*/ 101846 w 447236"/>
              <a:gd name="connsiteY3062" fmla="*/ 134193 h 448122"/>
              <a:gd name="connsiteX3063" fmla="*/ 102190 w 447236"/>
              <a:gd name="connsiteY3063" fmla="*/ 133580 h 448122"/>
              <a:gd name="connsiteX3064" fmla="*/ 102879 w 447236"/>
              <a:gd name="connsiteY3064" fmla="*/ 134193 h 448122"/>
              <a:gd name="connsiteX3065" fmla="*/ 102879 w 447236"/>
              <a:gd name="connsiteY3065" fmla="*/ 139780 h 448122"/>
              <a:gd name="connsiteX3066" fmla="*/ 108349 w 447236"/>
              <a:gd name="connsiteY3066" fmla="*/ 139780 h 448122"/>
              <a:gd name="connsiteX3067" fmla="*/ 108349 w 447236"/>
              <a:gd name="connsiteY3067" fmla="*/ 135282 h 448122"/>
              <a:gd name="connsiteX3068" fmla="*/ 108349 w 447236"/>
              <a:gd name="connsiteY3068" fmla="*/ 132355 h 448122"/>
              <a:gd name="connsiteX3069" fmla="*/ 108349 w 447236"/>
              <a:gd name="connsiteY3069" fmla="*/ 132048 h 448122"/>
              <a:gd name="connsiteX3070" fmla="*/ 108965 w 447236"/>
              <a:gd name="connsiteY3070" fmla="*/ 132048 h 448122"/>
              <a:gd name="connsiteX3071" fmla="*/ 109888 w 447236"/>
              <a:gd name="connsiteY3071" fmla="*/ 132048 h 448122"/>
              <a:gd name="connsiteX3072" fmla="*/ 110504 w 447236"/>
              <a:gd name="connsiteY3072" fmla="*/ 131742 h 448122"/>
              <a:gd name="connsiteX3073" fmla="*/ 110811 w 447236"/>
              <a:gd name="connsiteY3073" fmla="*/ 131435 h 448122"/>
              <a:gd name="connsiteX3074" fmla="*/ 110504 w 447236"/>
              <a:gd name="connsiteY3074" fmla="*/ 130822 h 448122"/>
              <a:gd name="connsiteX3075" fmla="*/ 109888 w 447236"/>
              <a:gd name="connsiteY3075" fmla="*/ 130515 h 448122"/>
              <a:gd name="connsiteX3076" fmla="*/ 98809 w 447236"/>
              <a:gd name="connsiteY3076" fmla="*/ 130515 h 448122"/>
              <a:gd name="connsiteX3077" fmla="*/ 83458 w 447236"/>
              <a:gd name="connsiteY3077" fmla="*/ 130515 h 448122"/>
              <a:gd name="connsiteX3078" fmla="*/ 83150 w 447236"/>
              <a:gd name="connsiteY3078" fmla="*/ 130822 h 448122"/>
              <a:gd name="connsiteX3079" fmla="*/ 82842 w 447236"/>
              <a:gd name="connsiteY3079" fmla="*/ 131435 h 448122"/>
              <a:gd name="connsiteX3080" fmla="*/ 83150 w 447236"/>
              <a:gd name="connsiteY3080" fmla="*/ 131742 h 448122"/>
              <a:gd name="connsiteX3081" fmla="*/ 83458 w 447236"/>
              <a:gd name="connsiteY3081" fmla="*/ 132048 h 448122"/>
              <a:gd name="connsiteX3082" fmla="*/ 84689 w 447236"/>
              <a:gd name="connsiteY3082" fmla="*/ 132048 h 448122"/>
              <a:gd name="connsiteX3083" fmla="*/ 85304 w 447236"/>
              <a:gd name="connsiteY3083" fmla="*/ 132048 h 448122"/>
              <a:gd name="connsiteX3084" fmla="*/ 85304 w 447236"/>
              <a:gd name="connsiteY3084" fmla="*/ 132355 h 448122"/>
              <a:gd name="connsiteX3085" fmla="*/ 85304 w 447236"/>
              <a:gd name="connsiteY3085" fmla="*/ 139780 h 448122"/>
              <a:gd name="connsiteX3086" fmla="*/ 86938 w 447236"/>
              <a:gd name="connsiteY3086" fmla="*/ 139780 h 448122"/>
              <a:gd name="connsiteX3087" fmla="*/ 86938 w 447236"/>
              <a:gd name="connsiteY3087" fmla="*/ 134193 h 448122"/>
              <a:gd name="connsiteX3088" fmla="*/ 87233 w 447236"/>
              <a:gd name="connsiteY3088" fmla="*/ 133580 h 448122"/>
              <a:gd name="connsiteX3089" fmla="*/ 87528 w 447236"/>
              <a:gd name="connsiteY3089" fmla="*/ 134193 h 448122"/>
              <a:gd name="connsiteX3090" fmla="*/ 87528 w 447236"/>
              <a:gd name="connsiteY3090" fmla="*/ 139780 h 448122"/>
              <a:gd name="connsiteX3091" fmla="*/ 93306 w 447236"/>
              <a:gd name="connsiteY3091" fmla="*/ 139780 h 448122"/>
              <a:gd name="connsiteX3092" fmla="*/ 93306 w 447236"/>
              <a:gd name="connsiteY3092" fmla="*/ 135282 h 448122"/>
              <a:gd name="connsiteX3093" fmla="*/ 93306 w 447236"/>
              <a:gd name="connsiteY3093" fmla="*/ 132355 h 448122"/>
              <a:gd name="connsiteX3094" fmla="*/ 93306 w 447236"/>
              <a:gd name="connsiteY3094" fmla="*/ 132048 h 448122"/>
              <a:gd name="connsiteX3095" fmla="*/ 93614 w 447236"/>
              <a:gd name="connsiteY3095" fmla="*/ 132048 h 448122"/>
              <a:gd name="connsiteX3096" fmla="*/ 94845 w 447236"/>
              <a:gd name="connsiteY3096" fmla="*/ 132048 h 448122"/>
              <a:gd name="connsiteX3097" fmla="*/ 95460 w 447236"/>
              <a:gd name="connsiteY3097" fmla="*/ 131742 h 448122"/>
              <a:gd name="connsiteX3098" fmla="*/ 95460 w 447236"/>
              <a:gd name="connsiteY3098" fmla="*/ 131435 h 448122"/>
              <a:gd name="connsiteX3099" fmla="*/ 95460 w 447236"/>
              <a:gd name="connsiteY3099" fmla="*/ 130822 h 448122"/>
              <a:gd name="connsiteX3100" fmla="*/ 94845 w 447236"/>
              <a:gd name="connsiteY3100" fmla="*/ 130515 h 448122"/>
              <a:gd name="connsiteX3101" fmla="*/ 83458 w 447236"/>
              <a:gd name="connsiteY3101" fmla="*/ 130515 h 448122"/>
              <a:gd name="connsiteX3102" fmla="*/ 68403 w 447236"/>
              <a:gd name="connsiteY3102" fmla="*/ 130515 h 448122"/>
              <a:gd name="connsiteX3103" fmla="*/ 67787 w 447236"/>
              <a:gd name="connsiteY3103" fmla="*/ 130822 h 448122"/>
              <a:gd name="connsiteX3104" fmla="*/ 67787 w 447236"/>
              <a:gd name="connsiteY3104" fmla="*/ 131435 h 448122"/>
              <a:gd name="connsiteX3105" fmla="*/ 67787 w 447236"/>
              <a:gd name="connsiteY3105" fmla="*/ 131742 h 448122"/>
              <a:gd name="connsiteX3106" fmla="*/ 68403 w 447236"/>
              <a:gd name="connsiteY3106" fmla="*/ 132048 h 448122"/>
              <a:gd name="connsiteX3107" fmla="*/ 69634 w 447236"/>
              <a:gd name="connsiteY3107" fmla="*/ 132048 h 448122"/>
              <a:gd name="connsiteX3108" fmla="*/ 69941 w 447236"/>
              <a:gd name="connsiteY3108" fmla="*/ 132048 h 448122"/>
              <a:gd name="connsiteX3109" fmla="*/ 69941 w 447236"/>
              <a:gd name="connsiteY3109" fmla="*/ 132355 h 448122"/>
              <a:gd name="connsiteX3110" fmla="*/ 69941 w 447236"/>
              <a:gd name="connsiteY3110" fmla="*/ 139780 h 448122"/>
              <a:gd name="connsiteX3111" fmla="*/ 71587 w 447236"/>
              <a:gd name="connsiteY3111" fmla="*/ 139780 h 448122"/>
              <a:gd name="connsiteX3112" fmla="*/ 71587 w 447236"/>
              <a:gd name="connsiteY3112" fmla="*/ 134193 h 448122"/>
              <a:gd name="connsiteX3113" fmla="*/ 71882 w 447236"/>
              <a:gd name="connsiteY3113" fmla="*/ 133580 h 448122"/>
              <a:gd name="connsiteX3114" fmla="*/ 72473 w 447236"/>
              <a:gd name="connsiteY3114" fmla="*/ 134193 h 448122"/>
              <a:gd name="connsiteX3115" fmla="*/ 72473 w 447236"/>
              <a:gd name="connsiteY3115" fmla="*/ 139780 h 448122"/>
              <a:gd name="connsiteX3116" fmla="*/ 77943 w 447236"/>
              <a:gd name="connsiteY3116" fmla="*/ 139780 h 448122"/>
              <a:gd name="connsiteX3117" fmla="*/ 77943 w 447236"/>
              <a:gd name="connsiteY3117" fmla="*/ 135282 h 448122"/>
              <a:gd name="connsiteX3118" fmla="*/ 77943 w 447236"/>
              <a:gd name="connsiteY3118" fmla="*/ 132355 h 448122"/>
              <a:gd name="connsiteX3119" fmla="*/ 77943 w 447236"/>
              <a:gd name="connsiteY3119" fmla="*/ 132048 h 448122"/>
              <a:gd name="connsiteX3120" fmla="*/ 78559 w 447236"/>
              <a:gd name="connsiteY3120" fmla="*/ 132048 h 448122"/>
              <a:gd name="connsiteX3121" fmla="*/ 79482 w 447236"/>
              <a:gd name="connsiteY3121" fmla="*/ 132048 h 448122"/>
              <a:gd name="connsiteX3122" fmla="*/ 80098 w 447236"/>
              <a:gd name="connsiteY3122" fmla="*/ 131742 h 448122"/>
              <a:gd name="connsiteX3123" fmla="*/ 80405 w 447236"/>
              <a:gd name="connsiteY3123" fmla="*/ 131435 h 448122"/>
              <a:gd name="connsiteX3124" fmla="*/ 80098 w 447236"/>
              <a:gd name="connsiteY3124" fmla="*/ 130822 h 448122"/>
              <a:gd name="connsiteX3125" fmla="*/ 79482 w 447236"/>
              <a:gd name="connsiteY3125" fmla="*/ 130515 h 448122"/>
              <a:gd name="connsiteX3126" fmla="*/ 68403 w 447236"/>
              <a:gd name="connsiteY3126" fmla="*/ 130515 h 448122"/>
              <a:gd name="connsiteX3127" fmla="*/ 68403 w 447236"/>
              <a:gd name="connsiteY3127" fmla="*/ 129595 h 448122"/>
              <a:gd name="connsiteX3128" fmla="*/ 79482 w 447236"/>
              <a:gd name="connsiteY3128" fmla="*/ 129595 h 448122"/>
              <a:gd name="connsiteX3129" fmla="*/ 80713 w 447236"/>
              <a:gd name="connsiteY3129" fmla="*/ 130208 h 448122"/>
              <a:gd name="connsiteX3130" fmla="*/ 81329 w 447236"/>
              <a:gd name="connsiteY3130" fmla="*/ 131435 h 448122"/>
              <a:gd name="connsiteX3131" fmla="*/ 80713 w 447236"/>
              <a:gd name="connsiteY3131" fmla="*/ 132355 h 448122"/>
              <a:gd name="connsiteX3132" fmla="*/ 79482 w 447236"/>
              <a:gd name="connsiteY3132" fmla="*/ 132968 h 448122"/>
              <a:gd name="connsiteX3133" fmla="*/ 78867 w 447236"/>
              <a:gd name="connsiteY3133" fmla="*/ 132968 h 448122"/>
              <a:gd name="connsiteX3134" fmla="*/ 78867 w 447236"/>
              <a:gd name="connsiteY3134" fmla="*/ 139780 h 448122"/>
              <a:gd name="connsiteX3135" fmla="*/ 84073 w 447236"/>
              <a:gd name="connsiteY3135" fmla="*/ 139780 h 448122"/>
              <a:gd name="connsiteX3136" fmla="*/ 84073 w 447236"/>
              <a:gd name="connsiteY3136" fmla="*/ 133826 h 448122"/>
              <a:gd name="connsiteX3137" fmla="*/ 84073 w 447236"/>
              <a:gd name="connsiteY3137" fmla="*/ 132968 h 448122"/>
              <a:gd name="connsiteX3138" fmla="*/ 83458 w 447236"/>
              <a:gd name="connsiteY3138" fmla="*/ 132968 h 448122"/>
              <a:gd name="connsiteX3139" fmla="*/ 82534 w 447236"/>
              <a:gd name="connsiteY3139" fmla="*/ 132355 h 448122"/>
              <a:gd name="connsiteX3140" fmla="*/ 81919 w 447236"/>
              <a:gd name="connsiteY3140" fmla="*/ 131435 h 448122"/>
              <a:gd name="connsiteX3141" fmla="*/ 82534 w 447236"/>
              <a:gd name="connsiteY3141" fmla="*/ 130208 h 448122"/>
              <a:gd name="connsiteX3142" fmla="*/ 83458 w 447236"/>
              <a:gd name="connsiteY3142" fmla="*/ 129595 h 448122"/>
              <a:gd name="connsiteX3143" fmla="*/ 94845 w 447236"/>
              <a:gd name="connsiteY3143" fmla="*/ 129595 h 448122"/>
              <a:gd name="connsiteX3144" fmla="*/ 96076 w 447236"/>
              <a:gd name="connsiteY3144" fmla="*/ 130208 h 448122"/>
              <a:gd name="connsiteX3145" fmla="*/ 96384 w 447236"/>
              <a:gd name="connsiteY3145" fmla="*/ 131435 h 448122"/>
              <a:gd name="connsiteX3146" fmla="*/ 96076 w 447236"/>
              <a:gd name="connsiteY3146" fmla="*/ 132355 h 448122"/>
              <a:gd name="connsiteX3147" fmla="*/ 94845 w 447236"/>
              <a:gd name="connsiteY3147" fmla="*/ 132968 h 448122"/>
              <a:gd name="connsiteX3148" fmla="*/ 94229 w 447236"/>
              <a:gd name="connsiteY3148" fmla="*/ 132968 h 448122"/>
              <a:gd name="connsiteX3149" fmla="*/ 94229 w 447236"/>
              <a:gd name="connsiteY3149" fmla="*/ 139780 h 448122"/>
              <a:gd name="connsiteX3150" fmla="*/ 99424 w 447236"/>
              <a:gd name="connsiteY3150" fmla="*/ 139780 h 448122"/>
              <a:gd name="connsiteX3151" fmla="*/ 99424 w 447236"/>
              <a:gd name="connsiteY3151" fmla="*/ 133826 h 448122"/>
              <a:gd name="connsiteX3152" fmla="*/ 99424 w 447236"/>
              <a:gd name="connsiteY3152" fmla="*/ 132968 h 448122"/>
              <a:gd name="connsiteX3153" fmla="*/ 98809 w 447236"/>
              <a:gd name="connsiteY3153" fmla="*/ 132968 h 448122"/>
              <a:gd name="connsiteX3154" fmla="*/ 97578 w 447236"/>
              <a:gd name="connsiteY3154" fmla="*/ 132355 h 448122"/>
              <a:gd name="connsiteX3155" fmla="*/ 97270 w 447236"/>
              <a:gd name="connsiteY3155" fmla="*/ 131435 h 448122"/>
              <a:gd name="connsiteX3156" fmla="*/ 97578 w 447236"/>
              <a:gd name="connsiteY3156" fmla="*/ 130208 h 448122"/>
              <a:gd name="connsiteX3157" fmla="*/ 98809 w 447236"/>
              <a:gd name="connsiteY3157" fmla="*/ 129595 h 448122"/>
              <a:gd name="connsiteX3158" fmla="*/ 109888 w 447236"/>
              <a:gd name="connsiteY3158" fmla="*/ 129595 h 448122"/>
              <a:gd name="connsiteX3159" fmla="*/ 111119 w 447236"/>
              <a:gd name="connsiteY3159" fmla="*/ 130208 h 448122"/>
              <a:gd name="connsiteX3160" fmla="*/ 111735 w 447236"/>
              <a:gd name="connsiteY3160" fmla="*/ 131435 h 448122"/>
              <a:gd name="connsiteX3161" fmla="*/ 111119 w 447236"/>
              <a:gd name="connsiteY3161" fmla="*/ 132355 h 448122"/>
              <a:gd name="connsiteX3162" fmla="*/ 109888 w 447236"/>
              <a:gd name="connsiteY3162" fmla="*/ 132968 h 448122"/>
              <a:gd name="connsiteX3163" fmla="*/ 109273 w 447236"/>
              <a:gd name="connsiteY3163" fmla="*/ 132968 h 448122"/>
              <a:gd name="connsiteX3164" fmla="*/ 109273 w 447236"/>
              <a:gd name="connsiteY3164" fmla="*/ 139780 h 448122"/>
              <a:gd name="connsiteX3165" fmla="*/ 114480 w 447236"/>
              <a:gd name="connsiteY3165" fmla="*/ 139780 h 448122"/>
              <a:gd name="connsiteX3166" fmla="*/ 114480 w 447236"/>
              <a:gd name="connsiteY3166" fmla="*/ 133826 h 448122"/>
              <a:gd name="connsiteX3167" fmla="*/ 114480 w 447236"/>
              <a:gd name="connsiteY3167" fmla="*/ 132968 h 448122"/>
              <a:gd name="connsiteX3168" fmla="*/ 113865 w 447236"/>
              <a:gd name="connsiteY3168" fmla="*/ 132968 h 448122"/>
              <a:gd name="connsiteX3169" fmla="*/ 112941 w 447236"/>
              <a:gd name="connsiteY3169" fmla="*/ 132355 h 448122"/>
              <a:gd name="connsiteX3170" fmla="*/ 112326 w 447236"/>
              <a:gd name="connsiteY3170" fmla="*/ 131435 h 448122"/>
              <a:gd name="connsiteX3171" fmla="*/ 112941 w 447236"/>
              <a:gd name="connsiteY3171" fmla="*/ 130208 h 448122"/>
              <a:gd name="connsiteX3172" fmla="*/ 113865 w 447236"/>
              <a:gd name="connsiteY3172" fmla="*/ 129595 h 448122"/>
              <a:gd name="connsiteX3173" fmla="*/ 125252 w 447236"/>
              <a:gd name="connsiteY3173" fmla="*/ 129595 h 448122"/>
              <a:gd name="connsiteX3174" fmla="*/ 126483 w 447236"/>
              <a:gd name="connsiteY3174" fmla="*/ 130208 h 448122"/>
              <a:gd name="connsiteX3175" fmla="*/ 126791 w 447236"/>
              <a:gd name="connsiteY3175" fmla="*/ 131435 h 448122"/>
              <a:gd name="connsiteX3176" fmla="*/ 126483 w 447236"/>
              <a:gd name="connsiteY3176" fmla="*/ 132355 h 448122"/>
              <a:gd name="connsiteX3177" fmla="*/ 125252 w 447236"/>
              <a:gd name="connsiteY3177" fmla="*/ 132968 h 448122"/>
              <a:gd name="connsiteX3178" fmla="*/ 124636 w 447236"/>
              <a:gd name="connsiteY3178" fmla="*/ 132968 h 448122"/>
              <a:gd name="connsiteX3179" fmla="*/ 124636 w 447236"/>
              <a:gd name="connsiteY3179" fmla="*/ 139780 h 448122"/>
              <a:gd name="connsiteX3180" fmla="*/ 126684 w 447236"/>
              <a:gd name="connsiteY3180" fmla="*/ 139780 h 448122"/>
              <a:gd name="connsiteX3181" fmla="*/ 127642 w 447236"/>
              <a:gd name="connsiteY3181" fmla="*/ 139780 h 448122"/>
              <a:gd name="connsiteX3182" fmla="*/ 128562 w 447236"/>
              <a:gd name="connsiteY3182" fmla="*/ 140729 h 448122"/>
              <a:gd name="connsiteX3183" fmla="*/ 127642 w 447236"/>
              <a:gd name="connsiteY3183" fmla="*/ 141994 h 448122"/>
              <a:gd name="connsiteX3184" fmla="*/ 124636 w 447236"/>
              <a:gd name="connsiteY3184" fmla="*/ 141994 h 448122"/>
              <a:gd name="connsiteX3185" fmla="*/ 124636 w 447236"/>
              <a:gd name="connsiteY3185" fmla="*/ 164704 h 448122"/>
              <a:gd name="connsiteX3186" fmla="*/ 124636 w 447236"/>
              <a:gd name="connsiteY3186" fmla="*/ 187862 h 448122"/>
              <a:gd name="connsiteX3187" fmla="*/ 123098 w 447236"/>
              <a:gd name="connsiteY3187" fmla="*/ 191236 h 448122"/>
              <a:gd name="connsiteX3188" fmla="*/ 119712 w 447236"/>
              <a:gd name="connsiteY3188" fmla="*/ 192769 h 448122"/>
              <a:gd name="connsiteX3189" fmla="*/ 116019 w 447236"/>
              <a:gd name="connsiteY3189" fmla="*/ 191236 h 448122"/>
              <a:gd name="connsiteX3190" fmla="*/ 114480 w 447236"/>
              <a:gd name="connsiteY3190" fmla="*/ 187862 h 448122"/>
              <a:gd name="connsiteX3191" fmla="*/ 114480 w 447236"/>
              <a:gd name="connsiteY3191" fmla="*/ 156127 h 448122"/>
              <a:gd name="connsiteX3192" fmla="*/ 114480 w 447236"/>
              <a:gd name="connsiteY3192" fmla="*/ 141994 h 448122"/>
              <a:gd name="connsiteX3193" fmla="*/ 109273 w 447236"/>
              <a:gd name="connsiteY3193" fmla="*/ 141994 h 448122"/>
              <a:gd name="connsiteX3194" fmla="*/ 109273 w 447236"/>
              <a:gd name="connsiteY3194" fmla="*/ 164704 h 448122"/>
              <a:gd name="connsiteX3195" fmla="*/ 109273 w 447236"/>
              <a:gd name="connsiteY3195" fmla="*/ 187862 h 448122"/>
              <a:gd name="connsiteX3196" fmla="*/ 108042 w 447236"/>
              <a:gd name="connsiteY3196" fmla="*/ 191236 h 448122"/>
              <a:gd name="connsiteX3197" fmla="*/ 104348 w 447236"/>
              <a:gd name="connsiteY3197" fmla="*/ 192769 h 448122"/>
              <a:gd name="connsiteX3198" fmla="*/ 100963 w 447236"/>
              <a:gd name="connsiteY3198" fmla="*/ 191236 h 448122"/>
              <a:gd name="connsiteX3199" fmla="*/ 99424 w 447236"/>
              <a:gd name="connsiteY3199" fmla="*/ 187862 h 448122"/>
              <a:gd name="connsiteX3200" fmla="*/ 99424 w 447236"/>
              <a:gd name="connsiteY3200" fmla="*/ 156127 h 448122"/>
              <a:gd name="connsiteX3201" fmla="*/ 99424 w 447236"/>
              <a:gd name="connsiteY3201" fmla="*/ 141994 h 448122"/>
              <a:gd name="connsiteX3202" fmla="*/ 94229 w 447236"/>
              <a:gd name="connsiteY3202" fmla="*/ 141994 h 448122"/>
              <a:gd name="connsiteX3203" fmla="*/ 94229 w 447236"/>
              <a:gd name="connsiteY3203" fmla="*/ 164704 h 448122"/>
              <a:gd name="connsiteX3204" fmla="*/ 94229 w 447236"/>
              <a:gd name="connsiteY3204" fmla="*/ 187862 h 448122"/>
              <a:gd name="connsiteX3205" fmla="*/ 92691 w 447236"/>
              <a:gd name="connsiteY3205" fmla="*/ 191236 h 448122"/>
              <a:gd name="connsiteX3206" fmla="*/ 89305 w 447236"/>
              <a:gd name="connsiteY3206" fmla="*/ 192769 h 448122"/>
              <a:gd name="connsiteX3207" fmla="*/ 85612 w 447236"/>
              <a:gd name="connsiteY3207" fmla="*/ 191236 h 448122"/>
              <a:gd name="connsiteX3208" fmla="*/ 84073 w 447236"/>
              <a:gd name="connsiteY3208" fmla="*/ 187862 h 448122"/>
              <a:gd name="connsiteX3209" fmla="*/ 84073 w 447236"/>
              <a:gd name="connsiteY3209" fmla="*/ 156127 h 448122"/>
              <a:gd name="connsiteX3210" fmla="*/ 84073 w 447236"/>
              <a:gd name="connsiteY3210" fmla="*/ 141994 h 448122"/>
              <a:gd name="connsiteX3211" fmla="*/ 78867 w 447236"/>
              <a:gd name="connsiteY3211" fmla="*/ 141994 h 448122"/>
              <a:gd name="connsiteX3212" fmla="*/ 78867 w 447236"/>
              <a:gd name="connsiteY3212" fmla="*/ 164704 h 448122"/>
              <a:gd name="connsiteX3213" fmla="*/ 78867 w 447236"/>
              <a:gd name="connsiteY3213" fmla="*/ 187862 h 448122"/>
              <a:gd name="connsiteX3214" fmla="*/ 77636 w 447236"/>
              <a:gd name="connsiteY3214" fmla="*/ 191236 h 448122"/>
              <a:gd name="connsiteX3215" fmla="*/ 73942 w 447236"/>
              <a:gd name="connsiteY3215" fmla="*/ 192769 h 448122"/>
              <a:gd name="connsiteX3216" fmla="*/ 70557 w 447236"/>
              <a:gd name="connsiteY3216" fmla="*/ 191236 h 448122"/>
              <a:gd name="connsiteX3217" fmla="*/ 69018 w 447236"/>
              <a:gd name="connsiteY3217" fmla="*/ 187862 h 448122"/>
              <a:gd name="connsiteX3218" fmla="*/ 69018 w 447236"/>
              <a:gd name="connsiteY3218" fmla="*/ 156127 h 448122"/>
              <a:gd name="connsiteX3219" fmla="*/ 69018 w 447236"/>
              <a:gd name="connsiteY3219" fmla="*/ 141994 h 448122"/>
              <a:gd name="connsiteX3220" fmla="*/ 67277 w 447236"/>
              <a:gd name="connsiteY3220" fmla="*/ 141994 h 448122"/>
              <a:gd name="connsiteX3221" fmla="*/ 66319 w 447236"/>
              <a:gd name="connsiteY3221" fmla="*/ 141994 h 448122"/>
              <a:gd name="connsiteX3222" fmla="*/ 65093 w 447236"/>
              <a:gd name="connsiteY3222" fmla="*/ 140729 h 448122"/>
              <a:gd name="connsiteX3223" fmla="*/ 66319 w 447236"/>
              <a:gd name="connsiteY3223" fmla="*/ 139780 h 448122"/>
              <a:gd name="connsiteX3224" fmla="*/ 69018 w 447236"/>
              <a:gd name="connsiteY3224" fmla="*/ 139780 h 448122"/>
              <a:gd name="connsiteX3225" fmla="*/ 69018 w 447236"/>
              <a:gd name="connsiteY3225" fmla="*/ 133826 h 448122"/>
              <a:gd name="connsiteX3226" fmla="*/ 69018 w 447236"/>
              <a:gd name="connsiteY3226" fmla="*/ 132968 h 448122"/>
              <a:gd name="connsiteX3227" fmla="*/ 68403 w 447236"/>
              <a:gd name="connsiteY3227" fmla="*/ 132968 h 448122"/>
              <a:gd name="connsiteX3228" fmla="*/ 67172 w 447236"/>
              <a:gd name="connsiteY3228" fmla="*/ 132355 h 448122"/>
              <a:gd name="connsiteX3229" fmla="*/ 66864 w 447236"/>
              <a:gd name="connsiteY3229" fmla="*/ 131435 h 448122"/>
              <a:gd name="connsiteX3230" fmla="*/ 67172 w 447236"/>
              <a:gd name="connsiteY3230" fmla="*/ 130208 h 448122"/>
              <a:gd name="connsiteX3231" fmla="*/ 68403 w 447236"/>
              <a:gd name="connsiteY3231" fmla="*/ 129595 h 448122"/>
              <a:gd name="connsiteX3232" fmla="*/ 374154 w 447236"/>
              <a:gd name="connsiteY3232" fmla="*/ 129311 h 448122"/>
              <a:gd name="connsiteX3233" fmla="*/ 378143 w 447236"/>
              <a:gd name="connsiteY3233" fmla="*/ 129311 h 448122"/>
              <a:gd name="connsiteX3234" fmla="*/ 381212 w 447236"/>
              <a:gd name="connsiteY3234" fmla="*/ 131455 h 448122"/>
              <a:gd name="connsiteX3235" fmla="*/ 381826 w 447236"/>
              <a:gd name="connsiteY3235" fmla="*/ 137581 h 448122"/>
              <a:gd name="connsiteX3236" fmla="*/ 378757 w 447236"/>
              <a:gd name="connsiteY3236" fmla="*/ 141870 h 448122"/>
              <a:gd name="connsiteX3237" fmla="*/ 374154 w 447236"/>
              <a:gd name="connsiteY3237" fmla="*/ 153815 h 448122"/>
              <a:gd name="connsiteX3238" fmla="*/ 368323 w 447236"/>
              <a:gd name="connsiteY3238" fmla="*/ 165455 h 448122"/>
              <a:gd name="connsiteX3239" fmla="*/ 366482 w 447236"/>
              <a:gd name="connsiteY3239" fmla="*/ 167292 h 448122"/>
              <a:gd name="connsiteX3240" fmla="*/ 366482 w 447236"/>
              <a:gd name="connsiteY3240" fmla="*/ 169743 h 448122"/>
              <a:gd name="connsiteX3241" fmla="*/ 290072 w 447236"/>
              <a:gd name="connsiteY3241" fmla="*/ 169743 h 448122"/>
              <a:gd name="connsiteX3242" fmla="*/ 290072 w 447236"/>
              <a:gd name="connsiteY3242" fmla="*/ 165148 h 448122"/>
              <a:gd name="connsiteX3243" fmla="*/ 278411 w 447236"/>
              <a:gd name="connsiteY3243" fmla="*/ 162392 h 448122"/>
              <a:gd name="connsiteX3244" fmla="*/ 272273 w 447236"/>
              <a:gd name="connsiteY3244" fmla="*/ 152896 h 448122"/>
              <a:gd name="connsiteX3245" fmla="*/ 271353 w 447236"/>
              <a:gd name="connsiteY3245" fmla="*/ 147996 h 448122"/>
              <a:gd name="connsiteX3246" fmla="*/ 271659 w 447236"/>
              <a:gd name="connsiteY3246" fmla="*/ 138194 h 448122"/>
              <a:gd name="connsiteX3247" fmla="*/ 286696 w 447236"/>
              <a:gd name="connsiteY3247" fmla="*/ 134212 h 448122"/>
              <a:gd name="connsiteX3248" fmla="*/ 288537 w 447236"/>
              <a:gd name="connsiteY3248" fmla="*/ 134518 h 448122"/>
              <a:gd name="connsiteX3249" fmla="*/ 290072 w 447236"/>
              <a:gd name="connsiteY3249" fmla="*/ 134825 h 448122"/>
              <a:gd name="connsiteX3250" fmla="*/ 290072 w 447236"/>
              <a:gd name="connsiteY3250" fmla="*/ 131149 h 448122"/>
              <a:gd name="connsiteX3251" fmla="*/ 366482 w 447236"/>
              <a:gd name="connsiteY3251" fmla="*/ 131149 h 448122"/>
              <a:gd name="connsiteX3252" fmla="*/ 366482 w 447236"/>
              <a:gd name="connsiteY3252" fmla="*/ 133906 h 448122"/>
              <a:gd name="connsiteX3253" fmla="*/ 374154 w 447236"/>
              <a:gd name="connsiteY3253" fmla="*/ 129311 h 448122"/>
              <a:gd name="connsiteX3254" fmla="*/ 254747 w 447236"/>
              <a:gd name="connsiteY3254" fmla="*/ 126563 h 448122"/>
              <a:gd name="connsiteX3255" fmla="*/ 250464 w 447236"/>
              <a:gd name="connsiteY3255" fmla="*/ 128402 h 448122"/>
              <a:gd name="connsiteX3256" fmla="*/ 248628 w 447236"/>
              <a:gd name="connsiteY3256" fmla="*/ 132692 h 448122"/>
              <a:gd name="connsiteX3257" fmla="*/ 248628 w 447236"/>
              <a:gd name="connsiteY3257" fmla="*/ 146177 h 448122"/>
              <a:gd name="connsiteX3258" fmla="*/ 262090 w 447236"/>
              <a:gd name="connsiteY3258" fmla="*/ 146177 h 448122"/>
              <a:gd name="connsiteX3259" fmla="*/ 262090 w 447236"/>
              <a:gd name="connsiteY3259" fmla="*/ 132692 h 448122"/>
              <a:gd name="connsiteX3260" fmla="*/ 259948 w 447236"/>
              <a:gd name="connsiteY3260" fmla="*/ 128402 h 448122"/>
              <a:gd name="connsiteX3261" fmla="*/ 255665 w 447236"/>
              <a:gd name="connsiteY3261" fmla="*/ 126563 h 448122"/>
              <a:gd name="connsiteX3262" fmla="*/ 254747 w 447236"/>
              <a:gd name="connsiteY3262" fmla="*/ 126563 h 448122"/>
              <a:gd name="connsiteX3263" fmla="*/ 254747 w 447236"/>
              <a:gd name="connsiteY3263" fmla="*/ 124724 h 448122"/>
              <a:gd name="connsiteX3264" fmla="*/ 255665 w 447236"/>
              <a:gd name="connsiteY3264" fmla="*/ 124724 h 448122"/>
              <a:gd name="connsiteX3265" fmla="*/ 261172 w 447236"/>
              <a:gd name="connsiteY3265" fmla="*/ 127176 h 448122"/>
              <a:gd name="connsiteX3266" fmla="*/ 263619 w 447236"/>
              <a:gd name="connsiteY3266" fmla="*/ 132692 h 448122"/>
              <a:gd name="connsiteX3267" fmla="*/ 263619 w 447236"/>
              <a:gd name="connsiteY3267" fmla="*/ 146177 h 448122"/>
              <a:gd name="connsiteX3268" fmla="*/ 263619 w 447236"/>
              <a:gd name="connsiteY3268" fmla="*/ 146790 h 448122"/>
              <a:gd name="connsiteX3269" fmla="*/ 263619 w 447236"/>
              <a:gd name="connsiteY3269" fmla="*/ 147710 h 448122"/>
              <a:gd name="connsiteX3270" fmla="*/ 263619 w 447236"/>
              <a:gd name="connsiteY3270" fmla="*/ 160888 h 448122"/>
              <a:gd name="connsiteX3271" fmla="*/ 261172 w 447236"/>
              <a:gd name="connsiteY3271" fmla="*/ 166712 h 448122"/>
              <a:gd name="connsiteX3272" fmla="*/ 255665 w 447236"/>
              <a:gd name="connsiteY3272" fmla="*/ 168857 h 448122"/>
              <a:gd name="connsiteX3273" fmla="*/ 254747 w 447236"/>
              <a:gd name="connsiteY3273" fmla="*/ 168857 h 448122"/>
              <a:gd name="connsiteX3274" fmla="*/ 249240 w 447236"/>
              <a:gd name="connsiteY3274" fmla="*/ 166712 h 448122"/>
              <a:gd name="connsiteX3275" fmla="*/ 246792 w 447236"/>
              <a:gd name="connsiteY3275" fmla="*/ 160888 h 448122"/>
              <a:gd name="connsiteX3276" fmla="*/ 246792 w 447236"/>
              <a:gd name="connsiteY3276" fmla="*/ 146790 h 448122"/>
              <a:gd name="connsiteX3277" fmla="*/ 246792 w 447236"/>
              <a:gd name="connsiteY3277" fmla="*/ 146177 h 448122"/>
              <a:gd name="connsiteX3278" fmla="*/ 246792 w 447236"/>
              <a:gd name="connsiteY3278" fmla="*/ 132692 h 448122"/>
              <a:gd name="connsiteX3279" fmla="*/ 249240 w 447236"/>
              <a:gd name="connsiteY3279" fmla="*/ 127176 h 448122"/>
              <a:gd name="connsiteX3280" fmla="*/ 254747 w 447236"/>
              <a:gd name="connsiteY3280" fmla="*/ 124724 h 448122"/>
              <a:gd name="connsiteX3281" fmla="*/ 147006 w 447236"/>
              <a:gd name="connsiteY3281" fmla="*/ 120795 h 448122"/>
              <a:gd name="connsiteX3282" fmla="*/ 145167 w 447236"/>
              <a:gd name="connsiteY3282" fmla="*/ 122632 h 448122"/>
              <a:gd name="connsiteX3283" fmla="*/ 136887 w 447236"/>
              <a:gd name="connsiteY3283" fmla="*/ 132123 h 448122"/>
              <a:gd name="connsiteX3284" fmla="*/ 157126 w 447236"/>
              <a:gd name="connsiteY3284" fmla="*/ 132123 h 448122"/>
              <a:gd name="connsiteX3285" fmla="*/ 148846 w 447236"/>
              <a:gd name="connsiteY3285" fmla="*/ 122632 h 448122"/>
              <a:gd name="connsiteX3286" fmla="*/ 147006 w 447236"/>
              <a:gd name="connsiteY3286" fmla="*/ 120795 h 448122"/>
              <a:gd name="connsiteX3287" fmla="*/ 298653 w 447236"/>
              <a:gd name="connsiteY3287" fmla="*/ 118937 h 448122"/>
              <a:gd name="connsiteX3288" fmla="*/ 298345 w 447236"/>
              <a:gd name="connsiteY3288" fmla="*/ 119549 h 448122"/>
              <a:gd name="connsiteX3289" fmla="*/ 298653 w 447236"/>
              <a:gd name="connsiteY3289" fmla="*/ 119855 h 448122"/>
              <a:gd name="connsiteX3290" fmla="*/ 307888 w 447236"/>
              <a:gd name="connsiteY3290" fmla="*/ 119855 h 448122"/>
              <a:gd name="connsiteX3291" fmla="*/ 308196 w 447236"/>
              <a:gd name="connsiteY3291" fmla="*/ 119549 h 448122"/>
              <a:gd name="connsiteX3292" fmla="*/ 307888 w 447236"/>
              <a:gd name="connsiteY3292" fmla="*/ 118937 h 448122"/>
              <a:gd name="connsiteX3293" fmla="*/ 298653 w 447236"/>
              <a:gd name="connsiteY3293" fmla="*/ 118937 h 448122"/>
              <a:gd name="connsiteX3294" fmla="*/ 295267 w 447236"/>
              <a:gd name="connsiteY3294" fmla="*/ 116182 h 448122"/>
              <a:gd name="connsiteX3295" fmla="*/ 294959 w 447236"/>
              <a:gd name="connsiteY3295" fmla="*/ 116488 h 448122"/>
              <a:gd name="connsiteX3296" fmla="*/ 295267 w 447236"/>
              <a:gd name="connsiteY3296" fmla="*/ 117100 h 448122"/>
              <a:gd name="connsiteX3297" fmla="*/ 311274 w 447236"/>
              <a:gd name="connsiteY3297" fmla="*/ 117100 h 448122"/>
              <a:gd name="connsiteX3298" fmla="*/ 311582 w 447236"/>
              <a:gd name="connsiteY3298" fmla="*/ 116488 h 448122"/>
              <a:gd name="connsiteX3299" fmla="*/ 311274 w 447236"/>
              <a:gd name="connsiteY3299" fmla="*/ 116182 h 448122"/>
              <a:gd name="connsiteX3300" fmla="*/ 295267 w 447236"/>
              <a:gd name="connsiteY3300" fmla="*/ 116182 h 448122"/>
              <a:gd name="connsiteX3301" fmla="*/ 298653 w 447236"/>
              <a:gd name="connsiteY3301" fmla="*/ 113427 h 448122"/>
              <a:gd name="connsiteX3302" fmla="*/ 298345 w 447236"/>
              <a:gd name="connsiteY3302" fmla="*/ 113733 h 448122"/>
              <a:gd name="connsiteX3303" fmla="*/ 298653 w 447236"/>
              <a:gd name="connsiteY3303" fmla="*/ 114039 h 448122"/>
              <a:gd name="connsiteX3304" fmla="*/ 307888 w 447236"/>
              <a:gd name="connsiteY3304" fmla="*/ 114039 h 448122"/>
              <a:gd name="connsiteX3305" fmla="*/ 308196 w 447236"/>
              <a:gd name="connsiteY3305" fmla="*/ 113733 h 448122"/>
              <a:gd name="connsiteX3306" fmla="*/ 307888 w 447236"/>
              <a:gd name="connsiteY3306" fmla="*/ 113427 h 448122"/>
              <a:gd name="connsiteX3307" fmla="*/ 298653 w 447236"/>
              <a:gd name="connsiteY3307" fmla="*/ 113427 h 448122"/>
              <a:gd name="connsiteX3308" fmla="*/ 298653 w 447236"/>
              <a:gd name="connsiteY3308" fmla="*/ 110672 h 448122"/>
              <a:gd name="connsiteX3309" fmla="*/ 298345 w 447236"/>
              <a:gd name="connsiteY3309" fmla="*/ 110978 h 448122"/>
              <a:gd name="connsiteX3310" fmla="*/ 298653 w 447236"/>
              <a:gd name="connsiteY3310" fmla="*/ 111285 h 448122"/>
              <a:gd name="connsiteX3311" fmla="*/ 307888 w 447236"/>
              <a:gd name="connsiteY3311" fmla="*/ 111285 h 448122"/>
              <a:gd name="connsiteX3312" fmla="*/ 308196 w 447236"/>
              <a:gd name="connsiteY3312" fmla="*/ 110978 h 448122"/>
              <a:gd name="connsiteX3313" fmla="*/ 307888 w 447236"/>
              <a:gd name="connsiteY3313" fmla="*/ 110672 h 448122"/>
              <a:gd name="connsiteX3314" fmla="*/ 298653 w 447236"/>
              <a:gd name="connsiteY3314" fmla="*/ 110672 h 448122"/>
              <a:gd name="connsiteX3315" fmla="*/ 298653 w 447236"/>
              <a:gd name="connsiteY3315" fmla="*/ 107612 h 448122"/>
              <a:gd name="connsiteX3316" fmla="*/ 298345 w 447236"/>
              <a:gd name="connsiteY3316" fmla="*/ 107918 h 448122"/>
              <a:gd name="connsiteX3317" fmla="*/ 298653 w 447236"/>
              <a:gd name="connsiteY3317" fmla="*/ 108224 h 448122"/>
              <a:gd name="connsiteX3318" fmla="*/ 307888 w 447236"/>
              <a:gd name="connsiteY3318" fmla="*/ 108224 h 448122"/>
              <a:gd name="connsiteX3319" fmla="*/ 308196 w 447236"/>
              <a:gd name="connsiteY3319" fmla="*/ 107918 h 448122"/>
              <a:gd name="connsiteX3320" fmla="*/ 307888 w 447236"/>
              <a:gd name="connsiteY3320" fmla="*/ 107612 h 448122"/>
              <a:gd name="connsiteX3321" fmla="*/ 298653 w 447236"/>
              <a:gd name="connsiteY3321" fmla="*/ 107612 h 448122"/>
              <a:gd name="connsiteX3322" fmla="*/ 141793 w 447236"/>
              <a:gd name="connsiteY3322" fmla="*/ 107324 h 448122"/>
              <a:gd name="connsiteX3323" fmla="*/ 147006 w 447236"/>
              <a:gd name="connsiteY3323" fmla="*/ 113754 h 448122"/>
              <a:gd name="connsiteX3324" fmla="*/ 152219 w 447236"/>
              <a:gd name="connsiteY3324" fmla="*/ 107324 h 448122"/>
              <a:gd name="connsiteX3325" fmla="*/ 141793 w 447236"/>
              <a:gd name="connsiteY3325" fmla="*/ 107324 h 448122"/>
              <a:gd name="connsiteX3326" fmla="*/ 178060 w 447236"/>
              <a:gd name="connsiteY3326" fmla="*/ 106382 h 448122"/>
              <a:gd name="connsiteX3327" fmla="*/ 189417 w 447236"/>
              <a:gd name="connsiteY3327" fmla="*/ 109747 h 448122"/>
              <a:gd name="connsiteX3328" fmla="*/ 234540 w 447236"/>
              <a:gd name="connsiteY3328" fmla="*/ 122904 h 448122"/>
              <a:gd name="connsiteX3329" fmla="*/ 229322 w 447236"/>
              <a:gd name="connsiteY3329" fmla="*/ 143405 h 448122"/>
              <a:gd name="connsiteX3330" fmla="*/ 205072 w 447236"/>
              <a:gd name="connsiteY3330" fmla="*/ 137591 h 448122"/>
              <a:gd name="connsiteX3331" fmla="*/ 182050 w 447236"/>
              <a:gd name="connsiteY3331" fmla="*/ 140651 h 448122"/>
              <a:gd name="connsiteX3332" fmla="*/ 193101 w 447236"/>
              <a:gd name="connsiteY3332" fmla="*/ 134838 h 448122"/>
              <a:gd name="connsiteX3333" fmla="*/ 176525 w 447236"/>
              <a:gd name="connsiteY3333" fmla="*/ 130554 h 448122"/>
              <a:gd name="connsiteX3334" fmla="*/ 174069 w 447236"/>
              <a:gd name="connsiteY3334" fmla="*/ 130554 h 448122"/>
              <a:gd name="connsiteX3335" fmla="*/ 166702 w 447236"/>
              <a:gd name="connsiteY3335" fmla="*/ 126882 h 448122"/>
              <a:gd name="connsiteX3336" fmla="*/ 176525 w 447236"/>
              <a:gd name="connsiteY3336" fmla="*/ 125046 h 448122"/>
              <a:gd name="connsiteX3337" fmla="*/ 183892 w 447236"/>
              <a:gd name="connsiteY3337" fmla="*/ 125964 h 448122"/>
              <a:gd name="connsiteX3338" fmla="*/ 176525 w 447236"/>
              <a:gd name="connsiteY3338" fmla="*/ 123210 h 448122"/>
              <a:gd name="connsiteX3339" fmla="*/ 169158 w 447236"/>
              <a:gd name="connsiteY3339" fmla="*/ 121069 h 448122"/>
              <a:gd name="connsiteX3340" fmla="*/ 165781 w 447236"/>
              <a:gd name="connsiteY3340" fmla="*/ 118927 h 448122"/>
              <a:gd name="connsiteX3341" fmla="*/ 168237 w 447236"/>
              <a:gd name="connsiteY3341" fmla="*/ 116173 h 448122"/>
              <a:gd name="connsiteX3342" fmla="*/ 176525 w 447236"/>
              <a:gd name="connsiteY3342" fmla="*/ 118009 h 448122"/>
              <a:gd name="connsiteX3343" fmla="*/ 184813 w 447236"/>
              <a:gd name="connsiteY3343" fmla="*/ 119539 h 448122"/>
              <a:gd name="connsiteX3344" fmla="*/ 176525 w 447236"/>
              <a:gd name="connsiteY3344" fmla="*/ 116785 h 448122"/>
              <a:gd name="connsiteX3345" fmla="*/ 171306 w 447236"/>
              <a:gd name="connsiteY3345" fmla="*/ 114949 h 448122"/>
              <a:gd name="connsiteX3346" fmla="*/ 171920 w 447236"/>
              <a:gd name="connsiteY3346" fmla="*/ 110971 h 448122"/>
              <a:gd name="connsiteX3347" fmla="*/ 176525 w 447236"/>
              <a:gd name="connsiteY3347" fmla="*/ 111583 h 448122"/>
              <a:gd name="connsiteX3348" fmla="*/ 187882 w 447236"/>
              <a:gd name="connsiteY3348" fmla="*/ 114949 h 448122"/>
              <a:gd name="connsiteX3349" fmla="*/ 178060 w 447236"/>
              <a:gd name="connsiteY3349" fmla="*/ 106382 h 448122"/>
              <a:gd name="connsiteX3350" fmla="*/ 295267 w 447236"/>
              <a:gd name="connsiteY3350" fmla="*/ 104551 h 448122"/>
              <a:gd name="connsiteX3351" fmla="*/ 294959 w 447236"/>
              <a:gd name="connsiteY3351" fmla="*/ 104857 h 448122"/>
              <a:gd name="connsiteX3352" fmla="*/ 295267 w 447236"/>
              <a:gd name="connsiteY3352" fmla="*/ 105163 h 448122"/>
              <a:gd name="connsiteX3353" fmla="*/ 311274 w 447236"/>
              <a:gd name="connsiteY3353" fmla="*/ 105163 h 448122"/>
              <a:gd name="connsiteX3354" fmla="*/ 311582 w 447236"/>
              <a:gd name="connsiteY3354" fmla="*/ 104857 h 448122"/>
              <a:gd name="connsiteX3355" fmla="*/ 311274 w 447236"/>
              <a:gd name="connsiteY3355" fmla="*/ 104551 h 448122"/>
              <a:gd name="connsiteX3356" fmla="*/ 295267 w 447236"/>
              <a:gd name="connsiteY3356" fmla="*/ 104551 h 448122"/>
              <a:gd name="connsiteX3357" fmla="*/ 298653 w 447236"/>
              <a:gd name="connsiteY3357" fmla="*/ 101490 h 448122"/>
              <a:gd name="connsiteX3358" fmla="*/ 298345 w 447236"/>
              <a:gd name="connsiteY3358" fmla="*/ 101796 h 448122"/>
              <a:gd name="connsiteX3359" fmla="*/ 298653 w 447236"/>
              <a:gd name="connsiteY3359" fmla="*/ 102102 h 448122"/>
              <a:gd name="connsiteX3360" fmla="*/ 307888 w 447236"/>
              <a:gd name="connsiteY3360" fmla="*/ 102102 h 448122"/>
              <a:gd name="connsiteX3361" fmla="*/ 308196 w 447236"/>
              <a:gd name="connsiteY3361" fmla="*/ 101796 h 448122"/>
              <a:gd name="connsiteX3362" fmla="*/ 307888 w 447236"/>
              <a:gd name="connsiteY3362" fmla="*/ 101490 h 448122"/>
              <a:gd name="connsiteX3363" fmla="*/ 298653 w 447236"/>
              <a:gd name="connsiteY3363" fmla="*/ 101490 h 448122"/>
              <a:gd name="connsiteX3364" fmla="*/ 137807 w 447236"/>
              <a:gd name="connsiteY3364" fmla="*/ 99364 h 448122"/>
              <a:gd name="connsiteX3365" fmla="*/ 138727 w 447236"/>
              <a:gd name="connsiteY3365" fmla="*/ 101814 h 448122"/>
              <a:gd name="connsiteX3366" fmla="*/ 155286 w 447236"/>
              <a:gd name="connsiteY3366" fmla="*/ 101814 h 448122"/>
              <a:gd name="connsiteX3367" fmla="*/ 156206 w 447236"/>
              <a:gd name="connsiteY3367" fmla="*/ 99364 h 448122"/>
              <a:gd name="connsiteX3368" fmla="*/ 137807 w 447236"/>
              <a:gd name="connsiteY3368" fmla="*/ 99364 h 448122"/>
              <a:gd name="connsiteX3369" fmla="*/ 298653 w 447236"/>
              <a:gd name="connsiteY3369" fmla="*/ 98735 h 448122"/>
              <a:gd name="connsiteX3370" fmla="*/ 298345 w 447236"/>
              <a:gd name="connsiteY3370" fmla="*/ 99041 h 448122"/>
              <a:gd name="connsiteX3371" fmla="*/ 298653 w 447236"/>
              <a:gd name="connsiteY3371" fmla="*/ 99347 h 448122"/>
              <a:gd name="connsiteX3372" fmla="*/ 307888 w 447236"/>
              <a:gd name="connsiteY3372" fmla="*/ 99347 h 448122"/>
              <a:gd name="connsiteX3373" fmla="*/ 308196 w 447236"/>
              <a:gd name="connsiteY3373" fmla="*/ 99041 h 448122"/>
              <a:gd name="connsiteX3374" fmla="*/ 307888 w 447236"/>
              <a:gd name="connsiteY3374" fmla="*/ 98735 h 448122"/>
              <a:gd name="connsiteX3375" fmla="*/ 298653 w 447236"/>
              <a:gd name="connsiteY3375" fmla="*/ 98735 h 448122"/>
              <a:gd name="connsiteX3376" fmla="*/ 298653 w 447236"/>
              <a:gd name="connsiteY3376" fmla="*/ 95675 h 448122"/>
              <a:gd name="connsiteX3377" fmla="*/ 298345 w 447236"/>
              <a:gd name="connsiteY3377" fmla="*/ 95981 h 448122"/>
              <a:gd name="connsiteX3378" fmla="*/ 298653 w 447236"/>
              <a:gd name="connsiteY3378" fmla="*/ 96287 h 448122"/>
              <a:gd name="connsiteX3379" fmla="*/ 307888 w 447236"/>
              <a:gd name="connsiteY3379" fmla="*/ 96287 h 448122"/>
              <a:gd name="connsiteX3380" fmla="*/ 308196 w 447236"/>
              <a:gd name="connsiteY3380" fmla="*/ 95981 h 448122"/>
              <a:gd name="connsiteX3381" fmla="*/ 307888 w 447236"/>
              <a:gd name="connsiteY3381" fmla="*/ 95675 h 448122"/>
              <a:gd name="connsiteX3382" fmla="*/ 298653 w 447236"/>
              <a:gd name="connsiteY3382" fmla="*/ 95675 h 448122"/>
              <a:gd name="connsiteX3383" fmla="*/ 295267 w 447236"/>
              <a:gd name="connsiteY3383" fmla="*/ 92614 h 448122"/>
              <a:gd name="connsiteX3384" fmla="*/ 294959 w 447236"/>
              <a:gd name="connsiteY3384" fmla="*/ 92920 h 448122"/>
              <a:gd name="connsiteX3385" fmla="*/ 295267 w 447236"/>
              <a:gd name="connsiteY3385" fmla="*/ 93226 h 448122"/>
              <a:gd name="connsiteX3386" fmla="*/ 311274 w 447236"/>
              <a:gd name="connsiteY3386" fmla="*/ 93226 h 448122"/>
              <a:gd name="connsiteX3387" fmla="*/ 311582 w 447236"/>
              <a:gd name="connsiteY3387" fmla="*/ 92920 h 448122"/>
              <a:gd name="connsiteX3388" fmla="*/ 311274 w 447236"/>
              <a:gd name="connsiteY3388" fmla="*/ 92614 h 448122"/>
              <a:gd name="connsiteX3389" fmla="*/ 295267 w 447236"/>
              <a:gd name="connsiteY3389" fmla="*/ 92614 h 448122"/>
              <a:gd name="connsiteX3390" fmla="*/ 298653 w 447236"/>
              <a:gd name="connsiteY3390" fmla="*/ 89553 h 448122"/>
              <a:gd name="connsiteX3391" fmla="*/ 298345 w 447236"/>
              <a:gd name="connsiteY3391" fmla="*/ 89859 h 448122"/>
              <a:gd name="connsiteX3392" fmla="*/ 298653 w 447236"/>
              <a:gd name="connsiteY3392" fmla="*/ 90165 h 448122"/>
              <a:gd name="connsiteX3393" fmla="*/ 307888 w 447236"/>
              <a:gd name="connsiteY3393" fmla="*/ 90165 h 448122"/>
              <a:gd name="connsiteX3394" fmla="*/ 308196 w 447236"/>
              <a:gd name="connsiteY3394" fmla="*/ 89859 h 448122"/>
              <a:gd name="connsiteX3395" fmla="*/ 307888 w 447236"/>
              <a:gd name="connsiteY3395" fmla="*/ 89553 h 448122"/>
              <a:gd name="connsiteX3396" fmla="*/ 298653 w 447236"/>
              <a:gd name="connsiteY3396" fmla="*/ 89553 h 448122"/>
              <a:gd name="connsiteX3397" fmla="*/ 298653 w 447236"/>
              <a:gd name="connsiteY3397" fmla="*/ 86798 h 448122"/>
              <a:gd name="connsiteX3398" fmla="*/ 298345 w 447236"/>
              <a:gd name="connsiteY3398" fmla="*/ 87104 h 448122"/>
              <a:gd name="connsiteX3399" fmla="*/ 298653 w 447236"/>
              <a:gd name="connsiteY3399" fmla="*/ 87410 h 448122"/>
              <a:gd name="connsiteX3400" fmla="*/ 307888 w 447236"/>
              <a:gd name="connsiteY3400" fmla="*/ 87410 h 448122"/>
              <a:gd name="connsiteX3401" fmla="*/ 308196 w 447236"/>
              <a:gd name="connsiteY3401" fmla="*/ 87104 h 448122"/>
              <a:gd name="connsiteX3402" fmla="*/ 307888 w 447236"/>
              <a:gd name="connsiteY3402" fmla="*/ 86798 h 448122"/>
              <a:gd name="connsiteX3403" fmla="*/ 298653 w 447236"/>
              <a:gd name="connsiteY3403" fmla="*/ 86798 h 448122"/>
              <a:gd name="connsiteX3404" fmla="*/ 132594 w 447236"/>
              <a:gd name="connsiteY3404" fmla="*/ 86200 h 448122"/>
              <a:gd name="connsiteX3405" fmla="*/ 135354 w 447236"/>
              <a:gd name="connsiteY3405" fmla="*/ 88649 h 448122"/>
              <a:gd name="connsiteX3406" fmla="*/ 136274 w 447236"/>
              <a:gd name="connsiteY3406" fmla="*/ 94160 h 448122"/>
              <a:gd name="connsiteX3407" fmla="*/ 158046 w 447236"/>
              <a:gd name="connsiteY3407" fmla="*/ 94160 h 448122"/>
              <a:gd name="connsiteX3408" fmla="*/ 158659 w 447236"/>
              <a:gd name="connsiteY3408" fmla="*/ 88649 h 448122"/>
              <a:gd name="connsiteX3409" fmla="*/ 161419 w 447236"/>
              <a:gd name="connsiteY3409" fmla="*/ 86200 h 448122"/>
              <a:gd name="connsiteX3410" fmla="*/ 163872 w 447236"/>
              <a:gd name="connsiteY3410" fmla="*/ 88955 h 448122"/>
              <a:gd name="connsiteX3411" fmla="*/ 150380 w 447236"/>
              <a:gd name="connsiteY3411" fmla="*/ 117428 h 448122"/>
              <a:gd name="connsiteX3412" fmla="*/ 152219 w 447236"/>
              <a:gd name="connsiteY3412" fmla="*/ 119264 h 448122"/>
              <a:gd name="connsiteX3413" fmla="*/ 165712 w 447236"/>
              <a:gd name="connsiteY3413" fmla="*/ 145900 h 448122"/>
              <a:gd name="connsiteX3414" fmla="*/ 151606 w 447236"/>
              <a:gd name="connsiteY3414" fmla="*/ 165494 h 448122"/>
              <a:gd name="connsiteX3415" fmla="*/ 150993 w 447236"/>
              <a:gd name="connsiteY3415" fmla="*/ 165800 h 448122"/>
              <a:gd name="connsiteX3416" fmla="*/ 166019 w 447236"/>
              <a:gd name="connsiteY3416" fmla="*/ 194884 h 448122"/>
              <a:gd name="connsiteX3417" fmla="*/ 163566 w 447236"/>
              <a:gd name="connsiteY3417" fmla="*/ 197640 h 448122"/>
              <a:gd name="connsiteX3418" fmla="*/ 161112 w 447236"/>
              <a:gd name="connsiteY3418" fmla="*/ 195191 h 448122"/>
              <a:gd name="connsiteX3419" fmla="*/ 160192 w 447236"/>
              <a:gd name="connsiteY3419" fmla="*/ 188761 h 448122"/>
              <a:gd name="connsiteX3420" fmla="*/ 133820 w 447236"/>
              <a:gd name="connsiteY3420" fmla="*/ 188761 h 448122"/>
              <a:gd name="connsiteX3421" fmla="*/ 133207 w 447236"/>
              <a:gd name="connsiteY3421" fmla="*/ 195191 h 448122"/>
              <a:gd name="connsiteX3422" fmla="*/ 130447 w 447236"/>
              <a:gd name="connsiteY3422" fmla="*/ 197640 h 448122"/>
              <a:gd name="connsiteX3423" fmla="*/ 127994 w 447236"/>
              <a:gd name="connsiteY3423" fmla="*/ 194884 h 448122"/>
              <a:gd name="connsiteX3424" fmla="*/ 143020 w 447236"/>
              <a:gd name="connsiteY3424" fmla="*/ 165800 h 448122"/>
              <a:gd name="connsiteX3425" fmla="*/ 142713 w 447236"/>
              <a:gd name="connsiteY3425" fmla="*/ 165494 h 448122"/>
              <a:gd name="connsiteX3426" fmla="*/ 128301 w 447236"/>
              <a:gd name="connsiteY3426" fmla="*/ 145900 h 448122"/>
              <a:gd name="connsiteX3427" fmla="*/ 141793 w 447236"/>
              <a:gd name="connsiteY3427" fmla="*/ 119264 h 448122"/>
              <a:gd name="connsiteX3428" fmla="*/ 143633 w 447236"/>
              <a:gd name="connsiteY3428" fmla="*/ 117428 h 448122"/>
              <a:gd name="connsiteX3429" fmla="*/ 130447 w 447236"/>
              <a:gd name="connsiteY3429" fmla="*/ 88955 h 448122"/>
              <a:gd name="connsiteX3430" fmla="*/ 132594 w 447236"/>
              <a:gd name="connsiteY3430" fmla="*/ 86200 h 448122"/>
              <a:gd name="connsiteX3431" fmla="*/ 298653 w 447236"/>
              <a:gd name="connsiteY3431" fmla="*/ 83737 h 448122"/>
              <a:gd name="connsiteX3432" fmla="*/ 298345 w 447236"/>
              <a:gd name="connsiteY3432" fmla="*/ 84044 h 448122"/>
              <a:gd name="connsiteX3433" fmla="*/ 298653 w 447236"/>
              <a:gd name="connsiteY3433" fmla="*/ 84656 h 448122"/>
              <a:gd name="connsiteX3434" fmla="*/ 307888 w 447236"/>
              <a:gd name="connsiteY3434" fmla="*/ 84656 h 448122"/>
              <a:gd name="connsiteX3435" fmla="*/ 308196 w 447236"/>
              <a:gd name="connsiteY3435" fmla="*/ 84044 h 448122"/>
              <a:gd name="connsiteX3436" fmla="*/ 307888 w 447236"/>
              <a:gd name="connsiteY3436" fmla="*/ 83737 h 448122"/>
              <a:gd name="connsiteX3437" fmla="*/ 298653 w 447236"/>
              <a:gd name="connsiteY3437" fmla="*/ 83737 h 448122"/>
              <a:gd name="connsiteX3438" fmla="*/ 295267 w 447236"/>
              <a:gd name="connsiteY3438" fmla="*/ 80064 h 448122"/>
              <a:gd name="connsiteX3439" fmla="*/ 294959 w 447236"/>
              <a:gd name="connsiteY3439" fmla="*/ 80371 h 448122"/>
              <a:gd name="connsiteX3440" fmla="*/ 295267 w 447236"/>
              <a:gd name="connsiteY3440" fmla="*/ 80677 h 448122"/>
              <a:gd name="connsiteX3441" fmla="*/ 311274 w 447236"/>
              <a:gd name="connsiteY3441" fmla="*/ 80677 h 448122"/>
              <a:gd name="connsiteX3442" fmla="*/ 311582 w 447236"/>
              <a:gd name="connsiteY3442" fmla="*/ 80371 h 448122"/>
              <a:gd name="connsiteX3443" fmla="*/ 311274 w 447236"/>
              <a:gd name="connsiteY3443" fmla="*/ 80064 h 448122"/>
              <a:gd name="connsiteX3444" fmla="*/ 295267 w 447236"/>
              <a:gd name="connsiteY3444" fmla="*/ 80064 h 448122"/>
              <a:gd name="connsiteX3445" fmla="*/ 287264 w 447236"/>
              <a:gd name="connsiteY3445" fmla="*/ 69964 h 448122"/>
              <a:gd name="connsiteX3446" fmla="*/ 318969 w 447236"/>
              <a:gd name="connsiteY3446" fmla="*/ 69964 h 448122"/>
              <a:gd name="connsiteX3447" fmla="*/ 316199 w 447236"/>
              <a:gd name="connsiteY3447" fmla="*/ 125364 h 448122"/>
              <a:gd name="connsiteX3448" fmla="*/ 313428 w 447236"/>
              <a:gd name="connsiteY3448" fmla="*/ 128119 h 448122"/>
              <a:gd name="connsiteX3449" fmla="*/ 295267 w 447236"/>
              <a:gd name="connsiteY3449" fmla="*/ 128119 h 448122"/>
              <a:gd name="connsiteX3450" fmla="*/ 292497 w 447236"/>
              <a:gd name="connsiteY3450" fmla="*/ 125364 h 448122"/>
              <a:gd name="connsiteX3451" fmla="*/ 287264 w 447236"/>
              <a:gd name="connsiteY3451" fmla="*/ 77616 h 448122"/>
              <a:gd name="connsiteX3452" fmla="*/ 286648 w 447236"/>
              <a:gd name="connsiteY3452" fmla="*/ 76085 h 448122"/>
              <a:gd name="connsiteX3453" fmla="*/ 282954 w 447236"/>
              <a:gd name="connsiteY3453" fmla="*/ 72106 h 448122"/>
              <a:gd name="connsiteX3454" fmla="*/ 286032 w 447236"/>
              <a:gd name="connsiteY3454" fmla="*/ 70270 h 448122"/>
              <a:gd name="connsiteX3455" fmla="*/ 287264 w 447236"/>
              <a:gd name="connsiteY3455" fmla="*/ 69964 h 448122"/>
              <a:gd name="connsiteX3456" fmla="*/ 255380 w 447236"/>
              <a:gd name="connsiteY3456" fmla="*/ 65240 h 448122"/>
              <a:gd name="connsiteX3457" fmla="*/ 257966 w 447236"/>
              <a:gd name="connsiteY3457" fmla="*/ 78161 h 448122"/>
              <a:gd name="connsiteX3458" fmla="*/ 267989 w 447236"/>
              <a:gd name="connsiteY3458" fmla="*/ 76321 h 448122"/>
              <a:gd name="connsiteX3459" fmla="*/ 277826 w 447236"/>
              <a:gd name="connsiteY3459" fmla="*/ 85511 h 448122"/>
              <a:gd name="connsiteX3460" fmla="*/ 278749 w 447236"/>
              <a:gd name="connsiteY3460" fmla="*/ 100521 h 448122"/>
              <a:gd name="connsiteX3461" fmla="*/ 273215 w 447236"/>
              <a:gd name="connsiteY3461" fmla="*/ 111549 h 448122"/>
              <a:gd name="connsiteX3462" fmla="*/ 265529 w 447236"/>
              <a:gd name="connsiteY3462" fmla="*/ 118901 h 448122"/>
              <a:gd name="connsiteX3463" fmla="*/ 256614 w 447236"/>
              <a:gd name="connsiteY3463" fmla="*/ 117676 h 448122"/>
              <a:gd name="connsiteX3464" fmla="*/ 249851 w 447236"/>
              <a:gd name="connsiteY3464" fmla="*/ 119514 h 448122"/>
              <a:gd name="connsiteX3465" fmla="*/ 247084 w 447236"/>
              <a:gd name="connsiteY3465" fmla="*/ 118901 h 448122"/>
              <a:gd name="connsiteX3466" fmla="*/ 239398 w 447236"/>
              <a:gd name="connsiteY3466" fmla="*/ 111549 h 448122"/>
              <a:gd name="connsiteX3467" fmla="*/ 234172 w 447236"/>
              <a:gd name="connsiteY3467" fmla="*/ 100521 h 448122"/>
              <a:gd name="connsiteX3468" fmla="*/ 234787 w 447236"/>
              <a:gd name="connsiteY3468" fmla="*/ 85511 h 448122"/>
              <a:gd name="connsiteX3469" fmla="*/ 244932 w 447236"/>
              <a:gd name="connsiteY3469" fmla="*/ 76321 h 448122"/>
              <a:gd name="connsiteX3470" fmla="*/ 255401 w 447236"/>
              <a:gd name="connsiteY3470" fmla="*/ 78295 h 448122"/>
              <a:gd name="connsiteX3471" fmla="*/ 251367 w 447236"/>
              <a:gd name="connsiteY3471" fmla="*/ 66782 h 448122"/>
              <a:gd name="connsiteX3472" fmla="*/ 255380 w 447236"/>
              <a:gd name="connsiteY3472" fmla="*/ 65240 h 448122"/>
              <a:gd name="connsiteX3473" fmla="*/ 214319 w 447236"/>
              <a:gd name="connsiteY3473" fmla="*/ 61698 h 448122"/>
              <a:gd name="connsiteX3474" fmla="*/ 216090 w 447236"/>
              <a:gd name="connsiteY3474" fmla="*/ 61698 h 448122"/>
              <a:gd name="connsiteX3475" fmla="*/ 216385 w 447236"/>
              <a:gd name="connsiteY3475" fmla="*/ 69669 h 448122"/>
              <a:gd name="connsiteX3476" fmla="*/ 216737 w 447236"/>
              <a:gd name="connsiteY3476" fmla="*/ 69669 h 448122"/>
              <a:gd name="connsiteX3477" fmla="*/ 219402 w 447236"/>
              <a:gd name="connsiteY3477" fmla="*/ 79115 h 448122"/>
              <a:gd name="connsiteX3478" fmla="*/ 220644 w 447236"/>
              <a:gd name="connsiteY3478" fmla="*/ 79115 h 448122"/>
              <a:gd name="connsiteX3479" fmla="*/ 221256 w 447236"/>
              <a:gd name="connsiteY3479" fmla="*/ 79705 h 448122"/>
              <a:gd name="connsiteX3480" fmla="*/ 221256 w 447236"/>
              <a:gd name="connsiteY3480" fmla="*/ 80296 h 448122"/>
              <a:gd name="connsiteX3481" fmla="*/ 220644 w 447236"/>
              <a:gd name="connsiteY3481" fmla="*/ 80886 h 448122"/>
              <a:gd name="connsiteX3482" fmla="*/ 220735 w 447236"/>
              <a:gd name="connsiteY3482" fmla="*/ 80886 h 448122"/>
              <a:gd name="connsiteX3483" fmla="*/ 221961 w 447236"/>
              <a:gd name="connsiteY3483" fmla="*/ 81501 h 448122"/>
              <a:gd name="connsiteX3484" fmla="*/ 224414 w 447236"/>
              <a:gd name="connsiteY3484" fmla="*/ 91645 h 448122"/>
              <a:gd name="connsiteX3485" fmla="*/ 225947 w 447236"/>
              <a:gd name="connsiteY3485" fmla="*/ 96563 h 448122"/>
              <a:gd name="connsiteX3486" fmla="*/ 220122 w 447236"/>
              <a:gd name="connsiteY3486" fmla="*/ 114392 h 448122"/>
              <a:gd name="connsiteX3487" fmla="*/ 215523 w 447236"/>
              <a:gd name="connsiteY3487" fmla="*/ 114392 h 448122"/>
              <a:gd name="connsiteX3488" fmla="*/ 215217 w 447236"/>
              <a:gd name="connsiteY3488" fmla="*/ 114392 h 448122"/>
              <a:gd name="connsiteX3489" fmla="*/ 214910 w 447236"/>
              <a:gd name="connsiteY3489" fmla="*/ 114392 h 448122"/>
              <a:gd name="connsiteX3490" fmla="*/ 214604 w 447236"/>
              <a:gd name="connsiteY3490" fmla="*/ 114392 h 448122"/>
              <a:gd name="connsiteX3491" fmla="*/ 209699 w 447236"/>
              <a:gd name="connsiteY3491" fmla="*/ 114392 h 448122"/>
              <a:gd name="connsiteX3492" fmla="*/ 204181 w 447236"/>
              <a:gd name="connsiteY3492" fmla="*/ 96563 h 448122"/>
              <a:gd name="connsiteX3493" fmla="*/ 205713 w 447236"/>
              <a:gd name="connsiteY3493" fmla="*/ 91645 h 448122"/>
              <a:gd name="connsiteX3494" fmla="*/ 208166 w 447236"/>
              <a:gd name="connsiteY3494" fmla="*/ 81501 h 448122"/>
              <a:gd name="connsiteX3495" fmla="*/ 209392 w 447236"/>
              <a:gd name="connsiteY3495" fmla="*/ 80886 h 448122"/>
              <a:gd name="connsiteX3496" fmla="*/ 209016 w 447236"/>
              <a:gd name="connsiteY3496" fmla="*/ 80886 h 448122"/>
              <a:gd name="connsiteX3497" fmla="*/ 208710 w 447236"/>
              <a:gd name="connsiteY3497" fmla="*/ 80296 h 448122"/>
              <a:gd name="connsiteX3498" fmla="*/ 208710 w 447236"/>
              <a:gd name="connsiteY3498" fmla="*/ 79705 h 448122"/>
              <a:gd name="connsiteX3499" fmla="*/ 209016 w 447236"/>
              <a:gd name="connsiteY3499" fmla="*/ 79115 h 448122"/>
              <a:gd name="connsiteX3500" fmla="*/ 210713 w 447236"/>
              <a:gd name="connsiteY3500" fmla="*/ 79115 h 448122"/>
              <a:gd name="connsiteX3501" fmla="*/ 213378 w 447236"/>
              <a:gd name="connsiteY3501" fmla="*/ 69669 h 448122"/>
              <a:gd name="connsiteX3502" fmla="*/ 213581 w 447236"/>
              <a:gd name="connsiteY3502" fmla="*/ 69669 h 448122"/>
              <a:gd name="connsiteX3503" fmla="*/ 274767 w 447236"/>
              <a:gd name="connsiteY3503" fmla="*/ 42296 h 448122"/>
              <a:gd name="connsiteX3504" fmla="*/ 281214 w 447236"/>
              <a:gd name="connsiteY3504" fmla="*/ 42296 h 448122"/>
              <a:gd name="connsiteX3505" fmla="*/ 281214 w 447236"/>
              <a:gd name="connsiteY3505" fmla="*/ 48733 h 448122"/>
              <a:gd name="connsiteX3506" fmla="*/ 280293 w 447236"/>
              <a:gd name="connsiteY3506" fmla="*/ 50878 h 448122"/>
              <a:gd name="connsiteX3507" fmla="*/ 278144 w 447236"/>
              <a:gd name="connsiteY3507" fmla="*/ 51798 h 448122"/>
              <a:gd name="connsiteX3508" fmla="*/ 277837 w 447236"/>
              <a:gd name="connsiteY3508" fmla="*/ 51798 h 448122"/>
              <a:gd name="connsiteX3509" fmla="*/ 275688 w 447236"/>
              <a:gd name="connsiteY3509" fmla="*/ 50878 h 448122"/>
              <a:gd name="connsiteX3510" fmla="*/ 274767 w 447236"/>
              <a:gd name="connsiteY3510" fmla="*/ 48733 h 448122"/>
              <a:gd name="connsiteX3511" fmla="*/ 274767 w 447236"/>
              <a:gd name="connsiteY3511" fmla="*/ 42296 h 448122"/>
              <a:gd name="connsiteX3512" fmla="*/ 261259 w 447236"/>
              <a:gd name="connsiteY3512" fmla="*/ 42296 h 448122"/>
              <a:gd name="connsiteX3513" fmla="*/ 268013 w 447236"/>
              <a:gd name="connsiteY3513" fmla="*/ 42296 h 448122"/>
              <a:gd name="connsiteX3514" fmla="*/ 268013 w 447236"/>
              <a:gd name="connsiteY3514" fmla="*/ 48733 h 448122"/>
              <a:gd name="connsiteX3515" fmla="*/ 267092 w 447236"/>
              <a:gd name="connsiteY3515" fmla="*/ 50878 h 448122"/>
              <a:gd name="connsiteX3516" fmla="*/ 264943 w 447236"/>
              <a:gd name="connsiteY3516" fmla="*/ 51798 h 448122"/>
              <a:gd name="connsiteX3517" fmla="*/ 264636 w 447236"/>
              <a:gd name="connsiteY3517" fmla="*/ 51798 h 448122"/>
              <a:gd name="connsiteX3518" fmla="*/ 262180 w 447236"/>
              <a:gd name="connsiteY3518" fmla="*/ 50878 h 448122"/>
              <a:gd name="connsiteX3519" fmla="*/ 261259 w 447236"/>
              <a:gd name="connsiteY3519" fmla="*/ 48733 h 448122"/>
              <a:gd name="connsiteX3520" fmla="*/ 261259 w 447236"/>
              <a:gd name="connsiteY3520" fmla="*/ 42296 h 448122"/>
              <a:gd name="connsiteX3521" fmla="*/ 248058 w 447236"/>
              <a:gd name="connsiteY3521" fmla="*/ 42296 h 448122"/>
              <a:gd name="connsiteX3522" fmla="*/ 254505 w 447236"/>
              <a:gd name="connsiteY3522" fmla="*/ 42296 h 448122"/>
              <a:gd name="connsiteX3523" fmla="*/ 254505 w 447236"/>
              <a:gd name="connsiteY3523" fmla="*/ 48733 h 448122"/>
              <a:gd name="connsiteX3524" fmla="*/ 253584 w 447236"/>
              <a:gd name="connsiteY3524" fmla="*/ 50878 h 448122"/>
              <a:gd name="connsiteX3525" fmla="*/ 251435 w 447236"/>
              <a:gd name="connsiteY3525" fmla="*/ 51798 h 448122"/>
              <a:gd name="connsiteX3526" fmla="*/ 251128 w 447236"/>
              <a:gd name="connsiteY3526" fmla="*/ 51798 h 448122"/>
              <a:gd name="connsiteX3527" fmla="*/ 248979 w 447236"/>
              <a:gd name="connsiteY3527" fmla="*/ 50878 h 448122"/>
              <a:gd name="connsiteX3528" fmla="*/ 248058 w 447236"/>
              <a:gd name="connsiteY3528" fmla="*/ 48733 h 448122"/>
              <a:gd name="connsiteX3529" fmla="*/ 248058 w 447236"/>
              <a:gd name="connsiteY3529" fmla="*/ 42296 h 448122"/>
              <a:gd name="connsiteX3530" fmla="*/ 234858 w 447236"/>
              <a:gd name="connsiteY3530" fmla="*/ 42296 h 448122"/>
              <a:gd name="connsiteX3531" fmla="*/ 241305 w 447236"/>
              <a:gd name="connsiteY3531" fmla="*/ 42296 h 448122"/>
              <a:gd name="connsiteX3532" fmla="*/ 241305 w 447236"/>
              <a:gd name="connsiteY3532" fmla="*/ 48733 h 448122"/>
              <a:gd name="connsiteX3533" fmla="*/ 240384 w 447236"/>
              <a:gd name="connsiteY3533" fmla="*/ 50878 h 448122"/>
              <a:gd name="connsiteX3534" fmla="*/ 238235 w 447236"/>
              <a:gd name="connsiteY3534" fmla="*/ 51798 h 448122"/>
              <a:gd name="connsiteX3535" fmla="*/ 237928 w 447236"/>
              <a:gd name="connsiteY3535" fmla="*/ 51798 h 448122"/>
              <a:gd name="connsiteX3536" fmla="*/ 235779 w 447236"/>
              <a:gd name="connsiteY3536" fmla="*/ 50878 h 448122"/>
              <a:gd name="connsiteX3537" fmla="*/ 234858 w 447236"/>
              <a:gd name="connsiteY3537" fmla="*/ 48733 h 448122"/>
              <a:gd name="connsiteX3538" fmla="*/ 234858 w 447236"/>
              <a:gd name="connsiteY3538" fmla="*/ 42296 h 448122"/>
              <a:gd name="connsiteX3539" fmla="*/ 221350 w 447236"/>
              <a:gd name="connsiteY3539" fmla="*/ 42296 h 448122"/>
              <a:gd name="connsiteX3540" fmla="*/ 228104 w 447236"/>
              <a:gd name="connsiteY3540" fmla="*/ 42296 h 448122"/>
              <a:gd name="connsiteX3541" fmla="*/ 228104 w 447236"/>
              <a:gd name="connsiteY3541" fmla="*/ 48733 h 448122"/>
              <a:gd name="connsiteX3542" fmla="*/ 227183 w 447236"/>
              <a:gd name="connsiteY3542" fmla="*/ 50878 h 448122"/>
              <a:gd name="connsiteX3543" fmla="*/ 225034 w 447236"/>
              <a:gd name="connsiteY3543" fmla="*/ 51798 h 448122"/>
              <a:gd name="connsiteX3544" fmla="*/ 224420 w 447236"/>
              <a:gd name="connsiteY3544" fmla="*/ 51798 h 448122"/>
              <a:gd name="connsiteX3545" fmla="*/ 222271 w 447236"/>
              <a:gd name="connsiteY3545" fmla="*/ 50878 h 448122"/>
              <a:gd name="connsiteX3546" fmla="*/ 221350 w 447236"/>
              <a:gd name="connsiteY3546" fmla="*/ 48733 h 448122"/>
              <a:gd name="connsiteX3547" fmla="*/ 221350 w 447236"/>
              <a:gd name="connsiteY3547" fmla="*/ 42296 h 448122"/>
              <a:gd name="connsiteX3548" fmla="*/ 166641 w 447236"/>
              <a:gd name="connsiteY3548" fmla="*/ 37491 h 448122"/>
              <a:gd name="connsiteX3549" fmla="*/ 170335 w 447236"/>
              <a:gd name="connsiteY3549" fmla="*/ 37491 h 448122"/>
              <a:gd name="connsiteX3550" fmla="*/ 171566 w 447236"/>
              <a:gd name="connsiteY3550" fmla="*/ 38715 h 448122"/>
              <a:gd name="connsiteX3551" fmla="*/ 171566 w 447236"/>
              <a:gd name="connsiteY3551" fmla="*/ 46671 h 448122"/>
              <a:gd name="connsiteX3552" fmla="*/ 179877 w 447236"/>
              <a:gd name="connsiteY3552" fmla="*/ 46671 h 448122"/>
              <a:gd name="connsiteX3553" fmla="*/ 181108 w 447236"/>
              <a:gd name="connsiteY3553" fmla="*/ 48201 h 448122"/>
              <a:gd name="connsiteX3554" fmla="*/ 181108 w 447236"/>
              <a:gd name="connsiteY3554" fmla="*/ 51873 h 448122"/>
              <a:gd name="connsiteX3555" fmla="*/ 179877 w 447236"/>
              <a:gd name="connsiteY3555" fmla="*/ 53097 h 448122"/>
              <a:gd name="connsiteX3556" fmla="*/ 171566 w 447236"/>
              <a:gd name="connsiteY3556" fmla="*/ 53097 h 448122"/>
              <a:gd name="connsiteX3557" fmla="*/ 171566 w 447236"/>
              <a:gd name="connsiteY3557" fmla="*/ 61359 h 448122"/>
              <a:gd name="connsiteX3558" fmla="*/ 170335 w 447236"/>
              <a:gd name="connsiteY3558" fmla="*/ 62583 h 448122"/>
              <a:gd name="connsiteX3559" fmla="*/ 166641 w 447236"/>
              <a:gd name="connsiteY3559" fmla="*/ 62583 h 448122"/>
              <a:gd name="connsiteX3560" fmla="*/ 165102 w 447236"/>
              <a:gd name="connsiteY3560" fmla="*/ 61359 h 448122"/>
              <a:gd name="connsiteX3561" fmla="*/ 165102 w 447236"/>
              <a:gd name="connsiteY3561" fmla="*/ 53097 h 448122"/>
              <a:gd name="connsiteX3562" fmla="*/ 157099 w 447236"/>
              <a:gd name="connsiteY3562" fmla="*/ 53097 h 448122"/>
              <a:gd name="connsiteX3563" fmla="*/ 155868 w 447236"/>
              <a:gd name="connsiteY3563" fmla="*/ 51873 h 448122"/>
              <a:gd name="connsiteX3564" fmla="*/ 155868 w 447236"/>
              <a:gd name="connsiteY3564" fmla="*/ 48201 h 448122"/>
              <a:gd name="connsiteX3565" fmla="*/ 157099 w 447236"/>
              <a:gd name="connsiteY3565" fmla="*/ 46671 h 448122"/>
              <a:gd name="connsiteX3566" fmla="*/ 165102 w 447236"/>
              <a:gd name="connsiteY3566" fmla="*/ 46671 h 448122"/>
              <a:gd name="connsiteX3567" fmla="*/ 165102 w 447236"/>
              <a:gd name="connsiteY3567" fmla="*/ 38715 h 448122"/>
              <a:gd name="connsiteX3568" fmla="*/ 166641 w 447236"/>
              <a:gd name="connsiteY3568" fmla="*/ 37491 h 448122"/>
              <a:gd name="connsiteX3569" fmla="*/ 168563 w 447236"/>
              <a:gd name="connsiteY3569" fmla="*/ 32257 h 448122"/>
              <a:gd name="connsiteX3570" fmla="*/ 150771 w 447236"/>
              <a:gd name="connsiteY3570" fmla="*/ 50010 h 448122"/>
              <a:gd name="connsiteX3571" fmla="*/ 168563 w 447236"/>
              <a:gd name="connsiteY3571" fmla="*/ 68069 h 448122"/>
              <a:gd name="connsiteX3572" fmla="*/ 186354 w 447236"/>
              <a:gd name="connsiteY3572" fmla="*/ 50010 h 448122"/>
              <a:gd name="connsiteX3573" fmla="*/ 168563 w 447236"/>
              <a:gd name="connsiteY3573" fmla="*/ 32257 h 448122"/>
              <a:gd name="connsiteX3574" fmla="*/ 277837 w 447236"/>
              <a:gd name="connsiteY3574" fmla="*/ 30956 h 448122"/>
              <a:gd name="connsiteX3575" fmla="*/ 275074 w 447236"/>
              <a:gd name="connsiteY3575" fmla="*/ 32182 h 448122"/>
              <a:gd name="connsiteX3576" fmla="*/ 273846 w 447236"/>
              <a:gd name="connsiteY3576" fmla="*/ 34941 h 448122"/>
              <a:gd name="connsiteX3577" fmla="*/ 273846 w 447236"/>
              <a:gd name="connsiteY3577" fmla="*/ 41377 h 448122"/>
              <a:gd name="connsiteX3578" fmla="*/ 273846 w 447236"/>
              <a:gd name="connsiteY3578" fmla="*/ 41990 h 448122"/>
              <a:gd name="connsiteX3579" fmla="*/ 273846 w 447236"/>
              <a:gd name="connsiteY3579" fmla="*/ 42296 h 448122"/>
              <a:gd name="connsiteX3580" fmla="*/ 273846 w 447236"/>
              <a:gd name="connsiteY3580" fmla="*/ 48733 h 448122"/>
              <a:gd name="connsiteX3581" fmla="*/ 275074 w 447236"/>
              <a:gd name="connsiteY3581" fmla="*/ 51491 h 448122"/>
              <a:gd name="connsiteX3582" fmla="*/ 277837 w 447236"/>
              <a:gd name="connsiteY3582" fmla="*/ 52717 h 448122"/>
              <a:gd name="connsiteX3583" fmla="*/ 278144 w 447236"/>
              <a:gd name="connsiteY3583" fmla="*/ 52717 h 448122"/>
              <a:gd name="connsiteX3584" fmla="*/ 280907 w 447236"/>
              <a:gd name="connsiteY3584" fmla="*/ 51491 h 448122"/>
              <a:gd name="connsiteX3585" fmla="*/ 282134 w 447236"/>
              <a:gd name="connsiteY3585" fmla="*/ 48733 h 448122"/>
              <a:gd name="connsiteX3586" fmla="*/ 282134 w 447236"/>
              <a:gd name="connsiteY3586" fmla="*/ 42296 h 448122"/>
              <a:gd name="connsiteX3587" fmla="*/ 282134 w 447236"/>
              <a:gd name="connsiteY3587" fmla="*/ 41990 h 448122"/>
              <a:gd name="connsiteX3588" fmla="*/ 282134 w 447236"/>
              <a:gd name="connsiteY3588" fmla="*/ 41377 h 448122"/>
              <a:gd name="connsiteX3589" fmla="*/ 282134 w 447236"/>
              <a:gd name="connsiteY3589" fmla="*/ 34941 h 448122"/>
              <a:gd name="connsiteX3590" fmla="*/ 280907 w 447236"/>
              <a:gd name="connsiteY3590" fmla="*/ 32182 h 448122"/>
              <a:gd name="connsiteX3591" fmla="*/ 278144 w 447236"/>
              <a:gd name="connsiteY3591" fmla="*/ 30956 h 448122"/>
              <a:gd name="connsiteX3592" fmla="*/ 277837 w 447236"/>
              <a:gd name="connsiteY3592" fmla="*/ 30956 h 448122"/>
              <a:gd name="connsiteX3593" fmla="*/ 264636 w 447236"/>
              <a:gd name="connsiteY3593" fmla="*/ 30956 h 448122"/>
              <a:gd name="connsiteX3594" fmla="*/ 261566 w 447236"/>
              <a:gd name="connsiteY3594" fmla="*/ 32182 h 448122"/>
              <a:gd name="connsiteX3595" fmla="*/ 260645 w 447236"/>
              <a:gd name="connsiteY3595" fmla="*/ 34941 h 448122"/>
              <a:gd name="connsiteX3596" fmla="*/ 260645 w 447236"/>
              <a:gd name="connsiteY3596" fmla="*/ 41377 h 448122"/>
              <a:gd name="connsiteX3597" fmla="*/ 260645 w 447236"/>
              <a:gd name="connsiteY3597" fmla="*/ 41990 h 448122"/>
              <a:gd name="connsiteX3598" fmla="*/ 260645 w 447236"/>
              <a:gd name="connsiteY3598" fmla="*/ 42296 h 448122"/>
              <a:gd name="connsiteX3599" fmla="*/ 260645 w 447236"/>
              <a:gd name="connsiteY3599" fmla="*/ 48733 h 448122"/>
              <a:gd name="connsiteX3600" fmla="*/ 261566 w 447236"/>
              <a:gd name="connsiteY3600" fmla="*/ 51491 h 448122"/>
              <a:gd name="connsiteX3601" fmla="*/ 264636 w 447236"/>
              <a:gd name="connsiteY3601" fmla="*/ 52717 h 448122"/>
              <a:gd name="connsiteX3602" fmla="*/ 264943 w 447236"/>
              <a:gd name="connsiteY3602" fmla="*/ 52717 h 448122"/>
              <a:gd name="connsiteX3603" fmla="*/ 267706 w 447236"/>
              <a:gd name="connsiteY3603" fmla="*/ 51491 h 448122"/>
              <a:gd name="connsiteX3604" fmla="*/ 268934 w 447236"/>
              <a:gd name="connsiteY3604" fmla="*/ 48733 h 448122"/>
              <a:gd name="connsiteX3605" fmla="*/ 268934 w 447236"/>
              <a:gd name="connsiteY3605" fmla="*/ 42296 h 448122"/>
              <a:gd name="connsiteX3606" fmla="*/ 268934 w 447236"/>
              <a:gd name="connsiteY3606" fmla="*/ 41990 h 448122"/>
              <a:gd name="connsiteX3607" fmla="*/ 268934 w 447236"/>
              <a:gd name="connsiteY3607" fmla="*/ 41377 h 448122"/>
              <a:gd name="connsiteX3608" fmla="*/ 268934 w 447236"/>
              <a:gd name="connsiteY3608" fmla="*/ 34941 h 448122"/>
              <a:gd name="connsiteX3609" fmla="*/ 267706 w 447236"/>
              <a:gd name="connsiteY3609" fmla="*/ 32182 h 448122"/>
              <a:gd name="connsiteX3610" fmla="*/ 264943 w 447236"/>
              <a:gd name="connsiteY3610" fmla="*/ 30956 h 448122"/>
              <a:gd name="connsiteX3611" fmla="*/ 264636 w 447236"/>
              <a:gd name="connsiteY3611" fmla="*/ 30956 h 448122"/>
              <a:gd name="connsiteX3612" fmla="*/ 251128 w 447236"/>
              <a:gd name="connsiteY3612" fmla="*/ 30956 h 448122"/>
              <a:gd name="connsiteX3613" fmla="*/ 248365 w 447236"/>
              <a:gd name="connsiteY3613" fmla="*/ 32182 h 448122"/>
              <a:gd name="connsiteX3614" fmla="*/ 247137 w 447236"/>
              <a:gd name="connsiteY3614" fmla="*/ 34941 h 448122"/>
              <a:gd name="connsiteX3615" fmla="*/ 247137 w 447236"/>
              <a:gd name="connsiteY3615" fmla="*/ 41377 h 448122"/>
              <a:gd name="connsiteX3616" fmla="*/ 247137 w 447236"/>
              <a:gd name="connsiteY3616" fmla="*/ 41990 h 448122"/>
              <a:gd name="connsiteX3617" fmla="*/ 247137 w 447236"/>
              <a:gd name="connsiteY3617" fmla="*/ 42296 h 448122"/>
              <a:gd name="connsiteX3618" fmla="*/ 247137 w 447236"/>
              <a:gd name="connsiteY3618" fmla="*/ 48733 h 448122"/>
              <a:gd name="connsiteX3619" fmla="*/ 248365 w 447236"/>
              <a:gd name="connsiteY3619" fmla="*/ 51491 h 448122"/>
              <a:gd name="connsiteX3620" fmla="*/ 251128 w 447236"/>
              <a:gd name="connsiteY3620" fmla="*/ 52717 h 448122"/>
              <a:gd name="connsiteX3621" fmla="*/ 251435 w 447236"/>
              <a:gd name="connsiteY3621" fmla="*/ 52717 h 448122"/>
              <a:gd name="connsiteX3622" fmla="*/ 254198 w 447236"/>
              <a:gd name="connsiteY3622" fmla="*/ 51491 h 448122"/>
              <a:gd name="connsiteX3623" fmla="*/ 255426 w 447236"/>
              <a:gd name="connsiteY3623" fmla="*/ 48733 h 448122"/>
              <a:gd name="connsiteX3624" fmla="*/ 255426 w 447236"/>
              <a:gd name="connsiteY3624" fmla="*/ 42296 h 448122"/>
              <a:gd name="connsiteX3625" fmla="*/ 255426 w 447236"/>
              <a:gd name="connsiteY3625" fmla="*/ 41990 h 448122"/>
              <a:gd name="connsiteX3626" fmla="*/ 255426 w 447236"/>
              <a:gd name="connsiteY3626" fmla="*/ 41377 h 448122"/>
              <a:gd name="connsiteX3627" fmla="*/ 255426 w 447236"/>
              <a:gd name="connsiteY3627" fmla="*/ 34941 h 448122"/>
              <a:gd name="connsiteX3628" fmla="*/ 254198 w 447236"/>
              <a:gd name="connsiteY3628" fmla="*/ 32182 h 448122"/>
              <a:gd name="connsiteX3629" fmla="*/ 251435 w 447236"/>
              <a:gd name="connsiteY3629" fmla="*/ 30956 h 448122"/>
              <a:gd name="connsiteX3630" fmla="*/ 251128 w 447236"/>
              <a:gd name="connsiteY3630" fmla="*/ 30956 h 448122"/>
              <a:gd name="connsiteX3631" fmla="*/ 237928 w 447236"/>
              <a:gd name="connsiteY3631" fmla="*/ 30956 h 448122"/>
              <a:gd name="connsiteX3632" fmla="*/ 235165 w 447236"/>
              <a:gd name="connsiteY3632" fmla="*/ 32182 h 448122"/>
              <a:gd name="connsiteX3633" fmla="*/ 233937 w 447236"/>
              <a:gd name="connsiteY3633" fmla="*/ 34941 h 448122"/>
              <a:gd name="connsiteX3634" fmla="*/ 233937 w 447236"/>
              <a:gd name="connsiteY3634" fmla="*/ 41377 h 448122"/>
              <a:gd name="connsiteX3635" fmla="*/ 233937 w 447236"/>
              <a:gd name="connsiteY3635" fmla="*/ 41990 h 448122"/>
              <a:gd name="connsiteX3636" fmla="*/ 233937 w 447236"/>
              <a:gd name="connsiteY3636" fmla="*/ 42296 h 448122"/>
              <a:gd name="connsiteX3637" fmla="*/ 233937 w 447236"/>
              <a:gd name="connsiteY3637" fmla="*/ 48733 h 448122"/>
              <a:gd name="connsiteX3638" fmla="*/ 235165 w 447236"/>
              <a:gd name="connsiteY3638" fmla="*/ 51491 h 448122"/>
              <a:gd name="connsiteX3639" fmla="*/ 237928 w 447236"/>
              <a:gd name="connsiteY3639" fmla="*/ 52717 h 448122"/>
              <a:gd name="connsiteX3640" fmla="*/ 238235 w 447236"/>
              <a:gd name="connsiteY3640" fmla="*/ 52717 h 448122"/>
              <a:gd name="connsiteX3641" fmla="*/ 240998 w 447236"/>
              <a:gd name="connsiteY3641" fmla="*/ 51491 h 448122"/>
              <a:gd name="connsiteX3642" fmla="*/ 242225 w 447236"/>
              <a:gd name="connsiteY3642" fmla="*/ 48733 h 448122"/>
              <a:gd name="connsiteX3643" fmla="*/ 242225 w 447236"/>
              <a:gd name="connsiteY3643" fmla="*/ 42296 h 448122"/>
              <a:gd name="connsiteX3644" fmla="*/ 242225 w 447236"/>
              <a:gd name="connsiteY3644" fmla="*/ 41990 h 448122"/>
              <a:gd name="connsiteX3645" fmla="*/ 242225 w 447236"/>
              <a:gd name="connsiteY3645" fmla="*/ 41377 h 448122"/>
              <a:gd name="connsiteX3646" fmla="*/ 242225 w 447236"/>
              <a:gd name="connsiteY3646" fmla="*/ 34941 h 448122"/>
              <a:gd name="connsiteX3647" fmla="*/ 240998 w 447236"/>
              <a:gd name="connsiteY3647" fmla="*/ 32182 h 448122"/>
              <a:gd name="connsiteX3648" fmla="*/ 238235 w 447236"/>
              <a:gd name="connsiteY3648" fmla="*/ 30956 h 448122"/>
              <a:gd name="connsiteX3649" fmla="*/ 237928 w 447236"/>
              <a:gd name="connsiteY3649" fmla="*/ 30956 h 448122"/>
              <a:gd name="connsiteX3650" fmla="*/ 224420 w 447236"/>
              <a:gd name="connsiteY3650" fmla="*/ 30956 h 448122"/>
              <a:gd name="connsiteX3651" fmla="*/ 221657 w 447236"/>
              <a:gd name="connsiteY3651" fmla="*/ 32182 h 448122"/>
              <a:gd name="connsiteX3652" fmla="*/ 220736 w 447236"/>
              <a:gd name="connsiteY3652" fmla="*/ 34941 h 448122"/>
              <a:gd name="connsiteX3653" fmla="*/ 220736 w 447236"/>
              <a:gd name="connsiteY3653" fmla="*/ 41377 h 448122"/>
              <a:gd name="connsiteX3654" fmla="*/ 220736 w 447236"/>
              <a:gd name="connsiteY3654" fmla="*/ 41990 h 448122"/>
              <a:gd name="connsiteX3655" fmla="*/ 220736 w 447236"/>
              <a:gd name="connsiteY3655" fmla="*/ 42296 h 448122"/>
              <a:gd name="connsiteX3656" fmla="*/ 220736 w 447236"/>
              <a:gd name="connsiteY3656" fmla="*/ 48733 h 448122"/>
              <a:gd name="connsiteX3657" fmla="*/ 221657 w 447236"/>
              <a:gd name="connsiteY3657" fmla="*/ 51491 h 448122"/>
              <a:gd name="connsiteX3658" fmla="*/ 224420 w 447236"/>
              <a:gd name="connsiteY3658" fmla="*/ 52717 h 448122"/>
              <a:gd name="connsiteX3659" fmla="*/ 225034 w 447236"/>
              <a:gd name="connsiteY3659" fmla="*/ 52717 h 448122"/>
              <a:gd name="connsiteX3660" fmla="*/ 227797 w 447236"/>
              <a:gd name="connsiteY3660" fmla="*/ 51491 h 448122"/>
              <a:gd name="connsiteX3661" fmla="*/ 228718 w 447236"/>
              <a:gd name="connsiteY3661" fmla="*/ 48733 h 448122"/>
              <a:gd name="connsiteX3662" fmla="*/ 228718 w 447236"/>
              <a:gd name="connsiteY3662" fmla="*/ 42296 h 448122"/>
              <a:gd name="connsiteX3663" fmla="*/ 228718 w 447236"/>
              <a:gd name="connsiteY3663" fmla="*/ 41990 h 448122"/>
              <a:gd name="connsiteX3664" fmla="*/ 228718 w 447236"/>
              <a:gd name="connsiteY3664" fmla="*/ 41377 h 448122"/>
              <a:gd name="connsiteX3665" fmla="*/ 228718 w 447236"/>
              <a:gd name="connsiteY3665" fmla="*/ 34941 h 448122"/>
              <a:gd name="connsiteX3666" fmla="*/ 227797 w 447236"/>
              <a:gd name="connsiteY3666" fmla="*/ 32182 h 448122"/>
              <a:gd name="connsiteX3667" fmla="*/ 225034 w 447236"/>
              <a:gd name="connsiteY3667" fmla="*/ 30956 h 448122"/>
              <a:gd name="connsiteX3668" fmla="*/ 224420 w 447236"/>
              <a:gd name="connsiteY3668" fmla="*/ 30956 h 448122"/>
              <a:gd name="connsiteX3669" fmla="*/ 220429 w 447236"/>
              <a:gd name="connsiteY3669" fmla="*/ 27278 h 448122"/>
              <a:gd name="connsiteX3670" fmla="*/ 219508 w 447236"/>
              <a:gd name="connsiteY3670" fmla="*/ 28198 h 448122"/>
              <a:gd name="connsiteX3671" fmla="*/ 220429 w 447236"/>
              <a:gd name="connsiteY3671" fmla="*/ 28811 h 448122"/>
              <a:gd name="connsiteX3672" fmla="*/ 282748 w 447236"/>
              <a:gd name="connsiteY3672" fmla="*/ 28811 h 448122"/>
              <a:gd name="connsiteX3673" fmla="*/ 283669 w 447236"/>
              <a:gd name="connsiteY3673" fmla="*/ 28198 h 448122"/>
              <a:gd name="connsiteX3674" fmla="*/ 282748 w 447236"/>
              <a:gd name="connsiteY3674" fmla="*/ 27278 h 448122"/>
              <a:gd name="connsiteX3675" fmla="*/ 220429 w 447236"/>
              <a:gd name="connsiteY3675" fmla="*/ 27278 h 448122"/>
              <a:gd name="connsiteX3676" fmla="*/ 148931 w 447236"/>
              <a:gd name="connsiteY3676" fmla="*/ 22462 h 448122"/>
              <a:gd name="connsiteX3677" fmla="*/ 188501 w 447236"/>
              <a:gd name="connsiteY3677" fmla="*/ 22462 h 448122"/>
              <a:gd name="connsiteX3678" fmla="*/ 201997 w 447236"/>
              <a:gd name="connsiteY3678" fmla="*/ 38379 h 448122"/>
              <a:gd name="connsiteX3679" fmla="*/ 201997 w 447236"/>
              <a:gd name="connsiteY3679" fmla="*/ 63172 h 448122"/>
              <a:gd name="connsiteX3680" fmla="*/ 188194 w 447236"/>
              <a:gd name="connsiteY3680" fmla="*/ 79088 h 448122"/>
              <a:gd name="connsiteX3681" fmla="*/ 148624 w 447236"/>
              <a:gd name="connsiteY3681" fmla="*/ 79088 h 448122"/>
              <a:gd name="connsiteX3682" fmla="*/ 135128 w 447236"/>
              <a:gd name="connsiteY3682" fmla="*/ 62866 h 448122"/>
              <a:gd name="connsiteX3683" fmla="*/ 135128 w 447236"/>
              <a:gd name="connsiteY3683" fmla="*/ 38073 h 448122"/>
              <a:gd name="connsiteX3684" fmla="*/ 148931 w 447236"/>
              <a:gd name="connsiteY3684" fmla="*/ 22462 h 448122"/>
              <a:gd name="connsiteX3685" fmla="*/ 148318 w 447236"/>
              <a:gd name="connsiteY3685" fmla="*/ 20932 h 448122"/>
              <a:gd name="connsiteX3686" fmla="*/ 133594 w 447236"/>
              <a:gd name="connsiteY3686" fmla="*/ 37767 h 448122"/>
              <a:gd name="connsiteX3687" fmla="*/ 133594 w 447236"/>
              <a:gd name="connsiteY3687" fmla="*/ 63478 h 448122"/>
              <a:gd name="connsiteX3688" fmla="*/ 148011 w 447236"/>
              <a:gd name="connsiteY3688" fmla="*/ 80313 h 448122"/>
              <a:gd name="connsiteX3689" fmla="*/ 188807 w 447236"/>
              <a:gd name="connsiteY3689" fmla="*/ 80313 h 448122"/>
              <a:gd name="connsiteX3690" fmla="*/ 203531 w 447236"/>
              <a:gd name="connsiteY3690" fmla="*/ 63478 h 448122"/>
              <a:gd name="connsiteX3691" fmla="*/ 203531 w 447236"/>
              <a:gd name="connsiteY3691" fmla="*/ 37767 h 448122"/>
              <a:gd name="connsiteX3692" fmla="*/ 189114 w 447236"/>
              <a:gd name="connsiteY3692" fmla="*/ 20932 h 448122"/>
              <a:gd name="connsiteX3693" fmla="*/ 188807 w 447236"/>
              <a:gd name="connsiteY3693" fmla="*/ 20932 h 448122"/>
              <a:gd name="connsiteX3694" fmla="*/ 148318 w 447236"/>
              <a:gd name="connsiteY3694" fmla="*/ 20932 h 448122"/>
              <a:gd name="connsiteX3695" fmla="*/ 274767 w 447236"/>
              <a:gd name="connsiteY3695" fmla="*/ 14712 h 448122"/>
              <a:gd name="connsiteX3696" fmla="*/ 281214 w 447236"/>
              <a:gd name="connsiteY3696" fmla="*/ 14712 h 448122"/>
              <a:gd name="connsiteX3697" fmla="*/ 281214 w 447236"/>
              <a:gd name="connsiteY3697" fmla="*/ 21148 h 448122"/>
              <a:gd name="connsiteX3698" fmla="*/ 280293 w 447236"/>
              <a:gd name="connsiteY3698" fmla="*/ 23294 h 448122"/>
              <a:gd name="connsiteX3699" fmla="*/ 278144 w 447236"/>
              <a:gd name="connsiteY3699" fmla="*/ 24213 h 448122"/>
              <a:gd name="connsiteX3700" fmla="*/ 277837 w 447236"/>
              <a:gd name="connsiteY3700" fmla="*/ 24213 h 448122"/>
              <a:gd name="connsiteX3701" fmla="*/ 275688 w 447236"/>
              <a:gd name="connsiteY3701" fmla="*/ 23294 h 448122"/>
              <a:gd name="connsiteX3702" fmla="*/ 274767 w 447236"/>
              <a:gd name="connsiteY3702" fmla="*/ 21148 h 448122"/>
              <a:gd name="connsiteX3703" fmla="*/ 274767 w 447236"/>
              <a:gd name="connsiteY3703" fmla="*/ 14712 h 448122"/>
              <a:gd name="connsiteX3704" fmla="*/ 261259 w 447236"/>
              <a:gd name="connsiteY3704" fmla="*/ 14712 h 448122"/>
              <a:gd name="connsiteX3705" fmla="*/ 268013 w 447236"/>
              <a:gd name="connsiteY3705" fmla="*/ 14712 h 448122"/>
              <a:gd name="connsiteX3706" fmla="*/ 268013 w 447236"/>
              <a:gd name="connsiteY3706" fmla="*/ 21148 h 448122"/>
              <a:gd name="connsiteX3707" fmla="*/ 267092 w 447236"/>
              <a:gd name="connsiteY3707" fmla="*/ 23294 h 448122"/>
              <a:gd name="connsiteX3708" fmla="*/ 264943 w 447236"/>
              <a:gd name="connsiteY3708" fmla="*/ 24213 h 448122"/>
              <a:gd name="connsiteX3709" fmla="*/ 264636 w 447236"/>
              <a:gd name="connsiteY3709" fmla="*/ 24213 h 448122"/>
              <a:gd name="connsiteX3710" fmla="*/ 262180 w 447236"/>
              <a:gd name="connsiteY3710" fmla="*/ 23294 h 448122"/>
              <a:gd name="connsiteX3711" fmla="*/ 261259 w 447236"/>
              <a:gd name="connsiteY3711" fmla="*/ 21148 h 448122"/>
              <a:gd name="connsiteX3712" fmla="*/ 261259 w 447236"/>
              <a:gd name="connsiteY3712" fmla="*/ 14712 h 448122"/>
              <a:gd name="connsiteX3713" fmla="*/ 248058 w 447236"/>
              <a:gd name="connsiteY3713" fmla="*/ 14712 h 448122"/>
              <a:gd name="connsiteX3714" fmla="*/ 254505 w 447236"/>
              <a:gd name="connsiteY3714" fmla="*/ 14712 h 448122"/>
              <a:gd name="connsiteX3715" fmla="*/ 254505 w 447236"/>
              <a:gd name="connsiteY3715" fmla="*/ 21148 h 448122"/>
              <a:gd name="connsiteX3716" fmla="*/ 253584 w 447236"/>
              <a:gd name="connsiteY3716" fmla="*/ 23294 h 448122"/>
              <a:gd name="connsiteX3717" fmla="*/ 251435 w 447236"/>
              <a:gd name="connsiteY3717" fmla="*/ 24213 h 448122"/>
              <a:gd name="connsiteX3718" fmla="*/ 251128 w 447236"/>
              <a:gd name="connsiteY3718" fmla="*/ 24213 h 448122"/>
              <a:gd name="connsiteX3719" fmla="*/ 248979 w 447236"/>
              <a:gd name="connsiteY3719" fmla="*/ 23294 h 448122"/>
              <a:gd name="connsiteX3720" fmla="*/ 248058 w 447236"/>
              <a:gd name="connsiteY3720" fmla="*/ 21148 h 448122"/>
              <a:gd name="connsiteX3721" fmla="*/ 248058 w 447236"/>
              <a:gd name="connsiteY3721" fmla="*/ 14712 h 448122"/>
              <a:gd name="connsiteX3722" fmla="*/ 234858 w 447236"/>
              <a:gd name="connsiteY3722" fmla="*/ 14712 h 448122"/>
              <a:gd name="connsiteX3723" fmla="*/ 241305 w 447236"/>
              <a:gd name="connsiteY3723" fmla="*/ 14712 h 448122"/>
              <a:gd name="connsiteX3724" fmla="*/ 241305 w 447236"/>
              <a:gd name="connsiteY3724" fmla="*/ 21148 h 448122"/>
              <a:gd name="connsiteX3725" fmla="*/ 240384 w 447236"/>
              <a:gd name="connsiteY3725" fmla="*/ 23294 h 448122"/>
              <a:gd name="connsiteX3726" fmla="*/ 238235 w 447236"/>
              <a:gd name="connsiteY3726" fmla="*/ 24213 h 448122"/>
              <a:gd name="connsiteX3727" fmla="*/ 237928 w 447236"/>
              <a:gd name="connsiteY3727" fmla="*/ 24213 h 448122"/>
              <a:gd name="connsiteX3728" fmla="*/ 235779 w 447236"/>
              <a:gd name="connsiteY3728" fmla="*/ 23294 h 448122"/>
              <a:gd name="connsiteX3729" fmla="*/ 234858 w 447236"/>
              <a:gd name="connsiteY3729" fmla="*/ 21148 h 448122"/>
              <a:gd name="connsiteX3730" fmla="*/ 234858 w 447236"/>
              <a:gd name="connsiteY3730" fmla="*/ 14712 h 448122"/>
              <a:gd name="connsiteX3731" fmla="*/ 221350 w 447236"/>
              <a:gd name="connsiteY3731" fmla="*/ 14712 h 448122"/>
              <a:gd name="connsiteX3732" fmla="*/ 228104 w 447236"/>
              <a:gd name="connsiteY3732" fmla="*/ 14712 h 448122"/>
              <a:gd name="connsiteX3733" fmla="*/ 228104 w 447236"/>
              <a:gd name="connsiteY3733" fmla="*/ 21148 h 448122"/>
              <a:gd name="connsiteX3734" fmla="*/ 227183 w 447236"/>
              <a:gd name="connsiteY3734" fmla="*/ 23294 h 448122"/>
              <a:gd name="connsiteX3735" fmla="*/ 225034 w 447236"/>
              <a:gd name="connsiteY3735" fmla="*/ 24213 h 448122"/>
              <a:gd name="connsiteX3736" fmla="*/ 224420 w 447236"/>
              <a:gd name="connsiteY3736" fmla="*/ 24213 h 448122"/>
              <a:gd name="connsiteX3737" fmla="*/ 222271 w 447236"/>
              <a:gd name="connsiteY3737" fmla="*/ 23294 h 448122"/>
              <a:gd name="connsiteX3738" fmla="*/ 221350 w 447236"/>
              <a:gd name="connsiteY3738" fmla="*/ 21148 h 448122"/>
              <a:gd name="connsiteX3739" fmla="*/ 221350 w 447236"/>
              <a:gd name="connsiteY3739" fmla="*/ 14712 h 448122"/>
              <a:gd name="connsiteX3740" fmla="*/ 159590 w 447236"/>
              <a:gd name="connsiteY3740" fmla="*/ 5899 h 448122"/>
              <a:gd name="connsiteX3741" fmla="*/ 156521 w 447236"/>
              <a:gd name="connsiteY3741" fmla="*/ 7121 h 448122"/>
              <a:gd name="connsiteX3742" fmla="*/ 155294 w 447236"/>
              <a:gd name="connsiteY3742" fmla="*/ 10785 h 448122"/>
              <a:gd name="connsiteX3743" fmla="*/ 155294 w 447236"/>
              <a:gd name="connsiteY3743" fmla="*/ 17565 h 448122"/>
              <a:gd name="connsiteX3744" fmla="*/ 163671 w 447236"/>
              <a:gd name="connsiteY3744" fmla="*/ 17565 h 448122"/>
              <a:gd name="connsiteX3745" fmla="*/ 163249 w 447236"/>
              <a:gd name="connsiteY3745" fmla="*/ 16925 h 448122"/>
              <a:gd name="connsiteX3746" fmla="*/ 163249 w 447236"/>
              <a:gd name="connsiteY3746" fmla="*/ 15991 h 448122"/>
              <a:gd name="connsiteX3747" fmla="*/ 163865 w 447236"/>
              <a:gd name="connsiteY3747" fmla="*/ 15056 h 448122"/>
              <a:gd name="connsiteX3748" fmla="*/ 172805 w 447236"/>
              <a:gd name="connsiteY3748" fmla="*/ 15056 h 448122"/>
              <a:gd name="connsiteX3749" fmla="*/ 173729 w 447236"/>
              <a:gd name="connsiteY3749" fmla="*/ 15991 h 448122"/>
              <a:gd name="connsiteX3750" fmla="*/ 173729 w 447236"/>
              <a:gd name="connsiteY3750" fmla="*/ 16925 h 448122"/>
              <a:gd name="connsiteX3751" fmla="*/ 173097 w 447236"/>
              <a:gd name="connsiteY3751" fmla="*/ 17565 h 448122"/>
              <a:gd name="connsiteX3752" fmla="*/ 181684 w 447236"/>
              <a:gd name="connsiteY3752" fmla="*/ 17565 h 448122"/>
              <a:gd name="connsiteX3753" fmla="*/ 181684 w 447236"/>
              <a:gd name="connsiteY3753" fmla="*/ 12389 h 448122"/>
              <a:gd name="connsiteX3754" fmla="*/ 181684 w 447236"/>
              <a:gd name="connsiteY3754" fmla="*/ 11396 h 448122"/>
              <a:gd name="connsiteX3755" fmla="*/ 180150 w 447236"/>
              <a:gd name="connsiteY3755" fmla="*/ 7426 h 448122"/>
              <a:gd name="connsiteX3756" fmla="*/ 176774 w 447236"/>
              <a:gd name="connsiteY3756" fmla="*/ 5899 h 448122"/>
              <a:gd name="connsiteX3757" fmla="*/ 159590 w 447236"/>
              <a:gd name="connsiteY3757" fmla="*/ 5899 h 448122"/>
              <a:gd name="connsiteX3758" fmla="*/ 277837 w 447236"/>
              <a:gd name="connsiteY3758" fmla="*/ 3371 h 448122"/>
              <a:gd name="connsiteX3759" fmla="*/ 275074 w 447236"/>
              <a:gd name="connsiteY3759" fmla="*/ 4597 h 448122"/>
              <a:gd name="connsiteX3760" fmla="*/ 273846 w 447236"/>
              <a:gd name="connsiteY3760" fmla="*/ 7356 h 448122"/>
              <a:gd name="connsiteX3761" fmla="*/ 273846 w 447236"/>
              <a:gd name="connsiteY3761" fmla="*/ 13792 h 448122"/>
              <a:gd name="connsiteX3762" fmla="*/ 273846 w 447236"/>
              <a:gd name="connsiteY3762" fmla="*/ 14405 h 448122"/>
              <a:gd name="connsiteX3763" fmla="*/ 273846 w 447236"/>
              <a:gd name="connsiteY3763" fmla="*/ 14712 h 448122"/>
              <a:gd name="connsiteX3764" fmla="*/ 273846 w 447236"/>
              <a:gd name="connsiteY3764" fmla="*/ 21148 h 448122"/>
              <a:gd name="connsiteX3765" fmla="*/ 275074 w 447236"/>
              <a:gd name="connsiteY3765" fmla="*/ 23907 h 448122"/>
              <a:gd name="connsiteX3766" fmla="*/ 277837 w 447236"/>
              <a:gd name="connsiteY3766" fmla="*/ 25133 h 448122"/>
              <a:gd name="connsiteX3767" fmla="*/ 278144 w 447236"/>
              <a:gd name="connsiteY3767" fmla="*/ 25133 h 448122"/>
              <a:gd name="connsiteX3768" fmla="*/ 280907 w 447236"/>
              <a:gd name="connsiteY3768" fmla="*/ 23907 h 448122"/>
              <a:gd name="connsiteX3769" fmla="*/ 282134 w 447236"/>
              <a:gd name="connsiteY3769" fmla="*/ 21148 h 448122"/>
              <a:gd name="connsiteX3770" fmla="*/ 282134 w 447236"/>
              <a:gd name="connsiteY3770" fmla="*/ 14712 h 448122"/>
              <a:gd name="connsiteX3771" fmla="*/ 282134 w 447236"/>
              <a:gd name="connsiteY3771" fmla="*/ 14405 h 448122"/>
              <a:gd name="connsiteX3772" fmla="*/ 282134 w 447236"/>
              <a:gd name="connsiteY3772" fmla="*/ 13792 h 448122"/>
              <a:gd name="connsiteX3773" fmla="*/ 282134 w 447236"/>
              <a:gd name="connsiteY3773" fmla="*/ 7356 h 448122"/>
              <a:gd name="connsiteX3774" fmla="*/ 280907 w 447236"/>
              <a:gd name="connsiteY3774" fmla="*/ 4597 h 448122"/>
              <a:gd name="connsiteX3775" fmla="*/ 278144 w 447236"/>
              <a:gd name="connsiteY3775" fmla="*/ 3371 h 448122"/>
              <a:gd name="connsiteX3776" fmla="*/ 277837 w 447236"/>
              <a:gd name="connsiteY3776" fmla="*/ 3371 h 448122"/>
              <a:gd name="connsiteX3777" fmla="*/ 264636 w 447236"/>
              <a:gd name="connsiteY3777" fmla="*/ 3371 h 448122"/>
              <a:gd name="connsiteX3778" fmla="*/ 261566 w 447236"/>
              <a:gd name="connsiteY3778" fmla="*/ 4597 h 448122"/>
              <a:gd name="connsiteX3779" fmla="*/ 260645 w 447236"/>
              <a:gd name="connsiteY3779" fmla="*/ 7356 h 448122"/>
              <a:gd name="connsiteX3780" fmla="*/ 260645 w 447236"/>
              <a:gd name="connsiteY3780" fmla="*/ 13792 h 448122"/>
              <a:gd name="connsiteX3781" fmla="*/ 260645 w 447236"/>
              <a:gd name="connsiteY3781" fmla="*/ 14405 h 448122"/>
              <a:gd name="connsiteX3782" fmla="*/ 260645 w 447236"/>
              <a:gd name="connsiteY3782" fmla="*/ 14712 h 448122"/>
              <a:gd name="connsiteX3783" fmla="*/ 260645 w 447236"/>
              <a:gd name="connsiteY3783" fmla="*/ 21148 h 448122"/>
              <a:gd name="connsiteX3784" fmla="*/ 261566 w 447236"/>
              <a:gd name="connsiteY3784" fmla="*/ 23907 h 448122"/>
              <a:gd name="connsiteX3785" fmla="*/ 264636 w 447236"/>
              <a:gd name="connsiteY3785" fmla="*/ 25133 h 448122"/>
              <a:gd name="connsiteX3786" fmla="*/ 264943 w 447236"/>
              <a:gd name="connsiteY3786" fmla="*/ 25133 h 448122"/>
              <a:gd name="connsiteX3787" fmla="*/ 267706 w 447236"/>
              <a:gd name="connsiteY3787" fmla="*/ 23907 h 448122"/>
              <a:gd name="connsiteX3788" fmla="*/ 268934 w 447236"/>
              <a:gd name="connsiteY3788" fmla="*/ 21148 h 448122"/>
              <a:gd name="connsiteX3789" fmla="*/ 268934 w 447236"/>
              <a:gd name="connsiteY3789" fmla="*/ 14712 h 448122"/>
              <a:gd name="connsiteX3790" fmla="*/ 268934 w 447236"/>
              <a:gd name="connsiteY3790" fmla="*/ 14405 h 448122"/>
              <a:gd name="connsiteX3791" fmla="*/ 268934 w 447236"/>
              <a:gd name="connsiteY3791" fmla="*/ 13792 h 448122"/>
              <a:gd name="connsiteX3792" fmla="*/ 268934 w 447236"/>
              <a:gd name="connsiteY3792" fmla="*/ 7356 h 448122"/>
              <a:gd name="connsiteX3793" fmla="*/ 267706 w 447236"/>
              <a:gd name="connsiteY3793" fmla="*/ 4597 h 448122"/>
              <a:gd name="connsiteX3794" fmla="*/ 264943 w 447236"/>
              <a:gd name="connsiteY3794" fmla="*/ 3371 h 448122"/>
              <a:gd name="connsiteX3795" fmla="*/ 264636 w 447236"/>
              <a:gd name="connsiteY3795" fmla="*/ 3371 h 448122"/>
              <a:gd name="connsiteX3796" fmla="*/ 251128 w 447236"/>
              <a:gd name="connsiteY3796" fmla="*/ 3371 h 448122"/>
              <a:gd name="connsiteX3797" fmla="*/ 248365 w 447236"/>
              <a:gd name="connsiteY3797" fmla="*/ 4597 h 448122"/>
              <a:gd name="connsiteX3798" fmla="*/ 247137 w 447236"/>
              <a:gd name="connsiteY3798" fmla="*/ 7356 h 448122"/>
              <a:gd name="connsiteX3799" fmla="*/ 247137 w 447236"/>
              <a:gd name="connsiteY3799" fmla="*/ 13792 h 448122"/>
              <a:gd name="connsiteX3800" fmla="*/ 247137 w 447236"/>
              <a:gd name="connsiteY3800" fmla="*/ 14405 h 448122"/>
              <a:gd name="connsiteX3801" fmla="*/ 247137 w 447236"/>
              <a:gd name="connsiteY3801" fmla="*/ 14712 h 448122"/>
              <a:gd name="connsiteX3802" fmla="*/ 247137 w 447236"/>
              <a:gd name="connsiteY3802" fmla="*/ 21148 h 448122"/>
              <a:gd name="connsiteX3803" fmla="*/ 248365 w 447236"/>
              <a:gd name="connsiteY3803" fmla="*/ 23907 h 448122"/>
              <a:gd name="connsiteX3804" fmla="*/ 251128 w 447236"/>
              <a:gd name="connsiteY3804" fmla="*/ 25133 h 448122"/>
              <a:gd name="connsiteX3805" fmla="*/ 251435 w 447236"/>
              <a:gd name="connsiteY3805" fmla="*/ 25133 h 448122"/>
              <a:gd name="connsiteX3806" fmla="*/ 254198 w 447236"/>
              <a:gd name="connsiteY3806" fmla="*/ 23907 h 448122"/>
              <a:gd name="connsiteX3807" fmla="*/ 255426 w 447236"/>
              <a:gd name="connsiteY3807" fmla="*/ 21148 h 448122"/>
              <a:gd name="connsiteX3808" fmla="*/ 255426 w 447236"/>
              <a:gd name="connsiteY3808" fmla="*/ 14712 h 448122"/>
              <a:gd name="connsiteX3809" fmla="*/ 255426 w 447236"/>
              <a:gd name="connsiteY3809" fmla="*/ 14405 h 448122"/>
              <a:gd name="connsiteX3810" fmla="*/ 255426 w 447236"/>
              <a:gd name="connsiteY3810" fmla="*/ 13792 h 448122"/>
              <a:gd name="connsiteX3811" fmla="*/ 255426 w 447236"/>
              <a:gd name="connsiteY3811" fmla="*/ 7356 h 448122"/>
              <a:gd name="connsiteX3812" fmla="*/ 254198 w 447236"/>
              <a:gd name="connsiteY3812" fmla="*/ 4597 h 448122"/>
              <a:gd name="connsiteX3813" fmla="*/ 251435 w 447236"/>
              <a:gd name="connsiteY3813" fmla="*/ 3371 h 448122"/>
              <a:gd name="connsiteX3814" fmla="*/ 251128 w 447236"/>
              <a:gd name="connsiteY3814" fmla="*/ 3371 h 448122"/>
              <a:gd name="connsiteX3815" fmla="*/ 237928 w 447236"/>
              <a:gd name="connsiteY3815" fmla="*/ 3371 h 448122"/>
              <a:gd name="connsiteX3816" fmla="*/ 235165 w 447236"/>
              <a:gd name="connsiteY3816" fmla="*/ 4597 h 448122"/>
              <a:gd name="connsiteX3817" fmla="*/ 233937 w 447236"/>
              <a:gd name="connsiteY3817" fmla="*/ 7356 h 448122"/>
              <a:gd name="connsiteX3818" fmla="*/ 233937 w 447236"/>
              <a:gd name="connsiteY3818" fmla="*/ 13792 h 448122"/>
              <a:gd name="connsiteX3819" fmla="*/ 233937 w 447236"/>
              <a:gd name="connsiteY3819" fmla="*/ 14405 h 448122"/>
              <a:gd name="connsiteX3820" fmla="*/ 233937 w 447236"/>
              <a:gd name="connsiteY3820" fmla="*/ 14712 h 448122"/>
              <a:gd name="connsiteX3821" fmla="*/ 233937 w 447236"/>
              <a:gd name="connsiteY3821" fmla="*/ 21148 h 448122"/>
              <a:gd name="connsiteX3822" fmla="*/ 235165 w 447236"/>
              <a:gd name="connsiteY3822" fmla="*/ 23907 h 448122"/>
              <a:gd name="connsiteX3823" fmla="*/ 237928 w 447236"/>
              <a:gd name="connsiteY3823" fmla="*/ 25133 h 448122"/>
              <a:gd name="connsiteX3824" fmla="*/ 238235 w 447236"/>
              <a:gd name="connsiteY3824" fmla="*/ 25133 h 448122"/>
              <a:gd name="connsiteX3825" fmla="*/ 240998 w 447236"/>
              <a:gd name="connsiteY3825" fmla="*/ 23907 h 448122"/>
              <a:gd name="connsiteX3826" fmla="*/ 242225 w 447236"/>
              <a:gd name="connsiteY3826" fmla="*/ 21148 h 448122"/>
              <a:gd name="connsiteX3827" fmla="*/ 242225 w 447236"/>
              <a:gd name="connsiteY3827" fmla="*/ 14712 h 448122"/>
              <a:gd name="connsiteX3828" fmla="*/ 242225 w 447236"/>
              <a:gd name="connsiteY3828" fmla="*/ 14405 h 448122"/>
              <a:gd name="connsiteX3829" fmla="*/ 242225 w 447236"/>
              <a:gd name="connsiteY3829" fmla="*/ 13792 h 448122"/>
              <a:gd name="connsiteX3830" fmla="*/ 242225 w 447236"/>
              <a:gd name="connsiteY3830" fmla="*/ 7356 h 448122"/>
              <a:gd name="connsiteX3831" fmla="*/ 240998 w 447236"/>
              <a:gd name="connsiteY3831" fmla="*/ 4597 h 448122"/>
              <a:gd name="connsiteX3832" fmla="*/ 238235 w 447236"/>
              <a:gd name="connsiteY3832" fmla="*/ 3371 h 448122"/>
              <a:gd name="connsiteX3833" fmla="*/ 237928 w 447236"/>
              <a:gd name="connsiteY3833" fmla="*/ 3371 h 448122"/>
              <a:gd name="connsiteX3834" fmla="*/ 224420 w 447236"/>
              <a:gd name="connsiteY3834" fmla="*/ 3371 h 448122"/>
              <a:gd name="connsiteX3835" fmla="*/ 221657 w 447236"/>
              <a:gd name="connsiteY3835" fmla="*/ 4597 h 448122"/>
              <a:gd name="connsiteX3836" fmla="*/ 220736 w 447236"/>
              <a:gd name="connsiteY3836" fmla="*/ 7356 h 448122"/>
              <a:gd name="connsiteX3837" fmla="*/ 220736 w 447236"/>
              <a:gd name="connsiteY3837" fmla="*/ 13792 h 448122"/>
              <a:gd name="connsiteX3838" fmla="*/ 220736 w 447236"/>
              <a:gd name="connsiteY3838" fmla="*/ 14405 h 448122"/>
              <a:gd name="connsiteX3839" fmla="*/ 220736 w 447236"/>
              <a:gd name="connsiteY3839" fmla="*/ 14712 h 448122"/>
              <a:gd name="connsiteX3840" fmla="*/ 220736 w 447236"/>
              <a:gd name="connsiteY3840" fmla="*/ 21148 h 448122"/>
              <a:gd name="connsiteX3841" fmla="*/ 221657 w 447236"/>
              <a:gd name="connsiteY3841" fmla="*/ 23907 h 448122"/>
              <a:gd name="connsiteX3842" fmla="*/ 224420 w 447236"/>
              <a:gd name="connsiteY3842" fmla="*/ 25133 h 448122"/>
              <a:gd name="connsiteX3843" fmla="*/ 225034 w 447236"/>
              <a:gd name="connsiteY3843" fmla="*/ 25133 h 448122"/>
              <a:gd name="connsiteX3844" fmla="*/ 227797 w 447236"/>
              <a:gd name="connsiteY3844" fmla="*/ 23907 h 448122"/>
              <a:gd name="connsiteX3845" fmla="*/ 228718 w 447236"/>
              <a:gd name="connsiteY3845" fmla="*/ 21148 h 448122"/>
              <a:gd name="connsiteX3846" fmla="*/ 228718 w 447236"/>
              <a:gd name="connsiteY3846" fmla="*/ 14712 h 448122"/>
              <a:gd name="connsiteX3847" fmla="*/ 228718 w 447236"/>
              <a:gd name="connsiteY3847" fmla="*/ 14405 h 448122"/>
              <a:gd name="connsiteX3848" fmla="*/ 228718 w 447236"/>
              <a:gd name="connsiteY3848" fmla="*/ 13792 h 448122"/>
              <a:gd name="connsiteX3849" fmla="*/ 228718 w 447236"/>
              <a:gd name="connsiteY3849" fmla="*/ 7356 h 448122"/>
              <a:gd name="connsiteX3850" fmla="*/ 227797 w 447236"/>
              <a:gd name="connsiteY3850" fmla="*/ 4597 h 448122"/>
              <a:gd name="connsiteX3851" fmla="*/ 225034 w 447236"/>
              <a:gd name="connsiteY3851" fmla="*/ 3371 h 448122"/>
              <a:gd name="connsiteX3852" fmla="*/ 224420 w 447236"/>
              <a:gd name="connsiteY3852" fmla="*/ 3371 h 448122"/>
              <a:gd name="connsiteX3853" fmla="*/ 294376 w 447236"/>
              <a:gd name="connsiteY3853" fmla="*/ 1624 h 448122"/>
              <a:gd name="connsiteX3854" fmla="*/ 315815 w 447236"/>
              <a:gd name="connsiteY3854" fmla="*/ 1624 h 448122"/>
              <a:gd name="connsiteX3855" fmla="*/ 317346 w 447236"/>
              <a:gd name="connsiteY3855" fmla="*/ 3154 h 448122"/>
              <a:gd name="connsiteX3856" fmla="*/ 317346 w 447236"/>
              <a:gd name="connsiteY3856" fmla="*/ 4071 h 448122"/>
              <a:gd name="connsiteX3857" fmla="*/ 315815 w 447236"/>
              <a:gd name="connsiteY3857" fmla="*/ 5601 h 448122"/>
              <a:gd name="connsiteX3858" fmla="*/ 312446 w 447236"/>
              <a:gd name="connsiteY3858" fmla="*/ 5601 h 448122"/>
              <a:gd name="connsiteX3859" fmla="*/ 312446 w 447236"/>
              <a:gd name="connsiteY3859" fmla="*/ 18451 h 448122"/>
              <a:gd name="connsiteX3860" fmla="*/ 310998 w 447236"/>
              <a:gd name="connsiteY3860" fmla="*/ 18451 h 448122"/>
              <a:gd name="connsiteX3861" fmla="*/ 310998 w 447236"/>
              <a:gd name="connsiteY3861" fmla="*/ 24925 h 448122"/>
              <a:gd name="connsiteX3862" fmla="*/ 310998 w 447236"/>
              <a:gd name="connsiteY3862" fmla="*/ 26040 h 448122"/>
              <a:gd name="connsiteX3863" fmla="*/ 309770 w 447236"/>
              <a:gd name="connsiteY3863" fmla="*/ 28807 h 448122"/>
              <a:gd name="connsiteX3864" fmla="*/ 307005 w 447236"/>
              <a:gd name="connsiteY3864" fmla="*/ 31882 h 448122"/>
              <a:gd name="connsiteX3865" fmla="*/ 306084 w 447236"/>
              <a:gd name="connsiteY3865" fmla="*/ 33727 h 448122"/>
              <a:gd name="connsiteX3866" fmla="*/ 307005 w 447236"/>
              <a:gd name="connsiteY3866" fmla="*/ 35572 h 448122"/>
              <a:gd name="connsiteX3867" fmla="*/ 309770 w 447236"/>
              <a:gd name="connsiteY3867" fmla="*/ 38648 h 448122"/>
              <a:gd name="connsiteX3868" fmla="*/ 310998 w 447236"/>
              <a:gd name="connsiteY3868" fmla="*/ 41415 h 448122"/>
              <a:gd name="connsiteX3869" fmla="*/ 310998 w 447236"/>
              <a:gd name="connsiteY3869" fmla="*/ 48709 h 448122"/>
              <a:gd name="connsiteX3870" fmla="*/ 312446 w 447236"/>
              <a:gd name="connsiteY3870" fmla="*/ 48709 h 448122"/>
              <a:gd name="connsiteX3871" fmla="*/ 312446 w 447236"/>
              <a:gd name="connsiteY3871" fmla="*/ 61362 h 448122"/>
              <a:gd name="connsiteX3872" fmla="*/ 315815 w 447236"/>
              <a:gd name="connsiteY3872" fmla="*/ 61362 h 448122"/>
              <a:gd name="connsiteX3873" fmla="*/ 317346 w 447236"/>
              <a:gd name="connsiteY3873" fmla="*/ 62905 h 448122"/>
              <a:gd name="connsiteX3874" fmla="*/ 317346 w 447236"/>
              <a:gd name="connsiteY3874" fmla="*/ 63831 h 448122"/>
              <a:gd name="connsiteX3875" fmla="*/ 315815 w 447236"/>
              <a:gd name="connsiteY3875" fmla="*/ 65683 h 448122"/>
              <a:gd name="connsiteX3876" fmla="*/ 294376 w 447236"/>
              <a:gd name="connsiteY3876" fmla="*/ 65683 h 448122"/>
              <a:gd name="connsiteX3877" fmla="*/ 292844 w 447236"/>
              <a:gd name="connsiteY3877" fmla="*/ 63831 h 448122"/>
              <a:gd name="connsiteX3878" fmla="*/ 292844 w 447236"/>
              <a:gd name="connsiteY3878" fmla="*/ 62905 h 448122"/>
              <a:gd name="connsiteX3879" fmla="*/ 294376 w 447236"/>
              <a:gd name="connsiteY3879" fmla="*/ 61362 h 448122"/>
              <a:gd name="connsiteX3880" fmla="*/ 297745 w 447236"/>
              <a:gd name="connsiteY3880" fmla="*/ 61362 h 448122"/>
              <a:gd name="connsiteX3881" fmla="*/ 297745 w 447236"/>
              <a:gd name="connsiteY3881" fmla="*/ 48709 h 448122"/>
              <a:gd name="connsiteX3882" fmla="*/ 299633 w 447236"/>
              <a:gd name="connsiteY3882" fmla="*/ 48709 h 448122"/>
              <a:gd name="connsiteX3883" fmla="*/ 299633 w 447236"/>
              <a:gd name="connsiteY3883" fmla="*/ 42530 h 448122"/>
              <a:gd name="connsiteX3884" fmla="*/ 299633 w 447236"/>
              <a:gd name="connsiteY3884" fmla="*/ 41415 h 448122"/>
              <a:gd name="connsiteX3885" fmla="*/ 300555 w 447236"/>
              <a:gd name="connsiteY3885" fmla="*/ 38648 h 448122"/>
              <a:gd name="connsiteX3886" fmla="*/ 303319 w 447236"/>
              <a:gd name="connsiteY3886" fmla="*/ 35572 h 448122"/>
              <a:gd name="connsiteX3887" fmla="*/ 304241 w 447236"/>
              <a:gd name="connsiteY3887" fmla="*/ 33727 h 448122"/>
              <a:gd name="connsiteX3888" fmla="*/ 303319 w 447236"/>
              <a:gd name="connsiteY3888" fmla="*/ 31882 h 448122"/>
              <a:gd name="connsiteX3889" fmla="*/ 300555 w 447236"/>
              <a:gd name="connsiteY3889" fmla="*/ 28807 h 448122"/>
              <a:gd name="connsiteX3890" fmla="*/ 299633 w 447236"/>
              <a:gd name="connsiteY3890" fmla="*/ 26040 h 448122"/>
              <a:gd name="connsiteX3891" fmla="*/ 299633 w 447236"/>
              <a:gd name="connsiteY3891" fmla="*/ 18451 h 448122"/>
              <a:gd name="connsiteX3892" fmla="*/ 299582 w 447236"/>
              <a:gd name="connsiteY3892" fmla="*/ 18451 h 448122"/>
              <a:gd name="connsiteX3893" fmla="*/ 297745 w 447236"/>
              <a:gd name="connsiteY3893" fmla="*/ 18451 h 448122"/>
              <a:gd name="connsiteX3894" fmla="*/ 297745 w 447236"/>
              <a:gd name="connsiteY3894" fmla="*/ 5601 h 448122"/>
              <a:gd name="connsiteX3895" fmla="*/ 294376 w 447236"/>
              <a:gd name="connsiteY3895" fmla="*/ 5601 h 448122"/>
              <a:gd name="connsiteX3896" fmla="*/ 292844 w 447236"/>
              <a:gd name="connsiteY3896" fmla="*/ 4071 h 448122"/>
              <a:gd name="connsiteX3897" fmla="*/ 292844 w 447236"/>
              <a:gd name="connsiteY3897" fmla="*/ 3154 h 448122"/>
              <a:gd name="connsiteX3898" fmla="*/ 294376 w 447236"/>
              <a:gd name="connsiteY3898" fmla="*/ 1624 h 448122"/>
              <a:gd name="connsiteX3899" fmla="*/ 159590 w 447236"/>
              <a:gd name="connsiteY3899" fmla="*/ 1624 h 448122"/>
              <a:gd name="connsiteX3900" fmla="*/ 176774 w 447236"/>
              <a:gd name="connsiteY3900" fmla="*/ 1624 h 448122"/>
              <a:gd name="connsiteX3901" fmla="*/ 183525 w 447236"/>
              <a:gd name="connsiteY3901" fmla="*/ 4372 h 448122"/>
              <a:gd name="connsiteX3902" fmla="*/ 185980 w 447236"/>
              <a:gd name="connsiteY3902" fmla="*/ 11396 h 448122"/>
              <a:gd name="connsiteX3903" fmla="*/ 185980 w 447236"/>
              <a:gd name="connsiteY3903" fmla="*/ 17565 h 448122"/>
              <a:gd name="connsiteX3904" fmla="*/ 190849 w 447236"/>
              <a:gd name="connsiteY3904" fmla="*/ 17565 h 448122"/>
              <a:gd name="connsiteX3905" fmla="*/ 191568 w 447236"/>
              <a:gd name="connsiteY3905" fmla="*/ 17565 h 448122"/>
              <a:gd name="connsiteX3906" fmla="*/ 207825 w 447236"/>
              <a:gd name="connsiteY3906" fmla="*/ 36236 h 448122"/>
              <a:gd name="connsiteX3907" fmla="*/ 207825 w 447236"/>
              <a:gd name="connsiteY3907" fmla="*/ 65315 h 448122"/>
              <a:gd name="connsiteX3908" fmla="*/ 191568 w 447236"/>
              <a:gd name="connsiteY3908" fmla="*/ 83986 h 448122"/>
              <a:gd name="connsiteX3909" fmla="*/ 188860 w 447236"/>
              <a:gd name="connsiteY3909" fmla="*/ 83986 h 448122"/>
              <a:gd name="connsiteX3910" fmla="*/ 189079 w 447236"/>
              <a:gd name="connsiteY3910" fmla="*/ 84318 h 448122"/>
              <a:gd name="connsiteX3911" fmla="*/ 189079 w 447236"/>
              <a:gd name="connsiteY3911" fmla="*/ 86163 h 448122"/>
              <a:gd name="connsiteX3912" fmla="*/ 188470 w 447236"/>
              <a:gd name="connsiteY3912" fmla="*/ 87086 h 448122"/>
              <a:gd name="connsiteX3913" fmla="*/ 185122 w 447236"/>
              <a:gd name="connsiteY3913" fmla="*/ 87086 h 448122"/>
              <a:gd name="connsiteX3914" fmla="*/ 184208 w 447236"/>
              <a:gd name="connsiteY3914" fmla="*/ 86163 h 448122"/>
              <a:gd name="connsiteX3915" fmla="*/ 184208 w 447236"/>
              <a:gd name="connsiteY3915" fmla="*/ 84318 h 448122"/>
              <a:gd name="connsiteX3916" fmla="*/ 184538 w 447236"/>
              <a:gd name="connsiteY3916" fmla="*/ 83986 h 448122"/>
              <a:gd name="connsiteX3917" fmla="*/ 164968 w 447236"/>
              <a:gd name="connsiteY3917" fmla="*/ 83986 h 448122"/>
              <a:gd name="connsiteX3918" fmla="*/ 152579 w 447236"/>
              <a:gd name="connsiteY3918" fmla="*/ 83986 h 448122"/>
              <a:gd name="connsiteX3919" fmla="*/ 152917 w 447236"/>
              <a:gd name="connsiteY3919" fmla="*/ 84318 h 448122"/>
              <a:gd name="connsiteX3920" fmla="*/ 152917 w 447236"/>
              <a:gd name="connsiteY3920" fmla="*/ 86163 h 448122"/>
              <a:gd name="connsiteX3921" fmla="*/ 151979 w 447236"/>
              <a:gd name="connsiteY3921" fmla="*/ 87086 h 448122"/>
              <a:gd name="connsiteX3922" fmla="*/ 148541 w 447236"/>
              <a:gd name="connsiteY3922" fmla="*/ 87086 h 448122"/>
              <a:gd name="connsiteX3923" fmla="*/ 147603 w 447236"/>
              <a:gd name="connsiteY3923" fmla="*/ 86163 h 448122"/>
              <a:gd name="connsiteX3924" fmla="*/ 147603 w 447236"/>
              <a:gd name="connsiteY3924" fmla="*/ 84318 h 448122"/>
              <a:gd name="connsiteX3925" fmla="*/ 147941 w 447236"/>
              <a:gd name="connsiteY3925" fmla="*/ 83986 h 448122"/>
              <a:gd name="connsiteX3926" fmla="*/ 146276 w 447236"/>
              <a:gd name="connsiteY3926" fmla="*/ 83986 h 448122"/>
              <a:gd name="connsiteX3927" fmla="*/ 145557 w 447236"/>
              <a:gd name="connsiteY3927" fmla="*/ 83986 h 448122"/>
              <a:gd name="connsiteX3928" fmla="*/ 129300 w 447236"/>
              <a:gd name="connsiteY3928" fmla="*/ 65008 h 448122"/>
              <a:gd name="connsiteX3929" fmla="*/ 129300 w 447236"/>
              <a:gd name="connsiteY3929" fmla="*/ 35930 h 448122"/>
              <a:gd name="connsiteX3930" fmla="*/ 145557 w 447236"/>
              <a:gd name="connsiteY3930" fmla="*/ 17565 h 448122"/>
              <a:gd name="connsiteX3931" fmla="*/ 150998 w 447236"/>
              <a:gd name="connsiteY3931" fmla="*/ 17565 h 448122"/>
              <a:gd name="connsiteX3932" fmla="*/ 150998 w 447236"/>
              <a:gd name="connsiteY3932" fmla="*/ 11854 h 448122"/>
              <a:gd name="connsiteX3933" fmla="*/ 150998 w 447236"/>
              <a:gd name="connsiteY3933" fmla="*/ 10785 h 448122"/>
              <a:gd name="connsiteX3934" fmla="*/ 153453 w 447236"/>
              <a:gd name="connsiteY3934" fmla="*/ 4372 h 448122"/>
              <a:gd name="connsiteX3935" fmla="*/ 159590 w 447236"/>
              <a:gd name="connsiteY3935" fmla="*/ 1624 h 448122"/>
              <a:gd name="connsiteX3936" fmla="*/ 216438 w 447236"/>
              <a:gd name="connsiteY3936" fmla="*/ 0 h 448122"/>
              <a:gd name="connsiteX3937" fmla="*/ 286739 w 447236"/>
              <a:gd name="connsiteY3937" fmla="*/ 0 h 448122"/>
              <a:gd name="connsiteX3938" fmla="*/ 291958 w 447236"/>
              <a:gd name="connsiteY3938" fmla="*/ 4904 h 448122"/>
              <a:gd name="connsiteX3939" fmla="*/ 291958 w 447236"/>
              <a:gd name="connsiteY3939" fmla="*/ 51185 h 448122"/>
              <a:gd name="connsiteX3940" fmla="*/ 286739 w 447236"/>
              <a:gd name="connsiteY3940" fmla="*/ 56089 h 448122"/>
              <a:gd name="connsiteX3941" fmla="*/ 216438 w 447236"/>
              <a:gd name="connsiteY3941" fmla="*/ 56089 h 448122"/>
              <a:gd name="connsiteX3942" fmla="*/ 211219 w 447236"/>
              <a:gd name="connsiteY3942" fmla="*/ 51185 h 448122"/>
              <a:gd name="connsiteX3943" fmla="*/ 211219 w 447236"/>
              <a:gd name="connsiteY3943" fmla="*/ 4904 h 448122"/>
              <a:gd name="connsiteX3944" fmla="*/ 216438 w 447236"/>
              <a:gd name="connsiteY3944" fmla="*/ 0 h 448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</a:cxnLst>
            <a:rect l="l" t="t" r="r" b="b"/>
            <a:pathLst>
              <a:path w="447236" h="448122">
                <a:moveTo>
                  <a:pt x="155052" y="428506"/>
                </a:moveTo>
                <a:cubicBezTo>
                  <a:pt x="154439" y="428506"/>
                  <a:pt x="153825" y="429119"/>
                  <a:pt x="153825" y="430038"/>
                </a:cubicBezTo>
                <a:cubicBezTo>
                  <a:pt x="153825" y="433716"/>
                  <a:pt x="153825" y="433716"/>
                  <a:pt x="153825" y="433716"/>
                </a:cubicBezTo>
                <a:cubicBezTo>
                  <a:pt x="153825" y="434329"/>
                  <a:pt x="154439" y="434942"/>
                  <a:pt x="155052" y="434942"/>
                </a:cubicBezTo>
                <a:cubicBezTo>
                  <a:pt x="161189" y="434942"/>
                  <a:pt x="161189" y="434942"/>
                  <a:pt x="161189" y="434942"/>
                </a:cubicBezTo>
                <a:cubicBezTo>
                  <a:pt x="161803" y="434942"/>
                  <a:pt x="162417" y="434329"/>
                  <a:pt x="162417" y="433716"/>
                </a:cubicBezTo>
                <a:cubicBezTo>
                  <a:pt x="162417" y="430038"/>
                  <a:pt x="162417" y="430038"/>
                  <a:pt x="162417" y="430038"/>
                </a:cubicBezTo>
                <a:cubicBezTo>
                  <a:pt x="162417" y="429119"/>
                  <a:pt x="161803" y="428506"/>
                  <a:pt x="161189" y="428506"/>
                </a:cubicBezTo>
                <a:cubicBezTo>
                  <a:pt x="155052" y="428506"/>
                  <a:pt x="155052" y="428506"/>
                  <a:pt x="155052" y="428506"/>
                </a:cubicBezTo>
                <a:close/>
                <a:moveTo>
                  <a:pt x="144312" y="428506"/>
                </a:moveTo>
                <a:cubicBezTo>
                  <a:pt x="143698" y="428506"/>
                  <a:pt x="143085" y="429119"/>
                  <a:pt x="143085" y="430038"/>
                </a:cubicBezTo>
                <a:cubicBezTo>
                  <a:pt x="143085" y="433716"/>
                  <a:pt x="143085" y="433716"/>
                  <a:pt x="143085" y="433716"/>
                </a:cubicBezTo>
                <a:cubicBezTo>
                  <a:pt x="143085" y="434329"/>
                  <a:pt x="143698" y="434942"/>
                  <a:pt x="144312" y="434942"/>
                </a:cubicBezTo>
                <a:cubicBezTo>
                  <a:pt x="150449" y="434942"/>
                  <a:pt x="150449" y="434942"/>
                  <a:pt x="150449" y="434942"/>
                </a:cubicBezTo>
                <a:cubicBezTo>
                  <a:pt x="151063" y="434942"/>
                  <a:pt x="151677" y="434329"/>
                  <a:pt x="151677" y="433716"/>
                </a:cubicBezTo>
                <a:cubicBezTo>
                  <a:pt x="151677" y="430038"/>
                  <a:pt x="151677" y="430038"/>
                  <a:pt x="151677" y="430038"/>
                </a:cubicBezTo>
                <a:cubicBezTo>
                  <a:pt x="151677" y="429119"/>
                  <a:pt x="151063" y="428506"/>
                  <a:pt x="150449" y="428506"/>
                </a:cubicBezTo>
                <a:cubicBezTo>
                  <a:pt x="144312" y="428506"/>
                  <a:pt x="144312" y="428506"/>
                  <a:pt x="144312" y="428506"/>
                </a:cubicBezTo>
                <a:close/>
                <a:moveTo>
                  <a:pt x="133572" y="428506"/>
                </a:moveTo>
                <a:cubicBezTo>
                  <a:pt x="132958" y="428506"/>
                  <a:pt x="132345" y="429119"/>
                  <a:pt x="132345" y="430038"/>
                </a:cubicBezTo>
                <a:cubicBezTo>
                  <a:pt x="132345" y="433716"/>
                  <a:pt x="132345" y="433716"/>
                  <a:pt x="132345" y="433716"/>
                </a:cubicBezTo>
                <a:cubicBezTo>
                  <a:pt x="132345" y="434329"/>
                  <a:pt x="132958" y="434942"/>
                  <a:pt x="133572" y="434942"/>
                </a:cubicBezTo>
                <a:cubicBezTo>
                  <a:pt x="139709" y="434942"/>
                  <a:pt x="139709" y="434942"/>
                  <a:pt x="139709" y="434942"/>
                </a:cubicBezTo>
                <a:cubicBezTo>
                  <a:pt x="140323" y="434942"/>
                  <a:pt x="140937" y="434329"/>
                  <a:pt x="140937" y="433716"/>
                </a:cubicBezTo>
                <a:cubicBezTo>
                  <a:pt x="140937" y="430038"/>
                  <a:pt x="140937" y="430038"/>
                  <a:pt x="140937" y="430038"/>
                </a:cubicBezTo>
                <a:cubicBezTo>
                  <a:pt x="140937" y="429119"/>
                  <a:pt x="140323" y="428506"/>
                  <a:pt x="139709" y="428506"/>
                </a:cubicBezTo>
                <a:cubicBezTo>
                  <a:pt x="133572" y="428506"/>
                  <a:pt x="133572" y="428506"/>
                  <a:pt x="133572" y="428506"/>
                </a:cubicBezTo>
                <a:close/>
                <a:moveTo>
                  <a:pt x="213492" y="421388"/>
                </a:moveTo>
                <a:lnTo>
                  <a:pt x="213946" y="422000"/>
                </a:lnTo>
                <a:cubicBezTo>
                  <a:pt x="214253" y="422000"/>
                  <a:pt x="214253" y="422000"/>
                  <a:pt x="214253" y="422307"/>
                </a:cubicBezTo>
                <a:cubicBezTo>
                  <a:pt x="213946" y="422919"/>
                  <a:pt x="213639" y="423225"/>
                  <a:pt x="213024" y="423838"/>
                </a:cubicBezTo>
                <a:lnTo>
                  <a:pt x="212533" y="423674"/>
                </a:lnTo>
                <a:close/>
                <a:moveTo>
                  <a:pt x="234451" y="420576"/>
                </a:moveTo>
                <a:lnTo>
                  <a:pt x="234389" y="425298"/>
                </a:lnTo>
                <a:lnTo>
                  <a:pt x="234499" y="425160"/>
                </a:lnTo>
                <a:cubicBezTo>
                  <a:pt x="235113" y="423628"/>
                  <a:pt x="235420" y="422403"/>
                  <a:pt x="235113" y="421484"/>
                </a:cubicBezTo>
                <a:cubicBezTo>
                  <a:pt x="235113" y="421177"/>
                  <a:pt x="235113" y="420871"/>
                  <a:pt x="234806" y="420871"/>
                </a:cubicBezTo>
                <a:close/>
                <a:moveTo>
                  <a:pt x="232056" y="420445"/>
                </a:moveTo>
                <a:lnTo>
                  <a:pt x="231459" y="420871"/>
                </a:lnTo>
                <a:cubicBezTo>
                  <a:pt x="231459" y="420871"/>
                  <a:pt x="231152" y="421177"/>
                  <a:pt x="231152" y="421484"/>
                </a:cubicBezTo>
                <a:cubicBezTo>
                  <a:pt x="231152" y="422403"/>
                  <a:pt x="231152" y="423628"/>
                  <a:pt x="232073" y="425160"/>
                </a:cubicBezTo>
                <a:lnTo>
                  <a:pt x="232141" y="425248"/>
                </a:lnTo>
                <a:close/>
                <a:moveTo>
                  <a:pt x="170985" y="417599"/>
                </a:moveTo>
                <a:lnTo>
                  <a:pt x="171995" y="420044"/>
                </a:lnTo>
                <a:lnTo>
                  <a:pt x="171262" y="420775"/>
                </a:lnTo>
                <a:cubicBezTo>
                  <a:pt x="171262" y="420775"/>
                  <a:pt x="170954" y="421082"/>
                  <a:pt x="170954" y="421082"/>
                </a:cubicBezTo>
                <a:cubicBezTo>
                  <a:pt x="170647" y="420163"/>
                  <a:pt x="170033" y="419550"/>
                  <a:pt x="169726" y="418938"/>
                </a:cubicBezTo>
                <a:close/>
                <a:moveTo>
                  <a:pt x="155052" y="416859"/>
                </a:moveTo>
                <a:cubicBezTo>
                  <a:pt x="154439" y="416859"/>
                  <a:pt x="153825" y="417472"/>
                  <a:pt x="153825" y="418085"/>
                </a:cubicBezTo>
                <a:cubicBezTo>
                  <a:pt x="153825" y="422069"/>
                  <a:pt x="153825" y="422069"/>
                  <a:pt x="153825" y="422069"/>
                </a:cubicBezTo>
                <a:cubicBezTo>
                  <a:pt x="153825" y="422682"/>
                  <a:pt x="154439" y="423295"/>
                  <a:pt x="155052" y="423295"/>
                </a:cubicBezTo>
                <a:cubicBezTo>
                  <a:pt x="161189" y="423295"/>
                  <a:pt x="161189" y="423295"/>
                  <a:pt x="161189" y="423295"/>
                </a:cubicBezTo>
                <a:cubicBezTo>
                  <a:pt x="161803" y="423295"/>
                  <a:pt x="162417" y="422682"/>
                  <a:pt x="162417" y="422069"/>
                </a:cubicBezTo>
                <a:cubicBezTo>
                  <a:pt x="162417" y="418085"/>
                  <a:pt x="162417" y="418085"/>
                  <a:pt x="162417" y="418085"/>
                </a:cubicBezTo>
                <a:cubicBezTo>
                  <a:pt x="162417" y="417472"/>
                  <a:pt x="161803" y="416859"/>
                  <a:pt x="161189" y="416859"/>
                </a:cubicBezTo>
                <a:cubicBezTo>
                  <a:pt x="155052" y="416859"/>
                  <a:pt x="155052" y="416859"/>
                  <a:pt x="155052" y="416859"/>
                </a:cubicBezTo>
                <a:close/>
                <a:moveTo>
                  <a:pt x="144312" y="416859"/>
                </a:moveTo>
                <a:cubicBezTo>
                  <a:pt x="143698" y="416859"/>
                  <a:pt x="143085" y="417472"/>
                  <a:pt x="143085" y="418085"/>
                </a:cubicBezTo>
                <a:cubicBezTo>
                  <a:pt x="143085" y="422069"/>
                  <a:pt x="143085" y="422069"/>
                  <a:pt x="143085" y="422069"/>
                </a:cubicBezTo>
                <a:cubicBezTo>
                  <a:pt x="143085" y="422682"/>
                  <a:pt x="143698" y="423295"/>
                  <a:pt x="144312" y="423295"/>
                </a:cubicBezTo>
                <a:cubicBezTo>
                  <a:pt x="150449" y="423295"/>
                  <a:pt x="150449" y="423295"/>
                  <a:pt x="150449" y="423295"/>
                </a:cubicBezTo>
                <a:cubicBezTo>
                  <a:pt x="151063" y="423295"/>
                  <a:pt x="151677" y="422682"/>
                  <a:pt x="151677" y="422069"/>
                </a:cubicBezTo>
                <a:cubicBezTo>
                  <a:pt x="151677" y="418085"/>
                  <a:pt x="151677" y="418085"/>
                  <a:pt x="151677" y="418085"/>
                </a:cubicBezTo>
                <a:cubicBezTo>
                  <a:pt x="151677" y="417472"/>
                  <a:pt x="151063" y="416859"/>
                  <a:pt x="150449" y="416859"/>
                </a:cubicBezTo>
                <a:cubicBezTo>
                  <a:pt x="144312" y="416859"/>
                  <a:pt x="144312" y="416859"/>
                  <a:pt x="144312" y="416859"/>
                </a:cubicBezTo>
                <a:close/>
                <a:moveTo>
                  <a:pt x="133572" y="416859"/>
                </a:moveTo>
                <a:cubicBezTo>
                  <a:pt x="132958" y="416859"/>
                  <a:pt x="132345" y="417472"/>
                  <a:pt x="132345" y="418085"/>
                </a:cubicBezTo>
                <a:cubicBezTo>
                  <a:pt x="132345" y="422069"/>
                  <a:pt x="132345" y="422069"/>
                  <a:pt x="132345" y="422069"/>
                </a:cubicBezTo>
                <a:cubicBezTo>
                  <a:pt x="132345" y="422682"/>
                  <a:pt x="132958" y="423295"/>
                  <a:pt x="133572" y="423295"/>
                </a:cubicBezTo>
                <a:cubicBezTo>
                  <a:pt x="139709" y="423295"/>
                  <a:pt x="139709" y="423295"/>
                  <a:pt x="139709" y="423295"/>
                </a:cubicBezTo>
                <a:cubicBezTo>
                  <a:pt x="140323" y="423295"/>
                  <a:pt x="140937" y="422682"/>
                  <a:pt x="140937" y="422069"/>
                </a:cubicBezTo>
                <a:cubicBezTo>
                  <a:pt x="140937" y="418085"/>
                  <a:pt x="140937" y="418085"/>
                  <a:pt x="140937" y="418085"/>
                </a:cubicBezTo>
                <a:cubicBezTo>
                  <a:pt x="140937" y="417472"/>
                  <a:pt x="140323" y="416859"/>
                  <a:pt x="139709" y="416859"/>
                </a:cubicBezTo>
                <a:cubicBezTo>
                  <a:pt x="133572" y="416859"/>
                  <a:pt x="133572" y="416859"/>
                  <a:pt x="133572" y="416859"/>
                </a:cubicBezTo>
                <a:close/>
                <a:moveTo>
                  <a:pt x="287340" y="416486"/>
                </a:moveTo>
                <a:cubicBezTo>
                  <a:pt x="285192" y="416486"/>
                  <a:pt x="283658" y="418325"/>
                  <a:pt x="283658" y="420164"/>
                </a:cubicBezTo>
                <a:cubicBezTo>
                  <a:pt x="283658" y="422309"/>
                  <a:pt x="285192" y="423842"/>
                  <a:pt x="287340" y="423842"/>
                </a:cubicBezTo>
                <a:cubicBezTo>
                  <a:pt x="289488" y="423842"/>
                  <a:pt x="291023" y="422309"/>
                  <a:pt x="291023" y="420164"/>
                </a:cubicBezTo>
                <a:cubicBezTo>
                  <a:pt x="291023" y="418325"/>
                  <a:pt x="289488" y="416486"/>
                  <a:pt x="287340" y="416486"/>
                </a:cubicBezTo>
                <a:close/>
                <a:moveTo>
                  <a:pt x="231869" y="409869"/>
                </a:moveTo>
                <a:lnTo>
                  <a:pt x="229587" y="411067"/>
                </a:lnTo>
                <a:cubicBezTo>
                  <a:pt x="228973" y="411680"/>
                  <a:pt x="229280" y="412599"/>
                  <a:pt x="229587" y="413212"/>
                </a:cubicBezTo>
                <a:lnTo>
                  <a:pt x="231962" y="415108"/>
                </a:lnTo>
                <a:close/>
                <a:moveTo>
                  <a:pt x="234594" y="409812"/>
                </a:moveTo>
                <a:lnTo>
                  <a:pt x="234524" y="415123"/>
                </a:lnTo>
                <a:lnTo>
                  <a:pt x="236678" y="413212"/>
                </a:lnTo>
                <a:cubicBezTo>
                  <a:pt x="237292" y="412599"/>
                  <a:pt x="237292" y="411680"/>
                  <a:pt x="236985" y="411067"/>
                </a:cubicBezTo>
                <a:close/>
                <a:moveTo>
                  <a:pt x="155052" y="405211"/>
                </a:moveTo>
                <a:cubicBezTo>
                  <a:pt x="154439" y="405211"/>
                  <a:pt x="153825" y="405824"/>
                  <a:pt x="153825" y="406437"/>
                </a:cubicBezTo>
                <a:cubicBezTo>
                  <a:pt x="153825" y="410116"/>
                  <a:pt x="153825" y="410116"/>
                  <a:pt x="153825" y="410116"/>
                </a:cubicBezTo>
                <a:cubicBezTo>
                  <a:pt x="153825" y="411035"/>
                  <a:pt x="154439" y="411648"/>
                  <a:pt x="155052" y="411648"/>
                </a:cubicBezTo>
                <a:cubicBezTo>
                  <a:pt x="161189" y="411648"/>
                  <a:pt x="161189" y="411648"/>
                  <a:pt x="161189" y="411648"/>
                </a:cubicBezTo>
                <a:cubicBezTo>
                  <a:pt x="161803" y="411648"/>
                  <a:pt x="162417" y="411035"/>
                  <a:pt x="162417" y="410116"/>
                </a:cubicBezTo>
                <a:cubicBezTo>
                  <a:pt x="162417" y="406437"/>
                  <a:pt x="162417" y="406437"/>
                  <a:pt x="162417" y="406437"/>
                </a:cubicBezTo>
                <a:cubicBezTo>
                  <a:pt x="162417" y="405824"/>
                  <a:pt x="161803" y="405211"/>
                  <a:pt x="161189" y="405211"/>
                </a:cubicBezTo>
                <a:cubicBezTo>
                  <a:pt x="155052" y="405211"/>
                  <a:pt x="155052" y="405211"/>
                  <a:pt x="155052" y="405211"/>
                </a:cubicBezTo>
                <a:close/>
                <a:moveTo>
                  <a:pt x="144312" y="405211"/>
                </a:moveTo>
                <a:cubicBezTo>
                  <a:pt x="143698" y="405211"/>
                  <a:pt x="143085" y="405824"/>
                  <a:pt x="143085" y="406437"/>
                </a:cubicBezTo>
                <a:cubicBezTo>
                  <a:pt x="143085" y="410116"/>
                  <a:pt x="143085" y="410116"/>
                  <a:pt x="143085" y="410116"/>
                </a:cubicBezTo>
                <a:cubicBezTo>
                  <a:pt x="143085" y="411035"/>
                  <a:pt x="143698" y="411648"/>
                  <a:pt x="144312" y="411648"/>
                </a:cubicBezTo>
                <a:cubicBezTo>
                  <a:pt x="150449" y="411648"/>
                  <a:pt x="150449" y="411648"/>
                  <a:pt x="150449" y="411648"/>
                </a:cubicBezTo>
                <a:cubicBezTo>
                  <a:pt x="151063" y="411648"/>
                  <a:pt x="151677" y="411035"/>
                  <a:pt x="151677" y="410116"/>
                </a:cubicBezTo>
                <a:cubicBezTo>
                  <a:pt x="151677" y="406437"/>
                  <a:pt x="151677" y="406437"/>
                  <a:pt x="151677" y="406437"/>
                </a:cubicBezTo>
                <a:cubicBezTo>
                  <a:pt x="151677" y="405824"/>
                  <a:pt x="151063" y="405211"/>
                  <a:pt x="150449" y="405211"/>
                </a:cubicBezTo>
                <a:cubicBezTo>
                  <a:pt x="144312" y="405211"/>
                  <a:pt x="144312" y="405211"/>
                  <a:pt x="144312" y="405211"/>
                </a:cubicBezTo>
                <a:close/>
                <a:moveTo>
                  <a:pt x="133572" y="405211"/>
                </a:moveTo>
                <a:cubicBezTo>
                  <a:pt x="132958" y="405211"/>
                  <a:pt x="132345" y="405824"/>
                  <a:pt x="132345" y="406437"/>
                </a:cubicBezTo>
                <a:cubicBezTo>
                  <a:pt x="132345" y="410116"/>
                  <a:pt x="132345" y="410116"/>
                  <a:pt x="132345" y="410116"/>
                </a:cubicBezTo>
                <a:cubicBezTo>
                  <a:pt x="132345" y="411035"/>
                  <a:pt x="132958" y="411648"/>
                  <a:pt x="133572" y="411648"/>
                </a:cubicBezTo>
                <a:cubicBezTo>
                  <a:pt x="139709" y="411648"/>
                  <a:pt x="139709" y="411648"/>
                  <a:pt x="139709" y="411648"/>
                </a:cubicBezTo>
                <a:cubicBezTo>
                  <a:pt x="140323" y="411648"/>
                  <a:pt x="140937" y="411035"/>
                  <a:pt x="140937" y="410116"/>
                </a:cubicBezTo>
                <a:cubicBezTo>
                  <a:pt x="140937" y="406437"/>
                  <a:pt x="140937" y="406437"/>
                  <a:pt x="140937" y="406437"/>
                </a:cubicBezTo>
                <a:cubicBezTo>
                  <a:pt x="140937" y="405824"/>
                  <a:pt x="140323" y="405211"/>
                  <a:pt x="139709" y="405211"/>
                </a:cubicBezTo>
                <a:cubicBezTo>
                  <a:pt x="133572" y="405211"/>
                  <a:pt x="133572" y="405211"/>
                  <a:pt x="133572" y="405211"/>
                </a:cubicBezTo>
                <a:close/>
                <a:moveTo>
                  <a:pt x="186886" y="398533"/>
                </a:moveTo>
                <a:lnTo>
                  <a:pt x="186935" y="398568"/>
                </a:lnTo>
                <a:lnTo>
                  <a:pt x="189341" y="428431"/>
                </a:lnTo>
                <a:cubicBezTo>
                  <a:pt x="189686" y="432719"/>
                  <a:pt x="189686" y="432719"/>
                  <a:pt x="189686" y="432719"/>
                </a:cubicBezTo>
                <a:cubicBezTo>
                  <a:pt x="189686" y="433331"/>
                  <a:pt x="190301" y="433943"/>
                  <a:pt x="191222" y="433943"/>
                </a:cubicBezTo>
                <a:cubicBezTo>
                  <a:pt x="191529" y="433943"/>
                  <a:pt x="192143" y="433331"/>
                  <a:pt x="192143" y="433025"/>
                </a:cubicBezTo>
                <a:cubicBezTo>
                  <a:pt x="197670" y="418019"/>
                  <a:pt x="197670" y="418019"/>
                  <a:pt x="197670" y="418019"/>
                </a:cubicBezTo>
                <a:cubicBezTo>
                  <a:pt x="200741" y="425981"/>
                  <a:pt x="200741" y="425981"/>
                  <a:pt x="200741" y="425981"/>
                </a:cubicBezTo>
                <a:cubicBezTo>
                  <a:pt x="201048" y="426594"/>
                  <a:pt x="201663" y="426900"/>
                  <a:pt x="202584" y="426900"/>
                </a:cubicBezTo>
                <a:cubicBezTo>
                  <a:pt x="202584" y="426594"/>
                  <a:pt x="202891" y="426594"/>
                  <a:pt x="203198" y="426288"/>
                </a:cubicBezTo>
                <a:cubicBezTo>
                  <a:pt x="208111" y="418019"/>
                  <a:pt x="208111" y="418019"/>
                  <a:pt x="208111" y="418019"/>
                </a:cubicBezTo>
                <a:cubicBezTo>
                  <a:pt x="212103" y="423531"/>
                  <a:pt x="212103" y="423531"/>
                  <a:pt x="212103" y="423531"/>
                </a:cubicBezTo>
                <a:lnTo>
                  <a:pt x="212533" y="423674"/>
                </a:lnTo>
                <a:lnTo>
                  <a:pt x="211374" y="426441"/>
                </a:lnTo>
                <a:cubicBezTo>
                  <a:pt x="206346" y="433101"/>
                  <a:pt x="199667" y="439762"/>
                  <a:pt x="193064" y="446499"/>
                </a:cubicBezTo>
                <a:cubicBezTo>
                  <a:pt x="186309" y="439762"/>
                  <a:pt x="179630" y="433101"/>
                  <a:pt x="174639" y="426441"/>
                </a:cubicBezTo>
                <a:lnTo>
                  <a:pt x="171995" y="420044"/>
                </a:lnTo>
                <a:lnTo>
                  <a:pt x="174639" y="417407"/>
                </a:lnTo>
                <a:cubicBezTo>
                  <a:pt x="176482" y="423225"/>
                  <a:pt x="176482" y="423225"/>
                  <a:pt x="176482" y="423225"/>
                </a:cubicBezTo>
                <a:cubicBezTo>
                  <a:pt x="176482" y="423838"/>
                  <a:pt x="177403" y="424144"/>
                  <a:pt x="178017" y="423838"/>
                </a:cubicBezTo>
                <a:cubicBezTo>
                  <a:pt x="178324" y="423838"/>
                  <a:pt x="178631" y="423531"/>
                  <a:pt x="178939" y="423225"/>
                </a:cubicBezTo>
                <a:cubicBezTo>
                  <a:pt x="182931" y="410823"/>
                  <a:pt x="184927" y="404621"/>
                  <a:pt x="185925" y="401521"/>
                </a:cubicBezTo>
                <a:close/>
                <a:moveTo>
                  <a:pt x="231662" y="398173"/>
                </a:moveTo>
                <a:lnTo>
                  <a:pt x="231459" y="398200"/>
                </a:lnTo>
                <a:cubicBezTo>
                  <a:pt x="228696" y="398813"/>
                  <a:pt x="227928" y="399809"/>
                  <a:pt x="228273" y="400881"/>
                </a:cubicBezTo>
                <a:lnTo>
                  <a:pt x="231766" y="404021"/>
                </a:lnTo>
                <a:close/>
                <a:moveTo>
                  <a:pt x="234748" y="398152"/>
                </a:moveTo>
                <a:lnTo>
                  <a:pt x="234670" y="404089"/>
                </a:lnTo>
                <a:lnTo>
                  <a:pt x="234806" y="404021"/>
                </a:lnTo>
                <a:cubicBezTo>
                  <a:pt x="237876" y="402183"/>
                  <a:pt x="240332" y="399426"/>
                  <a:pt x="235113" y="398200"/>
                </a:cubicBezTo>
                <a:close/>
                <a:moveTo>
                  <a:pt x="185694" y="394439"/>
                </a:moveTo>
                <a:cubicBezTo>
                  <a:pt x="186923" y="395052"/>
                  <a:pt x="188151" y="395970"/>
                  <a:pt x="189379" y="397195"/>
                </a:cubicBezTo>
                <a:lnTo>
                  <a:pt x="189659" y="400544"/>
                </a:lnTo>
                <a:lnTo>
                  <a:pt x="186935" y="398568"/>
                </a:lnTo>
                <a:lnTo>
                  <a:pt x="186923" y="398420"/>
                </a:lnTo>
                <a:lnTo>
                  <a:pt x="186886" y="398533"/>
                </a:lnTo>
                <a:lnTo>
                  <a:pt x="184834" y="397045"/>
                </a:lnTo>
                <a:close/>
                <a:moveTo>
                  <a:pt x="155052" y="393564"/>
                </a:moveTo>
                <a:cubicBezTo>
                  <a:pt x="154439" y="393564"/>
                  <a:pt x="153825" y="394177"/>
                  <a:pt x="153825" y="394790"/>
                </a:cubicBezTo>
                <a:cubicBezTo>
                  <a:pt x="153825" y="398468"/>
                  <a:pt x="153825" y="398468"/>
                  <a:pt x="153825" y="398468"/>
                </a:cubicBezTo>
                <a:cubicBezTo>
                  <a:pt x="153825" y="399081"/>
                  <a:pt x="154439" y="399694"/>
                  <a:pt x="155052" y="399694"/>
                </a:cubicBezTo>
                <a:cubicBezTo>
                  <a:pt x="161189" y="399694"/>
                  <a:pt x="161189" y="399694"/>
                  <a:pt x="161189" y="399694"/>
                </a:cubicBezTo>
                <a:cubicBezTo>
                  <a:pt x="161803" y="399694"/>
                  <a:pt x="162417" y="399081"/>
                  <a:pt x="162417" y="398468"/>
                </a:cubicBezTo>
                <a:cubicBezTo>
                  <a:pt x="162417" y="394790"/>
                  <a:pt x="162417" y="394790"/>
                  <a:pt x="162417" y="394790"/>
                </a:cubicBezTo>
                <a:cubicBezTo>
                  <a:pt x="162417" y="394177"/>
                  <a:pt x="161803" y="393564"/>
                  <a:pt x="161189" y="393564"/>
                </a:cubicBezTo>
                <a:cubicBezTo>
                  <a:pt x="155052" y="393564"/>
                  <a:pt x="155052" y="393564"/>
                  <a:pt x="155052" y="393564"/>
                </a:cubicBezTo>
                <a:close/>
                <a:moveTo>
                  <a:pt x="144312" y="393564"/>
                </a:moveTo>
                <a:cubicBezTo>
                  <a:pt x="143698" y="393564"/>
                  <a:pt x="143085" y="394177"/>
                  <a:pt x="143085" y="394790"/>
                </a:cubicBezTo>
                <a:cubicBezTo>
                  <a:pt x="143085" y="398468"/>
                  <a:pt x="143085" y="398468"/>
                  <a:pt x="143085" y="398468"/>
                </a:cubicBezTo>
                <a:cubicBezTo>
                  <a:pt x="143085" y="399081"/>
                  <a:pt x="143698" y="399694"/>
                  <a:pt x="144312" y="399694"/>
                </a:cubicBezTo>
                <a:cubicBezTo>
                  <a:pt x="150449" y="399694"/>
                  <a:pt x="150449" y="399694"/>
                  <a:pt x="150449" y="399694"/>
                </a:cubicBezTo>
                <a:cubicBezTo>
                  <a:pt x="151063" y="399694"/>
                  <a:pt x="151677" y="399081"/>
                  <a:pt x="151677" y="398468"/>
                </a:cubicBezTo>
                <a:cubicBezTo>
                  <a:pt x="151677" y="394790"/>
                  <a:pt x="151677" y="394790"/>
                  <a:pt x="151677" y="394790"/>
                </a:cubicBezTo>
                <a:cubicBezTo>
                  <a:pt x="151677" y="394177"/>
                  <a:pt x="151063" y="393564"/>
                  <a:pt x="150449" y="393564"/>
                </a:cubicBezTo>
                <a:cubicBezTo>
                  <a:pt x="144312" y="393564"/>
                  <a:pt x="144312" y="393564"/>
                  <a:pt x="144312" y="393564"/>
                </a:cubicBezTo>
                <a:close/>
                <a:moveTo>
                  <a:pt x="133572" y="393564"/>
                </a:moveTo>
                <a:cubicBezTo>
                  <a:pt x="132958" y="393564"/>
                  <a:pt x="132345" y="394177"/>
                  <a:pt x="132345" y="394790"/>
                </a:cubicBezTo>
                <a:cubicBezTo>
                  <a:pt x="132345" y="398468"/>
                  <a:pt x="132345" y="398468"/>
                  <a:pt x="132345" y="398468"/>
                </a:cubicBezTo>
                <a:cubicBezTo>
                  <a:pt x="132345" y="399081"/>
                  <a:pt x="132958" y="399694"/>
                  <a:pt x="133572" y="399694"/>
                </a:cubicBezTo>
                <a:cubicBezTo>
                  <a:pt x="139709" y="399694"/>
                  <a:pt x="139709" y="399694"/>
                  <a:pt x="139709" y="399694"/>
                </a:cubicBezTo>
                <a:cubicBezTo>
                  <a:pt x="140323" y="399694"/>
                  <a:pt x="140937" y="399081"/>
                  <a:pt x="140937" y="398468"/>
                </a:cubicBezTo>
                <a:cubicBezTo>
                  <a:pt x="140937" y="394790"/>
                  <a:pt x="140937" y="394790"/>
                  <a:pt x="140937" y="394790"/>
                </a:cubicBezTo>
                <a:cubicBezTo>
                  <a:pt x="140937" y="394177"/>
                  <a:pt x="140323" y="393564"/>
                  <a:pt x="139709" y="393564"/>
                </a:cubicBezTo>
                <a:close/>
                <a:moveTo>
                  <a:pt x="206269" y="393214"/>
                </a:moveTo>
                <a:cubicBezTo>
                  <a:pt x="213639" y="393214"/>
                  <a:pt x="219780" y="399033"/>
                  <a:pt x="219780" y="406382"/>
                </a:cubicBezTo>
                <a:lnTo>
                  <a:pt x="213492" y="421388"/>
                </a:lnTo>
                <a:lnTo>
                  <a:pt x="209378" y="415837"/>
                </a:lnTo>
                <a:cubicBezTo>
                  <a:pt x="208725" y="414957"/>
                  <a:pt x="208725" y="414957"/>
                  <a:pt x="208725" y="414957"/>
                </a:cubicBezTo>
                <a:cubicBezTo>
                  <a:pt x="208725" y="414957"/>
                  <a:pt x="208725" y="414957"/>
                  <a:pt x="208418" y="414651"/>
                </a:cubicBezTo>
                <a:cubicBezTo>
                  <a:pt x="207804" y="414344"/>
                  <a:pt x="207190" y="414651"/>
                  <a:pt x="206883" y="415263"/>
                </a:cubicBezTo>
                <a:cubicBezTo>
                  <a:pt x="202277" y="422919"/>
                  <a:pt x="202277" y="422919"/>
                  <a:pt x="202277" y="422919"/>
                </a:cubicBezTo>
                <a:cubicBezTo>
                  <a:pt x="198592" y="413732"/>
                  <a:pt x="198592" y="413732"/>
                  <a:pt x="198592" y="413732"/>
                </a:cubicBezTo>
                <a:cubicBezTo>
                  <a:pt x="198592" y="413426"/>
                  <a:pt x="198285" y="413119"/>
                  <a:pt x="197978" y="413119"/>
                </a:cubicBezTo>
                <a:cubicBezTo>
                  <a:pt x="197363" y="412813"/>
                  <a:pt x="196442" y="413119"/>
                  <a:pt x="196442" y="414038"/>
                </a:cubicBezTo>
                <a:cubicBezTo>
                  <a:pt x="191836" y="426594"/>
                  <a:pt x="191836" y="426594"/>
                  <a:pt x="191836" y="426594"/>
                </a:cubicBezTo>
                <a:cubicBezTo>
                  <a:pt x="190608" y="411894"/>
                  <a:pt x="189993" y="404545"/>
                  <a:pt x="189686" y="400870"/>
                </a:cubicBezTo>
                <a:lnTo>
                  <a:pt x="189659" y="400544"/>
                </a:lnTo>
                <a:lnTo>
                  <a:pt x="193064" y="403014"/>
                </a:lnTo>
                <a:cubicBezTo>
                  <a:pt x="196442" y="396276"/>
                  <a:pt x="199513" y="393214"/>
                  <a:pt x="206269" y="393214"/>
                </a:cubicBezTo>
                <a:close/>
                <a:moveTo>
                  <a:pt x="179553" y="393214"/>
                </a:moveTo>
                <a:lnTo>
                  <a:pt x="184834" y="397045"/>
                </a:lnTo>
                <a:lnTo>
                  <a:pt x="178708" y="415608"/>
                </a:lnTo>
                <a:cubicBezTo>
                  <a:pt x="177710" y="418632"/>
                  <a:pt x="177710" y="418632"/>
                  <a:pt x="177710" y="418632"/>
                </a:cubicBezTo>
                <a:cubicBezTo>
                  <a:pt x="176175" y="414651"/>
                  <a:pt x="176175" y="414651"/>
                  <a:pt x="176175" y="414651"/>
                </a:cubicBezTo>
                <a:cubicBezTo>
                  <a:pt x="176175" y="414344"/>
                  <a:pt x="176175" y="414038"/>
                  <a:pt x="175868" y="414038"/>
                </a:cubicBezTo>
                <a:cubicBezTo>
                  <a:pt x="175561" y="413426"/>
                  <a:pt x="174639" y="413426"/>
                  <a:pt x="174332" y="414038"/>
                </a:cubicBezTo>
                <a:lnTo>
                  <a:pt x="170985" y="417599"/>
                </a:lnTo>
                <a:lnTo>
                  <a:pt x="166348" y="406382"/>
                </a:lnTo>
                <a:cubicBezTo>
                  <a:pt x="166348" y="399033"/>
                  <a:pt x="172183" y="393214"/>
                  <a:pt x="179553" y="393214"/>
                </a:cubicBezTo>
                <a:close/>
                <a:moveTo>
                  <a:pt x="237599" y="389009"/>
                </a:moveTo>
                <a:lnTo>
                  <a:pt x="238765" y="389009"/>
                </a:lnTo>
                <a:lnTo>
                  <a:pt x="238520" y="389315"/>
                </a:lnTo>
                <a:cubicBezTo>
                  <a:pt x="238213" y="389315"/>
                  <a:pt x="237906" y="389315"/>
                  <a:pt x="237599" y="389009"/>
                </a:cubicBezTo>
                <a:close/>
                <a:moveTo>
                  <a:pt x="228700" y="388854"/>
                </a:moveTo>
                <a:lnTo>
                  <a:pt x="228973" y="389009"/>
                </a:lnTo>
                <a:cubicBezTo>
                  <a:pt x="228666" y="389315"/>
                  <a:pt x="228359" y="389315"/>
                  <a:pt x="228052" y="389315"/>
                </a:cubicBezTo>
                <a:lnTo>
                  <a:pt x="227806" y="389009"/>
                </a:lnTo>
                <a:lnTo>
                  <a:pt x="228666" y="389009"/>
                </a:lnTo>
                <a:close/>
                <a:moveTo>
                  <a:pt x="240669" y="385333"/>
                </a:moveTo>
                <a:cubicBezTo>
                  <a:pt x="240362" y="385333"/>
                  <a:pt x="240055" y="385333"/>
                  <a:pt x="239441" y="385639"/>
                </a:cubicBezTo>
                <a:cubicBezTo>
                  <a:pt x="238827" y="385639"/>
                  <a:pt x="238827" y="386252"/>
                  <a:pt x="238827" y="386252"/>
                </a:cubicBezTo>
                <a:cubicBezTo>
                  <a:pt x="239134" y="386558"/>
                  <a:pt x="239441" y="386558"/>
                  <a:pt x="240055" y="386252"/>
                </a:cubicBezTo>
                <a:cubicBezTo>
                  <a:pt x="240362" y="385945"/>
                  <a:pt x="240669" y="385639"/>
                  <a:pt x="240669" y="385333"/>
                </a:cubicBezTo>
                <a:close/>
                <a:moveTo>
                  <a:pt x="225903" y="385333"/>
                </a:moveTo>
                <a:cubicBezTo>
                  <a:pt x="225596" y="385639"/>
                  <a:pt x="225903" y="385945"/>
                  <a:pt x="226517" y="386252"/>
                </a:cubicBezTo>
                <a:cubicBezTo>
                  <a:pt x="226824" y="386558"/>
                  <a:pt x="227438" y="386558"/>
                  <a:pt x="227438" y="386252"/>
                </a:cubicBezTo>
                <a:cubicBezTo>
                  <a:pt x="227745" y="386252"/>
                  <a:pt x="227438" y="385639"/>
                  <a:pt x="226824" y="385639"/>
                </a:cubicBezTo>
                <a:cubicBezTo>
                  <a:pt x="226517" y="385333"/>
                  <a:pt x="225903" y="385333"/>
                  <a:pt x="225903" y="385333"/>
                </a:cubicBezTo>
                <a:close/>
                <a:moveTo>
                  <a:pt x="242746" y="365317"/>
                </a:moveTo>
                <a:cubicBezTo>
                  <a:pt x="243666" y="365317"/>
                  <a:pt x="244280" y="365623"/>
                  <a:pt x="244894" y="365623"/>
                </a:cubicBezTo>
                <a:cubicBezTo>
                  <a:pt x="246429" y="366235"/>
                  <a:pt x="247656" y="366847"/>
                  <a:pt x="249191" y="367153"/>
                </a:cubicBezTo>
                <a:cubicBezTo>
                  <a:pt x="251646" y="368070"/>
                  <a:pt x="255022" y="368376"/>
                  <a:pt x="257478" y="368376"/>
                </a:cubicBezTo>
                <a:cubicBezTo>
                  <a:pt x="263309" y="368376"/>
                  <a:pt x="269448" y="368376"/>
                  <a:pt x="275279" y="368376"/>
                </a:cubicBezTo>
                <a:cubicBezTo>
                  <a:pt x="273438" y="372048"/>
                  <a:pt x="268220" y="373577"/>
                  <a:pt x="264230" y="372660"/>
                </a:cubicBezTo>
                <a:cubicBezTo>
                  <a:pt x="264537" y="373883"/>
                  <a:pt x="263923" y="374801"/>
                  <a:pt x="263002" y="375413"/>
                </a:cubicBezTo>
                <a:cubicBezTo>
                  <a:pt x="261775" y="376331"/>
                  <a:pt x="259933" y="376331"/>
                  <a:pt x="258399" y="375719"/>
                </a:cubicBezTo>
                <a:cubicBezTo>
                  <a:pt x="258092" y="377555"/>
                  <a:pt x="257171" y="378778"/>
                  <a:pt x="255022" y="379390"/>
                </a:cubicBezTo>
                <a:cubicBezTo>
                  <a:pt x="254716" y="379390"/>
                  <a:pt x="254409" y="379390"/>
                  <a:pt x="253795" y="379390"/>
                </a:cubicBezTo>
                <a:cubicBezTo>
                  <a:pt x="253181" y="379390"/>
                  <a:pt x="252567" y="379390"/>
                  <a:pt x="251953" y="379084"/>
                </a:cubicBezTo>
                <a:cubicBezTo>
                  <a:pt x="251033" y="379084"/>
                  <a:pt x="250726" y="378778"/>
                  <a:pt x="249805" y="378167"/>
                </a:cubicBezTo>
                <a:cubicBezTo>
                  <a:pt x="249498" y="379084"/>
                  <a:pt x="249191" y="380308"/>
                  <a:pt x="248270" y="380920"/>
                </a:cubicBezTo>
                <a:cubicBezTo>
                  <a:pt x="247043" y="381532"/>
                  <a:pt x="245508" y="381226"/>
                  <a:pt x="244587" y="380614"/>
                </a:cubicBezTo>
                <a:cubicBezTo>
                  <a:pt x="243973" y="381226"/>
                  <a:pt x="243973" y="381226"/>
                  <a:pt x="243666" y="381532"/>
                </a:cubicBezTo>
                <a:cubicBezTo>
                  <a:pt x="242132" y="382144"/>
                  <a:pt x="239676" y="381226"/>
                  <a:pt x="238142" y="380920"/>
                </a:cubicBezTo>
                <a:cubicBezTo>
                  <a:pt x="237528" y="380614"/>
                  <a:pt x="237221" y="380614"/>
                  <a:pt x="236607" y="380614"/>
                </a:cubicBezTo>
                <a:cubicBezTo>
                  <a:pt x="236607" y="376943"/>
                  <a:pt x="236607" y="373271"/>
                  <a:pt x="236607" y="369600"/>
                </a:cubicBezTo>
                <a:cubicBezTo>
                  <a:pt x="238449" y="369600"/>
                  <a:pt x="238756" y="369600"/>
                  <a:pt x="239676" y="368376"/>
                </a:cubicBezTo>
                <a:cubicBezTo>
                  <a:pt x="240290" y="367458"/>
                  <a:pt x="239983" y="366541"/>
                  <a:pt x="240904" y="365929"/>
                </a:cubicBezTo>
                <a:cubicBezTo>
                  <a:pt x="241518" y="365623"/>
                  <a:pt x="242132" y="365317"/>
                  <a:pt x="242746" y="365317"/>
                </a:cubicBezTo>
                <a:close/>
                <a:moveTo>
                  <a:pt x="223839" y="365317"/>
                </a:moveTo>
                <a:cubicBezTo>
                  <a:pt x="224146" y="365317"/>
                  <a:pt x="224760" y="365623"/>
                  <a:pt x="225373" y="365929"/>
                </a:cubicBezTo>
                <a:cubicBezTo>
                  <a:pt x="226601" y="366541"/>
                  <a:pt x="226294" y="367458"/>
                  <a:pt x="226908" y="368376"/>
                </a:cubicBezTo>
                <a:cubicBezTo>
                  <a:pt x="227829" y="369600"/>
                  <a:pt x="228136" y="369600"/>
                  <a:pt x="229670" y="369600"/>
                </a:cubicBezTo>
                <a:cubicBezTo>
                  <a:pt x="229670" y="373271"/>
                  <a:pt x="229670" y="376943"/>
                  <a:pt x="229670" y="380614"/>
                </a:cubicBezTo>
                <a:cubicBezTo>
                  <a:pt x="229363" y="380614"/>
                  <a:pt x="228749" y="380614"/>
                  <a:pt x="228136" y="380920"/>
                </a:cubicBezTo>
                <a:cubicBezTo>
                  <a:pt x="226601" y="381226"/>
                  <a:pt x="224453" y="382144"/>
                  <a:pt x="222918" y="381532"/>
                </a:cubicBezTo>
                <a:cubicBezTo>
                  <a:pt x="222304" y="381226"/>
                  <a:pt x="222304" y="381226"/>
                  <a:pt x="221997" y="380614"/>
                </a:cubicBezTo>
                <a:cubicBezTo>
                  <a:pt x="220770" y="381226"/>
                  <a:pt x="219542" y="381532"/>
                  <a:pt x="218314" y="380920"/>
                </a:cubicBezTo>
                <a:cubicBezTo>
                  <a:pt x="217087" y="380308"/>
                  <a:pt x="216780" y="379084"/>
                  <a:pt x="216473" y="378167"/>
                </a:cubicBezTo>
                <a:cubicBezTo>
                  <a:pt x="215859" y="378778"/>
                  <a:pt x="215245" y="379084"/>
                  <a:pt x="214631" y="379084"/>
                </a:cubicBezTo>
                <a:cubicBezTo>
                  <a:pt x="213710" y="379390"/>
                  <a:pt x="213403" y="379390"/>
                  <a:pt x="212790" y="379390"/>
                </a:cubicBezTo>
                <a:cubicBezTo>
                  <a:pt x="212176" y="379390"/>
                  <a:pt x="211562" y="379390"/>
                  <a:pt x="211255" y="379390"/>
                </a:cubicBezTo>
                <a:cubicBezTo>
                  <a:pt x="209413" y="378778"/>
                  <a:pt x="208493" y="377555"/>
                  <a:pt x="208186" y="375719"/>
                </a:cubicBezTo>
                <a:cubicBezTo>
                  <a:pt x="206651" y="376331"/>
                  <a:pt x="204810" y="376331"/>
                  <a:pt x="203275" y="375413"/>
                </a:cubicBezTo>
                <a:cubicBezTo>
                  <a:pt x="202661" y="374801"/>
                  <a:pt x="202047" y="373883"/>
                  <a:pt x="202047" y="372660"/>
                </a:cubicBezTo>
                <a:cubicBezTo>
                  <a:pt x="198057" y="373577"/>
                  <a:pt x="193147" y="372048"/>
                  <a:pt x="190998" y="368376"/>
                </a:cubicBezTo>
                <a:cubicBezTo>
                  <a:pt x="197137" y="368376"/>
                  <a:pt x="202968" y="368376"/>
                  <a:pt x="208800" y="368376"/>
                </a:cubicBezTo>
                <a:cubicBezTo>
                  <a:pt x="211562" y="368376"/>
                  <a:pt x="214631" y="368070"/>
                  <a:pt x="217087" y="367153"/>
                </a:cubicBezTo>
                <a:cubicBezTo>
                  <a:pt x="218621" y="366847"/>
                  <a:pt x="219849" y="366235"/>
                  <a:pt x="221383" y="365623"/>
                </a:cubicBezTo>
                <a:cubicBezTo>
                  <a:pt x="222304" y="365623"/>
                  <a:pt x="222918" y="365317"/>
                  <a:pt x="223839" y="365317"/>
                </a:cubicBezTo>
                <a:close/>
                <a:moveTo>
                  <a:pt x="147381" y="360155"/>
                </a:moveTo>
                <a:cubicBezTo>
                  <a:pt x="150449" y="360155"/>
                  <a:pt x="153211" y="361381"/>
                  <a:pt x="155052" y="363220"/>
                </a:cubicBezTo>
                <a:cubicBezTo>
                  <a:pt x="157200" y="365366"/>
                  <a:pt x="158428" y="368124"/>
                  <a:pt x="158428" y="371189"/>
                </a:cubicBezTo>
                <a:cubicBezTo>
                  <a:pt x="158428" y="374254"/>
                  <a:pt x="157200" y="376706"/>
                  <a:pt x="155052" y="378852"/>
                </a:cubicBezTo>
                <a:cubicBezTo>
                  <a:pt x="153211" y="380691"/>
                  <a:pt x="150449" y="381917"/>
                  <a:pt x="147381" y="381917"/>
                </a:cubicBezTo>
                <a:cubicBezTo>
                  <a:pt x="144312" y="381917"/>
                  <a:pt x="141550" y="380691"/>
                  <a:pt x="139709" y="378852"/>
                </a:cubicBezTo>
                <a:cubicBezTo>
                  <a:pt x="137561" y="376706"/>
                  <a:pt x="136334" y="374254"/>
                  <a:pt x="136334" y="371189"/>
                </a:cubicBezTo>
                <a:cubicBezTo>
                  <a:pt x="136334" y="368124"/>
                  <a:pt x="137561" y="365366"/>
                  <a:pt x="139709" y="363220"/>
                </a:cubicBezTo>
                <a:cubicBezTo>
                  <a:pt x="141550" y="361381"/>
                  <a:pt x="144312" y="360155"/>
                  <a:pt x="147381" y="360155"/>
                </a:cubicBezTo>
                <a:close/>
                <a:moveTo>
                  <a:pt x="233293" y="358970"/>
                </a:moveTo>
                <a:cubicBezTo>
                  <a:pt x="235769" y="358970"/>
                  <a:pt x="237935" y="360806"/>
                  <a:pt x="237935" y="363561"/>
                </a:cubicBezTo>
                <a:cubicBezTo>
                  <a:pt x="237935" y="365397"/>
                  <a:pt x="237007" y="367233"/>
                  <a:pt x="235150" y="367845"/>
                </a:cubicBezTo>
                <a:lnTo>
                  <a:pt x="234823" y="392548"/>
                </a:lnTo>
                <a:lnTo>
                  <a:pt x="244967" y="390235"/>
                </a:lnTo>
                <a:cubicBezTo>
                  <a:pt x="245581" y="389622"/>
                  <a:pt x="246195" y="388703"/>
                  <a:pt x="245581" y="387784"/>
                </a:cubicBezTo>
                <a:cubicBezTo>
                  <a:pt x="245274" y="387477"/>
                  <a:pt x="244967" y="387171"/>
                  <a:pt x="244353" y="387171"/>
                </a:cubicBezTo>
                <a:cubicBezTo>
                  <a:pt x="244046" y="387477"/>
                  <a:pt x="242511" y="388703"/>
                  <a:pt x="241590" y="389009"/>
                </a:cubicBezTo>
                <a:lnTo>
                  <a:pt x="238765" y="389009"/>
                </a:lnTo>
                <a:lnTo>
                  <a:pt x="239748" y="387784"/>
                </a:lnTo>
                <a:cubicBezTo>
                  <a:pt x="239134" y="388396"/>
                  <a:pt x="238213" y="388703"/>
                  <a:pt x="237599" y="389009"/>
                </a:cubicBezTo>
                <a:cubicBezTo>
                  <a:pt x="236678" y="388703"/>
                  <a:pt x="236678" y="387171"/>
                  <a:pt x="237292" y="386252"/>
                </a:cubicBezTo>
                <a:cubicBezTo>
                  <a:pt x="237599" y="385333"/>
                  <a:pt x="238520" y="384414"/>
                  <a:pt x="239134" y="383801"/>
                </a:cubicBezTo>
                <a:cubicBezTo>
                  <a:pt x="239748" y="383495"/>
                  <a:pt x="240362" y="383495"/>
                  <a:pt x="240976" y="383188"/>
                </a:cubicBezTo>
                <a:cubicBezTo>
                  <a:pt x="243125" y="382882"/>
                  <a:pt x="246502" y="383495"/>
                  <a:pt x="248037" y="384414"/>
                </a:cubicBezTo>
                <a:cubicBezTo>
                  <a:pt x="249572" y="385639"/>
                  <a:pt x="250186" y="387171"/>
                  <a:pt x="249879" y="388703"/>
                </a:cubicBezTo>
                <a:cubicBezTo>
                  <a:pt x="249879" y="390235"/>
                  <a:pt x="249265" y="391460"/>
                  <a:pt x="248344" y="392379"/>
                </a:cubicBezTo>
                <a:lnTo>
                  <a:pt x="241319" y="396399"/>
                </a:lnTo>
                <a:lnTo>
                  <a:pt x="242481" y="404327"/>
                </a:lnTo>
                <a:lnTo>
                  <a:pt x="237578" y="406880"/>
                </a:lnTo>
                <a:lnTo>
                  <a:pt x="240055" y="408004"/>
                </a:lnTo>
                <a:cubicBezTo>
                  <a:pt x="242818" y="409842"/>
                  <a:pt x="242818" y="412599"/>
                  <a:pt x="241590" y="415356"/>
                </a:cubicBezTo>
                <a:cubicBezTo>
                  <a:pt x="240669" y="416888"/>
                  <a:pt x="239748" y="417501"/>
                  <a:pt x="237906" y="418114"/>
                </a:cubicBezTo>
                <a:lnTo>
                  <a:pt x="235841" y="418702"/>
                </a:lnTo>
                <a:lnTo>
                  <a:pt x="239718" y="422403"/>
                </a:lnTo>
                <a:lnTo>
                  <a:pt x="235034" y="429001"/>
                </a:lnTo>
                <a:lnTo>
                  <a:pt x="236678" y="431134"/>
                </a:lnTo>
                <a:cubicBezTo>
                  <a:pt x="238520" y="433202"/>
                  <a:pt x="240208" y="434964"/>
                  <a:pt x="240362" y="435270"/>
                </a:cubicBezTo>
                <a:cubicBezTo>
                  <a:pt x="239441" y="435576"/>
                  <a:pt x="238213" y="434657"/>
                  <a:pt x="237906" y="434657"/>
                </a:cubicBezTo>
                <a:lnTo>
                  <a:pt x="234303" y="431781"/>
                </a:lnTo>
                <a:lnTo>
                  <a:pt x="234236" y="436834"/>
                </a:lnTo>
                <a:cubicBezTo>
                  <a:pt x="234221" y="437929"/>
                  <a:pt x="234221" y="437929"/>
                  <a:pt x="234221" y="437929"/>
                </a:cubicBezTo>
                <a:cubicBezTo>
                  <a:pt x="234221" y="445274"/>
                  <a:pt x="232365" y="446498"/>
                  <a:pt x="232365" y="437929"/>
                </a:cubicBezTo>
                <a:lnTo>
                  <a:pt x="232252" y="431549"/>
                </a:lnTo>
                <a:lnTo>
                  <a:pt x="228359" y="434657"/>
                </a:lnTo>
                <a:cubicBezTo>
                  <a:pt x="228359" y="434657"/>
                  <a:pt x="227131" y="435576"/>
                  <a:pt x="225903" y="435270"/>
                </a:cubicBezTo>
                <a:cubicBezTo>
                  <a:pt x="226056" y="434964"/>
                  <a:pt x="227822" y="433202"/>
                  <a:pt x="229740" y="431134"/>
                </a:cubicBezTo>
                <a:lnTo>
                  <a:pt x="231343" y="429122"/>
                </a:lnTo>
                <a:lnTo>
                  <a:pt x="226853" y="422403"/>
                </a:lnTo>
                <a:lnTo>
                  <a:pt x="230695" y="418735"/>
                </a:lnTo>
                <a:lnTo>
                  <a:pt x="228359" y="418114"/>
                </a:lnTo>
                <a:cubicBezTo>
                  <a:pt x="226824" y="417501"/>
                  <a:pt x="225596" y="416888"/>
                  <a:pt x="224982" y="415356"/>
                </a:cubicBezTo>
                <a:cubicBezTo>
                  <a:pt x="223446" y="412599"/>
                  <a:pt x="223753" y="409842"/>
                  <a:pt x="226517" y="408004"/>
                </a:cubicBezTo>
                <a:lnTo>
                  <a:pt x="228945" y="406902"/>
                </a:lnTo>
                <a:lnTo>
                  <a:pt x="223783" y="404327"/>
                </a:lnTo>
                <a:lnTo>
                  <a:pt x="225066" y="396349"/>
                </a:lnTo>
                <a:lnTo>
                  <a:pt x="218227" y="392379"/>
                </a:lnTo>
                <a:cubicBezTo>
                  <a:pt x="216999" y="391460"/>
                  <a:pt x="216385" y="390235"/>
                  <a:pt x="216385" y="388703"/>
                </a:cubicBezTo>
                <a:cubicBezTo>
                  <a:pt x="216385" y="387171"/>
                  <a:pt x="216692" y="385639"/>
                  <a:pt x="218227" y="384414"/>
                </a:cubicBezTo>
                <a:cubicBezTo>
                  <a:pt x="220069" y="383495"/>
                  <a:pt x="223446" y="382882"/>
                  <a:pt x="225289" y="383188"/>
                </a:cubicBezTo>
                <a:cubicBezTo>
                  <a:pt x="225903" y="383495"/>
                  <a:pt x="226517" y="383495"/>
                  <a:pt x="227131" y="383801"/>
                </a:cubicBezTo>
                <a:cubicBezTo>
                  <a:pt x="228052" y="384414"/>
                  <a:pt x="228666" y="385333"/>
                  <a:pt x="229280" y="386252"/>
                </a:cubicBezTo>
                <a:lnTo>
                  <a:pt x="228700" y="388854"/>
                </a:lnTo>
                <a:lnTo>
                  <a:pt x="226824" y="387784"/>
                </a:lnTo>
                <a:lnTo>
                  <a:pt x="227806" y="389009"/>
                </a:lnTo>
                <a:lnTo>
                  <a:pt x="224675" y="389009"/>
                </a:lnTo>
                <a:cubicBezTo>
                  <a:pt x="223753" y="388703"/>
                  <a:pt x="222525" y="387477"/>
                  <a:pt x="221911" y="387171"/>
                </a:cubicBezTo>
                <a:cubicBezTo>
                  <a:pt x="221604" y="387171"/>
                  <a:pt x="220990" y="387477"/>
                  <a:pt x="220683" y="387784"/>
                </a:cubicBezTo>
                <a:cubicBezTo>
                  <a:pt x="220069" y="388703"/>
                  <a:pt x="220683" y="389622"/>
                  <a:pt x="221604" y="390235"/>
                </a:cubicBezTo>
                <a:lnTo>
                  <a:pt x="231564" y="392573"/>
                </a:lnTo>
                <a:lnTo>
                  <a:pt x="231281" y="376606"/>
                </a:lnTo>
                <a:cubicBezTo>
                  <a:pt x="231127" y="367845"/>
                  <a:pt x="231127" y="367845"/>
                  <a:pt x="231127" y="367845"/>
                </a:cubicBezTo>
                <a:cubicBezTo>
                  <a:pt x="229579" y="367233"/>
                  <a:pt x="228341" y="365397"/>
                  <a:pt x="228341" y="363561"/>
                </a:cubicBezTo>
                <a:cubicBezTo>
                  <a:pt x="228341" y="360806"/>
                  <a:pt x="230508" y="358970"/>
                  <a:pt x="233293" y="358970"/>
                </a:cubicBezTo>
                <a:close/>
                <a:moveTo>
                  <a:pt x="147381" y="358929"/>
                </a:moveTo>
                <a:cubicBezTo>
                  <a:pt x="144005" y="358929"/>
                  <a:pt x="140937" y="360155"/>
                  <a:pt x="138789" y="362301"/>
                </a:cubicBezTo>
                <a:cubicBezTo>
                  <a:pt x="136334" y="364753"/>
                  <a:pt x="135106" y="367818"/>
                  <a:pt x="135106" y="371189"/>
                </a:cubicBezTo>
                <a:cubicBezTo>
                  <a:pt x="135106" y="374561"/>
                  <a:pt x="136334" y="377626"/>
                  <a:pt x="138789" y="379771"/>
                </a:cubicBezTo>
                <a:cubicBezTo>
                  <a:pt x="140937" y="381917"/>
                  <a:pt x="144005" y="383449"/>
                  <a:pt x="147381" y="383449"/>
                </a:cubicBezTo>
                <a:cubicBezTo>
                  <a:pt x="150756" y="383449"/>
                  <a:pt x="153825" y="381917"/>
                  <a:pt x="155973" y="379771"/>
                </a:cubicBezTo>
                <a:cubicBezTo>
                  <a:pt x="158428" y="377626"/>
                  <a:pt x="159655" y="374561"/>
                  <a:pt x="159655" y="371189"/>
                </a:cubicBezTo>
                <a:cubicBezTo>
                  <a:pt x="159655" y="367818"/>
                  <a:pt x="158428" y="364753"/>
                  <a:pt x="155973" y="362301"/>
                </a:cubicBezTo>
                <a:cubicBezTo>
                  <a:pt x="153825" y="360155"/>
                  <a:pt x="150756" y="358929"/>
                  <a:pt x="147381" y="358929"/>
                </a:cubicBezTo>
                <a:close/>
                <a:moveTo>
                  <a:pt x="292250" y="353965"/>
                </a:moveTo>
                <a:cubicBezTo>
                  <a:pt x="287954" y="353965"/>
                  <a:pt x="284271" y="357336"/>
                  <a:pt x="284271" y="361933"/>
                </a:cubicBezTo>
                <a:cubicBezTo>
                  <a:pt x="284271" y="366224"/>
                  <a:pt x="287954" y="369595"/>
                  <a:pt x="292250" y="369595"/>
                </a:cubicBezTo>
                <a:cubicBezTo>
                  <a:pt x="296547" y="369595"/>
                  <a:pt x="299922" y="366224"/>
                  <a:pt x="299922" y="361933"/>
                </a:cubicBezTo>
                <a:cubicBezTo>
                  <a:pt x="299922" y="357336"/>
                  <a:pt x="296547" y="353965"/>
                  <a:pt x="292250" y="353965"/>
                </a:cubicBezTo>
                <a:close/>
                <a:moveTo>
                  <a:pt x="248047" y="347918"/>
                </a:moveTo>
                <a:cubicBezTo>
                  <a:pt x="247740" y="347918"/>
                  <a:pt x="247434" y="347918"/>
                  <a:pt x="247128" y="348224"/>
                </a:cubicBezTo>
                <a:cubicBezTo>
                  <a:pt x="246822" y="348531"/>
                  <a:pt x="246515" y="349143"/>
                  <a:pt x="246515" y="349449"/>
                </a:cubicBezTo>
                <a:cubicBezTo>
                  <a:pt x="246515" y="349756"/>
                  <a:pt x="246822" y="350368"/>
                  <a:pt x="247128" y="350674"/>
                </a:cubicBezTo>
                <a:cubicBezTo>
                  <a:pt x="247434" y="350674"/>
                  <a:pt x="247740" y="350981"/>
                  <a:pt x="248047" y="350981"/>
                </a:cubicBezTo>
                <a:cubicBezTo>
                  <a:pt x="248659" y="350981"/>
                  <a:pt x="248966" y="350674"/>
                  <a:pt x="249272" y="350674"/>
                </a:cubicBezTo>
                <a:cubicBezTo>
                  <a:pt x="249578" y="350368"/>
                  <a:pt x="249578" y="349756"/>
                  <a:pt x="249578" y="349449"/>
                </a:cubicBezTo>
                <a:cubicBezTo>
                  <a:pt x="249578" y="349143"/>
                  <a:pt x="249578" y="348531"/>
                  <a:pt x="249272" y="348224"/>
                </a:cubicBezTo>
                <a:cubicBezTo>
                  <a:pt x="248966" y="347918"/>
                  <a:pt x="248659" y="347918"/>
                  <a:pt x="248047" y="347918"/>
                </a:cubicBezTo>
                <a:close/>
                <a:moveTo>
                  <a:pt x="248047" y="343324"/>
                </a:moveTo>
                <a:cubicBezTo>
                  <a:pt x="251416" y="343324"/>
                  <a:pt x="254172" y="346080"/>
                  <a:pt x="254172" y="349449"/>
                </a:cubicBezTo>
                <a:cubicBezTo>
                  <a:pt x="254172" y="352818"/>
                  <a:pt x="251416" y="355575"/>
                  <a:pt x="248047" y="355575"/>
                </a:cubicBezTo>
                <a:cubicBezTo>
                  <a:pt x="244678" y="355575"/>
                  <a:pt x="241921" y="352818"/>
                  <a:pt x="241921" y="349449"/>
                </a:cubicBezTo>
                <a:cubicBezTo>
                  <a:pt x="241921" y="346080"/>
                  <a:pt x="244678" y="343324"/>
                  <a:pt x="248047" y="343324"/>
                </a:cubicBezTo>
                <a:close/>
                <a:moveTo>
                  <a:pt x="248047" y="342037"/>
                </a:moveTo>
                <a:cubicBezTo>
                  <a:pt x="245603" y="342037"/>
                  <a:pt x="243159" y="343260"/>
                  <a:pt x="241327" y="344788"/>
                </a:cubicBezTo>
                <a:cubicBezTo>
                  <a:pt x="239494" y="346621"/>
                  <a:pt x="238578" y="349066"/>
                  <a:pt x="238578" y="351817"/>
                </a:cubicBezTo>
                <a:cubicBezTo>
                  <a:pt x="238578" y="354262"/>
                  <a:pt x="239494" y="356706"/>
                  <a:pt x="241327" y="358540"/>
                </a:cubicBezTo>
                <a:cubicBezTo>
                  <a:pt x="243159" y="360068"/>
                  <a:pt x="245603" y="361290"/>
                  <a:pt x="248047" y="361290"/>
                </a:cubicBezTo>
                <a:cubicBezTo>
                  <a:pt x="250796" y="361290"/>
                  <a:pt x="253240" y="360068"/>
                  <a:pt x="255072" y="358540"/>
                </a:cubicBezTo>
                <a:cubicBezTo>
                  <a:pt x="256600" y="356706"/>
                  <a:pt x="257821" y="354262"/>
                  <a:pt x="257821" y="351817"/>
                </a:cubicBezTo>
                <a:cubicBezTo>
                  <a:pt x="257821" y="349066"/>
                  <a:pt x="256600" y="346621"/>
                  <a:pt x="255072" y="344788"/>
                </a:cubicBezTo>
                <a:cubicBezTo>
                  <a:pt x="253240" y="343260"/>
                  <a:pt x="250796" y="342037"/>
                  <a:pt x="248047" y="342037"/>
                </a:cubicBezTo>
                <a:close/>
                <a:moveTo>
                  <a:pt x="201047" y="341678"/>
                </a:moveTo>
                <a:cubicBezTo>
                  <a:pt x="200125" y="342597"/>
                  <a:pt x="200125" y="343823"/>
                  <a:pt x="201047" y="344743"/>
                </a:cubicBezTo>
                <a:cubicBezTo>
                  <a:pt x="201970" y="345356"/>
                  <a:pt x="203200" y="345356"/>
                  <a:pt x="203815" y="344743"/>
                </a:cubicBezTo>
                <a:cubicBezTo>
                  <a:pt x="204737" y="343823"/>
                  <a:pt x="204737" y="342597"/>
                  <a:pt x="203815" y="341678"/>
                </a:cubicBezTo>
                <a:cubicBezTo>
                  <a:pt x="203200" y="341064"/>
                  <a:pt x="201970" y="341064"/>
                  <a:pt x="201047" y="341678"/>
                </a:cubicBezTo>
                <a:close/>
                <a:moveTo>
                  <a:pt x="213417" y="338850"/>
                </a:moveTo>
                <a:lnTo>
                  <a:pt x="205895" y="346348"/>
                </a:lnTo>
                <a:lnTo>
                  <a:pt x="203073" y="349162"/>
                </a:lnTo>
                <a:lnTo>
                  <a:pt x="208922" y="355034"/>
                </a:lnTo>
                <a:cubicBezTo>
                  <a:pt x="212729" y="358855"/>
                  <a:pt x="212729" y="358855"/>
                  <a:pt x="212729" y="358855"/>
                </a:cubicBezTo>
                <a:cubicBezTo>
                  <a:pt x="214267" y="360078"/>
                  <a:pt x="216112" y="360995"/>
                  <a:pt x="217958" y="360995"/>
                </a:cubicBezTo>
                <a:cubicBezTo>
                  <a:pt x="219803" y="360995"/>
                  <a:pt x="221649" y="360078"/>
                  <a:pt x="223187" y="358855"/>
                </a:cubicBezTo>
                <a:cubicBezTo>
                  <a:pt x="224417" y="357327"/>
                  <a:pt x="225032" y="355493"/>
                  <a:pt x="225032" y="353659"/>
                </a:cubicBezTo>
                <a:cubicBezTo>
                  <a:pt x="225032" y="351825"/>
                  <a:pt x="224417" y="349991"/>
                  <a:pt x="223187" y="348462"/>
                </a:cubicBezTo>
                <a:close/>
                <a:moveTo>
                  <a:pt x="196435" y="337079"/>
                </a:moveTo>
                <a:cubicBezTo>
                  <a:pt x="195512" y="337999"/>
                  <a:pt x="195512" y="339225"/>
                  <a:pt x="196435" y="340145"/>
                </a:cubicBezTo>
                <a:cubicBezTo>
                  <a:pt x="197050" y="340758"/>
                  <a:pt x="198587" y="340758"/>
                  <a:pt x="199202" y="340145"/>
                </a:cubicBezTo>
                <a:cubicBezTo>
                  <a:pt x="200125" y="339225"/>
                  <a:pt x="200125" y="337999"/>
                  <a:pt x="199202" y="337079"/>
                </a:cubicBezTo>
                <a:cubicBezTo>
                  <a:pt x="198587" y="336466"/>
                  <a:pt x="197050" y="336466"/>
                  <a:pt x="196435" y="337079"/>
                </a:cubicBezTo>
                <a:close/>
                <a:moveTo>
                  <a:pt x="205967" y="336773"/>
                </a:moveTo>
                <a:cubicBezTo>
                  <a:pt x="205352" y="337386"/>
                  <a:pt x="205352" y="338918"/>
                  <a:pt x="205967" y="339532"/>
                </a:cubicBezTo>
                <a:cubicBezTo>
                  <a:pt x="206890" y="340451"/>
                  <a:pt x="208120" y="340451"/>
                  <a:pt x="209042" y="339532"/>
                </a:cubicBezTo>
                <a:cubicBezTo>
                  <a:pt x="209657" y="338918"/>
                  <a:pt x="209657" y="337386"/>
                  <a:pt x="209042" y="336773"/>
                </a:cubicBezTo>
                <a:cubicBezTo>
                  <a:pt x="208120" y="335853"/>
                  <a:pt x="206890" y="335853"/>
                  <a:pt x="205967" y="336773"/>
                </a:cubicBezTo>
                <a:close/>
                <a:moveTo>
                  <a:pt x="201355" y="332174"/>
                </a:moveTo>
                <a:cubicBezTo>
                  <a:pt x="200740" y="332787"/>
                  <a:pt x="200740" y="334014"/>
                  <a:pt x="201355" y="334933"/>
                </a:cubicBezTo>
                <a:cubicBezTo>
                  <a:pt x="202277" y="335853"/>
                  <a:pt x="203507" y="335853"/>
                  <a:pt x="204430" y="334933"/>
                </a:cubicBezTo>
                <a:cubicBezTo>
                  <a:pt x="205045" y="334014"/>
                  <a:pt x="205045" y="332787"/>
                  <a:pt x="204430" y="332174"/>
                </a:cubicBezTo>
                <a:cubicBezTo>
                  <a:pt x="203507" y="331255"/>
                  <a:pt x="202277" y="331255"/>
                  <a:pt x="201355" y="332174"/>
                </a:cubicBezTo>
                <a:close/>
                <a:moveTo>
                  <a:pt x="153802" y="323988"/>
                </a:moveTo>
                <a:cubicBezTo>
                  <a:pt x="150721" y="325213"/>
                  <a:pt x="148257" y="328583"/>
                  <a:pt x="148257" y="332259"/>
                </a:cubicBezTo>
                <a:cubicBezTo>
                  <a:pt x="148257" y="335935"/>
                  <a:pt x="150721" y="338999"/>
                  <a:pt x="153802" y="340224"/>
                </a:cubicBezTo>
                <a:cubicBezTo>
                  <a:pt x="149797" y="339611"/>
                  <a:pt x="146717" y="336241"/>
                  <a:pt x="146717" y="332259"/>
                </a:cubicBezTo>
                <a:cubicBezTo>
                  <a:pt x="146717" y="327970"/>
                  <a:pt x="149797" y="324601"/>
                  <a:pt x="153802" y="323988"/>
                </a:cubicBezTo>
                <a:close/>
                <a:moveTo>
                  <a:pt x="262733" y="321184"/>
                </a:moveTo>
                <a:cubicBezTo>
                  <a:pt x="266122" y="321184"/>
                  <a:pt x="267970" y="323022"/>
                  <a:pt x="269818" y="326393"/>
                </a:cubicBezTo>
                <a:cubicBezTo>
                  <a:pt x="271667" y="323022"/>
                  <a:pt x="273515" y="321184"/>
                  <a:pt x="276903" y="321184"/>
                </a:cubicBezTo>
                <a:cubicBezTo>
                  <a:pt x="280908" y="321184"/>
                  <a:pt x="283988" y="324248"/>
                  <a:pt x="283988" y="328232"/>
                </a:cubicBezTo>
                <a:cubicBezTo>
                  <a:pt x="283988" y="335280"/>
                  <a:pt x="276903" y="342328"/>
                  <a:pt x="269818" y="349376"/>
                </a:cubicBezTo>
                <a:cubicBezTo>
                  <a:pt x="262733" y="342328"/>
                  <a:pt x="255648" y="335280"/>
                  <a:pt x="255648" y="328232"/>
                </a:cubicBezTo>
                <a:cubicBezTo>
                  <a:pt x="255648" y="324248"/>
                  <a:pt x="258729" y="321184"/>
                  <a:pt x="262733" y="321184"/>
                </a:cubicBezTo>
                <a:close/>
                <a:moveTo>
                  <a:pt x="147603" y="320888"/>
                </a:moveTo>
                <a:cubicBezTo>
                  <a:pt x="143336" y="322731"/>
                  <a:pt x="140289" y="327031"/>
                  <a:pt x="140289" y="332253"/>
                </a:cubicBezTo>
                <a:cubicBezTo>
                  <a:pt x="140289" y="337168"/>
                  <a:pt x="143336" y="341469"/>
                  <a:pt x="147603" y="343619"/>
                </a:cubicBezTo>
                <a:cubicBezTo>
                  <a:pt x="142117" y="342697"/>
                  <a:pt x="138156" y="337783"/>
                  <a:pt x="138156" y="332253"/>
                </a:cubicBezTo>
                <a:cubicBezTo>
                  <a:pt x="138156" y="326417"/>
                  <a:pt x="142117" y="321809"/>
                  <a:pt x="147603" y="320888"/>
                </a:cubicBezTo>
                <a:close/>
                <a:moveTo>
                  <a:pt x="157200" y="320003"/>
                </a:moveTo>
                <a:cubicBezTo>
                  <a:pt x="160883" y="320003"/>
                  <a:pt x="160883" y="320003"/>
                  <a:pt x="160883" y="320003"/>
                </a:cubicBezTo>
                <a:cubicBezTo>
                  <a:pt x="161803" y="320003"/>
                  <a:pt x="162110" y="320616"/>
                  <a:pt x="162110" y="321229"/>
                </a:cubicBezTo>
                <a:cubicBezTo>
                  <a:pt x="162110" y="351573"/>
                  <a:pt x="162110" y="351573"/>
                  <a:pt x="162110" y="351573"/>
                </a:cubicBezTo>
                <a:cubicBezTo>
                  <a:pt x="163644" y="352799"/>
                  <a:pt x="164872" y="354638"/>
                  <a:pt x="164872" y="356477"/>
                </a:cubicBezTo>
                <a:cubicBezTo>
                  <a:pt x="164872" y="444751"/>
                  <a:pt x="164872" y="444751"/>
                  <a:pt x="164872" y="444751"/>
                </a:cubicBezTo>
                <a:cubicBezTo>
                  <a:pt x="164872" y="446590"/>
                  <a:pt x="163337" y="448122"/>
                  <a:pt x="161496" y="448122"/>
                </a:cubicBezTo>
                <a:cubicBezTo>
                  <a:pt x="133265" y="448122"/>
                  <a:pt x="133265" y="448122"/>
                  <a:pt x="133265" y="448122"/>
                </a:cubicBezTo>
                <a:cubicBezTo>
                  <a:pt x="131424" y="448122"/>
                  <a:pt x="129890" y="446590"/>
                  <a:pt x="129890" y="444751"/>
                </a:cubicBezTo>
                <a:cubicBezTo>
                  <a:pt x="129890" y="357396"/>
                  <a:pt x="129890" y="357396"/>
                  <a:pt x="129890" y="357396"/>
                </a:cubicBezTo>
                <a:cubicBezTo>
                  <a:pt x="129890" y="353412"/>
                  <a:pt x="133265" y="350347"/>
                  <a:pt x="136948" y="350347"/>
                </a:cubicBezTo>
                <a:cubicBezTo>
                  <a:pt x="155973" y="350347"/>
                  <a:pt x="155973" y="350347"/>
                  <a:pt x="155973" y="350347"/>
                </a:cubicBezTo>
                <a:cubicBezTo>
                  <a:pt x="155973" y="321229"/>
                  <a:pt x="155973" y="321229"/>
                  <a:pt x="155973" y="321229"/>
                </a:cubicBezTo>
                <a:cubicBezTo>
                  <a:pt x="155973" y="320616"/>
                  <a:pt x="156587" y="320003"/>
                  <a:pt x="157200" y="320003"/>
                </a:cubicBezTo>
                <a:close/>
                <a:moveTo>
                  <a:pt x="295319" y="317800"/>
                </a:moveTo>
                <a:cubicBezTo>
                  <a:pt x="304219" y="320559"/>
                  <a:pt x="304219" y="320559"/>
                  <a:pt x="304219" y="320559"/>
                </a:cubicBezTo>
                <a:cubicBezTo>
                  <a:pt x="304526" y="320559"/>
                  <a:pt x="304833" y="321172"/>
                  <a:pt x="304833" y="321785"/>
                </a:cubicBezTo>
                <a:cubicBezTo>
                  <a:pt x="303912" y="323930"/>
                  <a:pt x="303912" y="323930"/>
                  <a:pt x="303912" y="323930"/>
                </a:cubicBezTo>
                <a:cubicBezTo>
                  <a:pt x="303912" y="324543"/>
                  <a:pt x="303298" y="324849"/>
                  <a:pt x="302991" y="324543"/>
                </a:cubicBezTo>
                <a:cubicBezTo>
                  <a:pt x="302378" y="324543"/>
                  <a:pt x="302378" y="324543"/>
                  <a:pt x="302378" y="324543"/>
                </a:cubicBezTo>
                <a:cubicBezTo>
                  <a:pt x="298081" y="338028"/>
                  <a:pt x="298081" y="338028"/>
                  <a:pt x="298081" y="338028"/>
                </a:cubicBezTo>
                <a:cubicBezTo>
                  <a:pt x="299002" y="338334"/>
                  <a:pt x="299002" y="338334"/>
                  <a:pt x="299002" y="338334"/>
                </a:cubicBezTo>
                <a:cubicBezTo>
                  <a:pt x="300536" y="338641"/>
                  <a:pt x="301150" y="340173"/>
                  <a:pt x="300843" y="341706"/>
                </a:cubicBezTo>
                <a:cubicBezTo>
                  <a:pt x="299002" y="347835"/>
                  <a:pt x="299002" y="347835"/>
                  <a:pt x="299002" y="347835"/>
                </a:cubicBezTo>
                <a:cubicBezTo>
                  <a:pt x="300536" y="348142"/>
                  <a:pt x="302071" y="349368"/>
                  <a:pt x="303605" y="350593"/>
                </a:cubicBezTo>
                <a:cubicBezTo>
                  <a:pt x="327235" y="370514"/>
                  <a:pt x="321711" y="409131"/>
                  <a:pt x="299002" y="425374"/>
                </a:cubicBezTo>
                <a:cubicBezTo>
                  <a:pt x="307901" y="440392"/>
                  <a:pt x="307901" y="440392"/>
                  <a:pt x="307901" y="440392"/>
                </a:cubicBezTo>
                <a:cubicBezTo>
                  <a:pt x="312505" y="440392"/>
                  <a:pt x="312505" y="440392"/>
                  <a:pt x="312505" y="440392"/>
                </a:cubicBezTo>
                <a:cubicBezTo>
                  <a:pt x="313425" y="440392"/>
                  <a:pt x="314039" y="441004"/>
                  <a:pt x="314039" y="441924"/>
                </a:cubicBezTo>
                <a:cubicBezTo>
                  <a:pt x="314039" y="444376"/>
                  <a:pt x="314039" y="444376"/>
                  <a:pt x="314039" y="444376"/>
                </a:cubicBezTo>
                <a:cubicBezTo>
                  <a:pt x="314039" y="445295"/>
                  <a:pt x="313425" y="445908"/>
                  <a:pt x="312505" y="445908"/>
                </a:cubicBezTo>
                <a:cubicBezTo>
                  <a:pt x="243456" y="445908"/>
                  <a:pt x="243456" y="445908"/>
                  <a:pt x="243456" y="445908"/>
                </a:cubicBezTo>
                <a:cubicBezTo>
                  <a:pt x="242535" y="445908"/>
                  <a:pt x="241921" y="445295"/>
                  <a:pt x="241921" y="444376"/>
                </a:cubicBezTo>
                <a:cubicBezTo>
                  <a:pt x="241921" y="441924"/>
                  <a:pt x="241921" y="441924"/>
                  <a:pt x="241921" y="441924"/>
                </a:cubicBezTo>
                <a:cubicBezTo>
                  <a:pt x="241921" y="441004"/>
                  <a:pt x="242535" y="440392"/>
                  <a:pt x="243456" y="440392"/>
                </a:cubicBezTo>
                <a:cubicBezTo>
                  <a:pt x="280896" y="440392"/>
                  <a:pt x="280896" y="440392"/>
                  <a:pt x="280896" y="440392"/>
                </a:cubicBezTo>
                <a:cubicBezTo>
                  <a:pt x="280896" y="432730"/>
                  <a:pt x="280896" y="432730"/>
                  <a:pt x="280896" y="432730"/>
                </a:cubicBezTo>
                <a:cubicBezTo>
                  <a:pt x="276292" y="433649"/>
                  <a:pt x="271075" y="433956"/>
                  <a:pt x="273224" y="429052"/>
                </a:cubicBezTo>
                <a:cubicBezTo>
                  <a:pt x="273530" y="428132"/>
                  <a:pt x="273530" y="428132"/>
                  <a:pt x="273530" y="428132"/>
                </a:cubicBezTo>
                <a:cubicBezTo>
                  <a:pt x="270155" y="427213"/>
                  <a:pt x="270155" y="427213"/>
                  <a:pt x="270155" y="427213"/>
                </a:cubicBezTo>
                <a:cubicBezTo>
                  <a:pt x="268620" y="427826"/>
                  <a:pt x="265858" y="428132"/>
                  <a:pt x="262789" y="427519"/>
                </a:cubicBezTo>
                <a:cubicBezTo>
                  <a:pt x="257572" y="426600"/>
                  <a:pt x="253276" y="423842"/>
                  <a:pt x="253276" y="421083"/>
                </a:cubicBezTo>
                <a:cubicBezTo>
                  <a:pt x="253276" y="418325"/>
                  <a:pt x="257572" y="417099"/>
                  <a:pt x="262789" y="418019"/>
                </a:cubicBezTo>
                <a:cubicBezTo>
                  <a:pt x="268006" y="419245"/>
                  <a:pt x="271996" y="422003"/>
                  <a:pt x="271996" y="424761"/>
                </a:cubicBezTo>
                <a:cubicBezTo>
                  <a:pt x="271996" y="425068"/>
                  <a:pt x="271996" y="425374"/>
                  <a:pt x="271996" y="425681"/>
                </a:cubicBezTo>
                <a:cubicBezTo>
                  <a:pt x="274451" y="426294"/>
                  <a:pt x="274451" y="426294"/>
                  <a:pt x="274451" y="426294"/>
                </a:cubicBezTo>
                <a:cubicBezTo>
                  <a:pt x="277213" y="420164"/>
                  <a:pt x="279668" y="414341"/>
                  <a:pt x="282430" y="408211"/>
                </a:cubicBezTo>
                <a:cubicBezTo>
                  <a:pt x="251742" y="400243"/>
                  <a:pt x="251742" y="400243"/>
                  <a:pt x="251742" y="400243"/>
                </a:cubicBezTo>
                <a:cubicBezTo>
                  <a:pt x="251128" y="399937"/>
                  <a:pt x="250821" y="399324"/>
                  <a:pt x="250821" y="398711"/>
                </a:cubicBezTo>
                <a:cubicBezTo>
                  <a:pt x="251742" y="395952"/>
                  <a:pt x="251742" y="395952"/>
                  <a:pt x="251742" y="395952"/>
                </a:cubicBezTo>
                <a:cubicBezTo>
                  <a:pt x="251742" y="395339"/>
                  <a:pt x="252355" y="395033"/>
                  <a:pt x="252969" y="395033"/>
                </a:cubicBezTo>
                <a:cubicBezTo>
                  <a:pt x="291330" y="405147"/>
                  <a:pt x="291330" y="405147"/>
                  <a:pt x="291330" y="405147"/>
                </a:cubicBezTo>
                <a:cubicBezTo>
                  <a:pt x="291943" y="405453"/>
                  <a:pt x="292250" y="406066"/>
                  <a:pt x="292250" y="406679"/>
                </a:cubicBezTo>
                <a:cubicBezTo>
                  <a:pt x="291637" y="408518"/>
                  <a:pt x="291637" y="408518"/>
                  <a:pt x="291637" y="408518"/>
                </a:cubicBezTo>
                <a:cubicBezTo>
                  <a:pt x="292864" y="408518"/>
                  <a:pt x="293785" y="408518"/>
                  <a:pt x="294705" y="408518"/>
                </a:cubicBezTo>
                <a:cubicBezTo>
                  <a:pt x="305446" y="408518"/>
                  <a:pt x="309436" y="395646"/>
                  <a:pt x="307901" y="388290"/>
                </a:cubicBezTo>
                <a:cubicBezTo>
                  <a:pt x="306060" y="377870"/>
                  <a:pt x="293785" y="381548"/>
                  <a:pt x="288568" y="380015"/>
                </a:cubicBezTo>
                <a:cubicBezTo>
                  <a:pt x="285806" y="389210"/>
                  <a:pt x="285806" y="389210"/>
                  <a:pt x="285806" y="389210"/>
                </a:cubicBezTo>
                <a:cubicBezTo>
                  <a:pt x="285499" y="390435"/>
                  <a:pt x="283964" y="391355"/>
                  <a:pt x="282430" y="391048"/>
                </a:cubicBezTo>
                <a:cubicBezTo>
                  <a:pt x="281816" y="390742"/>
                  <a:pt x="281816" y="390742"/>
                  <a:pt x="281816" y="390742"/>
                </a:cubicBezTo>
                <a:cubicBezTo>
                  <a:pt x="280589" y="394726"/>
                  <a:pt x="280589" y="394726"/>
                  <a:pt x="280589" y="394726"/>
                </a:cubicBezTo>
                <a:cubicBezTo>
                  <a:pt x="280282" y="395339"/>
                  <a:pt x="279361" y="395952"/>
                  <a:pt x="278747" y="395646"/>
                </a:cubicBezTo>
                <a:cubicBezTo>
                  <a:pt x="273224" y="393807"/>
                  <a:pt x="273224" y="393807"/>
                  <a:pt x="273224" y="393807"/>
                </a:cubicBezTo>
                <a:cubicBezTo>
                  <a:pt x="272610" y="393807"/>
                  <a:pt x="271996" y="392887"/>
                  <a:pt x="272303" y="391968"/>
                </a:cubicBezTo>
                <a:cubicBezTo>
                  <a:pt x="273530" y="387984"/>
                  <a:pt x="273530" y="387984"/>
                  <a:pt x="273530" y="387984"/>
                </a:cubicBezTo>
                <a:cubicBezTo>
                  <a:pt x="272917" y="387984"/>
                  <a:pt x="272917" y="387984"/>
                  <a:pt x="272917" y="387984"/>
                </a:cubicBezTo>
                <a:cubicBezTo>
                  <a:pt x="271382" y="387371"/>
                  <a:pt x="270768" y="385838"/>
                  <a:pt x="271075" y="384612"/>
                </a:cubicBezTo>
                <a:cubicBezTo>
                  <a:pt x="286113" y="337108"/>
                  <a:pt x="286113" y="337108"/>
                  <a:pt x="286113" y="337108"/>
                </a:cubicBezTo>
                <a:cubicBezTo>
                  <a:pt x="286726" y="335576"/>
                  <a:pt x="287954" y="334963"/>
                  <a:pt x="289488" y="335270"/>
                </a:cubicBezTo>
                <a:cubicBezTo>
                  <a:pt x="290102" y="335576"/>
                  <a:pt x="290102" y="335576"/>
                  <a:pt x="290102" y="335576"/>
                </a:cubicBezTo>
                <a:cubicBezTo>
                  <a:pt x="294399" y="321785"/>
                  <a:pt x="294399" y="321785"/>
                  <a:pt x="294399" y="321785"/>
                </a:cubicBezTo>
                <a:cubicBezTo>
                  <a:pt x="293785" y="321785"/>
                  <a:pt x="293785" y="321785"/>
                  <a:pt x="293785" y="321785"/>
                </a:cubicBezTo>
                <a:cubicBezTo>
                  <a:pt x="293478" y="321478"/>
                  <a:pt x="293171" y="321172"/>
                  <a:pt x="293171" y="320559"/>
                </a:cubicBezTo>
                <a:cubicBezTo>
                  <a:pt x="294092" y="318413"/>
                  <a:pt x="294092" y="318413"/>
                  <a:pt x="294092" y="318413"/>
                </a:cubicBezTo>
                <a:cubicBezTo>
                  <a:pt x="294092" y="317800"/>
                  <a:pt x="294705" y="317494"/>
                  <a:pt x="295319" y="317800"/>
                </a:cubicBezTo>
                <a:close/>
                <a:moveTo>
                  <a:pt x="187507" y="316060"/>
                </a:moveTo>
                <a:cubicBezTo>
                  <a:pt x="185661" y="316060"/>
                  <a:pt x="183508" y="316671"/>
                  <a:pt x="182278" y="318199"/>
                </a:cubicBezTo>
                <a:cubicBezTo>
                  <a:pt x="180740" y="319728"/>
                  <a:pt x="180125" y="321562"/>
                  <a:pt x="180125" y="323396"/>
                </a:cubicBezTo>
                <a:cubicBezTo>
                  <a:pt x="180125" y="325230"/>
                  <a:pt x="180740" y="327064"/>
                  <a:pt x="182278" y="328287"/>
                </a:cubicBezTo>
                <a:lnTo>
                  <a:pt x="191887" y="337934"/>
                </a:lnTo>
                <a:lnTo>
                  <a:pt x="199452" y="330392"/>
                </a:lnTo>
                <a:lnTo>
                  <a:pt x="202119" y="327734"/>
                </a:lnTo>
                <a:lnTo>
                  <a:pt x="196273" y="321982"/>
                </a:lnTo>
                <a:cubicBezTo>
                  <a:pt x="192428" y="318199"/>
                  <a:pt x="192428" y="318199"/>
                  <a:pt x="192428" y="318199"/>
                </a:cubicBezTo>
                <a:cubicBezTo>
                  <a:pt x="191198" y="316671"/>
                  <a:pt x="189352" y="316060"/>
                  <a:pt x="187507" y="316060"/>
                </a:cubicBezTo>
                <a:close/>
                <a:moveTo>
                  <a:pt x="143027" y="315427"/>
                </a:moveTo>
                <a:cubicBezTo>
                  <a:pt x="136621" y="318181"/>
                  <a:pt x="132045" y="324608"/>
                  <a:pt x="132045" y="332259"/>
                </a:cubicBezTo>
                <a:cubicBezTo>
                  <a:pt x="132045" y="339604"/>
                  <a:pt x="136621" y="346031"/>
                  <a:pt x="143027" y="348785"/>
                </a:cubicBezTo>
                <a:cubicBezTo>
                  <a:pt x="135096" y="347255"/>
                  <a:pt x="129300" y="340522"/>
                  <a:pt x="129300" y="332259"/>
                </a:cubicBezTo>
                <a:cubicBezTo>
                  <a:pt x="129300" y="323690"/>
                  <a:pt x="135096" y="316957"/>
                  <a:pt x="143027" y="315427"/>
                </a:cubicBezTo>
                <a:close/>
                <a:moveTo>
                  <a:pt x="187507" y="314837"/>
                </a:moveTo>
                <a:cubicBezTo>
                  <a:pt x="189660" y="314837"/>
                  <a:pt x="191813" y="315448"/>
                  <a:pt x="193351" y="317282"/>
                </a:cubicBezTo>
                <a:lnTo>
                  <a:pt x="203040" y="326815"/>
                </a:lnTo>
                <a:lnTo>
                  <a:pt x="208581" y="321291"/>
                </a:lnTo>
                <a:cubicBezTo>
                  <a:pt x="212425" y="317459"/>
                  <a:pt x="212425" y="317459"/>
                  <a:pt x="212425" y="317459"/>
                </a:cubicBezTo>
                <a:cubicBezTo>
                  <a:pt x="215500" y="314394"/>
                  <a:pt x="220420" y="314394"/>
                  <a:pt x="223495" y="317459"/>
                </a:cubicBezTo>
                <a:cubicBezTo>
                  <a:pt x="226570" y="320525"/>
                  <a:pt x="226570" y="325737"/>
                  <a:pt x="223495" y="328802"/>
                </a:cubicBezTo>
                <a:lnTo>
                  <a:pt x="214338" y="337931"/>
                </a:lnTo>
                <a:lnTo>
                  <a:pt x="220265" y="343762"/>
                </a:lnTo>
                <a:cubicBezTo>
                  <a:pt x="224110" y="347545"/>
                  <a:pt x="224110" y="347545"/>
                  <a:pt x="224110" y="347545"/>
                </a:cubicBezTo>
                <a:cubicBezTo>
                  <a:pt x="225647" y="349379"/>
                  <a:pt x="226570" y="351519"/>
                  <a:pt x="226570" y="353659"/>
                </a:cubicBezTo>
                <a:cubicBezTo>
                  <a:pt x="226570" y="355799"/>
                  <a:pt x="225647" y="357938"/>
                  <a:pt x="224110" y="359772"/>
                </a:cubicBezTo>
                <a:cubicBezTo>
                  <a:pt x="222264" y="361301"/>
                  <a:pt x="220111" y="362218"/>
                  <a:pt x="217958" y="362218"/>
                </a:cubicBezTo>
                <a:cubicBezTo>
                  <a:pt x="215805" y="362218"/>
                  <a:pt x="213652" y="361301"/>
                  <a:pt x="211806" y="359772"/>
                </a:cubicBezTo>
                <a:lnTo>
                  <a:pt x="202151" y="350080"/>
                </a:lnTo>
                <a:lnTo>
                  <a:pt x="196858" y="355358"/>
                </a:lnTo>
                <a:cubicBezTo>
                  <a:pt x="193052" y="359151"/>
                  <a:pt x="193052" y="359151"/>
                  <a:pt x="193052" y="359151"/>
                </a:cubicBezTo>
                <a:cubicBezTo>
                  <a:pt x="189977" y="362217"/>
                  <a:pt x="184749" y="362217"/>
                  <a:pt x="181674" y="359151"/>
                </a:cubicBezTo>
                <a:cubicBezTo>
                  <a:pt x="178599" y="356086"/>
                  <a:pt x="178599" y="351181"/>
                  <a:pt x="181674" y="348115"/>
                </a:cubicBezTo>
                <a:lnTo>
                  <a:pt x="190966" y="338852"/>
                </a:lnTo>
                <a:lnTo>
                  <a:pt x="185161" y="333025"/>
                </a:lnTo>
                <a:cubicBezTo>
                  <a:pt x="181355" y="329204"/>
                  <a:pt x="181355" y="329204"/>
                  <a:pt x="181355" y="329204"/>
                </a:cubicBezTo>
                <a:cubicBezTo>
                  <a:pt x="179509" y="327676"/>
                  <a:pt x="178894" y="325536"/>
                  <a:pt x="178894" y="323396"/>
                </a:cubicBezTo>
                <a:cubicBezTo>
                  <a:pt x="178894" y="320951"/>
                  <a:pt x="179509" y="318811"/>
                  <a:pt x="181355" y="317282"/>
                </a:cubicBezTo>
                <a:cubicBezTo>
                  <a:pt x="182893" y="315448"/>
                  <a:pt x="185046" y="314837"/>
                  <a:pt x="187507" y="314837"/>
                </a:cubicBezTo>
                <a:close/>
                <a:moveTo>
                  <a:pt x="199820" y="314087"/>
                </a:moveTo>
                <a:lnTo>
                  <a:pt x="199821" y="314088"/>
                </a:lnTo>
                <a:cubicBezTo>
                  <a:pt x="200129" y="314088"/>
                  <a:pt x="200437" y="314088"/>
                  <a:pt x="200745" y="314088"/>
                </a:cubicBezTo>
                <a:cubicBezTo>
                  <a:pt x="201052" y="314088"/>
                  <a:pt x="201360" y="314088"/>
                  <a:pt x="201668" y="314088"/>
                </a:cubicBezTo>
                <a:lnTo>
                  <a:pt x="201668" y="314087"/>
                </a:lnTo>
                <a:close/>
                <a:moveTo>
                  <a:pt x="200992" y="313129"/>
                </a:moveTo>
                <a:lnTo>
                  <a:pt x="201020" y="313168"/>
                </a:lnTo>
                <a:lnTo>
                  <a:pt x="201030" y="313154"/>
                </a:lnTo>
                <a:close/>
                <a:moveTo>
                  <a:pt x="174725" y="312657"/>
                </a:moveTo>
                <a:lnTo>
                  <a:pt x="170648" y="314394"/>
                </a:lnTo>
                <a:lnTo>
                  <a:pt x="167607" y="313487"/>
                </a:lnTo>
                <a:lnTo>
                  <a:pt x="167664" y="313611"/>
                </a:lnTo>
                <a:cubicBezTo>
                  <a:pt x="168584" y="314224"/>
                  <a:pt x="169503" y="314530"/>
                  <a:pt x="170422" y="314530"/>
                </a:cubicBezTo>
                <a:cubicBezTo>
                  <a:pt x="170422" y="314530"/>
                  <a:pt x="170422" y="314530"/>
                  <a:pt x="170728" y="314530"/>
                </a:cubicBezTo>
                <a:cubicBezTo>
                  <a:pt x="172567" y="314224"/>
                  <a:pt x="173486" y="313917"/>
                  <a:pt x="174712" y="312691"/>
                </a:cubicBezTo>
                <a:close/>
                <a:moveTo>
                  <a:pt x="429011" y="310428"/>
                </a:moveTo>
                <a:lnTo>
                  <a:pt x="431286" y="315733"/>
                </a:lnTo>
                <a:lnTo>
                  <a:pt x="436819" y="318222"/>
                </a:lnTo>
                <a:close/>
                <a:moveTo>
                  <a:pt x="445918" y="310340"/>
                </a:moveTo>
                <a:lnTo>
                  <a:pt x="437999" y="318244"/>
                </a:lnTo>
                <a:lnTo>
                  <a:pt x="443862" y="315733"/>
                </a:lnTo>
                <a:close/>
                <a:moveTo>
                  <a:pt x="196064" y="304479"/>
                </a:moveTo>
                <a:lnTo>
                  <a:pt x="195491" y="305201"/>
                </a:lnTo>
                <a:lnTo>
                  <a:pt x="195511" y="305230"/>
                </a:lnTo>
                <a:lnTo>
                  <a:pt x="195511" y="305203"/>
                </a:lnTo>
                <a:close/>
                <a:moveTo>
                  <a:pt x="130397" y="303117"/>
                </a:moveTo>
                <a:cubicBezTo>
                  <a:pt x="127941" y="303117"/>
                  <a:pt x="125792" y="304957"/>
                  <a:pt x="125792" y="307409"/>
                </a:cubicBezTo>
                <a:cubicBezTo>
                  <a:pt x="125792" y="309862"/>
                  <a:pt x="127941" y="312009"/>
                  <a:pt x="130397" y="312009"/>
                </a:cubicBezTo>
                <a:cubicBezTo>
                  <a:pt x="132852" y="312009"/>
                  <a:pt x="135001" y="309862"/>
                  <a:pt x="135001" y="307409"/>
                </a:cubicBezTo>
                <a:cubicBezTo>
                  <a:pt x="135001" y="304957"/>
                  <a:pt x="132852" y="303117"/>
                  <a:pt x="130397" y="303117"/>
                </a:cubicBezTo>
                <a:close/>
                <a:moveTo>
                  <a:pt x="63789" y="303117"/>
                </a:moveTo>
                <a:cubicBezTo>
                  <a:pt x="61334" y="303117"/>
                  <a:pt x="59185" y="304957"/>
                  <a:pt x="59185" y="307409"/>
                </a:cubicBezTo>
                <a:cubicBezTo>
                  <a:pt x="59185" y="309862"/>
                  <a:pt x="61334" y="312009"/>
                  <a:pt x="63789" y="312009"/>
                </a:cubicBezTo>
                <a:cubicBezTo>
                  <a:pt x="66245" y="312009"/>
                  <a:pt x="68086" y="309862"/>
                  <a:pt x="68086" y="307409"/>
                </a:cubicBezTo>
                <a:cubicBezTo>
                  <a:pt x="68086" y="304957"/>
                  <a:pt x="66245" y="303117"/>
                  <a:pt x="63789" y="303117"/>
                </a:cubicBezTo>
                <a:close/>
                <a:moveTo>
                  <a:pt x="178187" y="302387"/>
                </a:moveTo>
                <a:lnTo>
                  <a:pt x="178036" y="302459"/>
                </a:lnTo>
                <a:cubicBezTo>
                  <a:pt x="178036" y="303071"/>
                  <a:pt x="178036" y="303377"/>
                  <a:pt x="178036" y="303989"/>
                </a:cubicBezTo>
                <a:lnTo>
                  <a:pt x="177034" y="306777"/>
                </a:lnTo>
                <a:lnTo>
                  <a:pt x="178082" y="304109"/>
                </a:lnTo>
                <a:cubicBezTo>
                  <a:pt x="178082" y="303496"/>
                  <a:pt x="178082" y="303189"/>
                  <a:pt x="178082" y="302576"/>
                </a:cubicBezTo>
                <a:close/>
                <a:moveTo>
                  <a:pt x="171035" y="298898"/>
                </a:moveTo>
                <a:lnTo>
                  <a:pt x="170360" y="299262"/>
                </a:lnTo>
                <a:lnTo>
                  <a:pt x="165383" y="305771"/>
                </a:lnTo>
                <a:lnTo>
                  <a:pt x="165212" y="306254"/>
                </a:lnTo>
                <a:lnTo>
                  <a:pt x="165326" y="305845"/>
                </a:lnTo>
                <a:lnTo>
                  <a:pt x="165107" y="306131"/>
                </a:lnTo>
                <a:lnTo>
                  <a:pt x="165216" y="306268"/>
                </a:lnTo>
                <a:lnTo>
                  <a:pt x="165212" y="306254"/>
                </a:lnTo>
                <a:lnTo>
                  <a:pt x="165219" y="306271"/>
                </a:lnTo>
                <a:lnTo>
                  <a:pt x="170658" y="313102"/>
                </a:lnTo>
                <a:lnTo>
                  <a:pt x="171035" y="313304"/>
                </a:lnTo>
                <a:lnTo>
                  <a:pt x="171126" y="313251"/>
                </a:lnTo>
                <a:lnTo>
                  <a:pt x="176497" y="306131"/>
                </a:lnTo>
                <a:lnTo>
                  <a:pt x="171422" y="299124"/>
                </a:lnTo>
                <a:close/>
                <a:moveTo>
                  <a:pt x="170956" y="298481"/>
                </a:moveTo>
                <a:lnTo>
                  <a:pt x="171021" y="298571"/>
                </a:lnTo>
                <a:lnTo>
                  <a:pt x="170865" y="298600"/>
                </a:lnTo>
                <a:close/>
                <a:moveTo>
                  <a:pt x="170728" y="298285"/>
                </a:moveTo>
                <a:lnTo>
                  <a:pt x="167848" y="299171"/>
                </a:lnTo>
                <a:lnTo>
                  <a:pt x="170865" y="298600"/>
                </a:lnTo>
                <a:lnTo>
                  <a:pt x="170771" y="298723"/>
                </a:lnTo>
                <a:lnTo>
                  <a:pt x="171035" y="298591"/>
                </a:lnTo>
                <a:lnTo>
                  <a:pt x="171037" y="298593"/>
                </a:lnTo>
                <a:lnTo>
                  <a:pt x="171021" y="298571"/>
                </a:lnTo>
                <a:lnTo>
                  <a:pt x="172530" y="298285"/>
                </a:lnTo>
                <a:close/>
                <a:moveTo>
                  <a:pt x="201344" y="297872"/>
                </a:moveTo>
                <a:lnTo>
                  <a:pt x="195819" y="305203"/>
                </a:lnTo>
                <a:cubicBezTo>
                  <a:pt x="195819" y="305509"/>
                  <a:pt x="195819" y="305509"/>
                  <a:pt x="195819" y="305509"/>
                </a:cubicBezTo>
                <a:lnTo>
                  <a:pt x="195903" y="305796"/>
                </a:lnTo>
                <a:lnTo>
                  <a:pt x="200260" y="312074"/>
                </a:lnTo>
                <a:lnTo>
                  <a:pt x="201036" y="313145"/>
                </a:lnTo>
                <a:lnTo>
                  <a:pt x="206549" y="305201"/>
                </a:lnTo>
                <a:close/>
                <a:moveTo>
                  <a:pt x="187199" y="297544"/>
                </a:moveTo>
                <a:lnTo>
                  <a:pt x="186903" y="297838"/>
                </a:lnTo>
                <a:lnTo>
                  <a:pt x="187345" y="297544"/>
                </a:lnTo>
                <a:close/>
                <a:moveTo>
                  <a:pt x="201360" y="296625"/>
                </a:moveTo>
                <a:lnTo>
                  <a:pt x="196797" y="297693"/>
                </a:lnTo>
                <a:lnTo>
                  <a:pt x="201617" y="296625"/>
                </a:lnTo>
                <a:close/>
                <a:moveTo>
                  <a:pt x="180534" y="294020"/>
                </a:moveTo>
                <a:lnTo>
                  <a:pt x="180498" y="294197"/>
                </a:lnTo>
                <a:cubicBezTo>
                  <a:pt x="180498" y="294503"/>
                  <a:pt x="180498" y="295115"/>
                  <a:pt x="180190" y="295727"/>
                </a:cubicBezTo>
                <a:lnTo>
                  <a:pt x="180236" y="295788"/>
                </a:lnTo>
                <a:lnTo>
                  <a:pt x="180534" y="294300"/>
                </a:lnTo>
                <a:close/>
                <a:moveTo>
                  <a:pt x="104306" y="292692"/>
                </a:moveTo>
                <a:cubicBezTo>
                  <a:pt x="104306" y="292692"/>
                  <a:pt x="104306" y="292692"/>
                  <a:pt x="104613" y="292692"/>
                </a:cubicBezTo>
                <a:cubicBezTo>
                  <a:pt x="104613" y="292692"/>
                  <a:pt x="104613" y="292692"/>
                  <a:pt x="105227" y="292692"/>
                </a:cubicBezTo>
                <a:cubicBezTo>
                  <a:pt x="105227" y="292692"/>
                  <a:pt x="105534" y="292692"/>
                  <a:pt x="105534" y="292692"/>
                </a:cubicBezTo>
                <a:cubicBezTo>
                  <a:pt x="105534" y="292692"/>
                  <a:pt x="105534" y="292999"/>
                  <a:pt x="105534" y="292999"/>
                </a:cubicBezTo>
                <a:cubicBezTo>
                  <a:pt x="105534" y="292999"/>
                  <a:pt x="105534" y="293305"/>
                  <a:pt x="105534" y="293305"/>
                </a:cubicBezTo>
                <a:cubicBezTo>
                  <a:pt x="105534" y="293612"/>
                  <a:pt x="105227" y="293612"/>
                  <a:pt x="105227" y="293612"/>
                </a:cubicBezTo>
                <a:cubicBezTo>
                  <a:pt x="105227" y="293612"/>
                  <a:pt x="105227" y="293612"/>
                  <a:pt x="104920" y="293612"/>
                </a:cubicBezTo>
                <a:cubicBezTo>
                  <a:pt x="104920" y="293612"/>
                  <a:pt x="104920" y="293612"/>
                  <a:pt x="104306" y="293612"/>
                </a:cubicBezTo>
                <a:cubicBezTo>
                  <a:pt x="104306" y="293612"/>
                  <a:pt x="104306" y="293612"/>
                  <a:pt x="104306" y="293305"/>
                </a:cubicBezTo>
                <a:cubicBezTo>
                  <a:pt x="104306" y="293305"/>
                  <a:pt x="104306" y="293305"/>
                  <a:pt x="104306" y="292999"/>
                </a:cubicBezTo>
                <a:cubicBezTo>
                  <a:pt x="104306" y="292999"/>
                  <a:pt x="104306" y="292999"/>
                  <a:pt x="104306" y="292692"/>
                </a:cubicBezTo>
                <a:close/>
                <a:moveTo>
                  <a:pt x="117812" y="291159"/>
                </a:moveTo>
                <a:cubicBezTo>
                  <a:pt x="117812" y="291159"/>
                  <a:pt x="117812" y="291159"/>
                  <a:pt x="117812" y="291772"/>
                </a:cubicBezTo>
                <a:cubicBezTo>
                  <a:pt x="117812" y="291772"/>
                  <a:pt x="117812" y="291772"/>
                  <a:pt x="117812" y="292692"/>
                </a:cubicBezTo>
                <a:cubicBezTo>
                  <a:pt x="117812" y="292692"/>
                  <a:pt x="117812" y="292692"/>
                  <a:pt x="117198" y="292692"/>
                </a:cubicBezTo>
                <a:cubicBezTo>
                  <a:pt x="117198" y="292692"/>
                  <a:pt x="117198" y="292692"/>
                  <a:pt x="117505" y="291772"/>
                </a:cubicBezTo>
                <a:cubicBezTo>
                  <a:pt x="117505" y="291772"/>
                  <a:pt x="117505" y="291772"/>
                  <a:pt x="117812" y="291159"/>
                </a:cubicBezTo>
                <a:close/>
                <a:moveTo>
                  <a:pt x="95098" y="291159"/>
                </a:moveTo>
                <a:cubicBezTo>
                  <a:pt x="95098" y="291159"/>
                  <a:pt x="95098" y="291159"/>
                  <a:pt x="95405" y="291159"/>
                </a:cubicBezTo>
                <a:cubicBezTo>
                  <a:pt x="95405" y="291159"/>
                  <a:pt x="95405" y="291159"/>
                  <a:pt x="95405" y="291772"/>
                </a:cubicBezTo>
                <a:cubicBezTo>
                  <a:pt x="95405" y="291772"/>
                  <a:pt x="95405" y="291772"/>
                  <a:pt x="95405" y="292692"/>
                </a:cubicBezTo>
                <a:cubicBezTo>
                  <a:pt x="95405" y="292692"/>
                  <a:pt x="95405" y="292692"/>
                  <a:pt x="95098" y="292692"/>
                </a:cubicBezTo>
                <a:cubicBezTo>
                  <a:pt x="95098" y="292692"/>
                  <a:pt x="95098" y="292692"/>
                  <a:pt x="94791" y="292692"/>
                </a:cubicBezTo>
                <a:cubicBezTo>
                  <a:pt x="94791" y="292692"/>
                  <a:pt x="94791" y="292692"/>
                  <a:pt x="94484" y="292692"/>
                </a:cubicBezTo>
                <a:cubicBezTo>
                  <a:pt x="94484" y="292692"/>
                  <a:pt x="94484" y="292692"/>
                  <a:pt x="94791" y="291772"/>
                </a:cubicBezTo>
                <a:cubicBezTo>
                  <a:pt x="94791" y="291772"/>
                  <a:pt x="94791" y="291772"/>
                  <a:pt x="95098" y="291159"/>
                </a:cubicBezTo>
                <a:close/>
                <a:moveTo>
                  <a:pt x="104613" y="290546"/>
                </a:moveTo>
                <a:cubicBezTo>
                  <a:pt x="104613" y="290546"/>
                  <a:pt x="104613" y="290546"/>
                  <a:pt x="104920" y="290546"/>
                </a:cubicBezTo>
                <a:cubicBezTo>
                  <a:pt x="104920" y="290546"/>
                  <a:pt x="104920" y="290546"/>
                  <a:pt x="105534" y="290546"/>
                </a:cubicBezTo>
                <a:cubicBezTo>
                  <a:pt x="105534" y="290546"/>
                  <a:pt x="105841" y="290546"/>
                  <a:pt x="105841" y="290852"/>
                </a:cubicBezTo>
                <a:cubicBezTo>
                  <a:pt x="105841" y="291159"/>
                  <a:pt x="105841" y="291466"/>
                  <a:pt x="105841" y="291466"/>
                </a:cubicBezTo>
                <a:cubicBezTo>
                  <a:pt x="105534" y="291466"/>
                  <a:pt x="105534" y="291466"/>
                  <a:pt x="105227" y="291466"/>
                </a:cubicBezTo>
                <a:cubicBezTo>
                  <a:pt x="105227" y="291466"/>
                  <a:pt x="105227" y="291466"/>
                  <a:pt x="104613" y="291466"/>
                </a:cubicBezTo>
                <a:cubicBezTo>
                  <a:pt x="104613" y="291159"/>
                  <a:pt x="104613" y="291159"/>
                  <a:pt x="104613" y="291159"/>
                </a:cubicBezTo>
                <a:cubicBezTo>
                  <a:pt x="104613" y="290852"/>
                  <a:pt x="104613" y="290852"/>
                  <a:pt x="104613" y="290852"/>
                </a:cubicBezTo>
                <a:cubicBezTo>
                  <a:pt x="104613" y="290852"/>
                  <a:pt x="104613" y="290852"/>
                  <a:pt x="104613" y="290546"/>
                </a:cubicBezTo>
                <a:close/>
                <a:moveTo>
                  <a:pt x="129476" y="289626"/>
                </a:moveTo>
                <a:cubicBezTo>
                  <a:pt x="129476" y="289932"/>
                  <a:pt x="129476" y="289932"/>
                  <a:pt x="129476" y="289932"/>
                </a:cubicBezTo>
                <a:cubicBezTo>
                  <a:pt x="128555" y="294532"/>
                  <a:pt x="128555" y="294532"/>
                  <a:pt x="128555" y="294532"/>
                </a:cubicBezTo>
                <a:cubicBezTo>
                  <a:pt x="128555" y="294532"/>
                  <a:pt x="128555" y="294532"/>
                  <a:pt x="128862" y="294532"/>
                </a:cubicBezTo>
                <a:cubicBezTo>
                  <a:pt x="131624" y="294532"/>
                  <a:pt x="131624" y="294532"/>
                  <a:pt x="131624" y="294532"/>
                </a:cubicBezTo>
                <a:cubicBezTo>
                  <a:pt x="131931" y="294532"/>
                  <a:pt x="131931" y="294532"/>
                  <a:pt x="131931" y="294532"/>
                </a:cubicBezTo>
                <a:cubicBezTo>
                  <a:pt x="131931" y="293918"/>
                  <a:pt x="131931" y="293918"/>
                  <a:pt x="131931" y="293918"/>
                </a:cubicBezTo>
                <a:cubicBezTo>
                  <a:pt x="131931" y="293612"/>
                  <a:pt x="131931" y="293612"/>
                  <a:pt x="131931" y="293612"/>
                </a:cubicBezTo>
                <a:cubicBezTo>
                  <a:pt x="130090" y="293612"/>
                  <a:pt x="130090" y="293612"/>
                  <a:pt x="130090" y="293612"/>
                </a:cubicBezTo>
                <a:cubicBezTo>
                  <a:pt x="130090" y="293612"/>
                  <a:pt x="130090" y="293612"/>
                  <a:pt x="129783" y="293612"/>
                </a:cubicBezTo>
                <a:cubicBezTo>
                  <a:pt x="129783" y="293305"/>
                  <a:pt x="129783" y="293305"/>
                  <a:pt x="129783" y="293305"/>
                </a:cubicBezTo>
                <a:cubicBezTo>
                  <a:pt x="130090" y="292692"/>
                  <a:pt x="130090" y="292692"/>
                  <a:pt x="130090" y="292692"/>
                </a:cubicBezTo>
                <a:cubicBezTo>
                  <a:pt x="131624" y="292692"/>
                  <a:pt x="131624" y="292692"/>
                  <a:pt x="131624" y="292692"/>
                </a:cubicBezTo>
                <a:cubicBezTo>
                  <a:pt x="131624" y="292692"/>
                  <a:pt x="131624" y="292385"/>
                  <a:pt x="131931" y="292385"/>
                </a:cubicBezTo>
                <a:cubicBezTo>
                  <a:pt x="131931" y="291772"/>
                  <a:pt x="131931" y="291772"/>
                  <a:pt x="131931" y="291772"/>
                </a:cubicBezTo>
                <a:cubicBezTo>
                  <a:pt x="131931" y="291772"/>
                  <a:pt x="131931" y="291466"/>
                  <a:pt x="131624" y="291466"/>
                </a:cubicBezTo>
                <a:cubicBezTo>
                  <a:pt x="130397" y="291466"/>
                  <a:pt x="130397" y="291466"/>
                  <a:pt x="130397" y="291466"/>
                </a:cubicBezTo>
                <a:cubicBezTo>
                  <a:pt x="130397" y="291159"/>
                  <a:pt x="130397" y="291159"/>
                  <a:pt x="130397" y="291159"/>
                </a:cubicBezTo>
                <a:cubicBezTo>
                  <a:pt x="130397" y="290852"/>
                  <a:pt x="130397" y="290852"/>
                  <a:pt x="130397" y="290852"/>
                </a:cubicBezTo>
                <a:cubicBezTo>
                  <a:pt x="130397" y="290546"/>
                  <a:pt x="130397" y="290546"/>
                  <a:pt x="130397" y="290546"/>
                </a:cubicBezTo>
                <a:cubicBezTo>
                  <a:pt x="130397" y="290546"/>
                  <a:pt x="130397" y="290546"/>
                  <a:pt x="130703" y="290546"/>
                </a:cubicBezTo>
                <a:cubicBezTo>
                  <a:pt x="132238" y="290546"/>
                  <a:pt x="132238" y="290546"/>
                  <a:pt x="132238" y="290546"/>
                </a:cubicBezTo>
                <a:cubicBezTo>
                  <a:pt x="132238" y="290546"/>
                  <a:pt x="132238" y="290546"/>
                  <a:pt x="132545" y="290546"/>
                </a:cubicBezTo>
                <a:cubicBezTo>
                  <a:pt x="132545" y="289932"/>
                  <a:pt x="132545" y="289932"/>
                  <a:pt x="132545" y="289932"/>
                </a:cubicBezTo>
                <a:cubicBezTo>
                  <a:pt x="132545" y="289626"/>
                  <a:pt x="132545" y="289626"/>
                  <a:pt x="132238" y="289626"/>
                </a:cubicBezTo>
                <a:cubicBezTo>
                  <a:pt x="129783" y="289626"/>
                  <a:pt x="129783" y="289626"/>
                  <a:pt x="129783" y="289626"/>
                </a:cubicBezTo>
                <a:cubicBezTo>
                  <a:pt x="129476" y="289626"/>
                  <a:pt x="129476" y="289626"/>
                  <a:pt x="129476" y="289626"/>
                </a:cubicBezTo>
                <a:close/>
                <a:moveTo>
                  <a:pt x="126099" y="289626"/>
                </a:moveTo>
                <a:cubicBezTo>
                  <a:pt x="125792" y="289626"/>
                  <a:pt x="125792" y="289932"/>
                  <a:pt x="125485" y="289932"/>
                </a:cubicBezTo>
                <a:cubicBezTo>
                  <a:pt x="125485" y="290239"/>
                  <a:pt x="125485" y="290239"/>
                  <a:pt x="125178" y="290546"/>
                </a:cubicBezTo>
                <a:cubicBezTo>
                  <a:pt x="125178" y="290852"/>
                  <a:pt x="125178" y="290852"/>
                  <a:pt x="125178" y="291159"/>
                </a:cubicBezTo>
                <a:cubicBezTo>
                  <a:pt x="124565" y="292999"/>
                  <a:pt x="124565" y="292999"/>
                  <a:pt x="124565" y="292999"/>
                </a:cubicBezTo>
                <a:cubicBezTo>
                  <a:pt x="124565" y="293305"/>
                  <a:pt x="124565" y="293612"/>
                  <a:pt x="124565" y="293612"/>
                </a:cubicBezTo>
                <a:cubicBezTo>
                  <a:pt x="124872" y="293918"/>
                  <a:pt x="124872" y="293918"/>
                  <a:pt x="124872" y="294225"/>
                </a:cubicBezTo>
                <a:cubicBezTo>
                  <a:pt x="125178" y="294225"/>
                  <a:pt x="125178" y="294532"/>
                  <a:pt x="125485" y="294532"/>
                </a:cubicBezTo>
                <a:cubicBezTo>
                  <a:pt x="125792" y="294532"/>
                  <a:pt x="125792" y="294532"/>
                  <a:pt x="126099" y="294532"/>
                </a:cubicBezTo>
                <a:cubicBezTo>
                  <a:pt x="126406" y="294532"/>
                  <a:pt x="126713" y="294532"/>
                  <a:pt x="127020" y="294532"/>
                </a:cubicBezTo>
                <a:cubicBezTo>
                  <a:pt x="127327" y="294532"/>
                  <a:pt x="127634" y="294225"/>
                  <a:pt x="127941" y="294225"/>
                </a:cubicBezTo>
                <a:cubicBezTo>
                  <a:pt x="127941" y="293918"/>
                  <a:pt x="127941" y="293918"/>
                  <a:pt x="127941" y="293918"/>
                </a:cubicBezTo>
                <a:cubicBezTo>
                  <a:pt x="127327" y="293305"/>
                  <a:pt x="127327" y="293305"/>
                  <a:pt x="127327" y="293305"/>
                </a:cubicBezTo>
                <a:cubicBezTo>
                  <a:pt x="127327" y="293305"/>
                  <a:pt x="127020" y="293305"/>
                  <a:pt x="127020" y="293305"/>
                </a:cubicBezTo>
                <a:cubicBezTo>
                  <a:pt x="127020" y="293305"/>
                  <a:pt x="126713" y="293612"/>
                  <a:pt x="126713" y="293612"/>
                </a:cubicBezTo>
                <a:cubicBezTo>
                  <a:pt x="126713" y="293612"/>
                  <a:pt x="126406" y="293612"/>
                  <a:pt x="126406" y="293612"/>
                </a:cubicBezTo>
                <a:cubicBezTo>
                  <a:pt x="126099" y="293612"/>
                  <a:pt x="126099" y="293612"/>
                  <a:pt x="126099" y="293612"/>
                </a:cubicBezTo>
                <a:cubicBezTo>
                  <a:pt x="125792" y="293305"/>
                  <a:pt x="125792" y="293305"/>
                  <a:pt x="125792" y="293305"/>
                </a:cubicBezTo>
                <a:cubicBezTo>
                  <a:pt x="125792" y="292999"/>
                  <a:pt x="125792" y="292999"/>
                  <a:pt x="125792" y="292999"/>
                </a:cubicBezTo>
                <a:cubicBezTo>
                  <a:pt x="126099" y="291159"/>
                  <a:pt x="126099" y="291159"/>
                  <a:pt x="126099" y="291159"/>
                </a:cubicBezTo>
                <a:cubicBezTo>
                  <a:pt x="126406" y="290852"/>
                  <a:pt x="126406" y="290852"/>
                  <a:pt x="126406" y="290852"/>
                </a:cubicBezTo>
                <a:cubicBezTo>
                  <a:pt x="126406" y="290546"/>
                  <a:pt x="126406" y="290546"/>
                  <a:pt x="126406" y="290546"/>
                </a:cubicBezTo>
                <a:cubicBezTo>
                  <a:pt x="126713" y="290546"/>
                  <a:pt x="126713" y="290546"/>
                  <a:pt x="126713" y="290546"/>
                </a:cubicBezTo>
                <a:cubicBezTo>
                  <a:pt x="127020" y="290546"/>
                  <a:pt x="127020" y="290546"/>
                  <a:pt x="127020" y="290546"/>
                </a:cubicBezTo>
                <a:cubicBezTo>
                  <a:pt x="127327" y="290546"/>
                  <a:pt x="127327" y="290852"/>
                  <a:pt x="127634" y="290852"/>
                </a:cubicBezTo>
                <a:cubicBezTo>
                  <a:pt x="127941" y="290852"/>
                  <a:pt x="127941" y="290852"/>
                  <a:pt x="127941" y="290852"/>
                </a:cubicBezTo>
                <a:cubicBezTo>
                  <a:pt x="128248" y="290546"/>
                  <a:pt x="128248" y="290546"/>
                  <a:pt x="128248" y="290546"/>
                </a:cubicBezTo>
                <a:cubicBezTo>
                  <a:pt x="128248" y="290239"/>
                  <a:pt x="128248" y="290239"/>
                  <a:pt x="128248" y="290239"/>
                </a:cubicBezTo>
                <a:cubicBezTo>
                  <a:pt x="128248" y="289932"/>
                  <a:pt x="127941" y="289626"/>
                  <a:pt x="127634" y="289626"/>
                </a:cubicBezTo>
                <a:cubicBezTo>
                  <a:pt x="127327" y="289626"/>
                  <a:pt x="127020" y="289626"/>
                  <a:pt x="127020" y="289626"/>
                </a:cubicBezTo>
                <a:cubicBezTo>
                  <a:pt x="126713" y="289626"/>
                  <a:pt x="126406" y="289626"/>
                  <a:pt x="126099" y="289626"/>
                </a:cubicBezTo>
                <a:close/>
                <a:moveTo>
                  <a:pt x="120881" y="289626"/>
                </a:moveTo>
                <a:cubicBezTo>
                  <a:pt x="120881" y="289626"/>
                  <a:pt x="120574" y="289626"/>
                  <a:pt x="120574" y="289932"/>
                </a:cubicBezTo>
                <a:cubicBezTo>
                  <a:pt x="119653" y="294532"/>
                  <a:pt x="119653" y="294532"/>
                  <a:pt x="119653" y="294532"/>
                </a:cubicBezTo>
                <a:cubicBezTo>
                  <a:pt x="119960" y="294532"/>
                  <a:pt x="119960" y="294532"/>
                  <a:pt x="119960" y="294532"/>
                </a:cubicBezTo>
                <a:cubicBezTo>
                  <a:pt x="120574" y="294532"/>
                  <a:pt x="120574" y="294532"/>
                  <a:pt x="120574" y="294532"/>
                </a:cubicBezTo>
                <a:cubicBezTo>
                  <a:pt x="120881" y="294532"/>
                  <a:pt x="120881" y="294532"/>
                  <a:pt x="120881" y="294532"/>
                </a:cubicBezTo>
                <a:cubicBezTo>
                  <a:pt x="121495" y="292079"/>
                  <a:pt x="121495" y="292079"/>
                  <a:pt x="121495" y="292079"/>
                </a:cubicBezTo>
                <a:cubicBezTo>
                  <a:pt x="122416" y="294532"/>
                  <a:pt x="122416" y="294532"/>
                  <a:pt x="122416" y="294532"/>
                </a:cubicBezTo>
                <a:cubicBezTo>
                  <a:pt x="122723" y="294532"/>
                  <a:pt x="122723" y="294532"/>
                  <a:pt x="122723" y="294532"/>
                </a:cubicBezTo>
                <a:cubicBezTo>
                  <a:pt x="123337" y="294532"/>
                  <a:pt x="123337" y="294532"/>
                  <a:pt x="123337" y="294532"/>
                </a:cubicBezTo>
                <a:cubicBezTo>
                  <a:pt x="124258" y="289932"/>
                  <a:pt x="124258" y="289932"/>
                  <a:pt x="124258" y="289932"/>
                </a:cubicBezTo>
                <a:cubicBezTo>
                  <a:pt x="124258" y="289626"/>
                  <a:pt x="124258" y="289626"/>
                  <a:pt x="124258" y="289626"/>
                </a:cubicBezTo>
                <a:cubicBezTo>
                  <a:pt x="123337" y="289626"/>
                  <a:pt x="123337" y="289626"/>
                  <a:pt x="123337" y="289626"/>
                </a:cubicBezTo>
                <a:cubicBezTo>
                  <a:pt x="123337" y="289626"/>
                  <a:pt x="123337" y="289626"/>
                  <a:pt x="123337" y="289932"/>
                </a:cubicBezTo>
                <a:cubicBezTo>
                  <a:pt x="122723" y="292385"/>
                  <a:pt x="122723" y="292385"/>
                  <a:pt x="122723" y="292385"/>
                </a:cubicBezTo>
                <a:cubicBezTo>
                  <a:pt x="121802" y="289932"/>
                  <a:pt x="121802" y="289932"/>
                  <a:pt x="121802" y="289932"/>
                </a:cubicBezTo>
                <a:cubicBezTo>
                  <a:pt x="121495" y="289626"/>
                  <a:pt x="121495" y="289626"/>
                  <a:pt x="121495" y="289626"/>
                </a:cubicBezTo>
                <a:cubicBezTo>
                  <a:pt x="120881" y="289626"/>
                  <a:pt x="120881" y="289626"/>
                  <a:pt x="120881" y="289626"/>
                </a:cubicBezTo>
                <a:close/>
                <a:moveTo>
                  <a:pt x="117198" y="289626"/>
                </a:moveTo>
                <a:cubicBezTo>
                  <a:pt x="115356" y="294532"/>
                  <a:pt x="115356" y="294532"/>
                  <a:pt x="115356" y="294532"/>
                </a:cubicBezTo>
                <a:cubicBezTo>
                  <a:pt x="116277" y="294532"/>
                  <a:pt x="116277" y="294532"/>
                  <a:pt x="116277" y="294532"/>
                </a:cubicBezTo>
                <a:cubicBezTo>
                  <a:pt x="116584" y="294532"/>
                  <a:pt x="116584" y="294532"/>
                  <a:pt x="116584" y="294532"/>
                </a:cubicBezTo>
                <a:cubicBezTo>
                  <a:pt x="116584" y="293918"/>
                  <a:pt x="116584" y="293918"/>
                  <a:pt x="116584" y="293918"/>
                </a:cubicBezTo>
                <a:cubicBezTo>
                  <a:pt x="116891" y="293612"/>
                  <a:pt x="116891" y="293612"/>
                  <a:pt x="116891" y="293612"/>
                </a:cubicBezTo>
                <a:cubicBezTo>
                  <a:pt x="117812" y="293612"/>
                  <a:pt x="117812" y="293612"/>
                  <a:pt x="117812" y="293612"/>
                </a:cubicBezTo>
                <a:cubicBezTo>
                  <a:pt x="118119" y="293918"/>
                  <a:pt x="118119" y="293918"/>
                  <a:pt x="118119" y="293918"/>
                </a:cubicBezTo>
                <a:cubicBezTo>
                  <a:pt x="118119" y="294532"/>
                  <a:pt x="118119" y="294532"/>
                  <a:pt x="118119" y="294532"/>
                </a:cubicBezTo>
                <a:cubicBezTo>
                  <a:pt x="119040" y="294532"/>
                  <a:pt x="119040" y="294532"/>
                  <a:pt x="119040" y="294532"/>
                </a:cubicBezTo>
                <a:cubicBezTo>
                  <a:pt x="119040" y="289626"/>
                  <a:pt x="119040" y="289626"/>
                  <a:pt x="119040" y="289626"/>
                </a:cubicBezTo>
                <a:cubicBezTo>
                  <a:pt x="118733" y="289626"/>
                  <a:pt x="118733" y="289626"/>
                  <a:pt x="118733" y="289626"/>
                </a:cubicBezTo>
                <a:cubicBezTo>
                  <a:pt x="117505" y="289626"/>
                  <a:pt x="117505" y="289626"/>
                  <a:pt x="117505" y="289626"/>
                </a:cubicBezTo>
                <a:cubicBezTo>
                  <a:pt x="117198" y="289626"/>
                  <a:pt x="117198" y="289626"/>
                  <a:pt x="117198" y="289626"/>
                </a:cubicBezTo>
                <a:close/>
                <a:moveTo>
                  <a:pt x="112901" y="289626"/>
                </a:moveTo>
                <a:cubicBezTo>
                  <a:pt x="112901" y="289932"/>
                  <a:pt x="112901" y="289932"/>
                  <a:pt x="112901" y="289932"/>
                </a:cubicBezTo>
                <a:cubicBezTo>
                  <a:pt x="111980" y="294532"/>
                  <a:pt x="111980" y="294532"/>
                  <a:pt x="111980" y="294532"/>
                </a:cubicBezTo>
                <a:cubicBezTo>
                  <a:pt x="114742" y="294532"/>
                  <a:pt x="114742" y="294532"/>
                  <a:pt x="114742" y="294532"/>
                </a:cubicBezTo>
                <a:cubicBezTo>
                  <a:pt x="115049" y="294532"/>
                  <a:pt x="115049" y="294532"/>
                  <a:pt x="115049" y="294532"/>
                </a:cubicBezTo>
                <a:cubicBezTo>
                  <a:pt x="115356" y="293918"/>
                  <a:pt x="115356" y="293918"/>
                  <a:pt x="115356" y="293918"/>
                </a:cubicBezTo>
                <a:cubicBezTo>
                  <a:pt x="115049" y="293612"/>
                  <a:pt x="115049" y="293612"/>
                  <a:pt x="115049" y="293612"/>
                </a:cubicBezTo>
                <a:cubicBezTo>
                  <a:pt x="113515" y="293612"/>
                  <a:pt x="113515" y="293612"/>
                  <a:pt x="113515" y="293612"/>
                </a:cubicBezTo>
                <a:cubicBezTo>
                  <a:pt x="113208" y="293612"/>
                  <a:pt x="113208" y="293612"/>
                  <a:pt x="113208" y="293612"/>
                </a:cubicBezTo>
                <a:cubicBezTo>
                  <a:pt x="113208" y="293305"/>
                  <a:pt x="113208" y="293305"/>
                  <a:pt x="113208" y="293305"/>
                </a:cubicBezTo>
                <a:cubicBezTo>
                  <a:pt x="113821" y="289932"/>
                  <a:pt x="113821" y="289932"/>
                  <a:pt x="113821" y="289932"/>
                </a:cubicBezTo>
                <a:cubicBezTo>
                  <a:pt x="113821" y="289626"/>
                  <a:pt x="113821" y="289626"/>
                  <a:pt x="113821" y="289626"/>
                </a:cubicBezTo>
                <a:cubicBezTo>
                  <a:pt x="112901" y="289626"/>
                  <a:pt x="112901" y="289626"/>
                  <a:pt x="112901" y="289626"/>
                </a:cubicBezTo>
                <a:close/>
                <a:moveTo>
                  <a:pt x="108296" y="289626"/>
                </a:moveTo>
                <a:cubicBezTo>
                  <a:pt x="108296" y="289932"/>
                  <a:pt x="108296" y="289932"/>
                  <a:pt x="108296" y="289932"/>
                </a:cubicBezTo>
                <a:cubicBezTo>
                  <a:pt x="107683" y="292999"/>
                  <a:pt x="107683" y="292999"/>
                  <a:pt x="107683" y="292999"/>
                </a:cubicBezTo>
                <a:cubicBezTo>
                  <a:pt x="107683" y="293305"/>
                  <a:pt x="107376" y="293305"/>
                  <a:pt x="107683" y="293612"/>
                </a:cubicBezTo>
                <a:cubicBezTo>
                  <a:pt x="107683" y="293918"/>
                  <a:pt x="107683" y="293918"/>
                  <a:pt x="107989" y="294225"/>
                </a:cubicBezTo>
                <a:cubicBezTo>
                  <a:pt x="107989" y="294225"/>
                  <a:pt x="108296" y="294532"/>
                  <a:pt x="108296" y="294532"/>
                </a:cubicBezTo>
                <a:cubicBezTo>
                  <a:pt x="108603" y="294532"/>
                  <a:pt x="108910" y="294532"/>
                  <a:pt x="109217" y="294532"/>
                </a:cubicBezTo>
                <a:cubicBezTo>
                  <a:pt x="109524" y="294532"/>
                  <a:pt x="109831" y="294532"/>
                  <a:pt x="110138" y="294532"/>
                </a:cubicBezTo>
                <a:cubicBezTo>
                  <a:pt x="110138" y="294532"/>
                  <a:pt x="110445" y="294225"/>
                  <a:pt x="110445" y="294225"/>
                </a:cubicBezTo>
                <a:cubicBezTo>
                  <a:pt x="110752" y="293918"/>
                  <a:pt x="110752" y="293918"/>
                  <a:pt x="111059" y="293612"/>
                </a:cubicBezTo>
                <a:cubicBezTo>
                  <a:pt x="111059" y="293305"/>
                  <a:pt x="111059" y="293305"/>
                  <a:pt x="111059" y="292999"/>
                </a:cubicBezTo>
                <a:cubicBezTo>
                  <a:pt x="111673" y="289932"/>
                  <a:pt x="111673" y="289932"/>
                  <a:pt x="111673" y="289932"/>
                </a:cubicBezTo>
                <a:cubicBezTo>
                  <a:pt x="111673" y="289626"/>
                  <a:pt x="111673" y="289626"/>
                  <a:pt x="111673" y="289626"/>
                </a:cubicBezTo>
                <a:cubicBezTo>
                  <a:pt x="110752" y="289626"/>
                  <a:pt x="110752" y="289626"/>
                  <a:pt x="110752" y="289626"/>
                </a:cubicBezTo>
                <a:cubicBezTo>
                  <a:pt x="110445" y="289932"/>
                  <a:pt x="110445" y="289932"/>
                  <a:pt x="110445" y="289932"/>
                </a:cubicBezTo>
                <a:cubicBezTo>
                  <a:pt x="109831" y="292999"/>
                  <a:pt x="109831" y="292999"/>
                  <a:pt x="109831" y="292999"/>
                </a:cubicBezTo>
                <a:cubicBezTo>
                  <a:pt x="109831" y="293305"/>
                  <a:pt x="109831" y="293305"/>
                  <a:pt x="109831" y="293612"/>
                </a:cubicBezTo>
                <a:cubicBezTo>
                  <a:pt x="109524" y="293612"/>
                  <a:pt x="109524" y="293612"/>
                  <a:pt x="109217" y="293612"/>
                </a:cubicBezTo>
                <a:cubicBezTo>
                  <a:pt x="108910" y="293612"/>
                  <a:pt x="108910" y="293612"/>
                  <a:pt x="108910" y="293612"/>
                </a:cubicBezTo>
                <a:cubicBezTo>
                  <a:pt x="108603" y="293305"/>
                  <a:pt x="108603" y="293305"/>
                  <a:pt x="108603" y="292999"/>
                </a:cubicBezTo>
                <a:cubicBezTo>
                  <a:pt x="109217" y="289932"/>
                  <a:pt x="109217" y="289932"/>
                  <a:pt x="109217" y="289932"/>
                </a:cubicBezTo>
                <a:cubicBezTo>
                  <a:pt x="109217" y="289626"/>
                  <a:pt x="109217" y="289626"/>
                  <a:pt x="109217" y="289626"/>
                </a:cubicBezTo>
                <a:cubicBezTo>
                  <a:pt x="108296" y="289626"/>
                  <a:pt x="108296" y="289626"/>
                  <a:pt x="108296" y="289626"/>
                </a:cubicBezTo>
                <a:close/>
                <a:moveTo>
                  <a:pt x="103692" y="289626"/>
                </a:moveTo>
                <a:cubicBezTo>
                  <a:pt x="103692" y="289932"/>
                  <a:pt x="103692" y="289932"/>
                  <a:pt x="103692" y="289932"/>
                </a:cubicBezTo>
                <a:cubicBezTo>
                  <a:pt x="102771" y="294532"/>
                  <a:pt x="102771" y="294532"/>
                  <a:pt x="102771" y="294532"/>
                </a:cubicBezTo>
                <a:cubicBezTo>
                  <a:pt x="102771" y="294532"/>
                  <a:pt x="102771" y="294532"/>
                  <a:pt x="103078" y="294532"/>
                </a:cubicBezTo>
                <a:cubicBezTo>
                  <a:pt x="105227" y="294532"/>
                  <a:pt x="105227" y="294532"/>
                  <a:pt x="105227" y="294532"/>
                </a:cubicBezTo>
                <a:cubicBezTo>
                  <a:pt x="105227" y="294532"/>
                  <a:pt x="105534" y="294532"/>
                  <a:pt x="105841" y="294532"/>
                </a:cubicBezTo>
                <a:cubicBezTo>
                  <a:pt x="105841" y="294532"/>
                  <a:pt x="106148" y="294225"/>
                  <a:pt x="106148" y="294225"/>
                </a:cubicBezTo>
                <a:cubicBezTo>
                  <a:pt x="106455" y="293918"/>
                  <a:pt x="106455" y="293918"/>
                  <a:pt x="106762" y="293612"/>
                </a:cubicBezTo>
                <a:cubicBezTo>
                  <a:pt x="106762" y="293305"/>
                  <a:pt x="106762" y="293305"/>
                  <a:pt x="106762" y="292999"/>
                </a:cubicBezTo>
                <a:cubicBezTo>
                  <a:pt x="106762" y="292692"/>
                  <a:pt x="106762" y="292692"/>
                  <a:pt x="106762" y="292385"/>
                </a:cubicBezTo>
                <a:cubicBezTo>
                  <a:pt x="106455" y="292385"/>
                  <a:pt x="106455" y="292079"/>
                  <a:pt x="106148" y="292079"/>
                </a:cubicBezTo>
                <a:cubicBezTo>
                  <a:pt x="106455" y="292079"/>
                  <a:pt x="106455" y="291772"/>
                  <a:pt x="106762" y="291772"/>
                </a:cubicBezTo>
                <a:cubicBezTo>
                  <a:pt x="106762" y="291772"/>
                  <a:pt x="106762" y="291772"/>
                  <a:pt x="106762" y="291466"/>
                </a:cubicBezTo>
                <a:cubicBezTo>
                  <a:pt x="107069" y="291466"/>
                  <a:pt x="107069" y="291159"/>
                  <a:pt x="107069" y="291159"/>
                </a:cubicBezTo>
                <a:cubicBezTo>
                  <a:pt x="107069" y="291159"/>
                  <a:pt x="107069" y="290852"/>
                  <a:pt x="107069" y="290852"/>
                </a:cubicBezTo>
                <a:cubicBezTo>
                  <a:pt x="107069" y="290546"/>
                  <a:pt x="107069" y="290239"/>
                  <a:pt x="106762" y="289932"/>
                </a:cubicBezTo>
                <a:cubicBezTo>
                  <a:pt x="106455" y="289626"/>
                  <a:pt x="106148" y="289626"/>
                  <a:pt x="105534" y="289626"/>
                </a:cubicBezTo>
                <a:cubicBezTo>
                  <a:pt x="103999" y="289626"/>
                  <a:pt x="103999" y="289626"/>
                  <a:pt x="103999" y="289626"/>
                </a:cubicBezTo>
                <a:cubicBezTo>
                  <a:pt x="103692" y="289626"/>
                  <a:pt x="103692" y="289626"/>
                  <a:pt x="103692" y="289626"/>
                </a:cubicBezTo>
                <a:close/>
                <a:moveTo>
                  <a:pt x="98167" y="289626"/>
                </a:moveTo>
                <a:cubicBezTo>
                  <a:pt x="98167" y="289932"/>
                  <a:pt x="98167" y="289932"/>
                  <a:pt x="98167" y="289932"/>
                </a:cubicBezTo>
                <a:cubicBezTo>
                  <a:pt x="97860" y="290546"/>
                  <a:pt x="97860" y="291466"/>
                  <a:pt x="97553" y="292079"/>
                </a:cubicBezTo>
                <a:cubicBezTo>
                  <a:pt x="97553" y="292999"/>
                  <a:pt x="97246" y="293612"/>
                  <a:pt x="97246" y="294532"/>
                </a:cubicBezTo>
                <a:cubicBezTo>
                  <a:pt x="98167" y="294532"/>
                  <a:pt x="98167" y="294532"/>
                  <a:pt x="98167" y="294532"/>
                </a:cubicBezTo>
                <a:cubicBezTo>
                  <a:pt x="98474" y="294225"/>
                  <a:pt x="98474" y="293918"/>
                  <a:pt x="98474" y="293612"/>
                </a:cubicBezTo>
                <a:cubicBezTo>
                  <a:pt x="98474" y="292999"/>
                  <a:pt x="98474" y="292692"/>
                  <a:pt x="98781" y="292385"/>
                </a:cubicBezTo>
                <a:cubicBezTo>
                  <a:pt x="98781" y="293305"/>
                  <a:pt x="98781" y="293305"/>
                  <a:pt x="98781" y="293305"/>
                </a:cubicBezTo>
                <a:cubicBezTo>
                  <a:pt x="99088" y="294225"/>
                  <a:pt x="99088" y="294225"/>
                  <a:pt x="99088" y="294225"/>
                </a:cubicBezTo>
                <a:cubicBezTo>
                  <a:pt x="99088" y="294532"/>
                  <a:pt x="99088" y="294532"/>
                  <a:pt x="99088" y="294532"/>
                </a:cubicBezTo>
                <a:cubicBezTo>
                  <a:pt x="99395" y="294532"/>
                  <a:pt x="99395" y="294532"/>
                  <a:pt x="99395" y="294532"/>
                </a:cubicBezTo>
                <a:cubicBezTo>
                  <a:pt x="99702" y="294532"/>
                  <a:pt x="99702" y="294532"/>
                  <a:pt x="99702" y="294532"/>
                </a:cubicBezTo>
                <a:cubicBezTo>
                  <a:pt x="100009" y="294225"/>
                  <a:pt x="100009" y="294225"/>
                  <a:pt x="100009" y="294225"/>
                </a:cubicBezTo>
                <a:cubicBezTo>
                  <a:pt x="100623" y="293305"/>
                  <a:pt x="100623" y="293305"/>
                  <a:pt x="100623" y="293305"/>
                </a:cubicBezTo>
                <a:cubicBezTo>
                  <a:pt x="100930" y="292385"/>
                  <a:pt x="100930" y="292385"/>
                  <a:pt x="100930" y="292385"/>
                </a:cubicBezTo>
                <a:cubicBezTo>
                  <a:pt x="101237" y="292385"/>
                  <a:pt x="101237" y="292385"/>
                  <a:pt x="101237" y="292385"/>
                </a:cubicBezTo>
                <a:cubicBezTo>
                  <a:pt x="100930" y="292692"/>
                  <a:pt x="100930" y="292999"/>
                  <a:pt x="100930" y="293305"/>
                </a:cubicBezTo>
                <a:cubicBezTo>
                  <a:pt x="100930" y="293918"/>
                  <a:pt x="100623" y="294225"/>
                  <a:pt x="100623" y="294532"/>
                </a:cubicBezTo>
                <a:cubicBezTo>
                  <a:pt x="100930" y="294532"/>
                  <a:pt x="100930" y="294532"/>
                  <a:pt x="100930" y="294532"/>
                </a:cubicBezTo>
                <a:cubicBezTo>
                  <a:pt x="101544" y="294532"/>
                  <a:pt x="101544" y="294532"/>
                  <a:pt x="101544" y="294532"/>
                </a:cubicBezTo>
                <a:cubicBezTo>
                  <a:pt x="101851" y="294532"/>
                  <a:pt x="101851" y="294532"/>
                  <a:pt x="101851" y="294532"/>
                </a:cubicBezTo>
                <a:cubicBezTo>
                  <a:pt x="102771" y="289932"/>
                  <a:pt x="102771" y="289932"/>
                  <a:pt x="102771" y="289932"/>
                </a:cubicBezTo>
                <a:cubicBezTo>
                  <a:pt x="102771" y="289626"/>
                  <a:pt x="102771" y="289626"/>
                  <a:pt x="102771" y="289626"/>
                </a:cubicBezTo>
                <a:cubicBezTo>
                  <a:pt x="102464" y="289626"/>
                  <a:pt x="102464" y="289626"/>
                  <a:pt x="102464" y="289626"/>
                </a:cubicBezTo>
                <a:cubicBezTo>
                  <a:pt x="101851" y="289626"/>
                  <a:pt x="101851" y="289626"/>
                  <a:pt x="101851" y="289626"/>
                </a:cubicBezTo>
                <a:cubicBezTo>
                  <a:pt x="101851" y="289626"/>
                  <a:pt x="101851" y="289626"/>
                  <a:pt x="101544" y="289626"/>
                </a:cubicBezTo>
                <a:cubicBezTo>
                  <a:pt x="101544" y="289626"/>
                  <a:pt x="101544" y="289626"/>
                  <a:pt x="101544" y="289932"/>
                </a:cubicBezTo>
                <a:cubicBezTo>
                  <a:pt x="100623" y="291466"/>
                  <a:pt x="100623" y="291466"/>
                  <a:pt x="100623" y="291466"/>
                </a:cubicBezTo>
                <a:cubicBezTo>
                  <a:pt x="100316" y="291466"/>
                  <a:pt x="100316" y="291772"/>
                  <a:pt x="100316" y="292079"/>
                </a:cubicBezTo>
                <a:cubicBezTo>
                  <a:pt x="100009" y="292079"/>
                  <a:pt x="100009" y="292385"/>
                  <a:pt x="99702" y="292692"/>
                </a:cubicBezTo>
                <a:cubicBezTo>
                  <a:pt x="99395" y="291466"/>
                  <a:pt x="99395" y="291466"/>
                  <a:pt x="99395" y="291466"/>
                </a:cubicBezTo>
                <a:cubicBezTo>
                  <a:pt x="99088" y="289932"/>
                  <a:pt x="99088" y="289932"/>
                  <a:pt x="99088" y="289932"/>
                </a:cubicBezTo>
                <a:cubicBezTo>
                  <a:pt x="99088" y="289626"/>
                  <a:pt x="99088" y="289626"/>
                  <a:pt x="99088" y="289626"/>
                </a:cubicBezTo>
                <a:cubicBezTo>
                  <a:pt x="99088" y="289626"/>
                  <a:pt x="99088" y="289626"/>
                  <a:pt x="98781" y="289626"/>
                </a:cubicBezTo>
                <a:cubicBezTo>
                  <a:pt x="98167" y="289626"/>
                  <a:pt x="98167" y="289626"/>
                  <a:pt x="98167" y="289626"/>
                </a:cubicBezTo>
                <a:close/>
                <a:moveTo>
                  <a:pt x="94791" y="289626"/>
                </a:moveTo>
                <a:cubicBezTo>
                  <a:pt x="92642" y="294532"/>
                  <a:pt x="92642" y="294532"/>
                  <a:pt x="92642" y="294532"/>
                </a:cubicBezTo>
                <a:cubicBezTo>
                  <a:pt x="92642" y="294532"/>
                  <a:pt x="92642" y="294532"/>
                  <a:pt x="92949" y="294532"/>
                </a:cubicBezTo>
                <a:cubicBezTo>
                  <a:pt x="93563" y="294532"/>
                  <a:pt x="93563" y="294532"/>
                  <a:pt x="93563" y="294532"/>
                </a:cubicBezTo>
                <a:cubicBezTo>
                  <a:pt x="93870" y="294532"/>
                  <a:pt x="93870" y="294532"/>
                  <a:pt x="93870" y="294532"/>
                </a:cubicBezTo>
                <a:cubicBezTo>
                  <a:pt x="94177" y="293918"/>
                  <a:pt x="94177" y="293918"/>
                  <a:pt x="94177" y="293918"/>
                </a:cubicBezTo>
                <a:cubicBezTo>
                  <a:pt x="94177" y="293612"/>
                  <a:pt x="94177" y="293612"/>
                  <a:pt x="94177" y="293612"/>
                </a:cubicBezTo>
                <a:cubicBezTo>
                  <a:pt x="95098" y="293612"/>
                  <a:pt x="95098" y="293612"/>
                  <a:pt x="95098" y="293612"/>
                </a:cubicBezTo>
                <a:cubicBezTo>
                  <a:pt x="95405" y="293612"/>
                  <a:pt x="95405" y="293612"/>
                  <a:pt x="95405" y="293612"/>
                </a:cubicBezTo>
                <a:cubicBezTo>
                  <a:pt x="95405" y="293918"/>
                  <a:pt x="95405" y="293918"/>
                  <a:pt x="95405" y="293918"/>
                </a:cubicBezTo>
                <a:cubicBezTo>
                  <a:pt x="95405" y="294532"/>
                  <a:pt x="95405" y="294532"/>
                  <a:pt x="95405" y="294532"/>
                </a:cubicBezTo>
                <a:cubicBezTo>
                  <a:pt x="95712" y="294532"/>
                  <a:pt x="95712" y="294532"/>
                  <a:pt x="95712" y="294532"/>
                </a:cubicBezTo>
                <a:cubicBezTo>
                  <a:pt x="96326" y="294532"/>
                  <a:pt x="96326" y="294532"/>
                  <a:pt x="96326" y="294532"/>
                </a:cubicBezTo>
                <a:cubicBezTo>
                  <a:pt x="96632" y="294532"/>
                  <a:pt x="96632" y="294532"/>
                  <a:pt x="96632" y="294532"/>
                </a:cubicBezTo>
                <a:cubicBezTo>
                  <a:pt x="96326" y="289626"/>
                  <a:pt x="96326" y="289626"/>
                  <a:pt x="96326" y="289626"/>
                </a:cubicBezTo>
                <a:cubicBezTo>
                  <a:pt x="96019" y="289626"/>
                  <a:pt x="96019" y="289626"/>
                  <a:pt x="96019" y="289626"/>
                </a:cubicBezTo>
                <a:cubicBezTo>
                  <a:pt x="95098" y="289626"/>
                  <a:pt x="95098" y="289626"/>
                  <a:pt x="95098" y="289626"/>
                </a:cubicBezTo>
                <a:cubicBezTo>
                  <a:pt x="94791" y="289626"/>
                  <a:pt x="94791" y="289626"/>
                  <a:pt x="94791" y="289626"/>
                </a:cubicBezTo>
                <a:close/>
                <a:moveTo>
                  <a:pt x="191034" y="283383"/>
                </a:moveTo>
                <a:lnTo>
                  <a:pt x="192828" y="292905"/>
                </a:lnTo>
                <a:lnTo>
                  <a:pt x="192432" y="291723"/>
                </a:lnTo>
                <a:lnTo>
                  <a:pt x="191466" y="286111"/>
                </a:lnTo>
                <a:close/>
                <a:moveTo>
                  <a:pt x="289502" y="279549"/>
                </a:moveTo>
                <a:cubicBezTo>
                  <a:pt x="289196" y="279549"/>
                  <a:pt x="289196" y="279855"/>
                  <a:pt x="289196" y="279855"/>
                </a:cubicBezTo>
                <a:cubicBezTo>
                  <a:pt x="289196" y="280162"/>
                  <a:pt x="289196" y="280162"/>
                  <a:pt x="289502" y="280162"/>
                </a:cubicBezTo>
                <a:cubicBezTo>
                  <a:pt x="295301" y="280162"/>
                  <a:pt x="295301" y="280162"/>
                  <a:pt x="295301" y="280162"/>
                </a:cubicBezTo>
                <a:cubicBezTo>
                  <a:pt x="295606" y="280162"/>
                  <a:pt x="295911" y="280162"/>
                  <a:pt x="295911" y="279855"/>
                </a:cubicBezTo>
                <a:cubicBezTo>
                  <a:pt x="295911" y="279855"/>
                  <a:pt x="295606" y="279549"/>
                  <a:pt x="295301" y="279549"/>
                </a:cubicBezTo>
                <a:cubicBezTo>
                  <a:pt x="289502" y="279549"/>
                  <a:pt x="289502" y="279549"/>
                  <a:pt x="289502" y="279549"/>
                </a:cubicBezTo>
                <a:close/>
                <a:moveTo>
                  <a:pt x="190141" y="277736"/>
                </a:moveTo>
                <a:lnTo>
                  <a:pt x="191034" y="283383"/>
                </a:lnTo>
                <a:lnTo>
                  <a:pt x="190585" y="280999"/>
                </a:lnTo>
                <a:close/>
                <a:moveTo>
                  <a:pt x="289502" y="275870"/>
                </a:moveTo>
                <a:cubicBezTo>
                  <a:pt x="289196" y="275870"/>
                  <a:pt x="289196" y="276177"/>
                  <a:pt x="289196" y="276177"/>
                </a:cubicBezTo>
                <a:cubicBezTo>
                  <a:pt x="289196" y="276483"/>
                  <a:pt x="289196" y="276790"/>
                  <a:pt x="289502" y="276790"/>
                </a:cubicBezTo>
                <a:cubicBezTo>
                  <a:pt x="295301" y="276790"/>
                  <a:pt x="295301" y="276790"/>
                  <a:pt x="295301" y="276790"/>
                </a:cubicBezTo>
                <a:cubicBezTo>
                  <a:pt x="295606" y="276790"/>
                  <a:pt x="295911" y="276483"/>
                  <a:pt x="295911" y="276177"/>
                </a:cubicBezTo>
                <a:cubicBezTo>
                  <a:pt x="295911" y="276177"/>
                  <a:pt x="295606" y="275870"/>
                  <a:pt x="295301" y="275870"/>
                </a:cubicBezTo>
                <a:cubicBezTo>
                  <a:pt x="289502" y="275870"/>
                  <a:pt x="289502" y="275870"/>
                  <a:pt x="289502" y="275870"/>
                </a:cubicBezTo>
                <a:close/>
                <a:moveTo>
                  <a:pt x="371594" y="274689"/>
                </a:moveTo>
                <a:lnTo>
                  <a:pt x="376166" y="282575"/>
                </a:lnTo>
                <a:lnTo>
                  <a:pt x="380738" y="274689"/>
                </a:lnTo>
                <a:close/>
                <a:moveTo>
                  <a:pt x="289502" y="272498"/>
                </a:moveTo>
                <a:cubicBezTo>
                  <a:pt x="289196" y="272498"/>
                  <a:pt x="289196" y="272498"/>
                  <a:pt x="289196" y="272804"/>
                </a:cubicBezTo>
                <a:cubicBezTo>
                  <a:pt x="289196" y="273111"/>
                  <a:pt x="289196" y="273111"/>
                  <a:pt x="289502" y="273111"/>
                </a:cubicBezTo>
                <a:cubicBezTo>
                  <a:pt x="295301" y="273111"/>
                  <a:pt x="295301" y="273111"/>
                  <a:pt x="295301" y="273111"/>
                </a:cubicBezTo>
                <a:cubicBezTo>
                  <a:pt x="295606" y="273111"/>
                  <a:pt x="295911" y="273111"/>
                  <a:pt x="295911" y="272804"/>
                </a:cubicBezTo>
                <a:cubicBezTo>
                  <a:pt x="295911" y="272498"/>
                  <a:pt x="295606" y="272498"/>
                  <a:pt x="295301" y="272498"/>
                </a:cubicBezTo>
                <a:cubicBezTo>
                  <a:pt x="289502" y="272498"/>
                  <a:pt x="289502" y="272498"/>
                  <a:pt x="289502" y="272498"/>
                </a:cubicBezTo>
                <a:close/>
                <a:moveTo>
                  <a:pt x="289502" y="269126"/>
                </a:moveTo>
                <a:cubicBezTo>
                  <a:pt x="289196" y="269126"/>
                  <a:pt x="289196" y="269126"/>
                  <a:pt x="289196" y="269432"/>
                </a:cubicBezTo>
                <a:cubicBezTo>
                  <a:pt x="289196" y="269739"/>
                  <a:pt x="289196" y="269739"/>
                  <a:pt x="289502" y="269739"/>
                </a:cubicBezTo>
                <a:cubicBezTo>
                  <a:pt x="295301" y="269739"/>
                  <a:pt x="295301" y="269739"/>
                  <a:pt x="295301" y="269739"/>
                </a:cubicBezTo>
                <a:cubicBezTo>
                  <a:pt x="295606" y="269739"/>
                  <a:pt x="295911" y="269739"/>
                  <a:pt x="295911" y="269432"/>
                </a:cubicBezTo>
                <a:cubicBezTo>
                  <a:pt x="295911" y="269126"/>
                  <a:pt x="295606" y="269126"/>
                  <a:pt x="295301" y="269126"/>
                </a:cubicBezTo>
                <a:cubicBezTo>
                  <a:pt x="289502" y="269126"/>
                  <a:pt x="289502" y="269126"/>
                  <a:pt x="289502" y="269126"/>
                </a:cubicBezTo>
                <a:close/>
                <a:moveTo>
                  <a:pt x="2454" y="269052"/>
                </a:moveTo>
                <a:cubicBezTo>
                  <a:pt x="1841" y="269052"/>
                  <a:pt x="1227" y="269665"/>
                  <a:pt x="1227" y="270278"/>
                </a:cubicBezTo>
                <a:cubicBezTo>
                  <a:pt x="1227" y="294794"/>
                  <a:pt x="1227" y="294794"/>
                  <a:pt x="1227" y="294794"/>
                </a:cubicBezTo>
                <a:cubicBezTo>
                  <a:pt x="1227" y="295713"/>
                  <a:pt x="1841" y="296326"/>
                  <a:pt x="2454" y="296326"/>
                </a:cubicBezTo>
                <a:cubicBezTo>
                  <a:pt x="36512" y="296326"/>
                  <a:pt x="36512" y="296326"/>
                  <a:pt x="36512" y="296326"/>
                </a:cubicBezTo>
                <a:cubicBezTo>
                  <a:pt x="37126" y="296326"/>
                  <a:pt x="37739" y="295713"/>
                  <a:pt x="37739" y="294794"/>
                </a:cubicBezTo>
                <a:cubicBezTo>
                  <a:pt x="37739" y="270278"/>
                  <a:pt x="37739" y="270278"/>
                  <a:pt x="37739" y="270278"/>
                </a:cubicBezTo>
                <a:cubicBezTo>
                  <a:pt x="37739" y="269665"/>
                  <a:pt x="37126" y="269052"/>
                  <a:pt x="36512" y="269052"/>
                </a:cubicBezTo>
                <a:close/>
                <a:moveTo>
                  <a:pt x="133830" y="267309"/>
                </a:moveTo>
                <a:cubicBezTo>
                  <a:pt x="135988" y="267309"/>
                  <a:pt x="135988" y="267309"/>
                  <a:pt x="135988" y="267309"/>
                </a:cubicBezTo>
                <a:cubicBezTo>
                  <a:pt x="136297" y="267309"/>
                  <a:pt x="136605" y="267614"/>
                  <a:pt x="136605" y="267919"/>
                </a:cubicBezTo>
                <a:cubicBezTo>
                  <a:pt x="136605" y="272193"/>
                  <a:pt x="136605" y="272193"/>
                  <a:pt x="136605" y="272193"/>
                </a:cubicBezTo>
                <a:cubicBezTo>
                  <a:pt x="140922" y="272193"/>
                  <a:pt x="140922" y="272193"/>
                  <a:pt x="140922" y="272193"/>
                </a:cubicBezTo>
                <a:cubicBezTo>
                  <a:pt x="141538" y="272193"/>
                  <a:pt x="141847" y="272499"/>
                  <a:pt x="141847" y="273109"/>
                </a:cubicBezTo>
                <a:cubicBezTo>
                  <a:pt x="141847" y="274941"/>
                  <a:pt x="141847" y="274941"/>
                  <a:pt x="141847" y="274941"/>
                </a:cubicBezTo>
                <a:cubicBezTo>
                  <a:pt x="141847" y="275551"/>
                  <a:pt x="141538" y="275857"/>
                  <a:pt x="140922" y="275857"/>
                </a:cubicBezTo>
                <a:cubicBezTo>
                  <a:pt x="136605" y="275857"/>
                  <a:pt x="136605" y="275857"/>
                  <a:pt x="136605" y="275857"/>
                </a:cubicBezTo>
                <a:cubicBezTo>
                  <a:pt x="136605" y="280130"/>
                  <a:pt x="136605" y="280130"/>
                  <a:pt x="136605" y="280130"/>
                </a:cubicBezTo>
                <a:cubicBezTo>
                  <a:pt x="136605" y="280436"/>
                  <a:pt x="136297" y="280741"/>
                  <a:pt x="135988" y="280741"/>
                </a:cubicBezTo>
                <a:cubicBezTo>
                  <a:pt x="133830" y="280741"/>
                  <a:pt x="133830" y="280741"/>
                  <a:pt x="133830" y="280741"/>
                </a:cubicBezTo>
                <a:cubicBezTo>
                  <a:pt x="133522" y="280741"/>
                  <a:pt x="133213" y="280436"/>
                  <a:pt x="133213" y="280130"/>
                </a:cubicBezTo>
                <a:cubicBezTo>
                  <a:pt x="133213" y="275857"/>
                  <a:pt x="133213" y="275857"/>
                  <a:pt x="133213" y="275857"/>
                </a:cubicBezTo>
                <a:cubicBezTo>
                  <a:pt x="128588" y="275857"/>
                  <a:pt x="128588" y="275857"/>
                  <a:pt x="128588" y="275857"/>
                </a:cubicBezTo>
                <a:cubicBezTo>
                  <a:pt x="128280" y="275857"/>
                  <a:pt x="127972" y="275551"/>
                  <a:pt x="127972" y="274941"/>
                </a:cubicBezTo>
                <a:cubicBezTo>
                  <a:pt x="127972" y="273109"/>
                  <a:pt x="127972" y="273109"/>
                  <a:pt x="127972" y="273109"/>
                </a:cubicBezTo>
                <a:cubicBezTo>
                  <a:pt x="127972" y="272499"/>
                  <a:pt x="128280" y="272193"/>
                  <a:pt x="128588" y="272193"/>
                </a:cubicBezTo>
                <a:cubicBezTo>
                  <a:pt x="133213" y="272193"/>
                  <a:pt x="133213" y="272193"/>
                  <a:pt x="133213" y="272193"/>
                </a:cubicBezTo>
                <a:cubicBezTo>
                  <a:pt x="133213" y="267919"/>
                  <a:pt x="133213" y="267919"/>
                  <a:pt x="133213" y="267919"/>
                </a:cubicBezTo>
                <a:cubicBezTo>
                  <a:pt x="133213" y="267614"/>
                  <a:pt x="133522" y="267309"/>
                  <a:pt x="133830" y="267309"/>
                </a:cubicBezTo>
                <a:close/>
                <a:moveTo>
                  <a:pt x="289502" y="265447"/>
                </a:moveTo>
                <a:cubicBezTo>
                  <a:pt x="289196" y="265447"/>
                  <a:pt x="289196" y="265753"/>
                  <a:pt x="289196" y="266060"/>
                </a:cubicBezTo>
                <a:cubicBezTo>
                  <a:pt x="289196" y="266060"/>
                  <a:pt x="289196" y="266367"/>
                  <a:pt x="289502" y="266367"/>
                </a:cubicBezTo>
                <a:cubicBezTo>
                  <a:pt x="295301" y="266367"/>
                  <a:pt x="295301" y="266367"/>
                  <a:pt x="295301" y="266367"/>
                </a:cubicBezTo>
                <a:cubicBezTo>
                  <a:pt x="295606" y="266367"/>
                  <a:pt x="295911" y="266060"/>
                  <a:pt x="295911" y="266060"/>
                </a:cubicBezTo>
                <a:cubicBezTo>
                  <a:pt x="295911" y="265753"/>
                  <a:pt x="295606" y="265447"/>
                  <a:pt x="295301" y="265447"/>
                </a:cubicBezTo>
                <a:cubicBezTo>
                  <a:pt x="289502" y="265447"/>
                  <a:pt x="289502" y="265447"/>
                  <a:pt x="289502" y="265447"/>
                </a:cubicBezTo>
                <a:close/>
                <a:moveTo>
                  <a:pt x="366202" y="265390"/>
                </a:moveTo>
                <a:lnTo>
                  <a:pt x="366203" y="265390"/>
                </a:lnTo>
                <a:lnTo>
                  <a:pt x="386128" y="265390"/>
                </a:lnTo>
                <a:lnTo>
                  <a:pt x="386117" y="265410"/>
                </a:lnTo>
                <a:lnTo>
                  <a:pt x="386129" y="265390"/>
                </a:lnTo>
                <a:lnTo>
                  <a:pt x="394099" y="269670"/>
                </a:lnTo>
                <a:lnTo>
                  <a:pt x="381431" y="291656"/>
                </a:lnTo>
                <a:lnTo>
                  <a:pt x="394099" y="313508"/>
                </a:lnTo>
                <a:lnTo>
                  <a:pt x="386129" y="318084"/>
                </a:lnTo>
                <a:lnTo>
                  <a:pt x="376166" y="300793"/>
                </a:lnTo>
                <a:lnTo>
                  <a:pt x="366203" y="318084"/>
                </a:lnTo>
                <a:lnTo>
                  <a:pt x="358232" y="313508"/>
                </a:lnTo>
                <a:lnTo>
                  <a:pt x="370901" y="291656"/>
                </a:lnTo>
                <a:lnTo>
                  <a:pt x="358232" y="269670"/>
                </a:lnTo>
                <a:lnTo>
                  <a:pt x="366202" y="265390"/>
                </a:lnTo>
                <a:close/>
                <a:moveTo>
                  <a:pt x="255242" y="265156"/>
                </a:moveTo>
                <a:lnTo>
                  <a:pt x="256863" y="277787"/>
                </a:lnTo>
                <a:lnTo>
                  <a:pt x="257817" y="278581"/>
                </a:lnTo>
                <a:cubicBezTo>
                  <a:pt x="257817" y="280111"/>
                  <a:pt x="257817" y="281642"/>
                  <a:pt x="257817" y="282866"/>
                </a:cubicBezTo>
                <a:cubicBezTo>
                  <a:pt x="258124" y="287765"/>
                  <a:pt x="258430" y="291821"/>
                  <a:pt x="256936" y="294959"/>
                </a:cubicBezTo>
                <a:lnTo>
                  <a:pt x="246556" y="300804"/>
                </a:lnTo>
                <a:lnTo>
                  <a:pt x="247394" y="304703"/>
                </a:lnTo>
                <a:cubicBezTo>
                  <a:pt x="247702" y="305317"/>
                  <a:pt x="247702" y="305317"/>
                  <a:pt x="247702" y="305317"/>
                </a:cubicBezTo>
                <a:cubicBezTo>
                  <a:pt x="248932" y="308383"/>
                  <a:pt x="249239" y="308689"/>
                  <a:pt x="251699" y="311142"/>
                </a:cubicBezTo>
                <a:cubicBezTo>
                  <a:pt x="252314" y="311449"/>
                  <a:pt x="252622" y="311755"/>
                  <a:pt x="252929" y="312062"/>
                </a:cubicBezTo>
                <a:cubicBezTo>
                  <a:pt x="255389" y="313595"/>
                  <a:pt x="256312" y="314208"/>
                  <a:pt x="259694" y="314208"/>
                </a:cubicBezTo>
                <a:cubicBezTo>
                  <a:pt x="262462" y="314208"/>
                  <a:pt x="264922" y="313901"/>
                  <a:pt x="267075" y="312982"/>
                </a:cubicBezTo>
                <a:cubicBezTo>
                  <a:pt x="269227" y="311755"/>
                  <a:pt x="271380" y="310222"/>
                  <a:pt x="272917" y="308383"/>
                </a:cubicBezTo>
                <a:cubicBezTo>
                  <a:pt x="276300" y="304703"/>
                  <a:pt x="277530" y="300411"/>
                  <a:pt x="277837" y="296119"/>
                </a:cubicBezTo>
                <a:cubicBezTo>
                  <a:pt x="277837" y="291520"/>
                  <a:pt x="276607" y="286614"/>
                  <a:pt x="273840" y="282321"/>
                </a:cubicBezTo>
                <a:cubicBezTo>
                  <a:pt x="272302" y="280175"/>
                  <a:pt x="270765" y="278029"/>
                  <a:pt x="268920" y="275883"/>
                </a:cubicBezTo>
                <a:lnTo>
                  <a:pt x="266578" y="273771"/>
                </a:lnTo>
                <a:lnTo>
                  <a:pt x="264553" y="279826"/>
                </a:lnTo>
                <a:cubicBezTo>
                  <a:pt x="264553" y="283810"/>
                  <a:pt x="266091" y="288100"/>
                  <a:pt x="267936" y="291471"/>
                </a:cubicBezTo>
                <a:lnTo>
                  <a:pt x="270830" y="295509"/>
                </a:lnTo>
                <a:lnTo>
                  <a:pt x="271949" y="295509"/>
                </a:lnTo>
                <a:cubicBezTo>
                  <a:pt x="274680" y="298842"/>
                  <a:pt x="274680" y="298842"/>
                  <a:pt x="274680" y="298842"/>
                </a:cubicBezTo>
                <a:cubicBezTo>
                  <a:pt x="274983" y="299145"/>
                  <a:pt x="274680" y="299448"/>
                  <a:pt x="274376" y="299751"/>
                </a:cubicBezTo>
                <a:cubicBezTo>
                  <a:pt x="273770" y="300660"/>
                  <a:pt x="273770" y="300660"/>
                  <a:pt x="273770" y="300660"/>
                </a:cubicBezTo>
                <a:cubicBezTo>
                  <a:pt x="273163" y="300963"/>
                  <a:pt x="272860" y="300660"/>
                  <a:pt x="272556" y="300357"/>
                </a:cubicBezTo>
                <a:cubicBezTo>
                  <a:pt x="269826" y="297327"/>
                  <a:pt x="269826" y="297327"/>
                  <a:pt x="269826" y="297327"/>
                </a:cubicBezTo>
                <a:cubicBezTo>
                  <a:pt x="269522" y="297024"/>
                  <a:pt x="269522" y="296418"/>
                  <a:pt x="269826" y="296115"/>
                </a:cubicBezTo>
                <a:lnTo>
                  <a:pt x="270080" y="295945"/>
                </a:lnTo>
                <a:lnTo>
                  <a:pt x="267013" y="291778"/>
                </a:lnTo>
                <a:cubicBezTo>
                  <a:pt x="265168" y="288407"/>
                  <a:pt x="263631" y="284116"/>
                  <a:pt x="263323" y="279826"/>
                </a:cubicBezTo>
                <a:lnTo>
                  <a:pt x="265779" y="273049"/>
                </a:lnTo>
                <a:lnTo>
                  <a:pt x="262462" y="270057"/>
                </a:lnTo>
                <a:cubicBezTo>
                  <a:pt x="261232" y="268831"/>
                  <a:pt x="260002" y="267911"/>
                  <a:pt x="258464" y="266991"/>
                </a:cubicBezTo>
                <a:close/>
                <a:moveTo>
                  <a:pt x="134694" y="264484"/>
                </a:moveTo>
                <a:cubicBezTo>
                  <a:pt x="129476" y="264484"/>
                  <a:pt x="125178" y="268776"/>
                  <a:pt x="125178" y="273989"/>
                </a:cubicBezTo>
                <a:cubicBezTo>
                  <a:pt x="125178" y="279508"/>
                  <a:pt x="129476" y="283800"/>
                  <a:pt x="134694" y="283800"/>
                </a:cubicBezTo>
                <a:cubicBezTo>
                  <a:pt x="140219" y="283800"/>
                  <a:pt x="144516" y="279508"/>
                  <a:pt x="144516" y="273989"/>
                </a:cubicBezTo>
                <a:cubicBezTo>
                  <a:pt x="144516" y="268776"/>
                  <a:pt x="140219" y="264484"/>
                  <a:pt x="134694" y="264484"/>
                </a:cubicBezTo>
                <a:close/>
                <a:moveTo>
                  <a:pt x="75146" y="264484"/>
                </a:moveTo>
                <a:cubicBezTo>
                  <a:pt x="73612" y="264484"/>
                  <a:pt x="72384" y="264790"/>
                  <a:pt x="71770" y="265403"/>
                </a:cubicBezTo>
                <a:cubicBezTo>
                  <a:pt x="57036" y="280121"/>
                  <a:pt x="57036" y="280121"/>
                  <a:pt x="57036" y="280121"/>
                </a:cubicBezTo>
                <a:cubicBezTo>
                  <a:pt x="56729" y="280427"/>
                  <a:pt x="56423" y="281041"/>
                  <a:pt x="56423" y="281347"/>
                </a:cubicBezTo>
                <a:cubicBezTo>
                  <a:pt x="56423" y="281961"/>
                  <a:pt x="56423" y="281961"/>
                  <a:pt x="56423" y="281961"/>
                </a:cubicBezTo>
                <a:cubicBezTo>
                  <a:pt x="56423" y="282267"/>
                  <a:pt x="56423" y="282267"/>
                  <a:pt x="56423" y="282267"/>
                </a:cubicBezTo>
                <a:cubicBezTo>
                  <a:pt x="56423" y="283494"/>
                  <a:pt x="58264" y="283494"/>
                  <a:pt x="60413" y="283494"/>
                </a:cubicBezTo>
                <a:cubicBezTo>
                  <a:pt x="77295" y="283494"/>
                  <a:pt x="77295" y="283494"/>
                  <a:pt x="77295" y="283494"/>
                </a:cubicBezTo>
                <a:cubicBezTo>
                  <a:pt x="77295" y="264484"/>
                  <a:pt x="77295" y="264484"/>
                  <a:pt x="77295" y="264484"/>
                </a:cubicBezTo>
                <a:cubicBezTo>
                  <a:pt x="75146" y="264484"/>
                  <a:pt x="75146" y="264484"/>
                  <a:pt x="75146" y="264484"/>
                </a:cubicBezTo>
                <a:close/>
                <a:moveTo>
                  <a:pt x="84969" y="263870"/>
                </a:moveTo>
                <a:cubicBezTo>
                  <a:pt x="84355" y="263870"/>
                  <a:pt x="83434" y="264484"/>
                  <a:pt x="83434" y="265403"/>
                </a:cubicBezTo>
                <a:cubicBezTo>
                  <a:pt x="83434" y="281961"/>
                  <a:pt x="83434" y="281961"/>
                  <a:pt x="83434" y="281961"/>
                </a:cubicBezTo>
                <a:cubicBezTo>
                  <a:pt x="83434" y="282880"/>
                  <a:pt x="84355" y="283494"/>
                  <a:pt x="84969" y="283494"/>
                </a:cubicBezTo>
                <a:cubicBezTo>
                  <a:pt x="112594" y="283494"/>
                  <a:pt x="112594" y="283494"/>
                  <a:pt x="112594" y="283494"/>
                </a:cubicBezTo>
                <a:cubicBezTo>
                  <a:pt x="113515" y="283494"/>
                  <a:pt x="114128" y="282880"/>
                  <a:pt x="114128" y="281961"/>
                </a:cubicBezTo>
                <a:cubicBezTo>
                  <a:pt x="114128" y="265403"/>
                  <a:pt x="114128" y="265403"/>
                  <a:pt x="114128" y="265403"/>
                </a:cubicBezTo>
                <a:cubicBezTo>
                  <a:pt x="114128" y="264484"/>
                  <a:pt x="113515" y="263870"/>
                  <a:pt x="112594" y="263870"/>
                </a:cubicBezTo>
                <a:cubicBezTo>
                  <a:pt x="84969" y="263870"/>
                  <a:pt x="84969" y="263870"/>
                  <a:pt x="84969" y="263870"/>
                </a:cubicBezTo>
                <a:close/>
                <a:moveTo>
                  <a:pt x="245549" y="262392"/>
                </a:moveTo>
                <a:cubicBezTo>
                  <a:pt x="243089" y="262086"/>
                  <a:pt x="240322" y="262392"/>
                  <a:pt x="237862" y="263006"/>
                </a:cubicBezTo>
                <a:lnTo>
                  <a:pt x="236595" y="263848"/>
                </a:lnTo>
                <a:lnTo>
                  <a:pt x="236421" y="264568"/>
                </a:lnTo>
                <a:lnTo>
                  <a:pt x="234660" y="278095"/>
                </a:lnTo>
                <a:lnTo>
                  <a:pt x="235146" y="278581"/>
                </a:lnTo>
                <a:cubicBezTo>
                  <a:pt x="235146" y="280417"/>
                  <a:pt x="235146" y="281642"/>
                  <a:pt x="235146" y="283173"/>
                </a:cubicBezTo>
                <a:cubicBezTo>
                  <a:pt x="234840" y="287152"/>
                  <a:pt x="234609" y="290520"/>
                  <a:pt x="235836" y="293122"/>
                </a:cubicBezTo>
                <a:lnTo>
                  <a:pt x="244951" y="298298"/>
                </a:lnTo>
                <a:lnTo>
                  <a:pt x="253947" y="293122"/>
                </a:lnTo>
                <a:cubicBezTo>
                  <a:pt x="255135" y="290520"/>
                  <a:pt x="254905" y="287152"/>
                  <a:pt x="254751" y="283173"/>
                </a:cubicBezTo>
                <a:cubicBezTo>
                  <a:pt x="254751" y="281642"/>
                  <a:pt x="254445" y="280417"/>
                  <a:pt x="254445" y="278581"/>
                </a:cubicBezTo>
                <a:lnTo>
                  <a:pt x="255583" y="277444"/>
                </a:lnTo>
                <a:lnTo>
                  <a:pt x="253895" y="264568"/>
                </a:lnTo>
                <a:lnTo>
                  <a:pt x="253868" y="264466"/>
                </a:lnTo>
                <a:close/>
                <a:moveTo>
                  <a:pt x="289502" y="262075"/>
                </a:moveTo>
                <a:cubicBezTo>
                  <a:pt x="289196" y="262075"/>
                  <a:pt x="289196" y="262075"/>
                  <a:pt x="289196" y="262381"/>
                </a:cubicBezTo>
                <a:cubicBezTo>
                  <a:pt x="289196" y="262381"/>
                  <a:pt x="289196" y="262688"/>
                  <a:pt x="289502" y="262688"/>
                </a:cubicBezTo>
                <a:cubicBezTo>
                  <a:pt x="295301" y="262688"/>
                  <a:pt x="295301" y="262688"/>
                  <a:pt x="295301" y="262688"/>
                </a:cubicBezTo>
                <a:cubicBezTo>
                  <a:pt x="295606" y="262688"/>
                  <a:pt x="295911" y="262381"/>
                  <a:pt x="295911" y="262381"/>
                </a:cubicBezTo>
                <a:cubicBezTo>
                  <a:pt x="295911" y="262075"/>
                  <a:pt x="295606" y="262075"/>
                  <a:pt x="295301" y="262075"/>
                </a:cubicBezTo>
                <a:cubicBezTo>
                  <a:pt x="289502" y="262075"/>
                  <a:pt x="289502" y="262075"/>
                  <a:pt x="289502" y="262075"/>
                </a:cubicBezTo>
                <a:close/>
                <a:moveTo>
                  <a:pt x="187888" y="261809"/>
                </a:moveTo>
                <a:lnTo>
                  <a:pt x="186980" y="262458"/>
                </a:lnTo>
                <a:lnTo>
                  <a:pt x="187958" y="261809"/>
                </a:lnTo>
                <a:close/>
                <a:moveTo>
                  <a:pt x="156502" y="260519"/>
                </a:moveTo>
                <a:cubicBezTo>
                  <a:pt x="156502" y="260519"/>
                  <a:pt x="156502" y="263888"/>
                  <a:pt x="156502" y="267870"/>
                </a:cubicBezTo>
                <a:cubicBezTo>
                  <a:pt x="156808" y="273077"/>
                  <a:pt x="157115" y="279815"/>
                  <a:pt x="157421" y="280734"/>
                </a:cubicBezTo>
                <a:cubicBezTo>
                  <a:pt x="157421" y="281960"/>
                  <a:pt x="157421" y="282878"/>
                  <a:pt x="157727" y="284104"/>
                </a:cubicBezTo>
                <a:cubicBezTo>
                  <a:pt x="158033" y="287473"/>
                  <a:pt x="158339" y="290842"/>
                  <a:pt x="158645" y="294211"/>
                </a:cubicBezTo>
                <a:cubicBezTo>
                  <a:pt x="158952" y="295130"/>
                  <a:pt x="158952" y="295743"/>
                  <a:pt x="158952" y="296662"/>
                </a:cubicBezTo>
                <a:cubicBezTo>
                  <a:pt x="158952" y="297274"/>
                  <a:pt x="159258" y="298806"/>
                  <a:pt x="159564" y="300950"/>
                </a:cubicBezTo>
                <a:cubicBezTo>
                  <a:pt x="159870" y="298806"/>
                  <a:pt x="159870" y="297274"/>
                  <a:pt x="160176" y="296662"/>
                </a:cubicBezTo>
                <a:cubicBezTo>
                  <a:pt x="160176" y="295743"/>
                  <a:pt x="160176" y="295130"/>
                  <a:pt x="160176" y="294211"/>
                </a:cubicBezTo>
                <a:cubicBezTo>
                  <a:pt x="160482" y="290842"/>
                  <a:pt x="161095" y="287473"/>
                  <a:pt x="161401" y="284104"/>
                </a:cubicBezTo>
                <a:cubicBezTo>
                  <a:pt x="161401" y="282878"/>
                  <a:pt x="161707" y="281960"/>
                  <a:pt x="161707" y="280734"/>
                </a:cubicBezTo>
                <a:cubicBezTo>
                  <a:pt x="161707" y="279815"/>
                  <a:pt x="162319" y="273077"/>
                  <a:pt x="162319" y="267870"/>
                </a:cubicBezTo>
                <a:cubicBezTo>
                  <a:pt x="162625" y="263888"/>
                  <a:pt x="162625" y="260519"/>
                  <a:pt x="162625" y="260519"/>
                </a:cubicBezTo>
                <a:cubicBezTo>
                  <a:pt x="163544" y="260825"/>
                  <a:pt x="162625" y="286554"/>
                  <a:pt x="162319" y="289004"/>
                </a:cubicBezTo>
                <a:cubicBezTo>
                  <a:pt x="162013" y="291148"/>
                  <a:pt x="162013" y="293292"/>
                  <a:pt x="161707" y="295436"/>
                </a:cubicBezTo>
                <a:cubicBezTo>
                  <a:pt x="161707" y="296049"/>
                  <a:pt x="161707" y="296662"/>
                  <a:pt x="161401" y="296968"/>
                </a:cubicBezTo>
                <a:cubicBezTo>
                  <a:pt x="161401" y="297274"/>
                  <a:pt x="161095" y="297274"/>
                  <a:pt x="161095" y="297581"/>
                </a:cubicBezTo>
                <a:cubicBezTo>
                  <a:pt x="160176" y="301562"/>
                  <a:pt x="160176" y="304932"/>
                  <a:pt x="160176" y="308301"/>
                </a:cubicBezTo>
                <a:cubicBezTo>
                  <a:pt x="160176" y="311364"/>
                  <a:pt x="160176" y="313508"/>
                  <a:pt x="159564" y="313508"/>
                </a:cubicBezTo>
                <a:cubicBezTo>
                  <a:pt x="158645" y="313508"/>
                  <a:pt x="158645" y="311364"/>
                  <a:pt x="158952" y="308301"/>
                </a:cubicBezTo>
                <a:cubicBezTo>
                  <a:pt x="158645" y="304932"/>
                  <a:pt x="158645" y="301562"/>
                  <a:pt x="158033" y="297581"/>
                </a:cubicBezTo>
                <a:cubicBezTo>
                  <a:pt x="158033" y="297274"/>
                  <a:pt x="157727" y="297274"/>
                  <a:pt x="157421" y="296968"/>
                </a:cubicBezTo>
                <a:cubicBezTo>
                  <a:pt x="157421" y="296662"/>
                  <a:pt x="157421" y="296049"/>
                  <a:pt x="157421" y="295436"/>
                </a:cubicBezTo>
                <a:cubicBezTo>
                  <a:pt x="157115" y="293292"/>
                  <a:pt x="156808" y="291148"/>
                  <a:pt x="156808" y="289004"/>
                </a:cubicBezTo>
                <a:cubicBezTo>
                  <a:pt x="156502" y="286554"/>
                  <a:pt x="155278" y="260825"/>
                  <a:pt x="156502" y="260519"/>
                </a:cubicBezTo>
                <a:close/>
                <a:moveTo>
                  <a:pt x="289502" y="258396"/>
                </a:moveTo>
                <a:cubicBezTo>
                  <a:pt x="289196" y="258396"/>
                  <a:pt x="289196" y="258703"/>
                  <a:pt x="289196" y="258703"/>
                </a:cubicBezTo>
                <a:cubicBezTo>
                  <a:pt x="289196" y="259009"/>
                  <a:pt x="289196" y="259316"/>
                  <a:pt x="289502" y="259316"/>
                </a:cubicBezTo>
                <a:cubicBezTo>
                  <a:pt x="295301" y="259316"/>
                  <a:pt x="295301" y="259316"/>
                  <a:pt x="295301" y="259316"/>
                </a:cubicBezTo>
                <a:cubicBezTo>
                  <a:pt x="295606" y="259316"/>
                  <a:pt x="295911" y="259009"/>
                  <a:pt x="295911" y="258703"/>
                </a:cubicBezTo>
                <a:cubicBezTo>
                  <a:pt x="295911" y="258703"/>
                  <a:pt x="295606" y="258396"/>
                  <a:pt x="295301" y="258396"/>
                </a:cubicBezTo>
                <a:cubicBezTo>
                  <a:pt x="289502" y="258396"/>
                  <a:pt x="289502" y="258396"/>
                  <a:pt x="289502" y="258396"/>
                </a:cubicBezTo>
                <a:close/>
                <a:moveTo>
                  <a:pt x="289502" y="255024"/>
                </a:moveTo>
                <a:cubicBezTo>
                  <a:pt x="289196" y="255024"/>
                  <a:pt x="289196" y="255024"/>
                  <a:pt x="289196" y="255330"/>
                </a:cubicBezTo>
                <a:cubicBezTo>
                  <a:pt x="289196" y="255637"/>
                  <a:pt x="289196" y="255637"/>
                  <a:pt x="289502" y="255637"/>
                </a:cubicBezTo>
                <a:cubicBezTo>
                  <a:pt x="295301" y="255637"/>
                  <a:pt x="295301" y="255637"/>
                  <a:pt x="295301" y="255637"/>
                </a:cubicBezTo>
                <a:cubicBezTo>
                  <a:pt x="295606" y="255637"/>
                  <a:pt x="295911" y="255637"/>
                  <a:pt x="295911" y="255330"/>
                </a:cubicBezTo>
                <a:cubicBezTo>
                  <a:pt x="295911" y="255024"/>
                  <a:pt x="295606" y="255024"/>
                  <a:pt x="295301" y="255024"/>
                </a:cubicBezTo>
                <a:cubicBezTo>
                  <a:pt x="289502" y="255024"/>
                  <a:pt x="289502" y="255024"/>
                  <a:pt x="289502" y="255024"/>
                </a:cubicBezTo>
                <a:close/>
                <a:moveTo>
                  <a:pt x="84355" y="253139"/>
                </a:moveTo>
                <a:cubicBezTo>
                  <a:pt x="88038" y="253139"/>
                  <a:pt x="88038" y="253139"/>
                  <a:pt x="88038" y="253139"/>
                </a:cubicBezTo>
                <a:cubicBezTo>
                  <a:pt x="89880" y="253139"/>
                  <a:pt x="91721" y="254672"/>
                  <a:pt x="91721" y="256818"/>
                </a:cubicBezTo>
                <a:cubicBezTo>
                  <a:pt x="91721" y="259271"/>
                  <a:pt x="91721" y="259271"/>
                  <a:pt x="91721" y="259271"/>
                </a:cubicBezTo>
                <a:cubicBezTo>
                  <a:pt x="146665" y="259271"/>
                  <a:pt x="146665" y="259271"/>
                  <a:pt x="146665" y="259271"/>
                </a:cubicBezTo>
                <a:cubicBezTo>
                  <a:pt x="149734" y="259271"/>
                  <a:pt x="151883" y="261724"/>
                  <a:pt x="151883" y="264484"/>
                </a:cubicBezTo>
                <a:cubicBezTo>
                  <a:pt x="151883" y="302197"/>
                  <a:pt x="151883" y="302197"/>
                  <a:pt x="151883" y="302197"/>
                </a:cubicBezTo>
                <a:cubicBezTo>
                  <a:pt x="151883" y="305263"/>
                  <a:pt x="149734" y="307409"/>
                  <a:pt x="146665" y="307409"/>
                </a:cubicBezTo>
                <a:cubicBezTo>
                  <a:pt x="139298" y="307409"/>
                  <a:pt x="139298" y="307409"/>
                  <a:pt x="139298" y="307409"/>
                </a:cubicBezTo>
                <a:cubicBezTo>
                  <a:pt x="139298" y="312622"/>
                  <a:pt x="135308" y="316608"/>
                  <a:pt x="130397" y="316608"/>
                </a:cubicBezTo>
                <a:cubicBezTo>
                  <a:pt x="125485" y="316608"/>
                  <a:pt x="121495" y="312622"/>
                  <a:pt x="121495" y="307409"/>
                </a:cubicBezTo>
                <a:cubicBezTo>
                  <a:pt x="80364" y="307409"/>
                  <a:pt x="80364" y="307409"/>
                  <a:pt x="80364" y="307409"/>
                </a:cubicBezTo>
                <a:cubicBezTo>
                  <a:pt x="72691" y="307409"/>
                  <a:pt x="72691" y="307409"/>
                  <a:pt x="72691" y="307409"/>
                </a:cubicBezTo>
                <a:cubicBezTo>
                  <a:pt x="72691" y="312622"/>
                  <a:pt x="68700" y="316608"/>
                  <a:pt x="63789" y="316608"/>
                </a:cubicBezTo>
                <a:cubicBezTo>
                  <a:pt x="58878" y="316608"/>
                  <a:pt x="54581" y="312622"/>
                  <a:pt x="54581" y="307409"/>
                </a:cubicBezTo>
                <a:cubicBezTo>
                  <a:pt x="50898" y="307409"/>
                  <a:pt x="50898" y="307409"/>
                  <a:pt x="50898" y="307409"/>
                </a:cubicBezTo>
                <a:cubicBezTo>
                  <a:pt x="46907" y="307409"/>
                  <a:pt x="43838" y="305263"/>
                  <a:pt x="43838" y="302197"/>
                </a:cubicBezTo>
                <a:cubicBezTo>
                  <a:pt x="43838" y="301277"/>
                  <a:pt x="43838" y="301277"/>
                  <a:pt x="43838" y="301277"/>
                </a:cubicBezTo>
                <a:cubicBezTo>
                  <a:pt x="43838" y="291466"/>
                  <a:pt x="43838" y="291466"/>
                  <a:pt x="43838" y="291466"/>
                </a:cubicBezTo>
                <a:cubicBezTo>
                  <a:pt x="43838" y="290546"/>
                  <a:pt x="44452" y="289319"/>
                  <a:pt x="45372" y="288399"/>
                </a:cubicBezTo>
                <a:cubicBezTo>
                  <a:pt x="70849" y="261417"/>
                  <a:pt x="70849" y="261417"/>
                  <a:pt x="70849" y="261417"/>
                </a:cubicBezTo>
                <a:cubicBezTo>
                  <a:pt x="72077" y="260191"/>
                  <a:pt x="73918" y="259271"/>
                  <a:pt x="76374" y="259271"/>
                </a:cubicBezTo>
                <a:cubicBezTo>
                  <a:pt x="80364" y="259271"/>
                  <a:pt x="80364" y="259271"/>
                  <a:pt x="80364" y="259271"/>
                </a:cubicBezTo>
                <a:cubicBezTo>
                  <a:pt x="80671" y="259271"/>
                  <a:pt x="80671" y="259271"/>
                  <a:pt x="80671" y="259271"/>
                </a:cubicBezTo>
                <a:cubicBezTo>
                  <a:pt x="80671" y="256818"/>
                  <a:pt x="80671" y="256818"/>
                  <a:pt x="80671" y="256818"/>
                </a:cubicBezTo>
                <a:cubicBezTo>
                  <a:pt x="80671" y="254672"/>
                  <a:pt x="82513" y="253139"/>
                  <a:pt x="84355" y="253139"/>
                </a:cubicBezTo>
                <a:close/>
                <a:moveTo>
                  <a:pt x="337952" y="252548"/>
                </a:moveTo>
                <a:cubicBezTo>
                  <a:pt x="337952" y="252548"/>
                  <a:pt x="337952" y="252548"/>
                  <a:pt x="340407" y="252548"/>
                </a:cubicBezTo>
                <a:cubicBezTo>
                  <a:pt x="340714" y="252854"/>
                  <a:pt x="341021" y="253467"/>
                  <a:pt x="341021" y="253773"/>
                </a:cubicBezTo>
                <a:cubicBezTo>
                  <a:pt x="341021" y="253773"/>
                  <a:pt x="341021" y="253773"/>
                  <a:pt x="342555" y="275213"/>
                </a:cubicBezTo>
                <a:cubicBezTo>
                  <a:pt x="342862" y="278276"/>
                  <a:pt x="344704" y="280727"/>
                  <a:pt x="347466" y="281952"/>
                </a:cubicBezTo>
                <a:cubicBezTo>
                  <a:pt x="354218" y="285015"/>
                  <a:pt x="358822" y="292059"/>
                  <a:pt x="358822" y="299410"/>
                </a:cubicBezTo>
                <a:cubicBezTo>
                  <a:pt x="358822" y="307068"/>
                  <a:pt x="354525" y="313500"/>
                  <a:pt x="348387" y="316869"/>
                </a:cubicBezTo>
                <a:cubicBezTo>
                  <a:pt x="346852" y="317482"/>
                  <a:pt x="345625" y="317788"/>
                  <a:pt x="344090" y="317788"/>
                </a:cubicBezTo>
                <a:cubicBezTo>
                  <a:pt x="344090" y="317788"/>
                  <a:pt x="344090" y="317788"/>
                  <a:pt x="335189" y="317788"/>
                </a:cubicBezTo>
                <a:cubicBezTo>
                  <a:pt x="333655" y="317788"/>
                  <a:pt x="332120" y="317482"/>
                  <a:pt x="330892" y="316869"/>
                </a:cubicBezTo>
                <a:cubicBezTo>
                  <a:pt x="324447" y="313500"/>
                  <a:pt x="320150" y="307068"/>
                  <a:pt x="320150" y="299410"/>
                </a:cubicBezTo>
                <a:cubicBezTo>
                  <a:pt x="320150" y="292059"/>
                  <a:pt x="324754" y="285321"/>
                  <a:pt x="331199" y="282258"/>
                </a:cubicBezTo>
                <a:cubicBezTo>
                  <a:pt x="333655" y="281033"/>
                  <a:pt x="335496" y="278583"/>
                  <a:pt x="335803" y="275520"/>
                </a:cubicBezTo>
                <a:cubicBezTo>
                  <a:pt x="335803" y="275520"/>
                  <a:pt x="335803" y="275520"/>
                  <a:pt x="337338" y="253773"/>
                </a:cubicBezTo>
                <a:cubicBezTo>
                  <a:pt x="337338" y="253467"/>
                  <a:pt x="337645" y="252854"/>
                  <a:pt x="337952" y="252548"/>
                </a:cubicBezTo>
                <a:close/>
                <a:moveTo>
                  <a:pt x="289502" y="251039"/>
                </a:moveTo>
                <a:cubicBezTo>
                  <a:pt x="289196" y="251039"/>
                  <a:pt x="289196" y="251345"/>
                  <a:pt x="289196" y="251652"/>
                </a:cubicBezTo>
                <a:cubicBezTo>
                  <a:pt x="289196" y="251652"/>
                  <a:pt x="289196" y="251958"/>
                  <a:pt x="289502" y="251958"/>
                </a:cubicBezTo>
                <a:cubicBezTo>
                  <a:pt x="295301" y="251958"/>
                  <a:pt x="295301" y="251958"/>
                  <a:pt x="295301" y="251958"/>
                </a:cubicBezTo>
                <a:cubicBezTo>
                  <a:pt x="295606" y="251958"/>
                  <a:pt x="295911" y="251652"/>
                  <a:pt x="295911" y="251652"/>
                </a:cubicBezTo>
                <a:cubicBezTo>
                  <a:pt x="295911" y="251345"/>
                  <a:pt x="295606" y="251039"/>
                  <a:pt x="295301" y="251039"/>
                </a:cubicBezTo>
                <a:cubicBezTo>
                  <a:pt x="289502" y="251039"/>
                  <a:pt x="289502" y="251039"/>
                  <a:pt x="289502" y="251039"/>
                </a:cubicBezTo>
                <a:close/>
                <a:moveTo>
                  <a:pt x="187885" y="250936"/>
                </a:moveTo>
                <a:lnTo>
                  <a:pt x="187885" y="261504"/>
                </a:lnTo>
                <a:lnTo>
                  <a:pt x="187888" y="261503"/>
                </a:lnTo>
                <a:lnTo>
                  <a:pt x="187888" y="251081"/>
                </a:lnTo>
                <a:close/>
                <a:moveTo>
                  <a:pt x="185683" y="250402"/>
                </a:moveTo>
                <a:lnTo>
                  <a:pt x="185684" y="250433"/>
                </a:lnTo>
                <a:lnTo>
                  <a:pt x="185684" y="250433"/>
                </a:lnTo>
                <a:close/>
                <a:moveTo>
                  <a:pt x="351931" y="248299"/>
                </a:moveTo>
                <a:lnTo>
                  <a:pt x="352344" y="249826"/>
                </a:lnTo>
                <a:cubicBezTo>
                  <a:pt x="354493" y="253201"/>
                  <a:pt x="357562" y="255963"/>
                  <a:pt x="360938" y="257804"/>
                </a:cubicBezTo>
                <a:cubicBezTo>
                  <a:pt x="381196" y="257804"/>
                  <a:pt x="381196" y="257804"/>
                  <a:pt x="381196" y="257804"/>
                </a:cubicBezTo>
                <a:cubicBezTo>
                  <a:pt x="384879" y="255963"/>
                  <a:pt x="387949" y="253201"/>
                  <a:pt x="389790" y="249826"/>
                </a:cubicBezTo>
                <a:lnTo>
                  <a:pt x="389800" y="249791"/>
                </a:lnTo>
                <a:lnTo>
                  <a:pt x="381264" y="257714"/>
                </a:lnTo>
                <a:cubicBezTo>
                  <a:pt x="381264" y="257714"/>
                  <a:pt x="381264" y="257714"/>
                  <a:pt x="361020" y="257714"/>
                </a:cubicBezTo>
                <a:cubicBezTo>
                  <a:pt x="357646" y="255875"/>
                  <a:pt x="354579" y="253116"/>
                  <a:pt x="352432" y="249743"/>
                </a:cubicBezTo>
                <a:close/>
                <a:moveTo>
                  <a:pt x="289502" y="247360"/>
                </a:moveTo>
                <a:cubicBezTo>
                  <a:pt x="289196" y="247360"/>
                  <a:pt x="289196" y="247666"/>
                  <a:pt x="289196" y="247973"/>
                </a:cubicBezTo>
                <a:cubicBezTo>
                  <a:pt x="289196" y="247973"/>
                  <a:pt x="289196" y="248279"/>
                  <a:pt x="289502" y="248279"/>
                </a:cubicBezTo>
                <a:cubicBezTo>
                  <a:pt x="295301" y="248279"/>
                  <a:pt x="295301" y="248279"/>
                  <a:pt x="295301" y="248279"/>
                </a:cubicBezTo>
                <a:cubicBezTo>
                  <a:pt x="295606" y="248279"/>
                  <a:pt x="295911" y="247973"/>
                  <a:pt x="295911" y="247973"/>
                </a:cubicBezTo>
                <a:cubicBezTo>
                  <a:pt x="295911" y="247666"/>
                  <a:pt x="295606" y="247360"/>
                  <a:pt x="295301" y="247360"/>
                </a:cubicBezTo>
                <a:cubicBezTo>
                  <a:pt x="289502" y="247360"/>
                  <a:pt x="289502" y="247360"/>
                  <a:pt x="289502" y="247360"/>
                </a:cubicBezTo>
                <a:close/>
                <a:moveTo>
                  <a:pt x="289502" y="243988"/>
                </a:moveTo>
                <a:cubicBezTo>
                  <a:pt x="289196" y="243988"/>
                  <a:pt x="289196" y="244294"/>
                  <a:pt x="289196" y="244601"/>
                </a:cubicBezTo>
                <a:cubicBezTo>
                  <a:pt x="289196" y="244601"/>
                  <a:pt x="289196" y="244907"/>
                  <a:pt x="289502" y="244907"/>
                </a:cubicBezTo>
                <a:cubicBezTo>
                  <a:pt x="295301" y="244907"/>
                  <a:pt x="295301" y="244907"/>
                  <a:pt x="295301" y="244907"/>
                </a:cubicBezTo>
                <a:cubicBezTo>
                  <a:pt x="295606" y="244907"/>
                  <a:pt x="295911" y="244601"/>
                  <a:pt x="295911" y="244601"/>
                </a:cubicBezTo>
                <a:cubicBezTo>
                  <a:pt x="295911" y="244294"/>
                  <a:pt x="295606" y="243988"/>
                  <a:pt x="295301" y="243988"/>
                </a:cubicBezTo>
                <a:cubicBezTo>
                  <a:pt x="289502" y="243988"/>
                  <a:pt x="289502" y="243988"/>
                  <a:pt x="289502" y="243988"/>
                </a:cubicBezTo>
                <a:close/>
                <a:moveTo>
                  <a:pt x="245054" y="240858"/>
                </a:moveTo>
                <a:lnTo>
                  <a:pt x="241012" y="245557"/>
                </a:lnTo>
                <a:lnTo>
                  <a:pt x="237393" y="260542"/>
                </a:lnTo>
                <a:lnTo>
                  <a:pt x="245857" y="259939"/>
                </a:lnTo>
                <a:lnTo>
                  <a:pt x="253201" y="261892"/>
                </a:lnTo>
                <a:lnTo>
                  <a:pt x="248963" y="245557"/>
                </a:lnTo>
                <a:close/>
                <a:moveTo>
                  <a:pt x="289502" y="240309"/>
                </a:moveTo>
                <a:cubicBezTo>
                  <a:pt x="289196" y="240309"/>
                  <a:pt x="289196" y="240309"/>
                  <a:pt x="289196" y="240615"/>
                </a:cubicBezTo>
                <a:cubicBezTo>
                  <a:pt x="289196" y="240922"/>
                  <a:pt x="289196" y="240922"/>
                  <a:pt x="289502" y="240922"/>
                </a:cubicBezTo>
                <a:cubicBezTo>
                  <a:pt x="295301" y="240922"/>
                  <a:pt x="295301" y="240922"/>
                  <a:pt x="295301" y="240922"/>
                </a:cubicBezTo>
                <a:cubicBezTo>
                  <a:pt x="295606" y="240922"/>
                  <a:pt x="295911" y="240922"/>
                  <a:pt x="295911" y="240615"/>
                </a:cubicBezTo>
                <a:cubicBezTo>
                  <a:pt x="295911" y="240309"/>
                  <a:pt x="295606" y="240309"/>
                  <a:pt x="295301" y="240309"/>
                </a:cubicBezTo>
                <a:cubicBezTo>
                  <a:pt x="289502" y="240309"/>
                  <a:pt x="289502" y="240309"/>
                  <a:pt x="289502" y="240309"/>
                </a:cubicBezTo>
                <a:close/>
                <a:moveTo>
                  <a:pt x="205020" y="238723"/>
                </a:moveTo>
                <a:lnTo>
                  <a:pt x="204103" y="239395"/>
                </a:lnTo>
                <a:cubicBezTo>
                  <a:pt x="202262" y="242151"/>
                  <a:pt x="201342" y="243683"/>
                  <a:pt x="202262" y="247053"/>
                </a:cubicBezTo>
                <a:cubicBezTo>
                  <a:pt x="202569" y="248891"/>
                  <a:pt x="202876" y="248891"/>
                  <a:pt x="204103" y="250729"/>
                </a:cubicBezTo>
                <a:lnTo>
                  <a:pt x="205040" y="251633"/>
                </a:lnTo>
                <a:lnTo>
                  <a:pt x="205040" y="248268"/>
                </a:lnTo>
                <a:lnTo>
                  <a:pt x="205020" y="248268"/>
                </a:lnTo>
                <a:close/>
                <a:moveTo>
                  <a:pt x="11966" y="236875"/>
                </a:moveTo>
                <a:cubicBezTo>
                  <a:pt x="27307" y="236875"/>
                  <a:pt x="27307" y="236875"/>
                  <a:pt x="27307" y="236875"/>
                </a:cubicBezTo>
                <a:cubicBezTo>
                  <a:pt x="27614" y="241166"/>
                  <a:pt x="27001" y="241472"/>
                  <a:pt x="29762" y="244843"/>
                </a:cubicBezTo>
                <a:cubicBezTo>
                  <a:pt x="36819" y="251585"/>
                  <a:pt x="38967" y="261698"/>
                  <a:pt x="38967" y="270891"/>
                </a:cubicBezTo>
                <a:cubicBezTo>
                  <a:pt x="38660" y="314407"/>
                  <a:pt x="38660" y="314407"/>
                  <a:pt x="38660" y="314407"/>
                </a:cubicBezTo>
                <a:cubicBezTo>
                  <a:pt x="38660" y="316552"/>
                  <a:pt x="36819" y="318084"/>
                  <a:pt x="34978" y="318084"/>
                </a:cubicBezTo>
                <a:cubicBezTo>
                  <a:pt x="3988" y="318084"/>
                  <a:pt x="3988" y="318084"/>
                  <a:pt x="3988" y="318084"/>
                </a:cubicBezTo>
                <a:cubicBezTo>
                  <a:pt x="2148" y="318084"/>
                  <a:pt x="307" y="316552"/>
                  <a:pt x="307" y="314407"/>
                </a:cubicBezTo>
                <a:cubicBezTo>
                  <a:pt x="0" y="270891"/>
                  <a:pt x="0" y="270891"/>
                  <a:pt x="0" y="270891"/>
                </a:cubicBezTo>
                <a:cubicBezTo>
                  <a:pt x="0" y="261698"/>
                  <a:pt x="2148" y="251585"/>
                  <a:pt x="9205" y="244843"/>
                </a:cubicBezTo>
                <a:cubicBezTo>
                  <a:pt x="11966" y="241472"/>
                  <a:pt x="11352" y="241166"/>
                  <a:pt x="11966" y="236875"/>
                </a:cubicBezTo>
                <a:close/>
                <a:moveTo>
                  <a:pt x="184543" y="231534"/>
                </a:moveTo>
                <a:lnTo>
                  <a:pt x="185354" y="239304"/>
                </a:lnTo>
                <a:lnTo>
                  <a:pt x="185094" y="233901"/>
                </a:lnTo>
                <a:cubicBezTo>
                  <a:pt x="184799" y="232983"/>
                  <a:pt x="184799" y="232370"/>
                  <a:pt x="184799" y="232064"/>
                </a:cubicBezTo>
                <a:close/>
                <a:moveTo>
                  <a:pt x="186969" y="230851"/>
                </a:moveTo>
                <a:cubicBezTo>
                  <a:pt x="187275" y="230851"/>
                  <a:pt x="187275" y="231157"/>
                  <a:pt x="187275" y="231157"/>
                </a:cubicBezTo>
                <a:lnTo>
                  <a:pt x="187270" y="231157"/>
                </a:lnTo>
                <a:lnTo>
                  <a:pt x="187307" y="231287"/>
                </a:lnTo>
                <a:lnTo>
                  <a:pt x="187275" y="231157"/>
                </a:lnTo>
                <a:cubicBezTo>
                  <a:pt x="187581" y="231464"/>
                  <a:pt x="187581" y="231770"/>
                  <a:pt x="187888" y="232077"/>
                </a:cubicBezTo>
                <a:cubicBezTo>
                  <a:pt x="187888" y="232690"/>
                  <a:pt x="187888" y="232997"/>
                  <a:pt x="187888" y="233303"/>
                </a:cubicBezTo>
                <a:cubicBezTo>
                  <a:pt x="188194" y="239433"/>
                  <a:pt x="188194" y="245257"/>
                  <a:pt x="188194" y="251081"/>
                </a:cubicBezTo>
                <a:cubicBezTo>
                  <a:pt x="188194" y="254453"/>
                  <a:pt x="188194" y="258131"/>
                  <a:pt x="188194" y="261809"/>
                </a:cubicBezTo>
                <a:lnTo>
                  <a:pt x="188135" y="261809"/>
                </a:lnTo>
                <a:lnTo>
                  <a:pt x="189007" y="269397"/>
                </a:lnTo>
                <a:lnTo>
                  <a:pt x="190141" y="277736"/>
                </a:lnTo>
                <a:lnTo>
                  <a:pt x="188895" y="269852"/>
                </a:lnTo>
                <a:lnTo>
                  <a:pt x="187840" y="262193"/>
                </a:lnTo>
                <a:lnTo>
                  <a:pt x="188122" y="262006"/>
                </a:lnTo>
                <a:cubicBezTo>
                  <a:pt x="187815" y="262006"/>
                  <a:pt x="187815" y="262006"/>
                  <a:pt x="187815" y="262006"/>
                </a:cubicBezTo>
                <a:lnTo>
                  <a:pt x="187840" y="262193"/>
                </a:lnTo>
                <a:lnTo>
                  <a:pt x="187839" y="262194"/>
                </a:lnTo>
                <a:lnTo>
                  <a:pt x="188824" y="269402"/>
                </a:lnTo>
                <a:lnTo>
                  <a:pt x="188895" y="269852"/>
                </a:lnTo>
                <a:lnTo>
                  <a:pt x="190008" y="277937"/>
                </a:lnTo>
                <a:lnTo>
                  <a:pt x="190585" y="280999"/>
                </a:lnTo>
                <a:lnTo>
                  <a:pt x="190585" y="281001"/>
                </a:lnTo>
                <a:lnTo>
                  <a:pt x="191466" y="286111"/>
                </a:lnTo>
                <a:lnTo>
                  <a:pt x="192347" y="291685"/>
                </a:lnTo>
                <a:lnTo>
                  <a:pt x="192846" y="293001"/>
                </a:lnTo>
                <a:lnTo>
                  <a:pt x="192828" y="292905"/>
                </a:lnTo>
                <a:lnTo>
                  <a:pt x="192967" y="293318"/>
                </a:lnTo>
                <a:lnTo>
                  <a:pt x="194444" y="297210"/>
                </a:lnTo>
                <a:lnTo>
                  <a:pt x="194587" y="297544"/>
                </a:lnTo>
                <a:lnTo>
                  <a:pt x="194548" y="297485"/>
                </a:lnTo>
                <a:lnTo>
                  <a:pt x="194569" y="297540"/>
                </a:lnTo>
                <a:lnTo>
                  <a:pt x="194587" y="297544"/>
                </a:lnTo>
                <a:lnTo>
                  <a:pt x="195686" y="297763"/>
                </a:lnTo>
                <a:lnTo>
                  <a:pt x="196127" y="297544"/>
                </a:lnTo>
                <a:cubicBezTo>
                  <a:pt x="197974" y="296931"/>
                  <a:pt x="199513" y="296319"/>
                  <a:pt x="201360" y="296319"/>
                </a:cubicBezTo>
                <a:cubicBezTo>
                  <a:pt x="201360" y="296319"/>
                  <a:pt x="201360" y="296319"/>
                  <a:pt x="201668" y="296319"/>
                </a:cubicBezTo>
                <a:cubicBezTo>
                  <a:pt x="203515" y="296625"/>
                  <a:pt x="205055" y="296931"/>
                  <a:pt x="206286" y="299382"/>
                </a:cubicBezTo>
                <a:cubicBezTo>
                  <a:pt x="205055" y="297238"/>
                  <a:pt x="203515" y="296931"/>
                  <a:pt x="201668" y="296625"/>
                </a:cubicBezTo>
                <a:lnTo>
                  <a:pt x="201641" y="296625"/>
                </a:lnTo>
                <a:lnTo>
                  <a:pt x="206242" y="299379"/>
                </a:lnTo>
                <a:lnTo>
                  <a:pt x="207154" y="305898"/>
                </a:lnTo>
                <a:lnTo>
                  <a:pt x="207825" y="304897"/>
                </a:lnTo>
                <a:lnTo>
                  <a:pt x="207164" y="305970"/>
                </a:lnTo>
                <a:lnTo>
                  <a:pt x="207432" y="307882"/>
                </a:lnTo>
                <a:lnTo>
                  <a:pt x="202676" y="313257"/>
                </a:lnTo>
                <a:lnTo>
                  <a:pt x="201976" y="314394"/>
                </a:lnTo>
                <a:cubicBezTo>
                  <a:pt x="201360" y="314394"/>
                  <a:pt x="201052" y="314394"/>
                  <a:pt x="200745" y="314394"/>
                </a:cubicBezTo>
                <a:cubicBezTo>
                  <a:pt x="200437" y="314394"/>
                  <a:pt x="200129" y="314394"/>
                  <a:pt x="199821" y="314394"/>
                </a:cubicBezTo>
                <a:lnTo>
                  <a:pt x="196025" y="311197"/>
                </a:lnTo>
                <a:lnTo>
                  <a:pt x="195798" y="311023"/>
                </a:lnTo>
                <a:lnTo>
                  <a:pt x="195695" y="310594"/>
                </a:lnTo>
                <a:lnTo>
                  <a:pt x="193972" y="304590"/>
                </a:lnTo>
                <a:lnTo>
                  <a:pt x="193972" y="302562"/>
                </a:lnTo>
                <a:lnTo>
                  <a:pt x="193955" y="302443"/>
                </a:lnTo>
                <a:cubicBezTo>
                  <a:pt x="193955" y="302137"/>
                  <a:pt x="193955" y="301830"/>
                  <a:pt x="193647" y="301524"/>
                </a:cubicBezTo>
                <a:lnTo>
                  <a:pt x="192114" y="299689"/>
                </a:lnTo>
                <a:lnTo>
                  <a:pt x="190893" y="299689"/>
                </a:lnTo>
                <a:cubicBezTo>
                  <a:pt x="190277" y="299689"/>
                  <a:pt x="189662" y="299689"/>
                  <a:pt x="188738" y="299995"/>
                </a:cubicBezTo>
                <a:cubicBezTo>
                  <a:pt x="188430" y="299995"/>
                  <a:pt x="188122" y="299995"/>
                  <a:pt x="188122" y="299995"/>
                </a:cubicBezTo>
                <a:cubicBezTo>
                  <a:pt x="187507" y="299995"/>
                  <a:pt x="187199" y="299995"/>
                  <a:pt x="187199" y="299689"/>
                </a:cubicBezTo>
                <a:cubicBezTo>
                  <a:pt x="186891" y="299382"/>
                  <a:pt x="186891" y="298769"/>
                  <a:pt x="186891" y="297850"/>
                </a:cubicBezTo>
                <a:cubicBezTo>
                  <a:pt x="187199" y="298769"/>
                  <a:pt x="187199" y="299076"/>
                  <a:pt x="187199" y="299382"/>
                </a:cubicBezTo>
                <a:cubicBezTo>
                  <a:pt x="187507" y="299689"/>
                  <a:pt x="187507" y="299689"/>
                  <a:pt x="188122" y="299689"/>
                </a:cubicBezTo>
                <a:cubicBezTo>
                  <a:pt x="188122" y="299689"/>
                  <a:pt x="188430" y="299689"/>
                  <a:pt x="188738" y="299689"/>
                </a:cubicBezTo>
                <a:lnTo>
                  <a:pt x="188761" y="299685"/>
                </a:lnTo>
                <a:lnTo>
                  <a:pt x="188733" y="299685"/>
                </a:lnTo>
                <a:lnTo>
                  <a:pt x="186892" y="297849"/>
                </a:lnTo>
                <a:lnTo>
                  <a:pt x="186891" y="297850"/>
                </a:lnTo>
                <a:lnTo>
                  <a:pt x="186892" y="297849"/>
                </a:lnTo>
                <a:lnTo>
                  <a:pt x="186890" y="297847"/>
                </a:lnTo>
                <a:lnTo>
                  <a:pt x="186894" y="297844"/>
                </a:lnTo>
                <a:lnTo>
                  <a:pt x="187199" y="297238"/>
                </a:lnTo>
                <a:lnTo>
                  <a:pt x="187806" y="297238"/>
                </a:lnTo>
                <a:lnTo>
                  <a:pt x="187811" y="297234"/>
                </a:lnTo>
                <a:lnTo>
                  <a:pt x="187862" y="297228"/>
                </a:lnTo>
                <a:lnTo>
                  <a:pt x="189354" y="296931"/>
                </a:lnTo>
                <a:cubicBezTo>
                  <a:pt x="189970" y="296931"/>
                  <a:pt x="190585" y="296931"/>
                  <a:pt x="190585" y="296625"/>
                </a:cubicBezTo>
                <a:cubicBezTo>
                  <a:pt x="191201" y="296625"/>
                  <a:pt x="191201" y="296012"/>
                  <a:pt x="191201" y="295400"/>
                </a:cubicBezTo>
                <a:cubicBezTo>
                  <a:pt x="191201" y="295093"/>
                  <a:pt x="191201" y="294787"/>
                  <a:pt x="191201" y="294787"/>
                </a:cubicBezTo>
                <a:lnTo>
                  <a:pt x="189694" y="284887"/>
                </a:lnTo>
                <a:lnTo>
                  <a:pt x="189654" y="284670"/>
                </a:lnTo>
                <a:lnTo>
                  <a:pt x="186993" y="267539"/>
                </a:lnTo>
                <a:lnTo>
                  <a:pt x="186318" y="263203"/>
                </a:lnTo>
                <a:lnTo>
                  <a:pt x="186320" y="263202"/>
                </a:lnTo>
                <a:lnTo>
                  <a:pt x="186296" y="263046"/>
                </a:lnTo>
                <a:lnTo>
                  <a:pt x="186281" y="262957"/>
                </a:lnTo>
                <a:lnTo>
                  <a:pt x="186280" y="262958"/>
                </a:lnTo>
                <a:lnTo>
                  <a:pt x="186318" y="263203"/>
                </a:lnTo>
                <a:lnTo>
                  <a:pt x="186275" y="263232"/>
                </a:lnTo>
                <a:lnTo>
                  <a:pt x="186275" y="262961"/>
                </a:lnTo>
                <a:lnTo>
                  <a:pt x="185743" y="263342"/>
                </a:lnTo>
                <a:cubicBezTo>
                  <a:pt x="185436" y="267020"/>
                  <a:pt x="185130" y="271311"/>
                  <a:pt x="184211" y="275296"/>
                </a:cubicBezTo>
                <a:cubicBezTo>
                  <a:pt x="183904" y="277442"/>
                  <a:pt x="183292" y="279587"/>
                  <a:pt x="182985" y="281733"/>
                </a:cubicBezTo>
                <a:cubicBezTo>
                  <a:pt x="182372" y="284798"/>
                  <a:pt x="181759" y="288170"/>
                  <a:pt x="181147" y="291235"/>
                </a:cubicBezTo>
                <a:lnTo>
                  <a:pt x="181398" y="289676"/>
                </a:lnTo>
                <a:lnTo>
                  <a:pt x="181114" y="291136"/>
                </a:lnTo>
                <a:lnTo>
                  <a:pt x="180590" y="293741"/>
                </a:lnTo>
                <a:lnTo>
                  <a:pt x="181147" y="291235"/>
                </a:lnTo>
                <a:cubicBezTo>
                  <a:pt x="181147" y="292155"/>
                  <a:pt x="180840" y="293074"/>
                  <a:pt x="180840" y="294300"/>
                </a:cubicBezTo>
                <a:cubicBezTo>
                  <a:pt x="180534" y="294913"/>
                  <a:pt x="180534" y="295220"/>
                  <a:pt x="180534" y="295833"/>
                </a:cubicBezTo>
                <a:lnTo>
                  <a:pt x="180534" y="296182"/>
                </a:lnTo>
                <a:lnTo>
                  <a:pt x="181114" y="296951"/>
                </a:lnTo>
                <a:cubicBezTo>
                  <a:pt x="181114" y="296951"/>
                  <a:pt x="181422" y="296951"/>
                  <a:pt x="181729" y="296951"/>
                </a:cubicBezTo>
                <a:cubicBezTo>
                  <a:pt x="182653" y="297257"/>
                  <a:pt x="183268" y="297257"/>
                  <a:pt x="183884" y="297257"/>
                </a:cubicBezTo>
                <a:cubicBezTo>
                  <a:pt x="184192" y="297257"/>
                  <a:pt x="184192" y="297257"/>
                  <a:pt x="184500" y="297257"/>
                </a:cubicBezTo>
                <a:lnTo>
                  <a:pt x="184500" y="297365"/>
                </a:lnTo>
                <a:lnTo>
                  <a:pt x="184517" y="297365"/>
                </a:lnTo>
                <a:cubicBezTo>
                  <a:pt x="184824" y="297365"/>
                  <a:pt x="184824" y="297365"/>
                  <a:pt x="185130" y="297672"/>
                </a:cubicBezTo>
                <a:cubicBezTo>
                  <a:pt x="185130" y="297978"/>
                  <a:pt x="185130" y="297978"/>
                  <a:pt x="185130" y="298285"/>
                </a:cubicBezTo>
                <a:cubicBezTo>
                  <a:pt x="185130" y="298591"/>
                  <a:pt x="185130" y="298898"/>
                  <a:pt x="185130" y="299204"/>
                </a:cubicBezTo>
                <a:cubicBezTo>
                  <a:pt x="184824" y="299204"/>
                  <a:pt x="184824" y="299511"/>
                  <a:pt x="184824" y="299511"/>
                </a:cubicBezTo>
                <a:cubicBezTo>
                  <a:pt x="184824" y="299511"/>
                  <a:pt x="184824" y="299511"/>
                  <a:pt x="184517" y="299511"/>
                </a:cubicBezTo>
                <a:cubicBezTo>
                  <a:pt x="184517" y="299511"/>
                  <a:pt x="184824" y="299204"/>
                  <a:pt x="184824" y="299204"/>
                </a:cubicBezTo>
                <a:cubicBezTo>
                  <a:pt x="184824" y="298898"/>
                  <a:pt x="184824" y="298591"/>
                  <a:pt x="184824" y="298285"/>
                </a:cubicBezTo>
                <a:cubicBezTo>
                  <a:pt x="184824" y="298285"/>
                  <a:pt x="184824" y="297978"/>
                  <a:pt x="184824" y="297672"/>
                </a:cubicBezTo>
                <a:cubicBezTo>
                  <a:pt x="184824" y="297672"/>
                  <a:pt x="184517" y="297672"/>
                  <a:pt x="184517" y="297672"/>
                </a:cubicBezTo>
                <a:lnTo>
                  <a:pt x="184500" y="297672"/>
                </a:lnTo>
                <a:lnTo>
                  <a:pt x="184500" y="299399"/>
                </a:lnTo>
                <a:lnTo>
                  <a:pt x="184316" y="299486"/>
                </a:lnTo>
                <a:lnTo>
                  <a:pt x="184517" y="299511"/>
                </a:lnTo>
                <a:lnTo>
                  <a:pt x="184263" y="299511"/>
                </a:lnTo>
                <a:lnTo>
                  <a:pt x="178575" y="302204"/>
                </a:lnTo>
                <a:lnTo>
                  <a:pt x="178389" y="302576"/>
                </a:lnTo>
                <a:cubicBezTo>
                  <a:pt x="178389" y="303189"/>
                  <a:pt x="178389" y="303496"/>
                  <a:pt x="178389" y="304109"/>
                </a:cubicBezTo>
                <a:cubicBezTo>
                  <a:pt x="178389" y="307787"/>
                  <a:pt x="177470" y="310546"/>
                  <a:pt x="175018" y="312998"/>
                </a:cubicBezTo>
                <a:lnTo>
                  <a:pt x="171630" y="314450"/>
                </a:lnTo>
                <a:lnTo>
                  <a:pt x="174986" y="318380"/>
                </a:lnTo>
                <a:cubicBezTo>
                  <a:pt x="174986" y="318380"/>
                  <a:pt x="174986" y="318380"/>
                  <a:pt x="174986" y="337389"/>
                </a:cubicBezTo>
                <a:cubicBezTo>
                  <a:pt x="174986" y="337389"/>
                  <a:pt x="174986" y="337389"/>
                  <a:pt x="175605" y="337389"/>
                </a:cubicBezTo>
                <a:cubicBezTo>
                  <a:pt x="176224" y="337389"/>
                  <a:pt x="176533" y="337696"/>
                  <a:pt x="176533" y="338309"/>
                </a:cubicBezTo>
                <a:cubicBezTo>
                  <a:pt x="176533" y="338309"/>
                  <a:pt x="176533" y="338309"/>
                  <a:pt x="176533" y="338922"/>
                </a:cubicBezTo>
                <a:cubicBezTo>
                  <a:pt x="176533" y="339229"/>
                  <a:pt x="176224" y="339842"/>
                  <a:pt x="175605" y="339842"/>
                </a:cubicBezTo>
                <a:cubicBezTo>
                  <a:pt x="175605" y="339842"/>
                  <a:pt x="175605" y="339842"/>
                  <a:pt x="174057" y="339842"/>
                </a:cubicBezTo>
                <a:cubicBezTo>
                  <a:pt x="174057" y="339842"/>
                  <a:pt x="174057" y="339842"/>
                  <a:pt x="174367" y="377247"/>
                </a:cubicBezTo>
                <a:cubicBezTo>
                  <a:pt x="174367" y="377247"/>
                  <a:pt x="174367" y="377247"/>
                  <a:pt x="172510" y="393804"/>
                </a:cubicBezTo>
                <a:cubicBezTo>
                  <a:pt x="172510" y="393804"/>
                  <a:pt x="172510" y="393804"/>
                  <a:pt x="170963" y="393804"/>
                </a:cubicBezTo>
                <a:cubicBezTo>
                  <a:pt x="170963" y="393804"/>
                  <a:pt x="170963" y="393804"/>
                  <a:pt x="169106" y="377247"/>
                </a:cubicBezTo>
                <a:cubicBezTo>
                  <a:pt x="169106" y="377247"/>
                  <a:pt x="169106" y="377247"/>
                  <a:pt x="169415" y="339842"/>
                </a:cubicBezTo>
                <a:lnTo>
                  <a:pt x="167868" y="339842"/>
                </a:lnTo>
                <a:cubicBezTo>
                  <a:pt x="167249" y="339842"/>
                  <a:pt x="166939" y="339229"/>
                  <a:pt x="166939" y="338922"/>
                </a:cubicBezTo>
                <a:cubicBezTo>
                  <a:pt x="166939" y="338922"/>
                  <a:pt x="166939" y="338922"/>
                  <a:pt x="166939" y="338309"/>
                </a:cubicBezTo>
                <a:cubicBezTo>
                  <a:pt x="166939" y="337696"/>
                  <a:pt x="167249" y="337389"/>
                  <a:pt x="167868" y="337389"/>
                </a:cubicBezTo>
                <a:cubicBezTo>
                  <a:pt x="167868" y="337389"/>
                  <a:pt x="167868" y="337389"/>
                  <a:pt x="168487" y="337389"/>
                </a:cubicBezTo>
                <a:cubicBezTo>
                  <a:pt x="168487" y="337389"/>
                  <a:pt x="168487" y="337389"/>
                  <a:pt x="168487" y="318380"/>
                </a:cubicBezTo>
                <a:lnTo>
                  <a:pt x="171492" y="314509"/>
                </a:lnTo>
                <a:lnTo>
                  <a:pt x="170728" y="314837"/>
                </a:lnTo>
                <a:cubicBezTo>
                  <a:pt x="170728" y="314837"/>
                  <a:pt x="170728" y="314837"/>
                  <a:pt x="170422" y="314837"/>
                </a:cubicBezTo>
                <a:cubicBezTo>
                  <a:pt x="169503" y="314837"/>
                  <a:pt x="168584" y="314224"/>
                  <a:pt x="167664" y="313917"/>
                </a:cubicBezTo>
                <a:lnTo>
                  <a:pt x="165941" y="310327"/>
                </a:lnTo>
                <a:lnTo>
                  <a:pt x="164107" y="306782"/>
                </a:lnTo>
                <a:lnTo>
                  <a:pt x="164162" y="306621"/>
                </a:lnTo>
                <a:lnTo>
                  <a:pt x="163987" y="306254"/>
                </a:lnTo>
                <a:lnTo>
                  <a:pt x="165883" y="301617"/>
                </a:lnTo>
                <a:lnTo>
                  <a:pt x="166647" y="299399"/>
                </a:lnTo>
                <a:lnTo>
                  <a:pt x="167414" y="299254"/>
                </a:lnTo>
                <a:lnTo>
                  <a:pt x="170728" y="297978"/>
                </a:lnTo>
                <a:lnTo>
                  <a:pt x="172788" y="298236"/>
                </a:lnTo>
                <a:lnTo>
                  <a:pt x="173111" y="298175"/>
                </a:lnTo>
                <a:cubicBezTo>
                  <a:pt x="174958" y="298787"/>
                  <a:pt x="175265" y="299093"/>
                  <a:pt x="176189" y="298787"/>
                </a:cubicBezTo>
                <a:lnTo>
                  <a:pt x="177981" y="297005"/>
                </a:lnTo>
                <a:lnTo>
                  <a:pt x="178082" y="296752"/>
                </a:lnTo>
                <a:cubicBezTo>
                  <a:pt x="179308" y="293381"/>
                  <a:pt x="179921" y="288783"/>
                  <a:pt x="180534" y="285411"/>
                </a:cubicBezTo>
                <a:lnTo>
                  <a:pt x="183861" y="265440"/>
                </a:lnTo>
                <a:lnTo>
                  <a:pt x="184192" y="263289"/>
                </a:lnTo>
                <a:lnTo>
                  <a:pt x="184208" y="262977"/>
                </a:lnTo>
                <a:lnTo>
                  <a:pt x="184208" y="244010"/>
                </a:lnTo>
                <a:lnTo>
                  <a:pt x="184208" y="243997"/>
                </a:lnTo>
                <a:lnTo>
                  <a:pt x="183913" y="236350"/>
                </a:lnTo>
                <a:cubicBezTo>
                  <a:pt x="183913" y="234513"/>
                  <a:pt x="183913" y="232983"/>
                  <a:pt x="184208" y="232064"/>
                </a:cubicBezTo>
                <a:cubicBezTo>
                  <a:pt x="184208" y="231758"/>
                  <a:pt x="184208" y="231452"/>
                  <a:pt x="184208" y="231452"/>
                </a:cubicBezTo>
                <a:cubicBezTo>
                  <a:pt x="184208" y="231146"/>
                  <a:pt x="184504" y="231146"/>
                  <a:pt x="184504" y="231146"/>
                </a:cubicBezTo>
                <a:cubicBezTo>
                  <a:pt x="184799" y="231146"/>
                  <a:pt x="184799" y="231146"/>
                  <a:pt x="184799" y="231146"/>
                </a:cubicBezTo>
                <a:cubicBezTo>
                  <a:pt x="184799" y="231146"/>
                  <a:pt x="185094" y="231758"/>
                  <a:pt x="185094" y="232370"/>
                </a:cubicBezTo>
                <a:cubicBezTo>
                  <a:pt x="185389" y="234207"/>
                  <a:pt x="185537" y="238340"/>
                  <a:pt x="185647" y="242205"/>
                </a:cubicBezTo>
                <a:lnTo>
                  <a:pt x="185971" y="250240"/>
                </a:lnTo>
                <a:lnTo>
                  <a:pt x="186355" y="249856"/>
                </a:lnTo>
                <a:lnTo>
                  <a:pt x="186356" y="249819"/>
                </a:lnTo>
                <a:lnTo>
                  <a:pt x="186356" y="240046"/>
                </a:lnTo>
                <a:lnTo>
                  <a:pt x="186654" y="234673"/>
                </a:lnTo>
                <a:lnTo>
                  <a:pt x="186654" y="231463"/>
                </a:lnTo>
                <a:lnTo>
                  <a:pt x="186672" y="231454"/>
                </a:lnTo>
                <a:lnTo>
                  <a:pt x="186969" y="231157"/>
                </a:lnTo>
                <a:lnTo>
                  <a:pt x="186969" y="231307"/>
                </a:lnTo>
                <a:lnTo>
                  <a:pt x="187269" y="231157"/>
                </a:lnTo>
                <a:lnTo>
                  <a:pt x="186969" y="231157"/>
                </a:lnTo>
                <a:cubicBezTo>
                  <a:pt x="186969" y="231157"/>
                  <a:pt x="186969" y="231157"/>
                  <a:pt x="186969" y="230851"/>
                </a:cubicBezTo>
                <a:close/>
                <a:moveTo>
                  <a:pt x="133540" y="228046"/>
                </a:moveTo>
                <a:cubicBezTo>
                  <a:pt x="135687" y="228046"/>
                  <a:pt x="135687" y="228046"/>
                  <a:pt x="135687" y="228046"/>
                </a:cubicBezTo>
                <a:cubicBezTo>
                  <a:pt x="136301" y="228046"/>
                  <a:pt x="136608" y="228353"/>
                  <a:pt x="136608" y="228966"/>
                </a:cubicBezTo>
                <a:cubicBezTo>
                  <a:pt x="136608" y="233875"/>
                  <a:pt x="136608" y="233875"/>
                  <a:pt x="136608" y="233875"/>
                </a:cubicBezTo>
                <a:cubicBezTo>
                  <a:pt x="141516" y="233875"/>
                  <a:pt x="141516" y="233875"/>
                  <a:pt x="141516" y="233875"/>
                </a:cubicBezTo>
                <a:cubicBezTo>
                  <a:pt x="142130" y="233875"/>
                  <a:pt x="142437" y="234182"/>
                  <a:pt x="142437" y="234488"/>
                </a:cubicBezTo>
                <a:cubicBezTo>
                  <a:pt x="142437" y="236943"/>
                  <a:pt x="142437" y="236943"/>
                  <a:pt x="142437" y="236943"/>
                </a:cubicBezTo>
                <a:cubicBezTo>
                  <a:pt x="142437" y="237556"/>
                  <a:pt x="142130" y="237863"/>
                  <a:pt x="141516" y="237863"/>
                </a:cubicBezTo>
                <a:cubicBezTo>
                  <a:pt x="136608" y="237863"/>
                  <a:pt x="136608" y="237863"/>
                  <a:pt x="136608" y="237863"/>
                </a:cubicBezTo>
                <a:cubicBezTo>
                  <a:pt x="136608" y="242772"/>
                  <a:pt x="136608" y="242772"/>
                  <a:pt x="136608" y="242772"/>
                </a:cubicBezTo>
                <a:cubicBezTo>
                  <a:pt x="136608" y="243078"/>
                  <a:pt x="136301" y="243692"/>
                  <a:pt x="135687" y="243692"/>
                </a:cubicBezTo>
                <a:cubicBezTo>
                  <a:pt x="133540" y="243692"/>
                  <a:pt x="133540" y="243692"/>
                  <a:pt x="133540" y="243692"/>
                </a:cubicBezTo>
                <a:cubicBezTo>
                  <a:pt x="132926" y="243692"/>
                  <a:pt x="132620" y="243078"/>
                  <a:pt x="132620" y="242772"/>
                </a:cubicBezTo>
                <a:cubicBezTo>
                  <a:pt x="132620" y="237863"/>
                  <a:pt x="132620" y="237863"/>
                  <a:pt x="132620" y="237863"/>
                </a:cubicBezTo>
                <a:cubicBezTo>
                  <a:pt x="127711" y="237863"/>
                  <a:pt x="127711" y="237863"/>
                  <a:pt x="127711" y="237863"/>
                </a:cubicBezTo>
                <a:cubicBezTo>
                  <a:pt x="127098" y="237863"/>
                  <a:pt x="126791" y="237556"/>
                  <a:pt x="126791" y="236943"/>
                </a:cubicBezTo>
                <a:cubicBezTo>
                  <a:pt x="126791" y="234488"/>
                  <a:pt x="126791" y="234488"/>
                  <a:pt x="126791" y="234488"/>
                </a:cubicBezTo>
                <a:cubicBezTo>
                  <a:pt x="126791" y="234182"/>
                  <a:pt x="127098" y="233875"/>
                  <a:pt x="127711" y="233875"/>
                </a:cubicBezTo>
                <a:cubicBezTo>
                  <a:pt x="132620" y="233875"/>
                  <a:pt x="132620" y="233875"/>
                  <a:pt x="132620" y="233875"/>
                </a:cubicBezTo>
                <a:cubicBezTo>
                  <a:pt x="132620" y="228966"/>
                  <a:pt x="132620" y="228966"/>
                  <a:pt x="132620" y="228966"/>
                </a:cubicBezTo>
                <a:cubicBezTo>
                  <a:pt x="132620" y="228353"/>
                  <a:pt x="132926" y="228046"/>
                  <a:pt x="133540" y="228046"/>
                </a:cubicBezTo>
                <a:close/>
                <a:moveTo>
                  <a:pt x="437421" y="225537"/>
                </a:moveTo>
                <a:cubicBezTo>
                  <a:pt x="439530" y="225537"/>
                  <a:pt x="441037" y="227073"/>
                  <a:pt x="441037" y="229225"/>
                </a:cubicBezTo>
                <a:cubicBezTo>
                  <a:pt x="441037" y="230454"/>
                  <a:pt x="440434" y="231376"/>
                  <a:pt x="439832" y="231990"/>
                </a:cubicBezTo>
                <a:lnTo>
                  <a:pt x="439832" y="236017"/>
                </a:lnTo>
                <a:lnTo>
                  <a:pt x="442929" y="236017"/>
                </a:lnTo>
                <a:cubicBezTo>
                  <a:pt x="443238" y="236017"/>
                  <a:pt x="443546" y="236312"/>
                  <a:pt x="443546" y="236312"/>
                </a:cubicBezTo>
                <a:cubicBezTo>
                  <a:pt x="443546" y="236608"/>
                  <a:pt x="443238" y="236903"/>
                  <a:pt x="442929" y="236903"/>
                </a:cubicBezTo>
                <a:lnTo>
                  <a:pt x="439832" y="236903"/>
                </a:lnTo>
                <a:lnTo>
                  <a:pt x="439832" y="239707"/>
                </a:lnTo>
                <a:lnTo>
                  <a:pt x="441170" y="239707"/>
                </a:lnTo>
                <a:cubicBezTo>
                  <a:pt x="441479" y="239707"/>
                  <a:pt x="441479" y="240002"/>
                  <a:pt x="441479" y="240002"/>
                </a:cubicBezTo>
                <a:cubicBezTo>
                  <a:pt x="441479" y="240297"/>
                  <a:pt x="441479" y="240297"/>
                  <a:pt x="441170" y="240297"/>
                </a:cubicBezTo>
                <a:lnTo>
                  <a:pt x="439832" y="240297"/>
                </a:lnTo>
                <a:lnTo>
                  <a:pt x="439832" y="243692"/>
                </a:lnTo>
                <a:lnTo>
                  <a:pt x="442929" y="243692"/>
                </a:lnTo>
                <a:cubicBezTo>
                  <a:pt x="443238" y="243692"/>
                  <a:pt x="443546" y="243987"/>
                  <a:pt x="443546" y="244283"/>
                </a:cubicBezTo>
                <a:cubicBezTo>
                  <a:pt x="443546" y="244283"/>
                  <a:pt x="443238" y="244578"/>
                  <a:pt x="442929" y="244578"/>
                </a:cubicBezTo>
                <a:lnTo>
                  <a:pt x="439832" y="244578"/>
                </a:lnTo>
                <a:lnTo>
                  <a:pt x="439832" y="247382"/>
                </a:lnTo>
                <a:lnTo>
                  <a:pt x="441170" y="247382"/>
                </a:lnTo>
                <a:cubicBezTo>
                  <a:pt x="441479" y="247382"/>
                  <a:pt x="441479" y="247677"/>
                  <a:pt x="441479" y="247677"/>
                </a:cubicBezTo>
                <a:cubicBezTo>
                  <a:pt x="441479" y="247972"/>
                  <a:pt x="441479" y="247972"/>
                  <a:pt x="441170" y="247972"/>
                </a:cubicBezTo>
                <a:lnTo>
                  <a:pt x="439832" y="247972"/>
                </a:lnTo>
                <a:lnTo>
                  <a:pt x="439832" y="251368"/>
                </a:lnTo>
                <a:lnTo>
                  <a:pt x="442929" y="251368"/>
                </a:lnTo>
                <a:cubicBezTo>
                  <a:pt x="443238" y="251368"/>
                  <a:pt x="443546" y="251663"/>
                  <a:pt x="443546" y="251663"/>
                </a:cubicBezTo>
                <a:cubicBezTo>
                  <a:pt x="443546" y="251958"/>
                  <a:pt x="443238" y="251958"/>
                  <a:pt x="442929" y="251958"/>
                </a:cubicBezTo>
                <a:lnTo>
                  <a:pt x="439832" y="251958"/>
                </a:lnTo>
                <a:lnTo>
                  <a:pt x="439832" y="255058"/>
                </a:lnTo>
                <a:lnTo>
                  <a:pt x="441170" y="255058"/>
                </a:lnTo>
                <a:cubicBezTo>
                  <a:pt x="441479" y="255058"/>
                  <a:pt x="441479" y="255058"/>
                  <a:pt x="441479" y="255353"/>
                </a:cubicBezTo>
                <a:cubicBezTo>
                  <a:pt x="441479" y="255648"/>
                  <a:pt x="441479" y="255648"/>
                  <a:pt x="441170" y="255648"/>
                </a:cubicBezTo>
                <a:lnTo>
                  <a:pt x="439832" y="255648"/>
                </a:lnTo>
                <a:lnTo>
                  <a:pt x="439832" y="259338"/>
                </a:lnTo>
                <a:lnTo>
                  <a:pt x="442929" y="259338"/>
                </a:lnTo>
                <a:cubicBezTo>
                  <a:pt x="443238" y="259338"/>
                  <a:pt x="443546" y="259338"/>
                  <a:pt x="443546" y="259633"/>
                </a:cubicBezTo>
                <a:cubicBezTo>
                  <a:pt x="443546" y="259633"/>
                  <a:pt x="443238" y="259928"/>
                  <a:pt x="442929" y="259928"/>
                </a:cubicBezTo>
                <a:lnTo>
                  <a:pt x="439832" y="259928"/>
                </a:lnTo>
                <a:lnTo>
                  <a:pt x="439832" y="263028"/>
                </a:lnTo>
                <a:lnTo>
                  <a:pt x="439856" y="263028"/>
                </a:lnTo>
                <a:lnTo>
                  <a:pt x="441170" y="263028"/>
                </a:lnTo>
                <a:cubicBezTo>
                  <a:pt x="441479" y="263028"/>
                  <a:pt x="441479" y="263028"/>
                  <a:pt x="441479" y="263323"/>
                </a:cubicBezTo>
                <a:cubicBezTo>
                  <a:pt x="441479" y="263323"/>
                  <a:pt x="441479" y="263618"/>
                  <a:pt x="441170" y="263618"/>
                </a:cubicBezTo>
                <a:lnTo>
                  <a:pt x="439856" y="263618"/>
                </a:lnTo>
                <a:lnTo>
                  <a:pt x="439856" y="266718"/>
                </a:lnTo>
                <a:lnTo>
                  <a:pt x="442929" y="266718"/>
                </a:lnTo>
                <a:cubicBezTo>
                  <a:pt x="443238" y="266718"/>
                  <a:pt x="443546" y="266718"/>
                  <a:pt x="443546" y="267013"/>
                </a:cubicBezTo>
                <a:cubicBezTo>
                  <a:pt x="443546" y="267013"/>
                  <a:pt x="443238" y="267308"/>
                  <a:pt x="442929" y="267308"/>
                </a:cubicBezTo>
                <a:lnTo>
                  <a:pt x="439856" y="267308"/>
                </a:lnTo>
                <a:lnTo>
                  <a:pt x="439856" y="269965"/>
                </a:lnTo>
                <a:lnTo>
                  <a:pt x="441170" y="269965"/>
                </a:lnTo>
                <a:cubicBezTo>
                  <a:pt x="441479" y="269965"/>
                  <a:pt x="441479" y="270309"/>
                  <a:pt x="441479" y="270654"/>
                </a:cubicBezTo>
                <a:cubicBezTo>
                  <a:pt x="441479" y="270654"/>
                  <a:pt x="441479" y="270998"/>
                  <a:pt x="441170" y="270998"/>
                </a:cubicBezTo>
                <a:lnTo>
                  <a:pt x="439856" y="270998"/>
                </a:lnTo>
                <a:lnTo>
                  <a:pt x="439856" y="274246"/>
                </a:lnTo>
                <a:lnTo>
                  <a:pt x="442929" y="274246"/>
                </a:lnTo>
                <a:cubicBezTo>
                  <a:pt x="443238" y="274246"/>
                  <a:pt x="443546" y="274246"/>
                  <a:pt x="443546" y="274615"/>
                </a:cubicBezTo>
                <a:cubicBezTo>
                  <a:pt x="443546" y="274984"/>
                  <a:pt x="443238" y="274984"/>
                  <a:pt x="442929" y="274984"/>
                </a:cubicBezTo>
                <a:lnTo>
                  <a:pt x="439856" y="274984"/>
                </a:lnTo>
                <a:lnTo>
                  <a:pt x="439856" y="277936"/>
                </a:lnTo>
                <a:lnTo>
                  <a:pt x="441170" y="277936"/>
                </a:lnTo>
                <a:cubicBezTo>
                  <a:pt x="441479" y="277936"/>
                  <a:pt x="441479" y="277936"/>
                  <a:pt x="441479" y="278305"/>
                </a:cubicBezTo>
                <a:cubicBezTo>
                  <a:pt x="441479" y="278305"/>
                  <a:pt x="441479" y="278674"/>
                  <a:pt x="441170" y="278674"/>
                </a:cubicBezTo>
                <a:lnTo>
                  <a:pt x="439856" y="278674"/>
                </a:lnTo>
                <a:lnTo>
                  <a:pt x="439856" y="281921"/>
                </a:lnTo>
                <a:lnTo>
                  <a:pt x="442929" y="281921"/>
                </a:lnTo>
                <a:cubicBezTo>
                  <a:pt x="443238" y="281921"/>
                  <a:pt x="443546" y="281921"/>
                  <a:pt x="443546" y="282290"/>
                </a:cubicBezTo>
                <a:cubicBezTo>
                  <a:pt x="443546" y="282290"/>
                  <a:pt x="443238" y="282659"/>
                  <a:pt x="442929" y="282659"/>
                </a:cubicBezTo>
                <a:lnTo>
                  <a:pt x="439856" y="282659"/>
                </a:lnTo>
                <a:lnTo>
                  <a:pt x="439856" y="285316"/>
                </a:lnTo>
                <a:lnTo>
                  <a:pt x="441170" y="285316"/>
                </a:lnTo>
                <a:cubicBezTo>
                  <a:pt x="441479" y="285316"/>
                  <a:pt x="441479" y="285611"/>
                  <a:pt x="441479" y="285611"/>
                </a:cubicBezTo>
                <a:cubicBezTo>
                  <a:pt x="441479" y="285907"/>
                  <a:pt x="441479" y="286202"/>
                  <a:pt x="441170" y="286202"/>
                </a:cubicBezTo>
                <a:lnTo>
                  <a:pt x="439856" y="286202"/>
                </a:lnTo>
                <a:lnTo>
                  <a:pt x="439856" y="289597"/>
                </a:lnTo>
                <a:lnTo>
                  <a:pt x="442929" y="289597"/>
                </a:lnTo>
                <a:cubicBezTo>
                  <a:pt x="443238" y="289597"/>
                  <a:pt x="443546" y="289597"/>
                  <a:pt x="443546" y="289892"/>
                </a:cubicBezTo>
                <a:cubicBezTo>
                  <a:pt x="443546" y="289892"/>
                  <a:pt x="443238" y="290187"/>
                  <a:pt x="442929" y="290187"/>
                </a:cubicBezTo>
                <a:lnTo>
                  <a:pt x="439856" y="290187"/>
                </a:lnTo>
                <a:lnTo>
                  <a:pt x="439856" y="292275"/>
                </a:lnTo>
                <a:lnTo>
                  <a:pt x="439856" y="293287"/>
                </a:lnTo>
                <a:lnTo>
                  <a:pt x="441170" y="293287"/>
                </a:lnTo>
                <a:cubicBezTo>
                  <a:pt x="441479" y="293287"/>
                  <a:pt x="441479" y="293287"/>
                  <a:pt x="441479" y="293582"/>
                </a:cubicBezTo>
                <a:cubicBezTo>
                  <a:pt x="441479" y="293582"/>
                  <a:pt x="441479" y="293877"/>
                  <a:pt x="441170" y="293877"/>
                </a:cubicBezTo>
                <a:lnTo>
                  <a:pt x="439856" y="293877"/>
                </a:lnTo>
                <a:lnTo>
                  <a:pt x="439856" y="296453"/>
                </a:lnTo>
                <a:cubicBezTo>
                  <a:pt x="439856" y="297680"/>
                  <a:pt x="438636" y="298600"/>
                  <a:pt x="437416" y="298600"/>
                </a:cubicBezTo>
                <a:cubicBezTo>
                  <a:pt x="436195" y="298600"/>
                  <a:pt x="435280" y="297680"/>
                  <a:pt x="435280" y="296453"/>
                </a:cubicBezTo>
                <a:lnTo>
                  <a:pt x="435280" y="293877"/>
                </a:lnTo>
                <a:lnTo>
                  <a:pt x="433058" y="293877"/>
                </a:lnTo>
                <a:cubicBezTo>
                  <a:pt x="431899" y="293877"/>
                  <a:pt x="431899" y="293877"/>
                  <a:pt x="431899" y="293877"/>
                </a:cubicBezTo>
                <a:cubicBezTo>
                  <a:pt x="431899" y="293877"/>
                  <a:pt x="431590" y="293582"/>
                  <a:pt x="431590" y="293582"/>
                </a:cubicBezTo>
                <a:cubicBezTo>
                  <a:pt x="431590" y="293287"/>
                  <a:pt x="431899" y="293287"/>
                  <a:pt x="431899" y="293287"/>
                </a:cubicBezTo>
                <a:lnTo>
                  <a:pt x="435280" y="293287"/>
                </a:lnTo>
                <a:lnTo>
                  <a:pt x="435280" y="290187"/>
                </a:lnTo>
                <a:lnTo>
                  <a:pt x="434827" y="290187"/>
                </a:lnTo>
                <a:cubicBezTo>
                  <a:pt x="433670" y="290187"/>
                  <a:pt x="433670" y="290187"/>
                  <a:pt x="433670" y="290187"/>
                </a:cubicBezTo>
                <a:cubicBezTo>
                  <a:pt x="433670" y="290187"/>
                  <a:pt x="433361" y="289892"/>
                  <a:pt x="433361" y="289892"/>
                </a:cubicBezTo>
                <a:cubicBezTo>
                  <a:pt x="433361" y="289597"/>
                  <a:pt x="433670" y="289597"/>
                  <a:pt x="433670" y="289597"/>
                </a:cubicBezTo>
                <a:lnTo>
                  <a:pt x="435280" y="289597"/>
                </a:lnTo>
                <a:lnTo>
                  <a:pt x="435280" y="286202"/>
                </a:lnTo>
                <a:lnTo>
                  <a:pt x="433058" y="286202"/>
                </a:lnTo>
                <a:cubicBezTo>
                  <a:pt x="431899" y="286202"/>
                  <a:pt x="431899" y="286202"/>
                  <a:pt x="431899" y="286202"/>
                </a:cubicBezTo>
                <a:cubicBezTo>
                  <a:pt x="431899" y="286202"/>
                  <a:pt x="431590" y="285907"/>
                  <a:pt x="431590" y="285611"/>
                </a:cubicBezTo>
                <a:cubicBezTo>
                  <a:pt x="431590" y="285611"/>
                  <a:pt x="431899" y="285316"/>
                  <a:pt x="431899" y="285316"/>
                </a:cubicBezTo>
                <a:lnTo>
                  <a:pt x="435280" y="285316"/>
                </a:lnTo>
                <a:lnTo>
                  <a:pt x="435280" y="282659"/>
                </a:lnTo>
                <a:lnTo>
                  <a:pt x="434827" y="282659"/>
                </a:lnTo>
                <a:cubicBezTo>
                  <a:pt x="433670" y="282659"/>
                  <a:pt x="433670" y="282659"/>
                  <a:pt x="433670" y="282659"/>
                </a:cubicBezTo>
                <a:cubicBezTo>
                  <a:pt x="433670" y="282659"/>
                  <a:pt x="433361" y="282290"/>
                  <a:pt x="433361" y="282290"/>
                </a:cubicBezTo>
                <a:cubicBezTo>
                  <a:pt x="433361" y="281921"/>
                  <a:pt x="433670" y="281921"/>
                  <a:pt x="433670" y="281921"/>
                </a:cubicBezTo>
                <a:lnTo>
                  <a:pt x="435280" y="281921"/>
                </a:lnTo>
                <a:lnTo>
                  <a:pt x="435280" y="278674"/>
                </a:lnTo>
                <a:lnTo>
                  <a:pt x="433058" y="278674"/>
                </a:lnTo>
                <a:cubicBezTo>
                  <a:pt x="431899" y="278674"/>
                  <a:pt x="431899" y="278674"/>
                  <a:pt x="431899" y="278674"/>
                </a:cubicBezTo>
                <a:cubicBezTo>
                  <a:pt x="431899" y="278674"/>
                  <a:pt x="431590" y="278305"/>
                  <a:pt x="431590" y="278305"/>
                </a:cubicBezTo>
                <a:cubicBezTo>
                  <a:pt x="431590" y="277936"/>
                  <a:pt x="431899" y="277936"/>
                  <a:pt x="431899" y="277936"/>
                </a:cubicBezTo>
                <a:lnTo>
                  <a:pt x="435280" y="277936"/>
                </a:lnTo>
                <a:lnTo>
                  <a:pt x="435280" y="274984"/>
                </a:lnTo>
                <a:lnTo>
                  <a:pt x="434827" y="274984"/>
                </a:lnTo>
                <a:cubicBezTo>
                  <a:pt x="433670" y="274984"/>
                  <a:pt x="433670" y="274984"/>
                  <a:pt x="433670" y="274984"/>
                </a:cubicBezTo>
                <a:cubicBezTo>
                  <a:pt x="433670" y="274984"/>
                  <a:pt x="433361" y="274984"/>
                  <a:pt x="433361" y="274615"/>
                </a:cubicBezTo>
                <a:cubicBezTo>
                  <a:pt x="433361" y="274246"/>
                  <a:pt x="433670" y="274246"/>
                  <a:pt x="433670" y="274246"/>
                </a:cubicBezTo>
                <a:lnTo>
                  <a:pt x="435280" y="274246"/>
                </a:lnTo>
                <a:lnTo>
                  <a:pt x="435280" y="270998"/>
                </a:lnTo>
                <a:lnTo>
                  <a:pt x="433058" y="270998"/>
                </a:lnTo>
                <a:cubicBezTo>
                  <a:pt x="431899" y="270998"/>
                  <a:pt x="431899" y="270998"/>
                  <a:pt x="431899" y="270998"/>
                </a:cubicBezTo>
                <a:cubicBezTo>
                  <a:pt x="431899" y="270998"/>
                  <a:pt x="431590" y="270654"/>
                  <a:pt x="431590" y="270654"/>
                </a:cubicBezTo>
                <a:cubicBezTo>
                  <a:pt x="431590" y="270309"/>
                  <a:pt x="431899" y="269965"/>
                  <a:pt x="431899" y="269965"/>
                </a:cubicBezTo>
                <a:lnTo>
                  <a:pt x="435280" y="269965"/>
                </a:lnTo>
                <a:lnTo>
                  <a:pt x="435280" y="267308"/>
                </a:lnTo>
                <a:lnTo>
                  <a:pt x="434827" y="267308"/>
                </a:lnTo>
                <a:cubicBezTo>
                  <a:pt x="433670" y="267308"/>
                  <a:pt x="433670" y="267308"/>
                  <a:pt x="433670" y="267308"/>
                </a:cubicBezTo>
                <a:cubicBezTo>
                  <a:pt x="433670" y="267308"/>
                  <a:pt x="433361" y="267013"/>
                  <a:pt x="433361" y="267013"/>
                </a:cubicBezTo>
                <a:cubicBezTo>
                  <a:pt x="433361" y="266718"/>
                  <a:pt x="433670" y="266718"/>
                  <a:pt x="433670" y="266718"/>
                </a:cubicBezTo>
                <a:lnTo>
                  <a:pt x="435280" y="266718"/>
                </a:lnTo>
                <a:lnTo>
                  <a:pt x="435280" y="263618"/>
                </a:lnTo>
                <a:lnTo>
                  <a:pt x="433058" y="263618"/>
                </a:lnTo>
                <a:cubicBezTo>
                  <a:pt x="431899" y="263618"/>
                  <a:pt x="431899" y="263618"/>
                  <a:pt x="431899" y="263618"/>
                </a:cubicBezTo>
                <a:cubicBezTo>
                  <a:pt x="431899" y="263618"/>
                  <a:pt x="431590" y="263323"/>
                  <a:pt x="431590" y="263323"/>
                </a:cubicBezTo>
                <a:cubicBezTo>
                  <a:pt x="431590" y="263028"/>
                  <a:pt x="431899" y="263028"/>
                  <a:pt x="431899" y="263028"/>
                </a:cubicBezTo>
                <a:lnTo>
                  <a:pt x="435280" y="263028"/>
                </a:lnTo>
                <a:lnTo>
                  <a:pt x="435311" y="263028"/>
                </a:lnTo>
                <a:lnTo>
                  <a:pt x="435311" y="259928"/>
                </a:lnTo>
                <a:lnTo>
                  <a:pt x="434827" y="259928"/>
                </a:lnTo>
                <a:cubicBezTo>
                  <a:pt x="433670" y="259928"/>
                  <a:pt x="433670" y="259928"/>
                  <a:pt x="433670" y="259928"/>
                </a:cubicBezTo>
                <a:cubicBezTo>
                  <a:pt x="433670" y="259928"/>
                  <a:pt x="433361" y="259633"/>
                  <a:pt x="433361" y="259633"/>
                </a:cubicBezTo>
                <a:cubicBezTo>
                  <a:pt x="433361" y="259338"/>
                  <a:pt x="433670" y="259338"/>
                  <a:pt x="433670" y="259338"/>
                </a:cubicBezTo>
                <a:lnTo>
                  <a:pt x="435311" y="259338"/>
                </a:lnTo>
                <a:lnTo>
                  <a:pt x="435311" y="255648"/>
                </a:lnTo>
                <a:lnTo>
                  <a:pt x="433058" y="255648"/>
                </a:lnTo>
                <a:cubicBezTo>
                  <a:pt x="431899" y="255648"/>
                  <a:pt x="431899" y="255648"/>
                  <a:pt x="431899" y="255648"/>
                </a:cubicBezTo>
                <a:cubicBezTo>
                  <a:pt x="431899" y="255648"/>
                  <a:pt x="431590" y="255648"/>
                  <a:pt x="431590" y="255353"/>
                </a:cubicBezTo>
                <a:cubicBezTo>
                  <a:pt x="431590" y="255058"/>
                  <a:pt x="431899" y="255058"/>
                  <a:pt x="431899" y="255058"/>
                </a:cubicBezTo>
                <a:lnTo>
                  <a:pt x="435311" y="255058"/>
                </a:lnTo>
                <a:lnTo>
                  <a:pt x="435311" y="251958"/>
                </a:lnTo>
                <a:lnTo>
                  <a:pt x="434827" y="251958"/>
                </a:lnTo>
                <a:cubicBezTo>
                  <a:pt x="433670" y="251958"/>
                  <a:pt x="433670" y="251958"/>
                  <a:pt x="433670" y="251958"/>
                </a:cubicBezTo>
                <a:cubicBezTo>
                  <a:pt x="433670" y="251958"/>
                  <a:pt x="433361" y="251958"/>
                  <a:pt x="433361" y="251663"/>
                </a:cubicBezTo>
                <a:cubicBezTo>
                  <a:pt x="433361" y="251663"/>
                  <a:pt x="433670" y="251368"/>
                  <a:pt x="433670" y="251368"/>
                </a:cubicBezTo>
                <a:lnTo>
                  <a:pt x="435311" y="251368"/>
                </a:lnTo>
                <a:lnTo>
                  <a:pt x="435311" y="247972"/>
                </a:lnTo>
                <a:lnTo>
                  <a:pt x="433058" y="247972"/>
                </a:lnTo>
                <a:cubicBezTo>
                  <a:pt x="431899" y="247972"/>
                  <a:pt x="431899" y="247972"/>
                  <a:pt x="431899" y="247972"/>
                </a:cubicBezTo>
                <a:cubicBezTo>
                  <a:pt x="431899" y="247972"/>
                  <a:pt x="431590" y="247972"/>
                  <a:pt x="431590" y="247677"/>
                </a:cubicBezTo>
                <a:cubicBezTo>
                  <a:pt x="431590" y="247677"/>
                  <a:pt x="431899" y="247382"/>
                  <a:pt x="431899" y="247382"/>
                </a:cubicBezTo>
                <a:lnTo>
                  <a:pt x="435311" y="247382"/>
                </a:lnTo>
                <a:lnTo>
                  <a:pt x="435311" y="245084"/>
                </a:lnTo>
                <a:lnTo>
                  <a:pt x="435311" y="244578"/>
                </a:lnTo>
                <a:lnTo>
                  <a:pt x="434827" y="244578"/>
                </a:lnTo>
                <a:cubicBezTo>
                  <a:pt x="433670" y="244578"/>
                  <a:pt x="433670" y="244578"/>
                  <a:pt x="433670" y="244578"/>
                </a:cubicBezTo>
                <a:cubicBezTo>
                  <a:pt x="433670" y="244578"/>
                  <a:pt x="433361" y="244283"/>
                  <a:pt x="433361" y="244283"/>
                </a:cubicBezTo>
                <a:cubicBezTo>
                  <a:pt x="433361" y="243987"/>
                  <a:pt x="433670" y="243692"/>
                  <a:pt x="433670" y="243692"/>
                </a:cubicBezTo>
                <a:lnTo>
                  <a:pt x="435311" y="243692"/>
                </a:lnTo>
                <a:lnTo>
                  <a:pt x="435311" y="240297"/>
                </a:lnTo>
                <a:lnTo>
                  <a:pt x="433058" y="240297"/>
                </a:lnTo>
                <a:cubicBezTo>
                  <a:pt x="431899" y="240297"/>
                  <a:pt x="431899" y="240297"/>
                  <a:pt x="431899" y="240297"/>
                </a:cubicBezTo>
                <a:cubicBezTo>
                  <a:pt x="431899" y="240297"/>
                  <a:pt x="431590" y="240297"/>
                  <a:pt x="431590" y="240002"/>
                </a:cubicBezTo>
                <a:cubicBezTo>
                  <a:pt x="431590" y="240002"/>
                  <a:pt x="431899" y="239707"/>
                  <a:pt x="431899" y="239707"/>
                </a:cubicBezTo>
                <a:lnTo>
                  <a:pt x="435311" y="239707"/>
                </a:lnTo>
                <a:lnTo>
                  <a:pt x="435311" y="236903"/>
                </a:lnTo>
                <a:lnTo>
                  <a:pt x="434827" y="236903"/>
                </a:lnTo>
                <a:cubicBezTo>
                  <a:pt x="433670" y="236903"/>
                  <a:pt x="433670" y="236903"/>
                  <a:pt x="433670" y="236903"/>
                </a:cubicBezTo>
                <a:cubicBezTo>
                  <a:pt x="433670" y="236903"/>
                  <a:pt x="433361" y="236608"/>
                  <a:pt x="433361" y="236312"/>
                </a:cubicBezTo>
                <a:cubicBezTo>
                  <a:pt x="433361" y="236312"/>
                  <a:pt x="433670" y="236017"/>
                  <a:pt x="433670" y="236017"/>
                </a:cubicBezTo>
                <a:lnTo>
                  <a:pt x="435311" y="236017"/>
                </a:lnTo>
                <a:lnTo>
                  <a:pt x="435311" y="235870"/>
                </a:lnTo>
                <a:cubicBezTo>
                  <a:pt x="435311" y="231990"/>
                  <a:pt x="435311" y="231990"/>
                  <a:pt x="435311" y="231990"/>
                </a:cubicBezTo>
                <a:cubicBezTo>
                  <a:pt x="434407" y="231376"/>
                  <a:pt x="433804" y="230454"/>
                  <a:pt x="433804" y="229225"/>
                </a:cubicBezTo>
                <a:cubicBezTo>
                  <a:pt x="433804" y="227073"/>
                  <a:pt x="435612" y="225537"/>
                  <a:pt x="437421" y="225537"/>
                </a:cubicBezTo>
                <a:close/>
                <a:moveTo>
                  <a:pt x="49373" y="225537"/>
                </a:moveTo>
                <a:cubicBezTo>
                  <a:pt x="50596" y="225537"/>
                  <a:pt x="51513" y="226455"/>
                  <a:pt x="51513" y="227679"/>
                </a:cubicBezTo>
                <a:cubicBezTo>
                  <a:pt x="51513" y="238083"/>
                  <a:pt x="51513" y="238083"/>
                  <a:pt x="51513" y="238083"/>
                </a:cubicBezTo>
                <a:lnTo>
                  <a:pt x="53826" y="238083"/>
                </a:lnTo>
                <a:cubicBezTo>
                  <a:pt x="55288" y="238083"/>
                  <a:pt x="55288" y="238083"/>
                  <a:pt x="55288" y="238083"/>
                </a:cubicBezTo>
                <a:cubicBezTo>
                  <a:pt x="56211" y="238083"/>
                  <a:pt x="56827" y="238394"/>
                  <a:pt x="56827" y="239327"/>
                </a:cubicBezTo>
                <a:cubicBezTo>
                  <a:pt x="56827" y="245548"/>
                  <a:pt x="56827" y="245548"/>
                  <a:pt x="56827" y="245548"/>
                </a:cubicBezTo>
                <a:cubicBezTo>
                  <a:pt x="56827" y="246170"/>
                  <a:pt x="56211" y="246792"/>
                  <a:pt x="55288" y="246792"/>
                </a:cubicBezTo>
                <a:lnTo>
                  <a:pt x="54053" y="246792"/>
                </a:lnTo>
                <a:cubicBezTo>
                  <a:pt x="55895" y="246792"/>
                  <a:pt x="57123" y="248014"/>
                  <a:pt x="57123" y="249848"/>
                </a:cubicBezTo>
                <a:cubicBezTo>
                  <a:pt x="57123" y="269714"/>
                  <a:pt x="57123" y="269714"/>
                  <a:pt x="57123" y="269714"/>
                </a:cubicBezTo>
                <a:cubicBezTo>
                  <a:pt x="57123" y="271547"/>
                  <a:pt x="55895" y="272770"/>
                  <a:pt x="54053" y="272770"/>
                </a:cubicBezTo>
                <a:cubicBezTo>
                  <a:pt x="44842" y="272770"/>
                  <a:pt x="44842" y="272770"/>
                  <a:pt x="44842" y="272770"/>
                </a:cubicBezTo>
                <a:cubicBezTo>
                  <a:pt x="43307" y="272770"/>
                  <a:pt x="41772" y="271547"/>
                  <a:pt x="41772" y="269714"/>
                </a:cubicBezTo>
                <a:cubicBezTo>
                  <a:pt x="41772" y="249848"/>
                  <a:pt x="41772" y="249848"/>
                  <a:pt x="41772" y="249848"/>
                </a:cubicBezTo>
                <a:cubicBezTo>
                  <a:pt x="41772" y="248014"/>
                  <a:pt x="43307" y="246792"/>
                  <a:pt x="44842" y="246792"/>
                </a:cubicBezTo>
                <a:lnTo>
                  <a:pt x="43593" y="246792"/>
                </a:lnTo>
                <a:cubicBezTo>
                  <a:pt x="42977" y="246792"/>
                  <a:pt x="42362" y="246170"/>
                  <a:pt x="42362" y="245548"/>
                </a:cubicBezTo>
                <a:cubicBezTo>
                  <a:pt x="42362" y="239327"/>
                  <a:pt x="42362" y="239327"/>
                  <a:pt x="42362" y="239327"/>
                </a:cubicBezTo>
                <a:cubicBezTo>
                  <a:pt x="42362" y="238394"/>
                  <a:pt x="42977" y="238083"/>
                  <a:pt x="43593" y="238083"/>
                </a:cubicBezTo>
                <a:lnTo>
                  <a:pt x="47233" y="238083"/>
                </a:lnTo>
                <a:cubicBezTo>
                  <a:pt x="47233" y="227679"/>
                  <a:pt x="47233" y="227679"/>
                  <a:pt x="47233" y="227679"/>
                </a:cubicBezTo>
                <a:cubicBezTo>
                  <a:pt x="47233" y="226455"/>
                  <a:pt x="48150" y="225537"/>
                  <a:pt x="49373" y="225537"/>
                </a:cubicBezTo>
                <a:close/>
                <a:moveTo>
                  <a:pt x="14421" y="225537"/>
                </a:moveTo>
                <a:cubicBezTo>
                  <a:pt x="24853" y="225537"/>
                  <a:pt x="24853" y="225537"/>
                  <a:pt x="24853" y="225537"/>
                </a:cubicBezTo>
                <a:cubicBezTo>
                  <a:pt x="26694" y="225537"/>
                  <a:pt x="28535" y="227069"/>
                  <a:pt x="28535" y="228908"/>
                </a:cubicBezTo>
                <a:cubicBezTo>
                  <a:pt x="28535" y="235956"/>
                  <a:pt x="28535" y="235956"/>
                  <a:pt x="28535" y="235956"/>
                </a:cubicBezTo>
                <a:cubicBezTo>
                  <a:pt x="10739" y="235956"/>
                  <a:pt x="10739" y="235956"/>
                  <a:pt x="10739" y="235956"/>
                </a:cubicBezTo>
                <a:cubicBezTo>
                  <a:pt x="10739" y="229214"/>
                  <a:pt x="10739" y="229214"/>
                  <a:pt x="10739" y="229214"/>
                </a:cubicBezTo>
                <a:cubicBezTo>
                  <a:pt x="10739" y="227069"/>
                  <a:pt x="12580" y="225537"/>
                  <a:pt x="14421" y="225537"/>
                </a:cubicBezTo>
                <a:close/>
                <a:moveTo>
                  <a:pt x="134460" y="225001"/>
                </a:moveTo>
                <a:cubicBezTo>
                  <a:pt x="128631" y="225001"/>
                  <a:pt x="123723" y="229898"/>
                  <a:pt x="123723" y="235712"/>
                </a:cubicBezTo>
                <a:cubicBezTo>
                  <a:pt x="123723" y="241833"/>
                  <a:pt x="128631" y="246424"/>
                  <a:pt x="134460" y="246424"/>
                </a:cubicBezTo>
                <a:cubicBezTo>
                  <a:pt x="140595" y="246424"/>
                  <a:pt x="145504" y="241833"/>
                  <a:pt x="145504" y="235712"/>
                </a:cubicBezTo>
                <a:cubicBezTo>
                  <a:pt x="145504" y="229898"/>
                  <a:pt x="140595" y="225001"/>
                  <a:pt x="134460" y="225001"/>
                </a:cubicBezTo>
                <a:close/>
                <a:moveTo>
                  <a:pt x="133846" y="223471"/>
                </a:moveTo>
                <a:cubicBezTo>
                  <a:pt x="150106" y="223471"/>
                  <a:pt x="164831" y="229592"/>
                  <a:pt x="173728" y="239385"/>
                </a:cubicBezTo>
                <a:cubicBezTo>
                  <a:pt x="173728" y="239385"/>
                  <a:pt x="173728" y="239385"/>
                  <a:pt x="163297" y="256829"/>
                </a:cubicBezTo>
                <a:cubicBezTo>
                  <a:pt x="155934" y="251626"/>
                  <a:pt x="145504" y="248260"/>
                  <a:pt x="133846" y="248260"/>
                </a:cubicBezTo>
                <a:cubicBezTo>
                  <a:pt x="123109" y="248260"/>
                  <a:pt x="113292" y="251320"/>
                  <a:pt x="106236" y="255911"/>
                </a:cubicBezTo>
                <a:cubicBezTo>
                  <a:pt x="106236" y="255911"/>
                  <a:pt x="106236" y="255911"/>
                  <a:pt x="95499" y="237855"/>
                </a:cubicBezTo>
                <a:cubicBezTo>
                  <a:pt x="104702" y="228980"/>
                  <a:pt x="118507" y="223471"/>
                  <a:pt x="133846" y="223471"/>
                </a:cubicBezTo>
                <a:close/>
                <a:moveTo>
                  <a:pt x="83458" y="219838"/>
                </a:moveTo>
                <a:cubicBezTo>
                  <a:pt x="85340" y="219570"/>
                  <a:pt x="87031" y="219877"/>
                  <a:pt x="87799" y="221869"/>
                </a:cubicBezTo>
                <a:cubicBezTo>
                  <a:pt x="88414" y="224015"/>
                  <a:pt x="87799" y="226468"/>
                  <a:pt x="86877" y="228613"/>
                </a:cubicBezTo>
                <a:cubicBezTo>
                  <a:pt x="86262" y="229840"/>
                  <a:pt x="85648" y="230453"/>
                  <a:pt x="85033" y="231372"/>
                </a:cubicBezTo>
                <a:cubicBezTo>
                  <a:pt x="83804" y="233518"/>
                  <a:pt x="84726" y="239343"/>
                  <a:pt x="84418" y="241795"/>
                </a:cubicBezTo>
                <a:cubicBezTo>
                  <a:pt x="84111" y="244248"/>
                  <a:pt x="83804" y="245474"/>
                  <a:pt x="83189" y="248233"/>
                </a:cubicBezTo>
                <a:cubicBezTo>
                  <a:pt x="82574" y="250072"/>
                  <a:pt x="81960" y="251912"/>
                  <a:pt x="81345" y="252525"/>
                </a:cubicBezTo>
                <a:cubicBezTo>
                  <a:pt x="81038" y="252525"/>
                  <a:pt x="80423" y="253138"/>
                  <a:pt x="80423" y="252831"/>
                </a:cubicBezTo>
                <a:cubicBezTo>
                  <a:pt x="79808" y="251605"/>
                  <a:pt x="79808" y="247007"/>
                  <a:pt x="79501" y="243328"/>
                </a:cubicBezTo>
                <a:cubicBezTo>
                  <a:pt x="79193" y="242102"/>
                  <a:pt x="78886" y="239956"/>
                  <a:pt x="78271" y="238423"/>
                </a:cubicBezTo>
                <a:cubicBezTo>
                  <a:pt x="77964" y="238117"/>
                  <a:pt x="77657" y="237810"/>
                  <a:pt x="77349" y="237810"/>
                </a:cubicBezTo>
                <a:cubicBezTo>
                  <a:pt x="76735" y="237810"/>
                  <a:pt x="76427" y="238117"/>
                  <a:pt x="76120" y="238423"/>
                </a:cubicBezTo>
                <a:cubicBezTo>
                  <a:pt x="75505" y="239956"/>
                  <a:pt x="75198" y="242102"/>
                  <a:pt x="75198" y="243328"/>
                </a:cubicBezTo>
                <a:cubicBezTo>
                  <a:pt x="74583" y="247007"/>
                  <a:pt x="74583" y="251605"/>
                  <a:pt x="73969" y="252831"/>
                </a:cubicBezTo>
                <a:cubicBezTo>
                  <a:pt x="73969" y="253138"/>
                  <a:pt x="73354" y="252525"/>
                  <a:pt x="73047" y="252525"/>
                </a:cubicBezTo>
                <a:cubicBezTo>
                  <a:pt x="72432" y="251912"/>
                  <a:pt x="71817" y="250072"/>
                  <a:pt x="71510" y="248233"/>
                </a:cubicBezTo>
                <a:cubicBezTo>
                  <a:pt x="70588" y="245474"/>
                  <a:pt x="70281" y="244248"/>
                  <a:pt x="69973" y="241795"/>
                </a:cubicBezTo>
                <a:cubicBezTo>
                  <a:pt x="69973" y="239343"/>
                  <a:pt x="70588" y="233518"/>
                  <a:pt x="69359" y="231372"/>
                </a:cubicBezTo>
                <a:cubicBezTo>
                  <a:pt x="68744" y="230453"/>
                  <a:pt x="68129" y="229840"/>
                  <a:pt x="67514" y="228613"/>
                </a:cubicBezTo>
                <a:cubicBezTo>
                  <a:pt x="66592" y="226468"/>
                  <a:pt x="65978" y="224015"/>
                  <a:pt x="66900" y="221869"/>
                </a:cubicBezTo>
                <a:cubicBezTo>
                  <a:pt x="68436" y="217271"/>
                  <a:pt x="73969" y="221869"/>
                  <a:pt x="77964" y="221256"/>
                </a:cubicBezTo>
                <a:cubicBezTo>
                  <a:pt x="79501" y="220950"/>
                  <a:pt x="81576" y="220106"/>
                  <a:pt x="83458" y="219838"/>
                </a:cubicBezTo>
                <a:close/>
                <a:moveTo>
                  <a:pt x="399708" y="215205"/>
                </a:moveTo>
                <a:lnTo>
                  <a:pt x="407089" y="228636"/>
                </a:lnTo>
                <a:lnTo>
                  <a:pt x="416831" y="228636"/>
                </a:lnTo>
                <a:lnTo>
                  <a:pt x="417716" y="238083"/>
                </a:lnTo>
                <a:lnTo>
                  <a:pt x="418371" y="238083"/>
                </a:lnTo>
                <a:cubicBezTo>
                  <a:pt x="420904" y="238083"/>
                  <a:pt x="420904" y="238083"/>
                  <a:pt x="420904" y="238083"/>
                </a:cubicBezTo>
                <a:cubicBezTo>
                  <a:pt x="421825" y="238083"/>
                  <a:pt x="422439" y="238703"/>
                  <a:pt x="422439" y="239323"/>
                </a:cubicBezTo>
                <a:cubicBezTo>
                  <a:pt x="422439" y="239943"/>
                  <a:pt x="422439" y="239943"/>
                  <a:pt x="422439" y="239943"/>
                </a:cubicBezTo>
                <a:cubicBezTo>
                  <a:pt x="422439" y="240873"/>
                  <a:pt x="421825" y="241183"/>
                  <a:pt x="420904" y="241183"/>
                </a:cubicBezTo>
                <a:lnTo>
                  <a:pt x="420223" y="241183"/>
                </a:lnTo>
                <a:cubicBezTo>
                  <a:pt x="422677" y="244250"/>
                  <a:pt x="423597" y="247318"/>
                  <a:pt x="424210" y="250692"/>
                </a:cubicBezTo>
                <a:cubicBezTo>
                  <a:pt x="424210" y="250692"/>
                  <a:pt x="424210" y="250692"/>
                  <a:pt x="424210" y="314800"/>
                </a:cubicBezTo>
                <a:cubicBezTo>
                  <a:pt x="424210" y="317561"/>
                  <a:pt x="422063" y="319708"/>
                  <a:pt x="419610" y="319708"/>
                </a:cubicBezTo>
                <a:cubicBezTo>
                  <a:pt x="419610" y="319708"/>
                  <a:pt x="419610" y="319708"/>
                  <a:pt x="410409" y="319708"/>
                </a:cubicBezTo>
                <a:cubicBezTo>
                  <a:pt x="410409" y="319708"/>
                  <a:pt x="410409" y="319708"/>
                  <a:pt x="401209" y="319708"/>
                </a:cubicBezTo>
                <a:cubicBezTo>
                  <a:pt x="398755" y="319708"/>
                  <a:pt x="396608" y="317561"/>
                  <a:pt x="396608" y="314800"/>
                </a:cubicBezTo>
                <a:cubicBezTo>
                  <a:pt x="396608" y="314800"/>
                  <a:pt x="396608" y="314800"/>
                  <a:pt x="396608" y="250692"/>
                </a:cubicBezTo>
                <a:cubicBezTo>
                  <a:pt x="397222" y="247318"/>
                  <a:pt x="398448" y="244250"/>
                  <a:pt x="400595" y="241183"/>
                </a:cubicBezTo>
                <a:lnTo>
                  <a:pt x="400641" y="241183"/>
                </a:lnTo>
                <a:cubicBezTo>
                  <a:pt x="400027" y="241183"/>
                  <a:pt x="399413" y="240873"/>
                  <a:pt x="399413" y="239943"/>
                </a:cubicBezTo>
                <a:cubicBezTo>
                  <a:pt x="399413" y="239323"/>
                  <a:pt x="399413" y="239323"/>
                  <a:pt x="399413" y="239323"/>
                </a:cubicBezTo>
                <a:cubicBezTo>
                  <a:pt x="399413" y="238703"/>
                  <a:pt x="400027" y="238083"/>
                  <a:pt x="400641" y="238083"/>
                </a:cubicBezTo>
                <a:lnTo>
                  <a:pt x="403694" y="238083"/>
                </a:lnTo>
                <a:lnTo>
                  <a:pt x="404284" y="229522"/>
                </a:lnTo>
                <a:lnTo>
                  <a:pt x="397494" y="216386"/>
                </a:lnTo>
                <a:close/>
                <a:moveTo>
                  <a:pt x="136532" y="213286"/>
                </a:moveTo>
                <a:lnTo>
                  <a:pt x="136975" y="213286"/>
                </a:lnTo>
                <a:lnTo>
                  <a:pt x="137270" y="213286"/>
                </a:lnTo>
                <a:lnTo>
                  <a:pt x="137270" y="213876"/>
                </a:lnTo>
                <a:lnTo>
                  <a:pt x="136532" y="213876"/>
                </a:lnTo>
                <a:close/>
                <a:moveTo>
                  <a:pt x="434047" y="212400"/>
                </a:moveTo>
                <a:lnTo>
                  <a:pt x="434047" y="214023"/>
                </a:lnTo>
                <a:cubicBezTo>
                  <a:pt x="434047" y="216092"/>
                  <a:pt x="434047" y="216092"/>
                  <a:pt x="434047" y="216092"/>
                </a:cubicBezTo>
                <a:cubicBezTo>
                  <a:pt x="434047" y="216705"/>
                  <a:pt x="434047" y="217318"/>
                  <a:pt x="433433" y="217932"/>
                </a:cubicBezTo>
                <a:cubicBezTo>
                  <a:pt x="433126" y="218545"/>
                  <a:pt x="432820" y="218851"/>
                  <a:pt x="432206" y="219158"/>
                </a:cubicBezTo>
                <a:cubicBezTo>
                  <a:pt x="430979" y="219771"/>
                  <a:pt x="430059" y="220691"/>
                  <a:pt x="429446" y="221917"/>
                </a:cubicBezTo>
                <a:cubicBezTo>
                  <a:pt x="428832" y="222837"/>
                  <a:pt x="428525" y="224063"/>
                  <a:pt x="428525" y="225596"/>
                </a:cubicBezTo>
                <a:cubicBezTo>
                  <a:pt x="428525" y="267445"/>
                  <a:pt x="428525" y="288370"/>
                  <a:pt x="428525" y="298832"/>
                </a:cubicBezTo>
                <a:lnTo>
                  <a:pt x="428525" y="299252"/>
                </a:lnTo>
                <a:lnTo>
                  <a:pt x="440799" y="306253"/>
                </a:lnTo>
                <a:lnTo>
                  <a:pt x="446316" y="304876"/>
                </a:lnTo>
                <a:lnTo>
                  <a:pt x="446316" y="281667"/>
                </a:lnTo>
                <a:cubicBezTo>
                  <a:pt x="446316" y="225596"/>
                  <a:pt x="446316" y="225596"/>
                  <a:pt x="446316" y="225596"/>
                </a:cubicBezTo>
                <a:cubicBezTo>
                  <a:pt x="446316" y="224370"/>
                  <a:pt x="446009" y="223144"/>
                  <a:pt x="445396" y="221917"/>
                </a:cubicBezTo>
                <a:cubicBezTo>
                  <a:pt x="444782" y="220691"/>
                  <a:pt x="443862" y="219771"/>
                  <a:pt x="442635" y="219158"/>
                </a:cubicBezTo>
                <a:cubicBezTo>
                  <a:pt x="442022" y="218851"/>
                  <a:pt x="441715" y="218545"/>
                  <a:pt x="441408" y="217932"/>
                </a:cubicBezTo>
                <a:cubicBezTo>
                  <a:pt x="441102" y="217625"/>
                  <a:pt x="440795" y="217012"/>
                  <a:pt x="440795" y="216399"/>
                </a:cubicBezTo>
                <a:lnTo>
                  <a:pt x="440795" y="212400"/>
                </a:lnTo>
                <a:lnTo>
                  <a:pt x="434764" y="212400"/>
                </a:lnTo>
                <a:close/>
                <a:moveTo>
                  <a:pt x="307625" y="212400"/>
                </a:moveTo>
                <a:cubicBezTo>
                  <a:pt x="309763" y="213013"/>
                  <a:pt x="309763" y="213320"/>
                  <a:pt x="311595" y="214546"/>
                </a:cubicBezTo>
                <a:cubicBezTo>
                  <a:pt x="315870" y="220065"/>
                  <a:pt x="313733" y="230182"/>
                  <a:pt x="313427" y="236928"/>
                </a:cubicBezTo>
                <a:cubicBezTo>
                  <a:pt x="313427" y="236928"/>
                  <a:pt x="313427" y="236928"/>
                  <a:pt x="312816" y="236928"/>
                </a:cubicBezTo>
                <a:cubicBezTo>
                  <a:pt x="312816" y="236928"/>
                  <a:pt x="312816" y="236928"/>
                  <a:pt x="312816" y="246432"/>
                </a:cubicBezTo>
                <a:cubicBezTo>
                  <a:pt x="313427" y="246432"/>
                  <a:pt x="313733" y="246432"/>
                  <a:pt x="314038" y="246739"/>
                </a:cubicBezTo>
                <a:cubicBezTo>
                  <a:pt x="314343" y="247045"/>
                  <a:pt x="314649" y="247658"/>
                  <a:pt x="314343" y="247965"/>
                </a:cubicBezTo>
                <a:cubicBezTo>
                  <a:pt x="314038" y="258389"/>
                  <a:pt x="313733" y="268813"/>
                  <a:pt x="313427" y="279238"/>
                </a:cubicBezTo>
                <a:cubicBezTo>
                  <a:pt x="313427" y="280158"/>
                  <a:pt x="313733" y="281077"/>
                  <a:pt x="313733" y="282304"/>
                </a:cubicBezTo>
                <a:cubicBezTo>
                  <a:pt x="313733" y="282304"/>
                  <a:pt x="313733" y="282304"/>
                  <a:pt x="315259" y="308978"/>
                </a:cubicBezTo>
                <a:cubicBezTo>
                  <a:pt x="315259" y="310817"/>
                  <a:pt x="313122" y="311737"/>
                  <a:pt x="311290" y="311737"/>
                </a:cubicBezTo>
                <a:cubicBezTo>
                  <a:pt x="309457" y="311737"/>
                  <a:pt x="307014" y="310817"/>
                  <a:pt x="307014" y="308978"/>
                </a:cubicBezTo>
                <a:cubicBezTo>
                  <a:pt x="307625" y="299780"/>
                  <a:pt x="308236" y="290888"/>
                  <a:pt x="308541" y="281997"/>
                </a:cubicBezTo>
                <a:cubicBezTo>
                  <a:pt x="308541" y="281077"/>
                  <a:pt x="308541" y="280158"/>
                  <a:pt x="308541" y="279238"/>
                </a:cubicBezTo>
                <a:cubicBezTo>
                  <a:pt x="308541" y="279238"/>
                  <a:pt x="308541" y="279238"/>
                  <a:pt x="307930" y="247965"/>
                </a:cubicBezTo>
                <a:cubicBezTo>
                  <a:pt x="307625" y="247658"/>
                  <a:pt x="307930" y="247045"/>
                  <a:pt x="308236" y="246739"/>
                </a:cubicBezTo>
                <a:cubicBezTo>
                  <a:pt x="308541" y="246432"/>
                  <a:pt x="308847" y="246432"/>
                  <a:pt x="309457" y="246432"/>
                </a:cubicBezTo>
                <a:cubicBezTo>
                  <a:pt x="309457" y="246432"/>
                  <a:pt x="309457" y="246432"/>
                  <a:pt x="309457" y="236928"/>
                </a:cubicBezTo>
                <a:cubicBezTo>
                  <a:pt x="309457" y="236928"/>
                  <a:pt x="309457" y="236928"/>
                  <a:pt x="309152" y="236928"/>
                </a:cubicBezTo>
                <a:cubicBezTo>
                  <a:pt x="308847" y="235088"/>
                  <a:pt x="308541" y="233248"/>
                  <a:pt x="308236" y="231102"/>
                </a:cubicBezTo>
                <a:cubicBezTo>
                  <a:pt x="307625" y="227730"/>
                  <a:pt x="307320" y="225583"/>
                  <a:pt x="307320" y="221904"/>
                </a:cubicBezTo>
                <a:cubicBezTo>
                  <a:pt x="307014" y="219452"/>
                  <a:pt x="307320" y="217305"/>
                  <a:pt x="307320" y="215159"/>
                </a:cubicBezTo>
                <a:cubicBezTo>
                  <a:pt x="307320" y="214239"/>
                  <a:pt x="307625" y="213320"/>
                  <a:pt x="307625" y="212400"/>
                </a:cubicBezTo>
                <a:close/>
                <a:moveTo>
                  <a:pt x="68707" y="212130"/>
                </a:moveTo>
                <a:cubicBezTo>
                  <a:pt x="68400" y="212130"/>
                  <a:pt x="68400" y="212437"/>
                  <a:pt x="68400" y="212437"/>
                </a:cubicBezTo>
                <a:cubicBezTo>
                  <a:pt x="68400" y="212745"/>
                  <a:pt x="68400" y="212745"/>
                  <a:pt x="68707" y="212745"/>
                </a:cubicBezTo>
                <a:lnTo>
                  <a:pt x="81921" y="212745"/>
                </a:lnTo>
                <a:cubicBezTo>
                  <a:pt x="82228" y="212745"/>
                  <a:pt x="82228" y="212745"/>
                  <a:pt x="82228" y="212437"/>
                </a:cubicBezTo>
                <a:cubicBezTo>
                  <a:pt x="82228" y="212437"/>
                  <a:pt x="82228" y="212130"/>
                  <a:pt x="81921" y="212130"/>
                </a:cubicBezTo>
                <a:cubicBezTo>
                  <a:pt x="81921" y="212130"/>
                  <a:pt x="81921" y="212130"/>
                  <a:pt x="68707" y="212130"/>
                </a:cubicBezTo>
                <a:close/>
                <a:moveTo>
                  <a:pt x="151905" y="212052"/>
                </a:moveTo>
                <a:lnTo>
                  <a:pt x="155056" y="215205"/>
                </a:lnTo>
                <a:lnTo>
                  <a:pt x="156679" y="213581"/>
                </a:lnTo>
                <a:lnTo>
                  <a:pt x="153462" y="213581"/>
                </a:lnTo>
                <a:cubicBezTo>
                  <a:pt x="153152" y="213581"/>
                  <a:pt x="152843" y="213275"/>
                  <a:pt x="152843" y="212969"/>
                </a:cubicBezTo>
                <a:cubicBezTo>
                  <a:pt x="152843" y="212052"/>
                  <a:pt x="152843" y="212052"/>
                  <a:pt x="152843" y="212052"/>
                </a:cubicBezTo>
                <a:close/>
                <a:moveTo>
                  <a:pt x="138746" y="211809"/>
                </a:moveTo>
                <a:lnTo>
                  <a:pt x="138451" y="213285"/>
                </a:lnTo>
                <a:lnTo>
                  <a:pt x="139927" y="213285"/>
                </a:lnTo>
                <a:lnTo>
                  <a:pt x="140222" y="211809"/>
                </a:lnTo>
                <a:close/>
                <a:moveTo>
                  <a:pt x="134170" y="211514"/>
                </a:moveTo>
                <a:lnTo>
                  <a:pt x="134170" y="211809"/>
                </a:lnTo>
                <a:lnTo>
                  <a:pt x="134170" y="213285"/>
                </a:lnTo>
                <a:lnTo>
                  <a:pt x="133580" y="213581"/>
                </a:lnTo>
                <a:lnTo>
                  <a:pt x="133580" y="213285"/>
                </a:lnTo>
                <a:lnTo>
                  <a:pt x="133580" y="211809"/>
                </a:lnTo>
                <a:close/>
                <a:moveTo>
                  <a:pt x="138451" y="211219"/>
                </a:moveTo>
                <a:lnTo>
                  <a:pt x="138746" y="211219"/>
                </a:lnTo>
                <a:lnTo>
                  <a:pt x="140665" y="211219"/>
                </a:lnTo>
                <a:lnTo>
                  <a:pt x="140665" y="211514"/>
                </a:lnTo>
                <a:lnTo>
                  <a:pt x="140961" y="211514"/>
                </a:lnTo>
                <a:lnTo>
                  <a:pt x="140961" y="211809"/>
                </a:lnTo>
                <a:lnTo>
                  <a:pt x="140665" y="213285"/>
                </a:lnTo>
                <a:lnTo>
                  <a:pt x="140222" y="213581"/>
                </a:lnTo>
                <a:lnTo>
                  <a:pt x="139927" y="213876"/>
                </a:lnTo>
                <a:lnTo>
                  <a:pt x="138451" y="213876"/>
                </a:lnTo>
                <a:lnTo>
                  <a:pt x="138156" y="213581"/>
                </a:lnTo>
                <a:lnTo>
                  <a:pt x="137861" y="213285"/>
                </a:lnTo>
                <a:lnTo>
                  <a:pt x="138156" y="211809"/>
                </a:lnTo>
                <a:lnTo>
                  <a:pt x="138451" y="211514"/>
                </a:lnTo>
                <a:close/>
                <a:moveTo>
                  <a:pt x="134170" y="211219"/>
                </a:moveTo>
                <a:lnTo>
                  <a:pt x="134465" y="211219"/>
                </a:lnTo>
                <a:lnTo>
                  <a:pt x="135941" y="211219"/>
                </a:lnTo>
                <a:lnTo>
                  <a:pt x="136237" y="211219"/>
                </a:lnTo>
                <a:lnTo>
                  <a:pt x="136237" y="211514"/>
                </a:lnTo>
                <a:lnTo>
                  <a:pt x="136532" y="211809"/>
                </a:lnTo>
                <a:lnTo>
                  <a:pt x="136237" y="213285"/>
                </a:lnTo>
                <a:lnTo>
                  <a:pt x="135941" y="213581"/>
                </a:lnTo>
                <a:lnTo>
                  <a:pt x="135646" y="213876"/>
                </a:lnTo>
                <a:lnTo>
                  <a:pt x="135351" y="213876"/>
                </a:lnTo>
                <a:lnTo>
                  <a:pt x="133875" y="213876"/>
                </a:lnTo>
                <a:lnTo>
                  <a:pt x="133875" y="213581"/>
                </a:lnTo>
                <a:lnTo>
                  <a:pt x="134170" y="213285"/>
                </a:lnTo>
                <a:lnTo>
                  <a:pt x="135646" y="213285"/>
                </a:lnTo>
                <a:lnTo>
                  <a:pt x="135941" y="211809"/>
                </a:lnTo>
                <a:lnTo>
                  <a:pt x="134465" y="211809"/>
                </a:lnTo>
                <a:lnTo>
                  <a:pt x="134170" y="211514"/>
                </a:lnTo>
                <a:close/>
                <a:moveTo>
                  <a:pt x="130481" y="211219"/>
                </a:moveTo>
                <a:lnTo>
                  <a:pt x="131071" y="211219"/>
                </a:lnTo>
                <a:lnTo>
                  <a:pt x="132547" y="211219"/>
                </a:lnTo>
                <a:lnTo>
                  <a:pt x="132990" y="211219"/>
                </a:lnTo>
                <a:lnTo>
                  <a:pt x="132990" y="211514"/>
                </a:lnTo>
                <a:lnTo>
                  <a:pt x="133286" y="211809"/>
                </a:lnTo>
                <a:lnTo>
                  <a:pt x="132990" y="213285"/>
                </a:lnTo>
                <a:lnTo>
                  <a:pt x="132547" y="213581"/>
                </a:lnTo>
                <a:lnTo>
                  <a:pt x="132252" y="213876"/>
                </a:lnTo>
                <a:lnTo>
                  <a:pt x="130481" y="213876"/>
                </a:lnTo>
                <a:lnTo>
                  <a:pt x="130186" y="213581"/>
                </a:lnTo>
                <a:lnTo>
                  <a:pt x="130481" y="213285"/>
                </a:lnTo>
                <a:lnTo>
                  <a:pt x="132252" y="213285"/>
                </a:lnTo>
                <a:lnTo>
                  <a:pt x="132547" y="211809"/>
                </a:lnTo>
                <a:lnTo>
                  <a:pt x="130776" y="211809"/>
                </a:lnTo>
                <a:lnTo>
                  <a:pt x="130481" y="211514"/>
                </a:lnTo>
                <a:close/>
                <a:moveTo>
                  <a:pt x="157492" y="210263"/>
                </a:moveTo>
                <a:lnTo>
                  <a:pt x="157492" y="212767"/>
                </a:lnTo>
                <a:lnTo>
                  <a:pt x="158743" y="211515"/>
                </a:lnTo>
                <a:close/>
                <a:moveTo>
                  <a:pt x="152843" y="210039"/>
                </a:moveTo>
                <a:lnTo>
                  <a:pt x="152053" y="210829"/>
                </a:lnTo>
                <a:lnTo>
                  <a:pt x="152843" y="210829"/>
                </a:lnTo>
                <a:close/>
                <a:moveTo>
                  <a:pt x="138746" y="209005"/>
                </a:moveTo>
                <a:lnTo>
                  <a:pt x="139042" y="209300"/>
                </a:lnTo>
                <a:lnTo>
                  <a:pt x="138746" y="210924"/>
                </a:lnTo>
                <a:lnTo>
                  <a:pt x="138451" y="211219"/>
                </a:lnTo>
                <a:lnTo>
                  <a:pt x="138156" y="210924"/>
                </a:lnTo>
                <a:lnTo>
                  <a:pt x="138451" y="209300"/>
                </a:lnTo>
                <a:close/>
                <a:moveTo>
                  <a:pt x="139337" y="208710"/>
                </a:moveTo>
                <a:lnTo>
                  <a:pt x="140961" y="208710"/>
                </a:lnTo>
                <a:lnTo>
                  <a:pt x="141256" y="209005"/>
                </a:lnTo>
                <a:lnTo>
                  <a:pt x="140961" y="209300"/>
                </a:lnTo>
                <a:lnTo>
                  <a:pt x="139042" y="209300"/>
                </a:lnTo>
                <a:lnTo>
                  <a:pt x="139042" y="209005"/>
                </a:lnTo>
                <a:close/>
                <a:moveTo>
                  <a:pt x="134761" y="208710"/>
                </a:moveTo>
                <a:lnTo>
                  <a:pt x="136532" y="208710"/>
                </a:lnTo>
                <a:lnTo>
                  <a:pt x="136975" y="209005"/>
                </a:lnTo>
                <a:lnTo>
                  <a:pt x="136532" y="209300"/>
                </a:lnTo>
                <a:lnTo>
                  <a:pt x="134761" y="209300"/>
                </a:lnTo>
                <a:lnTo>
                  <a:pt x="134465" y="210924"/>
                </a:lnTo>
                <a:lnTo>
                  <a:pt x="134170" y="211219"/>
                </a:lnTo>
                <a:lnTo>
                  <a:pt x="133875" y="210924"/>
                </a:lnTo>
                <a:lnTo>
                  <a:pt x="134170" y="209300"/>
                </a:lnTo>
                <a:lnTo>
                  <a:pt x="134465" y="209005"/>
                </a:lnTo>
                <a:close/>
                <a:moveTo>
                  <a:pt x="131367" y="208710"/>
                </a:moveTo>
                <a:lnTo>
                  <a:pt x="133286" y="208710"/>
                </a:lnTo>
                <a:lnTo>
                  <a:pt x="133286" y="209005"/>
                </a:lnTo>
                <a:lnTo>
                  <a:pt x="133581" y="209005"/>
                </a:lnTo>
                <a:lnTo>
                  <a:pt x="133581" y="209300"/>
                </a:lnTo>
                <a:lnTo>
                  <a:pt x="133286" y="210924"/>
                </a:lnTo>
                <a:lnTo>
                  <a:pt x="132990" y="211219"/>
                </a:lnTo>
                <a:lnTo>
                  <a:pt x="132547" y="210924"/>
                </a:lnTo>
                <a:lnTo>
                  <a:pt x="132990" y="209300"/>
                </a:lnTo>
                <a:lnTo>
                  <a:pt x="131367" y="209300"/>
                </a:lnTo>
                <a:lnTo>
                  <a:pt x="131071" y="209005"/>
                </a:lnTo>
                <a:close/>
                <a:moveTo>
                  <a:pt x="155056" y="207825"/>
                </a:moveTo>
                <a:lnTo>
                  <a:pt x="153581" y="209301"/>
                </a:lnTo>
                <a:lnTo>
                  <a:pt x="156531" y="209301"/>
                </a:lnTo>
                <a:close/>
                <a:moveTo>
                  <a:pt x="128629" y="207825"/>
                </a:moveTo>
                <a:cubicBezTo>
                  <a:pt x="128014" y="207825"/>
                  <a:pt x="127400" y="208132"/>
                  <a:pt x="127400" y="208747"/>
                </a:cubicBezTo>
                <a:cubicBezTo>
                  <a:pt x="127400" y="208747"/>
                  <a:pt x="127400" y="208747"/>
                  <a:pt x="127400" y="214282"/>
                </a:cubicBezTo>
                <a:cubicBezTo>
                  <a:pt x="127400" y="214590"/>
                  <a:pt x="128014" y="215205"/>
                  <a:pt x="128629" y="215205"/>
                </a:cubicBezTo>
                <a:cubicBezTo>
                  <a:pt x="128629" y="215205"/>
                  <a:pt x="128629" y="215205"/>
                  <a:pt x="142764" y="215205"/>
                </a:cubicBezTo>
                <a:cubicBezTo>
                  <a:pt x="143379" y="215205"/>
                  <a:pt x="143993" y="214590"/>
                  <a:pt x="143993" y="214282"/>
                </a:cubicBezTo>
                <a:cubicBezTo>
                  <a:pt x="143993" y="214282"/>
                  <a:pt x="143993" y="214282"/>
                  <a:pt x="143993" y="208747"/>
                </a:cubicBezTo>
                <a:cubicBezTo>
                  <a:pt x="143993" y="208132"/>
                  <a:pt x="143379" y="207825"/>
                  <a:pt x="142764" y="207825"/>
                </a:cubicBezTo>
                <a:cubicBezTo>
                  <a:pt x="142764" y="207825"/>
                  <a:pt x="142764" y="207825"/>
                  <a:pt x="128629" y="207825"/>
                </a:cubicBezTo>
                <a:close/>
                <a:moveTo>
                  <a:pt x="191847" y="205020"/>
                </a:moveTo>
                <a:cubicBezTo>
                  <a:pt x="191847" y="205020"/>
                  <a:pt x="192462" y="205020"/>
                  <a:pt x="192462" y="205325"/>
                </a:cubicBezTo>
                <a:cubicBezTo>
                  <a:pt x="192769" y="205630"/>
                  <a:pt x="192462" y="205935"/>
                  <a:pt x="192154" y="206240"/>
                </a:cubicBezTo>
                <a:cubicBezTo>
                  <a:pt x="191847" y="206240"/>
                  <a:pt x="191847" y="206545"/>
                  <a:pt x="191847" y="207155"/>
                </a:cubicBezTo>
                <a:cubicBezTo>
                  <a:pt x="191847" y="207460"/>
                  <a:pt x="191847" y="208071"/>
                  <a:pt x="191539" y="208681"/>
                </a:cubicBezTo>
                <a:cubicBezTo>
                  <a:pt x="191232" y="208986"/>
                  <a:pt x="190924" y="208986"/>
                  <a:pt x="190617" y="209291"/>
                </a:cubicBezTo>
                <a:cubicBezTo>
                  <a:pt x="190309" y="209291"/>
                  <a:pt x="190309" y="209291"/>
                  <a:pt x="190002" y="209596"/>
                </a:cubicBezTo>
                <a:cubicBezTo>
                  <a:pt x="189694" y="209596"/>
                  <a:pt x="189387" y="209596"/>
                  <a:pt x="189387" y="209291"/>
                </a:cubicBezTo>
                <a:cubicBezTo>
                  <a:pt x="189079" y="208681"/>
                  <a:pt x="189387" y="208376"/>
                  <a:pt x="189694" y="208376"/>
                </a:cubicBezTo>
                <a:cubicBezTo>
                  <a:pt x="189694" y="208376"/>
                  <a:pt x="190002" y="208376"/>
                  <a:pt x="190002" y="208071"/>
                </a:cubicBezTo>
                <a:cubicBezTo>
                  <a:pt x="190309" y="208071"/>
                  <a:pt x="190309" y="208071"/>
                  <a:pt x="190309" y="208071"/>
                </a:cubicBezTo>
                <a:cubicBezTo>
                  <a:pt x="190617" y="207765"/>
                  <a:pt x="190617" y="207460"/>
                  <a:pt x="190617" y="207155"/>
                </a:cubicBezTo>
                <a:cubicBezTo>
                  <a:pt x="190617" y="206240"/>
                  <a:pt x="190617" y="205630"/>
                  <a:pt x="191847" y="205020"/>
                </a:cubicBezTo>
                <a:close/>
                <a:moveTo>
                  <a:pt x="49064" y="204421"/>
                </a:moveTo>
                <a:cubicBezTo>
                  <a:pt x="49064" y="204421"/>
                  <a:pt x="49064" y="204421"/>
                  <a:pt x="49371" y="204421"/>
                </a:cubicBezTo>
                <a:cubicBezTo>
                  <a:pt x="49371" y="204421"/>
                  <a:pt x="49371" y="204421"/>
                  <a:pt x="49678" y="205953"/>
                </a:cubicBezTo>
                <a:cubicBezTo>
                  <a:pt x="49678" y="205953"/>
                  <a:pt x="49678" y="205953"/>
                  <a:pt x="49984" y="207484"/>
                </a:cubicBezTo>
                <a:cubicBezTo>
                  <a:pt x="49984" y="207484"/>
                  <a:pt x="49984" y="207484"/>
                  <a:pt x="49678" y="207484"/>
                </a:cubicBezTo>
                <a:cubicBezTo>
                  <a:pt x="49678" y="207484"/>
                  <a:pt x="49678" y="207484"/>
                  <a:pt x="48758" y="207484"/>
                </a:cubicBezTo>
                <a:cubicBezTo>
                  <a:pt x="48758" y="207484"/>
                  <a:pt x="48758" y="207484"/>
                  <a:pt x="49064" y="205953"/>
                </a:cubicBezTo>
                <a:cubicBezTo>
                  <a:pt x="49064" y="205953"/>
                  <a:pt x="49064" y="205953"/>
                  <a:pt x="49064" y="204421"/>
                </a:cubicBezTo>
                <a:close/>
                <a:moveTo>
                  <a:pt x="115108" y="204135"/>
                </a:moveTo>
                <a:cubicBezTo>
                  <a:pt x="115108" y="204135"/>
                  <a:pt x="115108" y="204135"/>
                  <a:pt x="164582" y="204135"/>
                </a:cubicBezTo>
                <a:cubicBezTo>
                  <a:pt x="166733" y="204135"/>
                  <a:pt x="168577" y="205057"/>
                  <a:pt x="169806" y="206287"/>
                </a:cubicBezTo>
                <a:cubicBezTo>
                  <a:pt x="171343" y="207517"/>
                  <a:pt x="171957" y="209362"/>
                  <a:pt x="171957" y="211515"/>
                </a:cubicBezTo>
                <a:cubicBezTo>
                  <a:pt x="171957" y="213360"/>
                  <a:pt x="171343" y="215205"/>
                  <a:pt x="169806" y="216742"/>
                </a:cubicBezTo>
                <a:cubicBezTo>
                  <a:pt x="168577" y="217972"/>
                  <a:pt x="166733" y="218895"/>
                  <a:pt x="164582" y="218895"/>
                </a:cubicBezTo>
                <a:cubicBezTo>
                  <a:pt x="164582" y="218895"/>
                  <a:pt x="164582" y="218895"/>
                  <a:pt x="114801" y="218587"/>
                </a:cubicBezTo>
                <a:cubicBezTo>
                  <a:pt x="114801" y="218587"/>
                  <a:pt x="114801" y="218587"/>
                  <a:pt x="90832" y="214282"/>
                </a:cubicBezTo>
                <a:cubicBezTo>
                  <a:pt x="87145" y="213975"/>
                  <a:pt x="83765" y="213667"/>
                  <a:pt x="80692" y="213667"/>
                </a:cubicBezTo>
                <a:cubicBezTo>
                  <a:pt x="77312" y="213360"/>
                  <a:pt x="73931" y="213360"/>
                  <a:pt x="70244" y="213360"/>
                </a:cubicBezTo>
                <a:cubicBezTo>
                  <a:pt x="69629" y="213360"/>
                  <a:pt x="68400" y="213360"/>
                  <a:pt x="67478" y="213052"/>
                </a:cubicBezTo>
                <a:cubicBezTo>
                  <a:pt x="67171" y="212745"/>
                  <a:pt x="66864" y="212437"/>
                  <a:pt x="66864" y="212130"/>
                </a:cubicBezTo>
                <a:cubicBezTo>
                  <a:pt x="66864" y="211822"/>
                  <a:pt x="67171" y="211515"/>
                  <a:pt x="67478" y="211515"/>
                </a:cubicBezTo>
                <a:cubicBezTo>
                  <a:pt x="68400" y="210900"/>
                  <a:pt x="69629" y="210900"/>
                  <a:pt x="70244" y="210900"/>
                </a:cubicBezTo>
                <a:cubicBezTo>
                  <a:pt x="73931" y="210900"/>
                  <a:pt x="77312" y="210592"/>
                  <a:pt x="80692" y="210285"/>
                </a:cubicBezTo>
                <a:cubicBezTo>
                  <a:pt x="83765" y="210285"/>
                  <a:pt x="87145" y="209670"/>
                  <a:pt x="90832" y="209362"/>
                </a:cubicBezTo>
                <a:cubicBezTo>
                  <a:pt x="90832" y="209362"/>
                  <a:pt x="90832" y="209362"/>
                  <a:pt x="115108" y="204135"/>
                </a:cubicBezTo>
                <a:close/>
                <a:moveTo>
                  <a:pt x="31274" y="203809"/>
                </a:moveTo>
                <a:cubicBezTo>
                  <a:pt x="31274" y="203809"/>
                  <a:pt x="31274" y="203809"/>
                  <a:pt x="31581" y="203809"/>
                </a:cubicBezTo>
                <a:cubicBezTo>
                  <a:pt x="31581" y="203809"/>
                  <a:pt x="31581" y="203809"/>
                  <a:pt x="32501" y="203809"/>
                </a:cubicBezTo>
                <a:cubicBezTo>
                  <a:pt x="32501" y="203809"/>
                  <a:pt x="32808" y="203809"/>
                  <a:pt x="33115" y="204115"/>
                </a:cubicBezTo>
                <a:cubicBezTo>
                  <a:pt x="33115" y="204115"/>
                  <a:pt x="33115" y="204421"/>
                  <a:pt x="33115" y="204728"/>
                </a:cubicBezTo>
                <a:cubicBezTo>
                  <a:pt x="33115" y="204728"/>
                  <a:pt x="33115" y="205034"/>
                  <a:pt x="33115" y="205340"/>
                </a:cubicBezTo>
                <a:cubicBezTo>
                  <a:pt x="32808" y="205340"/>
                  <a:pt x="32501" y="205340"/>
                  <a:pt x="32501" y="205340"/>
                </a:cubicBezTo>
                <a:cubicBezTo>
                  <a:pt x="32501" y="205340"/>
                  <a:pt x="32501" y="205340"/>
                  <a:pt x="31581" y="205340"/>
                </a:cubicBezTo>
                <a:cubicBezTo>
                  <a:pt x="31581" y="205340"/>
                  <a:pt x="31581" y="205340"/>
                  <a:pt x="31274" y="205340"/>
                </a:cubicBezTo>
                <a:cubicBezTo>
                  <a:pt x="31274" y="205340"/>
                  <a:pt x="31274" y="205340"/>
                  <a:pt x="31274" y="205034"/>
                </a:cubicBezTo>
                <a:cubicBezTo>
                  <a:pt x="31274" y="205034"/>
                  <a:pt x="31274" y="205034"/>
                  <a:pt x="31274" y="204115"/>
                </a:cubicBezTo>
                <a:cubicBezTo>
                  <a:pt x="31274" y="204115"/>
                  <a:pt x="31274" y="204115"/>
                  <a:pt x="31274" y="203809"/>
                </a:cubicBezTo>
                <a:close/>
                <a:moveTo>
                  <a:pt x="16858" y="203503"/>
                </a:moveTo>
                <a:cubicBezTo>
                  <a:pt x="17165" y="203503"/>
                  <a:pt x="17471" y="203809"/>
                  <a:pt x="17471" y="203809"/>
                </a:cubicBezTo>
                <a:cubicBezTo>
                  <a:pt x="17778" y="204115"/>
                  <a:pt x="17778" y="204421"/>
                  <a:pt x="17778" y="204728"/>
                </a:cubicBezTo>
                <a:cubicBezTo>
                  <a:pt x="17778" y="204728"/>
                  <a:pt x="17778" y="204728"/>
                  <a:pt x="17778" y="208097"/>
                </a:cubicBezTo>
                <a:cubicBezTo>
                  <a:pt x="17778" y="208403"/>
                  <a:pt x="17778" y="208709"/>
                  <a:pt x="17471" y="208709"/>
                </a:cubicBezTo>
                <a:cubicBezTo>
                  <a:pt x="17471" y="209016"/>
                  <a:pt x="17165" y="209016"/>
                  <a:pt x="16858" y="209016"/>
                </a:cubicBezTo>
                <a:cubicBezTo>
                  <a:pt x="16245" y="209016"/>
                  <a:pt x="16245" y="209016"/>
                  <a:pt x="15938" y="208709"/>
                </a:cubicBezTo>
                <a:cubicBezTo>
                  <a:pt x="15631" y="208709"/>
                  <a:pt x="15631" y="208403"/>
                  <a:pt x="15631" y="208097"/>
                </a:cubicBezTo>
                <a:cubicBezTo>
                  <a:pt x="15631" y="208097"/>
                  <a:pt x="15631" y="208097"/>
                  <a:pt x="15631" y="204728"/>
                </a:cubicBezTo>
                <a:cubicBezTo>
                  <a:pt x="15631" y="204421"/>
                  <a:pt x="15631" y="204115"/>
                  <a:pt x="15938" y="203809"/>
                </a:cubicBezTo>
                <a:cubicBezTo>
                  <a:pt x="16245" y="203809"/>
                  <a:pt x="16551" y="203503"/>
                  <a:pt x="16858" y="203503"/>
                </a:cubicBezTo>
                <a:close/>
                <a:moveTo>
                  <a:pt x="53972" y="201971"/>
                </a:moveTo>
                <a:cubicBezTo>
                  <a:pt x="53972" y="202277"/>
                  <a:pt x="53972" y="202277"/>
                  <a:pt x="53972" y="202277"/>
                </a:cubicBezTo>
                <a:cubicBezTo>
                  <a:pt x="53972" y="210547"/>
                  <a:pt x="53972" y="210547"/>
                  <a:pt x="53972" y="210547"/>
                </a:cubicBezTo>
                <a:cubicBezTo>
                  <a:pt x="53972" y="210853"/>
                  <a:pt x="53972" y="210853"/>
                  <a:pt x="54279" y="210853"/>
                </a:cubicBezTo>
                <a:cubicBezTo>
                  <a:pt x="59186" y="210853"/>
                  <a:pt x="59186" y="210853"/>
                  <a:pt x="59186" y="210853"/>
                </a:cubicBezTo>
                <a:cubicBezTo>
                  <a:pt x="59493" y="210853"/>
                  <a:pt x="59493" y="210853"/>
                  <a:pt x="59493" y="210547"/>
                </a:cubicBezTo>
                <a:cubicBezTo>
                  <a:pt x="59493" y="209322"/>
                  <a:pt x="59493" y="209322"/>
                  <a:pt x="59493" y="209322"/>
                </a:cubicBezTo>
                <a:cubicBezTo>
                  <a:pt x="59493" y="209016"/>
                  <a:pt x="59493" y="209016"/>
                  <a:pt x="59493" y="209016"/>
                </a:cubicBezTo>
                <a:lnTo>
                  <a:pt x="59186" y="209016"/>
                </a:lnTo>
                <a:cubicBezTo>
                  <a:pt x="56119" y="209016"/>
                  <a:pt x="56119" y="209016"/>
                  <a:pt x="56119" y="209016"/>
                </a:cubicBezTo>
                <a:cubicBezTo>
                  <a:pt x="55812" y="209016"/>
                  <a:pt x="55812" y="209016"/>
                  <a:pt x="55812" y="209016"/>
                </a:cubicBezTo>
                <a:cubicBezTo>
                  <a:pt x="55812" y="208709"/>
                  <a:pt x="55812" y="208709"/>
                  <a:pt x="55812" y="208709"/>
                </a:cubicBezTo>
                <a:cubicBezTo>
                  <a:pt x="55812" y="202277"/>
                  <a:pt x="55812" y="202277"/>
                  <a:pt x="55812" y="202277"/>
                </a:cubicBezTo>
                <a:cubicBezTo>
                  <a:pt x="55812" y="201971"/>
                  <a:pt x="55812" y="201971"/>
                  <a:pt x="55812" y="201971"/>
                </a:cubicBezTo>
                <a:cubicBezTo>
                  <a:pt x="55506" y="201971"/>
                  <a:pt x="55506" y="201971"/>
                  <a:pt x="55506" y="201971"/>
                </a:cubicBezTo>
                <a:cubicBezTo>
                  <a:pt x="54279" y="201971"/>
                  <a:pt x="54279" y="201971"/>
                  <a:pt x="54279" y="201971"/>
                </a:cubicBezTo>
                <a:cubicBezTo>
                  <a:pt x="53972" y="201971"/>
                  <a:pt x="53972" y="201971"/>
                  <a:pt x="53972" y="201971"/>
                </a:cubicBezTo>
                <a:close/>
                <a:moveTo>
                  <a:pt x="48144" y="201971"/>
                </a:moveTo>
                <a:cubicBezTo>
                  <a:pt x="48144" y="201971"/>
                  <a:pt x="47837" y="201971"/>
                  <a:pt x="47837" y="202277"/>
                </a:cubicBezTo>
                <a:cubicBezTo>
                  <a:pt x="45690" y="210547"/>
                  <a:pt x="45690" y="210547"/>
                  <a:pt x="45690" y="210547"/>
                </a:cubicBezTo>
                <a:cubicBezTo>
                  <a:pt x="45690" y="210853"/>
                  <a:pt x="45690" y="210853"/>
                  <a:pt x="45690" y="210853"/>
                </a:cubicBezTo>
                <a:cubicBezTo>
                  <a:pt x="45997" y="210853"/>
                  <a:pt x="45997" y="210853"/>
                  <a:pt x="45997" y="210853"/>
                </a:cubicBezTo>
                <a:cubicBezTo>
                  <a:pt x="47531" y="210853"/>
                  <a:pt x="47531" y="210853"/>
                  <a:pt x="47531" y="210853"/>
                </a:cubicBezTo>
                <a:cubicBezTo>
                  <a:pt x="47837" y="210853"/>
                  <a:pt x="47837" y="210853"/>
                  <a:pt x="47837" y="210853"/>
                </a:cubicBezTo>
                <a:cubicBezTo>
                  <a:pt x="47837" y="210547"/>
                  <a:pt x="47837" y="210547"/>
                  <a:pt x="47837" y="210547"/>
                </a:cubicBezTo>
                <a:cubicBezTo>
                  <a:pt x="48144" y="209628"/>
                  <a:pt x="48144" y="209628"/>
                  <a:pt x="48144" y="209628"/>
                </a:cubicBezTo>
                <a:cubicBezTo>
                  <a:pt x="48144" y="209322"/>
                  <a:pt x="48144" y="209322"/>
                  <a:pt x="48144" y="209322"/>
                </a:cubicBezTo>
                <a:cubicBezTo>
                  <a:pt x="48451" y="209322"/>
                  <a:pt x="48451" y="209322"/>
                  <a:pt x="48451" y="209322"/>
                </a:cubicBezTo>
                <a:cubicBezTo>
                  <a:pt x="50291" y="209322"/>
                  <a:pt x="50291" y="209322"/>
                  <a:pt x="50291" y="209322"/>
                </a:cubicBezTo>
                <a:cubicBezTo>
                  <a:pt x="50291" y="209628"/>
                  <a:pt x="50291" y="209628"/>
                  <a:pt x="50291" y="209628"/>
                </a:cubicBezTo>
                <a:cubicBezTo>
                  <a:pt x="50598" y="210547"/>
                  <a:pt x="50598" y="210547"/>
                  <a:pt x="50598" y="210547"/>
                </a:cubicBezTo>
                <a:cubicBezTo>
                  <a:pt x="50905" y="210853"/>
                  <a:pt x="50905" y="210853"/>
                  <a:pt x="50905" y="210853"/>
                </a:cubicBezTo>
                <a:cubicBezTo>
                  <a:pt x="52438" y="210853"/>
                  <a:pt x="52438" y="210853"/>
                  <a:pt x="52438" y="210853"/>
                </a:cubicBezTo>
                <a:cubicBezTo>
                  <a:pt x="52745" y="210853"/>
                  <a:pt x="52745" y="210853"/>
                  <a:pt x="52745" y="210547"/>
                </a:cubicBezTo>
                <a:cubicBezTo>
                  <a:pt x="50598" y="202277"/>
                  <a:pt x="50598" y="202277"/>
                  <a:pt x="50598" y="202277"/>
                </a:cubicBezTo>
                <a:cubicBezTo>
                  <a:pt x="50598" y="201971"/>
                  <a:pt x="50598" y="201971"/>
                  <a:pt x="50598" y="201971"/>
                </a:cubicBezTo>
                <a:cubicBezTo>
                  <a:pt x="50291" y="201971"/>
                  <a:pt x="50291" y="201971"/>
                  <a:pt x="50291" y="201971"/>
                </a:cubicBezTo>
                <a:cubicBezTo>
                  <a:pt x="48144" y="201971"/>
                  <a:pt x="48144" y="201971"/>
                  <a:pt x="48144" y="201971"/>
                </a:cubicBezTo>
                <a:close/>
                <a:moveTo>
                  <a:pt x="39863" y="201971"/>
                </a:moveTo>
                <a:cubicBezTo>
                  <a:pt x="39863" y="202277"/>
                  <a:pt x="39863" y="202277"/>
                  <a:pt x="39863" y="202277"/>
                </a:cubicBezTo>
                <a:cubicBezTo>
                  <a:pt x="39863" y="203503"/>
                  <a:pt x="39863" y="203503"/>
                  <a:pt x="39863" y="203503"/>
                </a:cubicBezTo>
                <a:cubicBezTo>
                  <a:pt x="39863" y="203809"/>
                  <a:pt x="39863" y="203809"/>
                  <a:pt x="39863" y="203809"/>
                </a:cubicBezTo>
                <a:cubicBezTo>
                  <a:pt x="40169" y="203809"/>
                  <a:pt x="40169" y="203809"/>
                  <a:pt x="40169" y="203809"/>
                </a:cubicBezTo>
                <a:cubicBezTo>
                  <a:pt x="41396" y="203809"/>
                  <a:pt x="41396" y="203809"/>
                  <a:pt x="41396" y="203809"/>
                </a:cubicBezTo>
                <a:cubicBezTo>
                  <a:pt x="41703" y="203809"/>
                  <a:pt x="41703" y="203809"/>
                  <a:pt x="41703" y="203809"/>
                </a:cubicBezTo>
                <a:cubicBezTo>
                  <a:pt x="41703" y="204115"/>
                  <a:pt x="41703" y="204115"/>
                  <a:pt x="41703" y="204115"/>
                </a:cubicBezTo>
                <a:cubicBezTo>
                  <a:pt x="41703" y="210547"/>
                  <a:pt x="41703" y="210547"/>
                  <a:pt x="41703" y="210547"/>
                </a:cubicBezTo>
                <a:cubicBezTo>
                  <a:pt x="42010" y="210853"/>
                  <a:pt x="42010" y="210853"/>
                  <a:pt x="42010" y="210853"/>
                </a:cubicBezTo>
                <a:cubicBezTo>
                  <a:pt x="43543" y="210853"/>
                  <a:pt x="43543" y="210853"/>
                  <a:pt x="43543" y="210853"/>
                </a:cubicBezTo>
                <a:cubicBezTo>
                  <a:pt x="43850" y="210853"/>
                  <a:pt x="43850" y="210853"/>
                  <a:pt x="43850" y="210547"/>
                </a:cubicBezTo>
                <a:cubicBezTo>
                  <a:pt x="43850" y="204115"/>
                  <a:pt x="43850" y="204115"/>
                  <a:pt x="43850" y="204115"/>
                </a:cubicBezTo>
                <a:cubicBezTo>
                  <a:pt x="43850" y="203809"/>
                  <a:pt x="43850" y="203809"/>
                  <a:pt x="43850" y="203809"/>
                </a:cubicBezTo>
                <a:cubicBezTo>
                  <a:pt x="44157" y="203809"/>
                  <a:pt x="44157" y="203809"/>
                  <a:pt x="44157" y="203809"/>
                </a:cubicBezTo>
                <a:cubicBezTo>
                  <a:pt x="45690" y="203809"/>
                  <a:pt x="45690" y="203809"/>
                  <a:pt x="45690" y="203809"/>
                </a:cubicBezTo>
                <a:cubicBezTo>
                  <a:pt x="45997" y="203809"/>
                  <a:pt x="45997" y="203809"/>
                  <a:pt x="45997" y="203809"/>
                </a:cubicBezTo>
                <a:cubicBezTo>
                  <a:pt x="45997" y="203503"/>
                  <a:pt x="45997" y="203503"/>
                  <a:pt x="45997" y="203503"/>
                </a:cubicBezTo>
                <a:cubicBezTo>
                  <a:pt x="45997" y="202277"/>
                  <a:pt x="45997" y="202277"/>
                  <a:pt x="45997" y="202277"/>
                </a:cubicBezTo>
                <a:cubicBezTo>
                  <a:pt x="45997" y="201971"/>
                  <a:pt x="45997" y="201971"/>
                  <a:pt x="45690" y="201971"/>
                </a:cubicBezTo>
                <a:cubicBezTo>
                  <a:pt x="40169" y="201971"/>
                  <a:pt x="40169" y="201971"/>
                  <a:pt x="40169" y="201971"/>
                </a:cubicBezTo>
                <a:cubicBezTo>
                  <a:pt x="39863" y="201971"/>
                  <a:pt x="39863" y="201971"/>
                  <a:pt x="39863" y="201971"/>
                </a:cubicBezTo>
                <a:close/>
                <a:moveTo>
                  <a:pt x="36795" y="201971"/>
                </a:moveTo>
                <a:cubicBezTo>
                  <a:pt x="36795" y="201971"/>
                  <a:pt x="36489" y="201971"/>
                  <a:pt x="36489" y="202277"/>
                </a:cubicBezTo>
                <a:cubicBezTo>
                  <a:pt x="36489" y="210547"/>
                  <a:pt x="36489" y="210547"/>
                  <a:pt x="36489" y="210547"/>
                </a:cubicBezTo>
                <a:cubicBezTo>
                  <a:pt x="36489" y="210853"/>
                  <a:pt x="36795" y="210853"/>
                  <a:pt x="36795" y="210853"/>
                </a:cubicBezTo>
                <a:cubicBezTo>
                  <a:pt x="38329" y="210853"/>
                  <a:pt x="38329" y="210853"/>
                  <a:pt x="38329" y="210853"/>
                </a:cubicBezTo>
                <a:cubicBezTo>
                  <a:pt x="38636" y="210853"/>
                  <a:pt x="38636" y="210853"/>
                  <a:pt x="38636" y="210547"/>
                </a:cubicBezTo>
                <a:cubicBezTo>
                  <a:pt x="38636" y="202277"/>
                  <a:pt x="38636" y="202277"/>
                  <a:pt x="38636" y="202277"/>
                </a:cubicBezTo>
                <a:cubicBezTo>
                  <a:pt x="38636" y="201971"/>
                  <a:pt x="38636" y="201971"/>
                  <a:pt x="38636" y="201971"/>
                </a:cubicBezTo>
                <a:cubicBezTo>
                  <a:pt x="38329" y="201971"/>
                  <a:pt x="38329" y="201971"/>
                  <a:pt x="38329" y="201971"/>
                </a:cubicBezTo>
                <a:cubicBezTo>
                  <a:pt x="36795" y="201971"/>
                  <a:pt x="36795" y="201971"/>
                  <a:pt x="36795" y="201971"/>
                </a:cubicBezTo>
                <a:close/>
                <a:moveTo>
                  <a:pt x="29434" y="201971"/>
                </a:moveTo>
                <a:cubicBezTo>
                  <a:pt x="29127" y="201971"/>
                  <a:pt x="29127" y="201971"/>
                  <a:pt x="29127" y="202277"/>
                </a:cubicBezTo>
                <a:cubicBezTo>
                  <a:pt x="29127" y="210547"/>
                  <a:pt x="29127" y="210547"/>
                  <a:pt x="29127" y="210547"/>
                </a:cubicBezTo>
                <a:cubicBezTo>
                  <a:pt x="29127" y="210853"/>
                  <a:pt x="29127" y="210853"/>
                  <a:pt x="29434" y="210853"/>
                </a:cubicBezTo>
                <a:cubicBezTo>
                  <a:pt x="30967" y="210853"/>
                  <a:pt x="30967" y="210853"/>
                  <a:pt x="30967" y="210853"/>
                </a:cubicBezTo>
                <a:cubicBezTo>
                  <a:pt x="30967" y="210853"/>
                  <a:pt x="31274" y="210853"/>
                  <a:pt x="31274" y="210547"/>
                </a:cubicBezTo>
                <a:cubicBezTo>
                  <a:pt x="31274" y="207484"/>
                  <a:pt x="31274" y="207484"/>
                  <a:pt x="31274" y="207484"/>
                </a:cubicBezTo>
                <a:cubicBezTo>
                  <a:pt x="31274" y="207178"/>
                  <a:pt x="31274" y="207178"/>
                  <a:pt x="31274" y="207178"/>
                </a:cubicBezTo>
                <a:cubicBezTo>
                  <a:pt x="31581" y="207178"/>
                  <a:pt x="31581" y="207178"/>
                  <a:pt x="31581" y="207178"/>
                </a:cubicBezTo>
                <a:cubicBezTo>
                  <a:pt x="32501" y="207178"/>
                  <a:pt x="32501" y="207178"/>
                  <a:pt x="32501" y="207178"/>
                </a:cubicBezTo>
                <a:cubicBezTo>
                  <a:pt x="32808" y="207178"/>
                  <a:pt x="33115" y="207178"/>
                  <a:pt x="33421" y="207178"/>
                </a:cubicBezTo>
                <a:cubicBezTo>
                  <a:pt x="34035" y="206872"/>
                  <a:pt x="34341" y="206872"/>
                  <a:pt x="34341" y="206565"/>
                </a:cubicBezTo>
                <a:cubicBezTo>
                  <a:pt x="34648" y="206259"/>
                  <a:pt x="34955" y="205953"/>
                  <a:pt x="34955" y="205647"/>
                </a:cubicBezTo>
                <a:cubicBezTo>
                  <a:pt x="35262" y="205340"/>
                  <a:pt x="35262" y="205034"/>
                  <a:pt x="35262" y="204728"/>
                </a:cubicBezTo>
                <a:cubicBezTo>
                  <a:pt x="35262" y="204421"/>
                  <a:pt x="35262" y="203809"/>
                  <a:pt x="34955" y="203503"/>
                </a:cubicBezTo>
                <a:cubicBezTo>
                  <a:pt x="34955" y="203196"/>
                  <a:pt x="34648" y="202890"/>
                  <a:pt x="34341" y="202584"/>
                </a:cubicBezTo>
                <a:cubicBezTo>
                  <a:pt x="34341" y="202584"/>
                  <a:pt x="34035" y="202277"/>
                  <a:pt x="33421" y="202277"/>
                </a:cubicBezTo>
                <a:cubicBezTo>
                  <a:pt x="33115" y="201971"/>
                  <a:pt x="32808" y="201971"/>
                  <a:pt x="32501" y="201971"/>
                </a:cubicBezTo>
                <a:cubicBezTo>
                  <a:pt x="29434" y="201971"/>
                  <a:pt x="29434" y="201971"/>
                  <a:pt x="29434" y="201971"/>
                </a:cubicBezTo>
                <a:close/>
                <a:moveTo>
                  <a:pt x="23299" y="201971"/>
                </a:moveTo>
                <a:cubicBezTo>
                  <a:pt x="22993" y="202277"/>
                  <a:pt x="22686" y="202277"/>
                  <a:pt x="22379" y="202584"/>
                </a:cubicBezTo>
                <a:cubicBezTo>
                  <a:pt x="22072" y="202890"/>
                  <a:pt x="22072" y="203196"/>
                  <a:pt x="21766" y="203503"/>
                </a:cubicBezTo>
                <a:cubicBezTo>
                  <a:pt x="21766" y="203809"/>
                  <a:pt x="21459" y="204115"/>
                  <a:pt x="21459" y="204421"/>
                </a:cubicBezTo>
                <a:cubicBezTo>
                  <a:pt x="21459" y="204728"/>
                  <a:pt x="21766" y="205034"/>
                  <a:pt x="21766" y="205340"/>
                </a:cubicBezTo>
                <a:cubicBezTo>
                  <a:pt x="21766" y="205647"/>
                  <a:pt x="22072" y="205953"/>
                  <a:pt x="22072" y="206259"/>
                </a:cubicBezTo>
                <a:cubicBezTo>
                  <a:pt x="22379" y="206259"/>
                  <a:pt x="22686" y="206565"/>
                  <a:pt x="22686" y="206565"/>
                </a:cubicBezTo>
                <a:cubicBezTo>
                  <a:pt x="22993" y="206872"/>
                  <a:pt x="23299" y="206872"/>
                  <a:pt x="23606" y="206872"/>
                </a:cubicBezTo>
                <a:cubicBezTo>
                  <a:pt x="24219" y="207178"/>
                  <a:pt x="24833" y="207484"/>
                  <a:pt x="25140" y="207484"/>
                </a:cubicBezTo>
                <a:cubicBezTo>
                  <a:pt x="25446" y="207791"/>
                  <a:pt x="25753" y="208097"/>
                  <a:pt x="25753" y="208403"/>
                </a:cubicBezTo>
                <a:cubicBezTo>
                  <a:pt x="25753" y="208709"/>
                  <a:pt x="25753" y="208709"/>
                  <a:pt x="25753" y="208709"/>
                </a:cubicBezTo>
                <a:cubicBezTo>
                  <a:pt x="25446" y="208709"/>
                  <a:pt x="25446" y="208709"/>
                  <a:pt x="25446" y="208709"/>
                </a:cubicBezTo>
                <a:cubicBezTo>
                  <a:pt x="25446" y="209016"/>
                  <a:pt x="25446" y="209016"/>
                  <a:pt x="25140" y="209016"/>
                </a:cubicBezTo>
                <a:cubicBezTo>
                  <a:pt x="25140" y="209016"/>
                  <a:pt x="24833" y="209016"/>
                  <a:pt x="24526" y="209016"/>
                </a:cubicBezTo>
                <a:cubicBezTo>
                  <a:pt x="24526" y="209016"/>
                  <a:pt x="24219" y="209016"/>
                  <a:pt x="24219" y="209016"/>
                </a:cubicBezTo>
                <a:cubicBezTo>
                  <a:pt x="23913" y="209016"/>
                  <a:pt x="23913" y="209016"/>
                  <a:pt x="23606" y="209016"/>
                </a:cubicBezTo>
                <a:cubicBezTo>
                  <a:pt x="23606" y="208709"/>
                  <a:pt x="23299" y="208709"/>
                  <a:pt x="22993" y="208709"/>
                </a:cubicBezTo>
                <a:cubicBezTo>
                  <a:pt x="22993" y="208709"/>
                  <a:pt x="22686" y="208403"/>
                  <a:pt x="22686" y="208403"/>
                </a:cubicBezTo>
                <a:cubicBezTo>
                  <a:pt x="22379" y="208097"/>
                  <a:pt x="22379" y="208097"/>
                  <a:pt x="22379" y="208097"/>
                </a:cubicBezTo>
                <a:cubicBezTo>
                  <a:pt x="22379" y="208097"/>
                  <a:pt x="22072" y="208403"/>
                  <a:pt x="22072" y="208403"/>
                </a:cubicBezTo>
                <a:cubicBezTo>
                  <a:pt x="21459" y="209322"/>
                  <a:pt x="21459" y="209322"/>
                  <a:pt x="21459" y="209322"/>
                </a:cubicBezTo>
                <a:cubicBezTo>
                  <a:pt x="21459" y="209322"/>
                  <a:pt x="21152" y="209322"/>
                  <a:pt x="21459" y="209628"/>
                </a:cubicBezTo>
                <a:cubicBezTo>
                  <a:pt x="21459" y="209935"/>
                  <a:pt x="21459" y="209935"/>
                  <a:pt x="21459" y="209935"/>
                </a:cubicBezTo>
                <a:cubicBezTo>
                  <a:pt x="22072" y="210241"/>
                  <a:pt x="22379" y="210547"/>
                  <a:pt x="22993" y="210547"/>
                </a:cubicBezTo>
                <a:cubicBezTo>
                  <a:pt x="23606" y="210853"/>
                  <a:pt x="24219" y="210853"/>
                  <a:pt x="24526" y="210853"/>
                </a:cubicBezTo>
                <a:cubicBezTo>
                  <a:pt x="25140" y="210853"/>
                  <a:pt x="25446" y="210853"/>
                  <a:pt x="25753" y="210853"/>
                </a:cubicBezTo>
                <a:cubicBezTo>
                  <a:pt x="26367" y="210547"/>
                  <a:pt x="26673" y="210547"/>
                  <a:pt x="26980" y="210241"/>
                </a:cubicBezTo>
                <a:cubicBezTo>
                  <a:pt x="27287" y="209935"/>
                  <a:pt x="27287" y="209628"/>
                  <a:pt x="27593" y="209322"/>
                </a:cubicBezTo>
                <a:cubicBezTo>
                  <a:pt x="27593" y="209016"/>
                  <a:pt x="27900" y="208709"/>
                  <a:pt x="27900" y="208097"/>
                </a:cubicBezTo>
                <a:cubicBezTo>
                  <a:pt x="27900" y="207791"/>
                  <a:pt x="27593" y="207484"/>
                  <a:pt x="27593" y="207178"/>
                </a:cubicBezTo>
                <a:cubicBezTo>
                  <a:pt x="27287" y="206872"/>
                  <a:pt x="26980" y="206565"/>
                  <a:pt x="26673" y="206259"/>
                </a:cubicBezTo>
                <a:cubicBezTo>
                  <a:pt x="26673" y="205953"/>
                  <a:pt x="26367" y="205953"/>
                  <a:pt x="25753" y="205647"/>
                </a:cubicBezTo>
                <a:cubicBezTo>
                  <a:pt x="25446" y="205647"/>
                  <a:pt x="25140" y="205647"/>
                  <a:pt x="24833" y="205340"/>
                </a:cubicBezTo>
                <a:cubicBezTo>
                  <a:pt x="24833" y="205340"/>
                  <a:pt x="24833" y="205340"/>
                  <a:pt x="24526" y="205340"/>
                </a:cubicBezTo>
                <a:cubicBezTo>
                  <a:pt x="24526" y="205340"/>
                  <a:pt x="24219" y="205340"/>
                  <a:pt x="24219" y="205034"/>
                </a:cubicBezTo>
                <a:cubicBezTo>
                  <a:pt x="23913" y="204728"/>
                  <a:pt x="23913" y="204728"/>
                  <a:pt x="23913" y="204728"/>
                </a:cubicBezTo>
                <a:cubicBezTo>
                  <a:pt x="23606" y="204728"/>
                  <a:pt x="23606" y="204728"/>
                  <a:pt x="23606" y="204421"/>
                </a:cubicBezTo>
                <a:cubicBezTo>
                  <a:pt x="23606" y="204115"/>
                  <a:pt x="23606" y="203809"/>
                  <a:pt x="23913" y="203809"/>
                </a:cubicBezTo>
                <a:cubicBezTo>
                  <a:pt x="24219" y="203809"/>
                  <a:pt x="24526" y="203503"/>
                  <a:pt x="24526" y="203503"/>
                </a:cubicBezTo>
                <a:cubicBezTo>
                  <a:pt x="24833" y="203503"/>
                  <a:pt x="25140" y="203809"/>
                  <a:pt x="25446" y="203809"/>
                </a:cubicBezTo>
                <a:cubicBezTo>
                  <a:pt x="25753" y="203809"/>
                  <a:pt x="26060" y="204115"/>
                  <a:pt x="26367" y="204115"/>
                </a:cubicBezTo>
                <a:cubicBezTo>
                  <a:pt x="26673" y="204115"/>
                  <a:pt x="26673" y="204115"/>
                  <a:pt x="26673" y="203809"/>
                </a:cubicBezTo>
                <a:cubicBezTo>
                  <a:pt x="27287" y="203196"/>
                  <a:pt x="27287" y="203196"/>
                  <a:pt x="27287" y="203196"/>
                </a:cubicBezTo>
                <a:cubicBezTo>
                  <a:pt x="27287" y="202890"/>
                  <a:pt x="27287" y="202890"/>
                  <a:pt x="27287" y="202584"/>
                </a:cubicBezTo>
                <a:cubicBezTo>
                  <a:pt x="26980" y="202584"/>
                  <a:pt x="26980" y="202584"/>
                  <a:pt x="26980" y="202584"/>
                </a:cubicBezTo>
                <a:cubicBezTo>
                  <a:pt x="26980" y="202277"/>
                  <a:pt x="26367" y="202277"/>
                  <a:pt x="26060" y="201971"/>
                </a:cubicBezTo>
                <a:cubicBezTo>
                  <a:pt x="25753" y="201971"/>
                  <a:pt x="25140" y="201971"/>
                  <a:pt x="24526" y="201971"/>
                </a:cubicBezTo>
                <a:cubicBezTo>
                  <a:pt x="24219" y="201971"/>
                  <a:pt x="23913" y="201971"/>
                  <a:pt x="23299" y="201971"/>
                </a:cubicBezTo>
                <a:close/>
                <a:moveTo>
                  <a:pt x="15631" y="201971"/>
                </a:moveTo>
                <a:cubicBezTo>
                  <a:pt x="15018" y="202277"/>
                  <a:pt x="14711" y="202277"/>
                  <a:pt x="14404" y="202584"/>
                </a:cubicBezTo>
                <a:cubicBezTo>
                  <a:pt x="14097" y="202890"/>
                  <a:pt x="14097" y="203196"/>
                  <a:pt x="13791" y="203503"/>
                </a:cubicBezTo>
                <a:cubicBezTo>
                  <a:pt x="13791" y="203809"/>
                  <a:pt x="13484" y="204115"/>
                  <a:pt x="13484" y="204728"/>
                </a:cubicBezTo>
                <a:cubicBezTo>
                  <a:pt x="13484" y="208097"/>
                  <a:pt x="13484" y="208097"/>
                  <a:pt x="13484" y="208097"/>
                </a:cubicBezTo>
                <a:cubicBezTo>
                  <a:pt x="13484" y="208709"/>
                  <a:pt x="13791" y="209016"/>
                  <a:pt x="13791" y="209322"/>
                </a:cubicBezTo>
                <a:cubicBezTo>
                  <a:pt x="14097" y="209628"/>
                  <a:pt x="14097" y="209935"/>
                  <a:pt x="14404" y="210241"/>
                </a:cubicBezTo>
                <a:cubicBezTo>
                  <a:pt x="14711" y="210547"/>
                  <a:pt x="15018" y="210547"/>
                  <a:pt x="15631" y="210853"/>
                </a:cubicBezTo>
                <a:cubicBezTo>
                  <a:pt x="15938" y="210853"/>
                  <a:pt x="16245" y="210853"/>
                  <a:pt x="16858" y="210853"/>
                </a:cubicBezTo>
                <a:cubicBezTo>
                  <a:pt x="17165" y="210853"/>
                  <a:pt x="17778" y="210853"/>
                  <a:pt x="18085" y="210853"/>
                </a:cubicBezTo>
                <a:cubicBezTo>
                  <a:pt x="18392" y="210547"/>
                  <a:pt x="18698" y="210547"/>
                  <a:pt x="19005" y="210241"/>
                </a:cubicBezTo>
                <a:cubicBezTo>
                  <a:pt x="19312" y="209935"/>
                  <a:pt x="19619" y="209628"/>
                  <a:pt x="19619" y="209322"/>
                </a:cubicBezTo>
                <a:cubicBezTo>
                  <a:pt x="19925" y="209016"/>
                  <a:pt x="19925" y="208709"/>
                  <a:pt x="19925" y="208097"/>
                </a:cubicBezTo>
                <a:cubicBezTo>
                  <a:pt x="19925" y="204728"/>
                  <a:pt x="19925" y="204728"/>
                  <a:pt x="19925" y="204728"/>
                </a:cubicBezTo>
                <a:cubicBezTo>
                  <a:pt x="19925" y="204115"/>
                  <a:pt x="19925" y="203809"/>
                  <a:pt x="19619" y="203503"/>
                </a:cubicBezTo>
                <a:cubicBezTo>
                  <a:pt x="19619" y="203196"/>
                  <a:pt x="19312" y="202890"/>
                  <a:pt x="19005" y="202584"/>
                </a:cubicBezTo>
                <a:cubicBezTo>
                  <a:pt x="18698" y="202277"/>
                  <a:pt x="18392" y="202277"/>
                  <a:pt x="18085" y="201971"/>
                </a:cubicBezTo>
                <a:cubicBezTo>
                  <a:pt x="17778" y="201971"/>
                  <a:pt x="17165" y="201971"/>
                  <a:pt x="16858" y="201971"/>
                </a:cubicBezTo>
                <a:cubicBezTo>
                  <a:pt x="16245" y="201971"/>
                  <a:pt x="15938" y="201971"/>
                  <a:pt x="15631" y="201971"/>
                </a:cubicBezTo>
                <a:close/>
                <a:moveTo>
                  <a:pt x="5509" y="201971"/>
                </a:moveTo>
                <a:cubicBezTo>
                  <a:pt x="5202" y="202277"/>
                  <a:pt x="5202" y="202277"/>
                  <a:pt x="5202" y="202277"/>
                </a:cubicBezTo>
                <a:cubicBezTo>
                  <a:pt x="5202" y="210547"/>
                  <a:pt x="5202" y="210547"/>
                  <a:pt x="5202" y="210547"/>
                </a:cubicBezTo>
                <a:cubicBezTo>
                  <a:pt x="5202" y="210853"/>
                  <a:pt x="5509" y="210853"/>
                  <a:pt x="5509" y="210853"/>
                </a:cubicBezTo>
                <a:cubicBezTo>
                  <a:pt x="7043" y="210853"/>
                  <a:pt x="7043" y="210853"/>
                  <a:pt x="7043" y="210853"/>
                </a:cubicBezTo>
                <a:cubicBezTo>
                  <a:pt x="7349" y="210853"/>
                  <a:pt x="7349" y="210853"/>
                  <a:pt x="7349" y="210547"/>
                </a:cubicBezTo>
                <a:cubicBezTo>
                  <a:pt x="7349" y="207484"/>
                  <a:pt x="7349" y="207484"/>
                  <a:pt x="7349" y="207484"/>
                </a:cubicBezTo>
                <a:cubicBezTo>
                  <a:pt x="7349" y="207178"/>
                  <a:pt x="7349" y="207178"/>
                  <a:pt x="7349" y="207178"/>
                </a:cubicBezTo>
                <a:cubicBezTo>
                  <a:pt x="7349" y="207178"/>
                  <a:pt x="7656" y="207178"/>
                  <a:pt x="7656" y="207178"/>
                </a:cubicBezTo>
                <a:cubicBezTo>
                  <a:pt x="9497" y="207178"/>
                  <a:pt x="9497" y="207178"/>
                  <a:pt x="9497" y="207178"/>
                </a:cubicBezTo>
                <a:cubicBezTo>
                  <a:pt x="9803" y="207178"/>
                  <a:pt x="9803" y="207178"/>
                  <a:pt x="9803" y="207178"/>
                </a:cubicBezTo>
                <a:cubicBezTo>
                  <a:pt x="9803" y="207484"/>
                  <a:pt x="9803" y="207484"/>
                  <a:pt x="9803" y="207484"/>
                </a:cubicBezTo>
                <a:cubicBezTo>
                  <a:pt x="9803" y="210547"/>
                  <a:pt x="9803" y="210547"/>
                  <a:pt x="9803" y="210547"/>
                </a:cubicBezTo>
                <a:cubicBezTo>
                  <a:pt x="9803" y="210853"/>
                  <a:pt x="9803" y="210853"/>
                  <a:pt x="10110" y="210853"/>
                </a:cubicBezTo>
                <a:cubicBezTo>
                  <a:pt x="11644" y="210853"/>
                  <a:pt x="11644" y="210853"/>
                  <a:pt x="11644" y="210853"/>
                </a:cubicBezTo>
                <a:cubicBezTo>
                  <a:pt x="11644" y="210853"/>
                  <a:pt x="11950" y="210853"/>
                  <a:pt x="11950" y="210547"/>
                </a:cubicBezTo>
                <a:cubicBezTo>
                  <a:pt x="11950" y="202277"/>
                  <a:pt x="11950" y="202277"/>
                  <a:pt x="11950" y="202277"/>
                </a:cubicBezTo>
                <a:cubicBezTo>
                  <a:pt x="11644" y="201971"/>
                  <a:pt x="11644" y="201971"/>
                  <a:pt x="11644" y="201971"/>
                </a:cubicBezTo>
                <a:cubicBezTo>
                  <a:pt x="10110" y="201971"/>
                  <a:pt x="10110" y="201971"/>
                  <a:pt x="10110" y="201971"/>
                </a:cubicBezTo>
                <a:cubicBezTo>
                  <a:pt x="9803" y="201971"/>
                  <a:pt x="9803" y="201971"/>
                  <a:pt x="9803" y="201971"/>
                </a:cubicBezTo>
                <a:cubicBezTo>
                  <a:pt x="9803" y="202277"/>
                  <a:pt x="9803" y="202277"/>
                  <a:pt x="9803" y="202277"/>
                </a:cubicBezTo>
                <a:cubicBezTo>
                  <a:pt x="9803" y="205034"/>
                  <a:pt x="9803" y="205034"/>
                  <a:pt x="9803" y="205034"/>
                </a:cubicBezTo>
                <a:cubicBezTo>
                  <a:pt x="9803" y="205034"/>
                  <a:pt x="9803" y="205340"/>
                  <a:pt x="9803" y="205340"/>
                </a:cubicBezTo>
                <a:cubicBezTo>
                  <a:pt x="9497" y="205340"/>
                  <a:pt x="9497" y="205340"/>
                  <a:pt x="9497" y="205340"/>
                </a:cubicBezTo>
                <a:cubicBezTo>
                  <a:pt x="7656" y="205340"/>
                  <a:pt x="7656" y="205340"/>
                  <a:pt x="7656" y="205340"/>
                </a:cubicBezTo>
                <a:cubicBezTo>
                  <a:pt x="7349" y="205340"/>
                  <a:pt x="7349" y="205340"/>
                  <a:pt x="7349" y="205340"/>
                </a:cubicBezTo>
                <a:cubicBezTo>
                  <a:pt x="7349" y="205340"/>
                  <a:pt x="7349" y="205034"/>
                  <a:pt x="7349" y="205034"/>
                </a:cubicBezTo>
                <a:cubicBezTo>
                  <a:pt x="7349" y="202277"/>
                  <a:pt x="7349" y="202277"/>
                  <a:pt x="7349" y="202277"/>
                </a:cubicBezTo>
                <a:cubicBezTo>
                  <a:pt x="7349" y="201971"/>
                  <a:pt x="7349" y="201971"/>
                  <a:pt x="7349" y="201971"/>
                </a:cubicBezTo>
                <a:cubicBezTo>
                  <a:pt x="7043" y="201971"/>
                  <a:pt x="7043" y="201971"/>
                  <a:pt x="7043" y="201971"/>
                </a:cubicBezTo>
                <a:cubicBezTo>
                  <a:pt x="5509" y="201971"/>
                  <a:pt x="5509" y="201971"/>
                  <a:pt x="5509" y="201971"/>
                </a:cubicBezTo>
                <a:close/>
                <a:moveTo>
                  <a:pt x="421101" y="200777"/>
                </a:moveTo>
                <a:cubicBezTo>
                  <a:pt x="424170" y="200777"/>
                  <a:pt x="429081" y="204128"/>
                  <a:pt x="429081" y="206870"/>
                </a:cubicBezTo>
                <a:cubicBezTo>
                  <a:pt x="429081" y="209307"/>
                  <a:pt x="424170" y="212963"/>
                  <a:pt x="421101" y="212963"/>
                </a:cubicBezTo>
                <a:cubicBezTo>
                  <a:pt x="418339" y="212963"/>
                  <a:pt x="415883" y="212049"/>
                  <a:pt x="414348" y="211135"/>
                </a:cubicBezTo>
                <a:cubicBezTo>
                  <a:pt x="412507" y="209917"/>
                  <a:pt x="411586" y="208393"/>
                  <a:pt x="411586" y="206870"/>
                </a:cubicBezTo>
                <a:cubicBezTo>
                  <a:pt x="411586" y="203519"/>
                  <a:pt x="415883" y="200777"/>
                  <a:pt x="421101" y="200777"/>
                </a:cubicBezTo>
                <a:close/>
                <a:moveTo>
                  <a:pt x="418339" y="199559"/>
                </a:moveTo>
                <a:cubicBezTo>
                  <a:pt x="419259" y="199559"/>
                  <a:pt x="420180" y="199864"/>
                  <a:pt x="421101" y="199864"/>
                </a:cubicBezTo>
                <a:cubicBezTo>
                  <a:pt x="415269" y="199864"/>
                  <a:pt x="410665" y="202910"/>
                  <a:pt x="410665" y="206870"/>
                </a:cubicBezTo>
                <a:cubicBezTo>
                  <a:pt x="410665" y="208698"/>
                  <a:pt x="411893" y="210526"/>
                  <a:pt x="413735" y="211744"/>
                </a:cubicBezTo>
                <a:cubicBezTo>
                  <a:pt x="415576" y="212963"/>
                  <a:pt x="418339" y="213572"/>
                  <a:pt x="421101" y="213572"/>
                </a:cubicBezTo>
                <a:cubicBezTo>
                  <a:pt x="420180" y="213877"/>
                  <a:pt x="419259" y="213877"/>
                  <a:pt x="418339" y="213877"/>
                </a:cubicBezTo>
                <a:cubicBezTo>
                  <a:pt x="413735" y="213877"/>
                  <a:pt x="409744" y="212049"/>
                  <a:pt x="408210" y="209307"/>
                </a:cubicBezTo>
                <a:cubicBezTo>
                  <a:pt x="384269" y="209307"/>
                  <a:pt x="384269" y="209307"/>
                  <a:pt x="384269" y="209307"/>
                </a:cubicBezTo>
                <a:cubicBezTo>
                  <a:pt x="383348" y="209307"/>
                  <a:pt x="382734" y="208698"/>
                  <a:pt x="382734" y="207784"/>
                </a:cubicBezTo>
                <a:cubicBezTo>
                  <a:pt x="382734" y="205652"/>
                  <a:pt x="382734" y="205652"/>
                  <a:pt x="382734" y="205652"/>
                </a:cubicBezTo>
                <a:cubicBezTo>
                  <a:pt x="382734" y="205042"/>
                  <a:pt x="383348" y="204128"/>
                  <a:pt x="384269" y="204128"/>
                </a:cubicBezTo>
                <a:lnTo>
                  <a:pt x="408210" y="204128"/>
                </a:lnTo>
                <a:cubicBezTo>
                  <a:pt x="409744" y="201691"/>
                  <a:pt x="413735" y="199559"/>
                  <a:pt x="418339" y="199559"/>
                </a:cubicBezTo>
                <a:close/>
                <a:moveTo>
                  <a:pt x="266736" y="198876"/>
                </a:moveTo>
                <a:cubicBezTo>
                  <a:pt x="266736" y="198876"/>
                  <a:pt x="266430" y="198876"/>
                  <a:pt x="266430" y="199182"/>
                </a:cubicBezTo>
                <a:cubicBezTo>
                  <a:pt x="266430" y="199182"/>
                  <a:pt x="266736" y="199489"/>
                  <a:pt x="266736" y="199489"/>
                </a:cubicBezTo>
                <a:cubicBezTo>
                  <a:pt x="274080" y="199489"/>
                  <a:pt x="274080" y="199489"/>
                  <a:pt x="274080" y="199489"/>
                </a:cubicBezTo>
                <a:cubicBezTo>
                  <a:pt x="274080" y="199489"/>
                  <a:pt x="274386" y="199182"/>
                  <a:pt x="274386" y="199182"/>
                </a:cubicBezTo>
                <a:cubicBezTo>
                  <a:pt x="274386" y="198876"/>
                  <a:pt x="274080" y="198876"/>
                  <a:pt x="274080" y="198876"/>
                </a:cubicBezTo>
                <a:cubicBezTo>
                  <a:pt x="266736" y="198876"/>
                  <a:pt x="266736" y="198876"/>
                  <a:pt x="266736" y="198876"/>
                </a:cubicBezTo>
                <a:close/>
                <a:moveTo>
                  <a:pt x="438409" y="198605"/>
                </a:moveTo>
                <a:cubicBezTo>
                  <a:pt x="438409" y="198605"/>
                  <a:pt x="438102" y="198911"/>
                  <a:pt x="438102" y="199218"/>
                </a:cubicBezTo>
                <a:cubicBezTo>
                  <a:pt x="438102" y="210561"/>
                  <a:pt x="438102" y="210561"/>
                  <a:pt x="438102" y="210561"/>
                </a:cubicBezTo>
                <a:cubicBezTo>
                  <a:pt x="438102" y="210867"/>
                  <a:pt x="438409" y="210867"/>
                  <a:pt x="438409" y="210867"/>
                </a:cubicBezTo>
                <a:cubicBezTo>
                  <a:pt x="438716" y="210867"/>
                  <a:pt x="439023" y="210867"/>
                  <a:pt x="439023" y="210561"/>
                </a:cubicBezTo>
                <a:cubicBezTo>
                  <a:pt x="439023" y="199218"/>
                  <a:pt x="439023" y="199218"/>
                  <a:pt x="439023" y="199218"/>
                </a:cubicBezTo>
                <a:cubicBezTo>
                  <a:pt x="439023" y="198911"/>
                  <a:pt x="438716" y="198605"/>
                  <a:pt x="438409" y="198605"/>
                </a:cubicBezTo>
                <a:close/>
                <a:moveTo>
                  <a:pt x="439383" y="197431"/>
                </a:moveTo>
                <a:lnTo>
                  <a:pt x="440447" y="198494"/>
                </a:lnTo>
                <a:lnTo>
                  <a:pt x="440181" y="197697"/>
                </a:lnTo>
                <a:close/>
                <a:moveTo>
                  <a:pt x="435791" y="197320"/>
                </a:moveTo>
                <a:lnTo>
                  <a:pt x="434660" y="197697"/>
                </a:lnTo>
                <a:lnTo>
                  <a:pt x="434196" y="199090"/>
                </a:lnTo>
                <a:close/>
                <a:moveTo>
                  <a:pt x="266736" y="196425"/>
                </a:moveTo>
                <a:cubicBezTo>
                  <a:pt x="266736" y="196425"/>
                  <a:pt x="266430" y="196732"/>
                  <a:pt x="266430" y="196732"/>
                </a:cubicBezTo>
                <a:cubicBezTo>
                  <a:pt x="266430" y="197038"/>
                  <a:pt x="266736" y="197038"/>
                  <a:pt x="266736" y="197038"/>
                </a:cubicBezTo>
                <a:cubicBezTo>
                  <a:pt x="274080" y="197038"/>
                  <a:pt x="274080" y="197038"/>
                  <a:pt x="274080" y="197038"/>
                </a:cubicBezTo>
                <a:cubicBezTo>
                  <a:pt x="274080" y="197038"/>
                  <a:pt x="274386" y="197038"/>
                  <a:pt x="274386" y="196732"/>
                </a:cubicBezTo>
                <a:cubicBezTo>
                  <a:pt x="274386" y="196732"/>
                  <a:pt x="274080" y="196425"/>
                  <a:pt x="274080" y="196425"/>
                </a:cubicBezTo>
                <a:cubicBezTo>
                  <a:pt x="266736" y="196425"/>
                  <a:pt x="266736" y="196425"/>
                  <a:pt x="266736" y="196425"/>
                </a:cubicBezTo>
                <a:close/>
                <a:moveTo>
                  <a:pt x="436501" y="196164"/>
                </a:moveTo>
                <a:cubicBezTo>
                  <a:pt x="438341" y="196164"/>
                  <a:pt x="438341" y="196164"/>
                  <a:pt x="438341" y="196164"/>
                </a:cubicBezTo>
                <a:cubicBezTo>
                  <a:pt x="439261" y="196164"/>
                  <a:pt x="440181" y="196470"/>
                  <a:pt x="440795" y="197084"/>
                </a:cubicBezTo>
                <a:cubicBezTo>
                  <a:pt x="441408" y="197697"/>
                  <a:pt x="441715" y="198617"/>
                  <a:pt x="441715" y="199536"/>
                </a:cubicBezTo>
                <a:cubicBezTo>
                  <a:pt x="441715" y="216399"/>
                  <a:pt x="441715" y="216399"/>
                  <a:pt x="441715" y="216399"/>
                </a:cubicBezTo>
                <a:cubicBezTo>
                  <a:pt x="441715" y="216705"/>
                  <a:pt x="442022" y="217318"/>
                  <a:pt x="442022" y="217625"/>
                </a:cubicBezTo>
                <a:cubicBezTo>
                  <a:pt x="442328" y="217932"/>
                  <a:pt x="442635" y="218238"/>
                  <a:pt x="443249" y="218545"/>
                </a:cubicBezTo>
                <a:cubicBezTo>
                  <a:pt x="444476" y="219158"/>
                  <a:pt x="445396" y="220078"/>
                  <a:pt x="446316" y="221611"/>
                </a:cubicBezTo>
                <a:cubicBezTo>
                  <a:pt x="446930" y="222837"/>
                  <a:pt x="447236" y="224063"/>
                  <a:pt x="447236" y="225596"/>
                </a:cubicBezTo>
                <a:cubicBezTo>
                  <a:pt x="447236" y="309294"/>
                  <a:pt x="447236" y="309294"/>
                  <a:pt x="447236" y="309294"/>
                </a:cubicBezTo>
                <a:cubicBezTo>
                  <a:pt x="447236" y="312054"/>
                  <a:pt x="446316" y="314506"/>
                  <a:pt x="444476" y="316346"/>
                </a:cubicBezTo>
                <a:cubicBezTo>
                  <a:pt x="442635" y="318186"/>
                  <a:pt x="440181" y="319412"/>
                  <a:pt x="437421" y="319412"/>
                </a:cubicBezTo>
                <a:cubicBezTo>
                  <a:pt x="434660" y="319412"/>
                  <a:pt x="432206" y="318186"/>
                  <a:pt x="430366" y="316346"/>
                </a:cubicBezTo>
                <a:cubicBezTo>
                  <a:pt x="428832" y="314506"/>
                  <a:pt x="427605" y="312054"/>
                  <a:pt x="427605" y="309294"/>
                </a:cubicBezTo>
                <a:cubicBezTo>
                  <a:pt x="427605" y="225596"/>
                  <a:pt x="427605" y="225596"/>
                  <a:pt x="427605" y="225596"/>
                </a:cubicBezTo>
                <a:cubicBezTo>
                  <a:pt x="427605" y="224063"/>
                  <a:pt x="427912" y="222530"/>
                  <a:pt x="428832" y="221304"/>
                </a:cubicBezTo>
                <a:cubicBezTo>
                  <a:pt x="429446" y="220078"/>
                  <a:pt x="430673" y="219158"/>
                  <a:pt x="431900" y="218545"/>
                </a:cubicBezTo>
                <a:cubicBezTo>
                  <a:pt x="432206" y="218238"/>
                  <a:pt x="432513" y="217932"/>
                  <a:pt x="432820" y="217625"/>
                </a:cubicBezTo>
                <a:cubicBezTo>
                  <a:pt x="433126" y="217012"/>
                  <a:pt x="433126" y="216705"/>
                  <a:pt x="433126" y="216092"/>
                </a:cubicBezTo>
                <a:cubicBezTo>
                  <a:pt x="433126" y="199536"/>
                  <a:pt x="433126" y="199536"/>
                  <a:pt x="433126" y="199536"/>
                </a:cubicBezTo>
                <a:cubicBezTo>
                  <a:pt x="433126" y="198617"/>
                  <a:pt x="433433" y="197697"/>
                  <a:pt x="434047" y="197084"/>
                </a:cubicBezTo>
                <a:cubicBezTo>
                  <a:pt x="434660" y="196470"/>
                  <a:pt x="435580" y="196164"/>
                  <a:pt x="436501" y="196164"/>
                </a:cubicBezTo>
                <a:close/>
                <a:moveTo>
                  <a:pt x="247684" y="194983"/>
                </a:moveTo>
                <a:cubicBezTo>
                  <a:pt x="249524" y="206302"/>
                  <a:pt x="255353" y="212114"/>
                  <a:pt x="255353" y="217621"/>
                </a:cubicBezTo>
                <a:cubicBezTo>
                  <a:pt x="255353" y="232917"/>
                  <a:pt x="239707" y="232917"/>
                  <a:pt x="239707" y="217621"/>
                </a:cubicBezTo>
                <a:cubicBezTo>
                  <a:pt x="239707" y="212114"/>
                  <a:pt x="245536" y="206302"/>
                  <a:pt x="247684" y="194983"/>
                </a:cubicBezTo>
                <a:close/>
                <a:moveTo>
                  <a:pt x="266736" y="194281"/>
                </a:moveTo>
                <a:cubicBezTo>
                  <a:pt x="266736" y="194281"/>
                  <a:pt x="266430" y="194281"/>
                  <a:pt x="266430" y="194587"/>
                </a:cubicBezTo>
                <a:cubicBezTo>
                  <a:pt x="266430" y="194587"/>
                  <a:pt x="266736" y="194894"/>
                  <a:pt x="266736" y="194894"/>
                </a:cubicBezTo>
                <a:cubicBezTo>
                  <a:pt x="274080" y="194894"/>
                  <a:pt x="274080" y="194894"/>
                  <a:pt x="274080" y="194894"/>
                </a:cubicBezTo>
                <a:cubicBezTo>
                  <a:pt x="274080" y="194894"/>
                  <a:pt x="274386" y="194587"/>
                  <a:pt x="274386" y="194587"/>
                </a:cubicBezTo>
                <a:cubicBezTo>
                  <a:pt x="274386" y="194281"/>
                  <a:pt x="274080" y="194281"/>
                  <a:pt x="274080" y="194281"/>
                </a:cubicBezTo>
                <a:cubicBezTo>
                  <a:pt x="266736" y="194281"/>
                  <a:pt x="266736" y="194281"/>
                  <a:pt x="266736" y="194281"/>
                </a:cubicBezTo>
                <a:close/>
                <a:moveTo>
                  <a:pt x="292844" y="193360"/>
                </a:moveTo>
                <a:lnTo>
                  <a:pt x="292844" y="220076"/>
                </a:lnTo>
                <a:lnTo>
                  <a:pt x="293775" y="220076"/>
                </a:lnTo>
                <a:cubicBezTo>
                  <a:pt x="294080" y="220076"/>
                  <a:pt x="294385" y="220382"/>
                  <a:pt x="294385" y="220689"/>
                </a:cubicBezTo>
                <a:cubicBezTo>
                  <a:pt x="294385" y="226820"/>
                  <a:pt x="294385" y="226820"/>
                  <a:pt x="294385" y="226820"/>
                </a:cubicBezTo>
                <a:cubicBezTo>
                  <a:pt x="294690" y="226820"/>
                  <a:pt x="294690" y="226820"/>
                  <a:pt x="294690" y="226820"/>
                </a:cubicBezTo>
                <a:cubicBezTo>
                  <a:pt x="295301" y="226820"/>
                  <a:pt x="295606" y="227127"/>
                  <a:pt x="295606" y="227740"/>
                </a:cubicBezTo>
                <a:cubicBezTo>
                  <a:pt x="295606" y="232951"/>
                  <a:pt x="295606" y="232951"/>
                  <a:pt x="295606" y="232951"/>
                </a:cubicBezTo>
                <a:lnTo>
                  <a:pt x="297132" y="232951"/>
                </a:lnTo>
                <a:cubicBezTo>
                  <a:pt x="297437" y="232951"/>
                  <a:pt x="297437" y="232951"/>
                  <a:pt x="297437" y="232951"/>
                </a:cubicBezTo>
                <a:cubicBezTo>
                  <a:pt x="297437" y="232951"/>
                  <a:pt x="297743" y="232951"/>
                  <a:pt x="297743" y="232951"/>
                </a:cubicBezTo>
                <a:cubicBezTo>
                  <a:pt x="298048" y="232951"/>
                  <a:pt x="298048" y="232951"/>
                  <a:pt x="298048" y="232951"/>
                </a:cubicBezTo>
                <a:cubicBezTo>
                  <a:pt x="298048" y="232951"/>
                  <a:pt x="298048" y="232951"/>
                  <a:pt x="298048" y="233258"/>
                </a:cubicBezTo>
                <a:cubicBezTo>
                  <a:pt x="298353" y="233258"/>
                  <a:pt x="298353" y="233258"/>
                  <a:pt x="298353" y="233258"/>
                </a:cubicBezTo>
                <a:cubicBezTo>
                  <a:pt x="298353" y="233565"/>
                  <a:pt x="298353" y="233565"/>
                  <a:pt x="298353" y="233565"/>
                </a:cubicBezTo>
                <a:cubicBezTo>
                  <a:pt x="298353" y="233871"/>
                  <a:pt x="298353" y="233871"/>
                  <a:pt x="298353" y="234178"/>
                </a:cubicBezTo>
                <a:cubicBezTo>
                  <a:pt x="298353" y="253184"/>
                  <a:pt x="298353" y="253184"/>
                  <a:pt x="298353" y="253184"/>
                </a:cubicBezTo>
                <a:cubicBezTo>
                  <a:pt x="298353" y="284147"/>
                  <a:pt x="298353" y="284147"/>
                  <a:pt x="298353" y="284147"/>
                </a:cubicBezTo>
                <a:cubicBezTo>
                  <a:pt x="299879" y="284147"/>
                  <a:pt x="299879" y="284147"/>
                  <a:pt x="299879" y="284147"/>
                </a:cubicBezTo>
                <a:cubicBezTo>
                  <a:pt x="300795" y="284147"/>
                  <a:pt x="301405" y="284760"/>
                  <a:pt x="301405" y="285680"/>
                </a:cubicBezTo>
                <a:cubicBezTo>
                  <a:pt x="301405" y="285987"/>
                  <a:pt x="301405" y="285987"/>
                  <a:pt x="301405" y="285987"/>
                </a:cubicBezTo>
                <a:cubicBezTo>
                  <a:pt x="301405" y="286906"/>
                  <a:pt x="300795" y="287826"/>
                  <a:pt x="299879" y="287826"/>
                </a:cubicBezTo>
                <a:lnTo>
                  <a:pt x="296827" y="287826"/>
                </a:lnTo>
                <a:lnTo>
                  <a:pt x="296827" y="290022"/>
                </a:lnTo>
                <a:cubicBezTo>
                  <a:pt x="296827" y="292514"/>
                  <a:pt x="296827" y="297498"/>
                  <a:pt x="296827" y="307465"/>
                </a:cubicBezTo>
                <a:cubicBezTo>
                  <a:pt x="296827" y="307465"/>
                  <a:pt x="296827" y="307465"/>
                  <a:pt x="299574" y="307465"/>
                </a:cubicBezTo>
                <a:cubicBezTo>
                  <a:pt x="300795" y="307465"/>
                  <a:pt x="301405" y="308386"/>
                  <a:pt x="301405" y="309306"/>
                </a:cubicBezTo>
                <a:cubicBezTo>
                  <a:pt x="301405" y="310532"/>
                  <a:pt x="300795" y="311146"/>
                  <a:pt x="299574" y="311146"/>
                </a:cubicBezTo>
                <a:cubicBezTo>
                  <a:pt x="299574" y="311146"/>
                  <a:pt x="299574" y="311146"/>
                  <a:pt x="285229" y="311146"/>
                </a:cubicBezTo>
                <a:cubicBezTo>
                  <a:pt x="284313" y="311146"/>
                  <a:pt x="283397" y="310532"/>
                  <a:pt x="283397" y="309306"/>
                </a:cubicBezTo>
                <a:cubicBezTo>
                  <a:pt x="283397" y="308386"/>
                  <a:pt x="284313" y="307465"/>
                  <a:pt x="285229" y="307465"/>
                </a:cubicBezTo>
                <a:cubicBezTo>
                  <a:pt x="285229" y="307465"/>
                  <a:pt x="285229" y="307465"/>
                  <a:pt x="288281" y="307465"/>
                </a:cubicBezTo>
                <a:cubicBezTo>
                  <a:pt x="288281" y="307465"/>
                  <a:pt x="288281" y="307465"/>
                  <a:pt x="288281" y="304973"/>
                </a:cubicBezTo>
                <a:lnTo>
                  <a:pt x="288281" y="287826"/>
                </a:lnTo>
                <a:lnTo>
                  <a:pt x="287060" y="287826"/>
                </a:lnTo>
                <a:cubicBezTo>
                  <a:pt x="285229" y="287826"/>
                  <a:pt x="285229" y="287826"/>
                  <a:pt x="285229" y="287826"/>
                </a:cubicBezTo>
                <a:cubicBezTo>
                  <a:pt x="284313" y="287826"/>
                  <a:pt x="283397" y="286906"/>
                  <a:pt x="283397" y="285987"/>
                </a:cubicBezTo>
                <a:cubicBezTo>
                  <a:pt x="283397" y="285680"/>
                  <a:pt x="283397" y="285680"/>
                  <a:pt x="283397" y="285680"/>
                </a:cubicBezTo>
                <a:cubicBezTo>
                  <a:pt x="283397" y="284760"/>
                  <a:pt x="284313" y="284147"/>
                  <a:pt x="285229" y="284147"/>
                </a:cubicBezTo>
                <a:cubicBezTo>
                  <a:pt x="286449" y="284147"/>
                  <a:pt x="286449" y="284147"/>
                  <a:pt x="286449" y="284147"/>
                </a:cubicBezTo>
                <a:cubicBezTo>
                  <a:pt x="286449" y="253184"/>
                  <a:pt x="286449" y="253184"/>
                  <a:pt x="286449" y="253184"/>
                </a:cubicBezTo>
                <a:cubicBezTo>
                  <a:pt x="286449" y="234178"/>
                  <a:pt x="286449" y="234178"/>
                  <a:pt x="286449" y="234178"/>
                </a:cubicBezTo>
                <a:cubicBezTo>
                  <a:pt x="286449" y="233871"/>
                  <a:pt x="286449" y="233871"/>
                  <a:pt x="286449" y="233565"/>
                </a:cubicBezTo>
                <a:cubicBezTo>
                  <a:pt x="286449" y="233565"/>
                  <a:pt x="286755" y="233565"/>
                  <a:pt x="286755" y="233258"/>
                </a:cubicBezTo>
                <a:cubicBezTo>
                  <a:pt x="286755" y="233258"/>
                  <a:pt x="287060" y="233258"/>
                  <a:pt x="287060" y="233258"/>
                </a:cubicBezTo>
                <a:cubicBezTo>
                  <a:pt x="287060" y="232951"/>
                  <a:pt x="287060" y="232951"/>
                  <a:pt x="287060" y="232951"/>
                </a:cubicBezTo>
                <a:cubicBezTo>
                  <a:pt x="287365" y="232951"/>
                  <a:pt x="287365" y="232951"/>
                  <a:pt x="287670" y="232951"/>
                </a:cubicBezTo>
                <a:cubicBezTo>
                  <a:pt x="289196" y="232951"/>
                  <a:pt x="289196" y="232951"/>
                  <a:pt x="289196" y="232951"/>
                </a:cubicBezTo>
                <a:cubicBezTo>
                  <a:pt x="289196" y="227740"/>
                  <a:pt x="289196" y="227740"/>
                  <a:pt x="289196" y="227740"/>
                </a:cubicBezTo>
                <a:cubicBezTo>
                  <a:pt x="289196" y="227127"/>
                  <a:pt x="289807" y="226820"/>
                  <a:pt x="290112" y="226820"/>
                </a:cubicBezTo>
                <a:cubicBezTo>
                  <a:pt x="290417" y="226820"/>
                  <a:pt x="290417" y="226820"/>
                  <a:pt x="290417" y="226820"/>
                </a:cubicBezTo>
                <a:cubicBezTo>
                  <a:pt x="290417" y="220689"/>
                  <a:pt x="290417" y="220689"/>
                  <a:pt x="290417" y="220689"/>
                </a:cubicBezTo>
                <a:cubicBezTo>
                  <a:pt x="290417" y="220382"/>
                  <a:pt x="290723" y="220076"/>
                  <a:pt x="291333" y="220076"/>
                </a:cubicBezTo>
                <a:lnTo>
                  <a:pt x="291958" y="220076"/>
                </a:lnTo>
                <a:lnTo>
                  <a:pt x="291958" y="194983"/>
                </a:lnTo>
                <a:close/>
                <a:moveTo>
                  <a:pt x="220318" y="191945"/>
                </a:moveTo>
                <a:cubicBezTo>
                  <a:pt x="225405" y="193518"/>
                  <a:pt x="229666" y="196748"/>
                  <a:pt x="231888" y="201314"/>
                </a:cubicBezTo>
                <a:lnTo>
                  <a:pt x="233065" y="210629"/>
                </a:lnTo>
                <a:lnTo>
                  <a:pt x="236064" y="210629"/>
                </a:lnTo>
                <a:cubicBezTo>
                  <a:pt x="237003" y="210629"/>
                  <a:pt x="237003" y="210629"/>
                  <a:pt x="237003" y="210629"/>
                </a:cubicBezTo>
                <a:cubicBezTo>
                  <a:pt x="237617" y="210629"/>
                  <a:pt x="238230" y="211238"/>
                  <a:pt x="238230" y="211847"/>
                </a:cubicBezTo>
                <a:cubicBezTo>
                  <a:pt x="238230" y="212760"/>
                  <a:pt x="237617" y="213369"/>
                  <a:pt x="237003" y="213369"/>
                </a:cubicBezTo>
                <a:cubicBezTo>
                  <a:pt x="236390" y="213369"/>
                  <a:pt x="236390" y="213369"/>
                  <a:pt x="236390" y="213369"/>
                </a:cubicBezTo>
                <a:cubicBezTo>
                  <a:pt x="236236" y="216718"/>
                  <a:pt x="232862" y="219686"/>
                  <a:pt x="227531" y="221817"/>
                </a:cubicBezTo>
                <a:lnTo>
                  <a:pt x="227046" y="221898"/>
                </a:lnTo>
                <a:lnTo>
                  <a:pt x="223128" y="228060"/>
                </a:lnTo>
                <a:cubicBezTo>
                  <a:pt x="219446" y="230817"/>
                  <a:pt x="215764" y="232349"/>
                  <a:pt x="211468" y="234493"/>
                </a:cubicBezTo>
                <a:lnTo>
                  <a:pt x="208712" y="236022"/>
                </a:lnTo>
                <a:lnTo>
                  <a:pt x="208712" y="244141"/>
                </a:lnTo>
                <a:cubicBezTo>
                  <a:pt x="208712" y="248487"/>
                  <a:pt x="208712" y="251384"/>
                  <a:pt x="208712" y="253316"/>
                </a:cubicBezTo>
                <a:lnTo>
                  <a:pt x="208712" y="255181"/>
                </a:lnTo>
                <a:lnTo>
                  <a:pt x="213616" y="259918"/>
                </a:lnTo>
                <a:lnTo>
                  <a:pt x="212633" y="261941"/>
                </a:lnTo>
                <a:lnTo>
                  <a:pt x="212995" y="262380"/>
                </a:lnTo>
                <a:cubicBezTo>
                  <a:pt x="217891" y="263298"/>
                  <a:pt x="221256" y="265440"/>
                  <a:pt x="221256" y="267888"/>
                </a:cubicBezTo>
                <a:cubicBezTo>
                  <a:pt x="221256" y="268194"/>
                  <a:pt x="221256" y="268194"/>
                  <a:pt x="221256" y="268194"/>
                </a:cubicBezTo>
                <a:lnTo>
                  <a:pt x="209597" y="268194"/>
                </a:lnTo>
                <a:lnTo>
                  <a:pt x="208706" y="270027"/>
                </a:lnTo>
                <a:cubicBezTo>
                  <a:pt x="208092" y="270333"/>
                  <a:pt x="207479" y="270946"/>
                  <a:pt x="206865" y="271252"/>
                </a:cubicBezTo>
                <a:cubicBezTo>
                  <a:pt x="205331" y="272171"/>
                  <a:pt x="202876" y="273090"/>
                  <a:pt x="201955" y="274928"/>
                </a:cubicBezTo>
                <a:cubicBezTo>
                  <a:pt x="201955" y="275235"/>
                  <a:pt x="201342" y="276460"/>
                  <a:pt x="201035" y="276460"/>
                </a:cubicBezTo>
                <a:cubicBezTo>
                  <a:pt x="200421" y="276154"/>
                  <a:pt x="200728" y="275235"/>
                  <a:pt x="201342" y="274316"/>
                </a:cubicBezTo>
                <a:cubicBezTo>
                  <a:pt x="201955" y="273703"/>
                  <a:pt x="202569" y="273090"/>
                  <a:pt x="203183" y="272784"/>
                </a:cubicBezTo>
                <a:cubicBezTo>
                  <a:pt x="204103" y="271865"/>
                  <a:pt x="205024" y="271252"/>
                  <a:pt x="205331" y="270946"/>
                </a:cubicBezTo>
                <a:lnTo>
                  <a:pt x="208088" y="268194"/>
                </a:lnTo>
                <a:lnTo>
                  <a:pt x="204452" y="268194"/>
                </a:lnTo>
                <a:cubicBezTo>
                  <a:pt x="192189" y="268194"/>
                  <a:pt x="192189" y="268194"/>
                  <a:pt x="192189" y="268194"/>
                </a:cubicBezTo>
                <a:cubicBezTo>
                  <a:pt x="191883" y="268194"/>
                  <a:pt x="191883" y="268194"/>
                  <a:pt x="191883" y="267888"/>
                </a:cubicBezTo>
                <a:cubicBezTo>
                  <a:pt x="191883" y="265440"/>
                  <a:pt x="195555" y="263298"/>
                  <a:pt x="200756" y="262380"/>
                </a:cubicBezTo>
                <a:cubicBezTo>
                  <a:pt x="203204" y="261768"/>
                  <a:pt x="205040" y="259626"/>
                  <a:pt x="205040" y="257179"/>
                </a:cubicBezTo>
                <a:lnTo>
                  <a:pt x="205040" y="254737"/>
                </a:lnTo>
                <a:lnTo>
                  <a:pt x="201342" y="251954"/>
                </a:lnTo>
                <a:cubicBezTo>
                  <a:pt x="198580" y="249197"/>
                  <a:pt x="197046" y="246134"/>
                  <a:pt x="197966" y="242151"/>
                </a:cubicBezTo>
                <a:lnTo>
                  <a:pt x="205020" y="234006"/>
                </a:lnTo>
                <a:lnTo>
                  <a:pt x="205020" y="230851"/>
                </a:lnTo>
                <a:lnTo>
                  <a:pt x="205040" y="230851"/>
                </a:lnTo>
                <a:lnTo>
                  <a:pt x="205040" y="226275"/>
                </a:lnTo>
                <a:cubicBezTo>
                  <a:pt x="208712" y="226275"/>
                  <a:pt x="208712" y="226275"/>
                  <a:pt x="208712" y="226275"/>
                </a:cubicBezTo>
                <a:lnTo>
                  <a:pt x="208712" y="231824"/>
                </a:lnTo>
                <a:lnTo>
                  <a:pt x="215150" y="228060"/>
                </a:lnTo>
                <a:cubicBezTo>
                  <a:pt x="216684" y="227141"/>
                  <a:pt x="217912" y="226223"/>
                  <a:pt x="219446" y="225304"/>
                </a:cubicBezTo>
                <a:lnTo>
                  <a:pt x="221267" y="222859"/>
                </a:lnTo>
                <a:lnTo>
                  <a:pt x="206939" y="225242"/>
                </a:lnTo>
                <a:cubicBezTo>
                  <a:pt x="190986" y="225242"/>
                  <a:pt x="177795" y="220066"/>
                  <a:pt x="177181" y="213369"/>
                </a:cubicBezTo>
                <a:cubicBezTo>
                  <a:pt x="176874" y="213369"/>
                  <a:pt x="176874" y="213369"/>
                  <a:pt x="176874" y="213369"/>
                </a:cubicBezTo>
                <a:cubicBezTo>
                  <a:pt x="176261" y="213369"/>
                  <a:pt x="175647" y="212760"/>
                  <a:pt x="175647" y="211847"/>
                </a:cubicBezTo>
                <a:cubicBezTo>
                  <a:pt x="175647" y="211238"/>
                  <a:pt x="176261" y="210629"/>
                  <a:pt x="176874" y="210629"/>
                </a:cubicBezTo>
                <a:cubicBezTo>
                  <a:pt x="191907" y="210629"/>
                  <a:pt x="203181" y="210629"/>
                  <a:pt x="211636" y="210629"/>
                </a:cubicBezTo>
                <a:lnTo>
                  <a:pt x="228345" y="210629"/>
                </a:lnTo>
                <a:lnTo>
                  <a:pt x="228345" y="207537"/>
                </a:lnTo>
                <a:cubicBezTo>
                  <a:pt x="227117" y="200798"/>
                  <a:pt x="222515" y="195896"/>
                  <a:pt x="215150" y="194977"/>
                </a:cubicBezTo>
                <a:cubicBezTo>
                  <a:pt x="213923" y="194977"/>
                  <a:pt x="212695" y="194977"/>
                  <a:pt x="211468" y="195284"/>
                </a:cubicBezTo>
                <a:cubicBezTo>
                  <a:pt x="208706" y="195590"/>
                  <a:pt x="206558" y="196203"/>
                  <a:pt x="204103" y="198347"/>
                </a:cubicBezTo>
                <a:cubicBezTo>
                  <a:pt x="202876" y="202023"/>
                  <a:pt x="197966" y="207537"/>
                  <a:pt x="193670" y="206618"/>
                </a:cubicBezTo>
                <a:cubicBezTo>
                  <a:pt x="189681" y="206005"/>
                  <a:pt x="189374" y="198960"/>
                  <a:pt x="198887" y="194365"/>
                </a:cubicBezTo>
                <a:cubicBezTo>
                  <a:pt x="200421" y="193752"/>
                  <a:pt x="202262" y="193139"/>
                  <a:pt x="203796" y="192527"/>
                </a:cubicBezTo>
                <a:cubicBezTo>
                  <a:pt x="209320" y="190459"/>
                  <a:pt x="215232" y="190373"/>
                  <a:pt x="220318" y="191945"/>
                </a:cubicBezTo>
                <a:close/>
                <a:moveTo>
                  <a:pt x="263982" y="191830"/>
                </a:moveTo>
                <a:cubicBezTo>
                  <a:pt x="263982" y="191830"/>
                  <a:pt x="263676" y="191830"/>
                  <a:pt x="263676" y="192137"/>
                </a:cubicBezTo>
                <a:cubicBezTo>
                  <a:pt x="263676" y="192137"/>
                  <a:pt x="263982" y="192443"/>
                  <a:pt x="263982" y="192443"/>
                </a:cubicBezTo>
                <a:cubicBezTo>
                  <a:pt x="276834" y="192443"/>
                  <a:pt x="276834" y="192443"/>
                  <a:pt x="276834" y="192443"/>
                </a:cubicBezTo>
                <a:cubicBezTo>
                  <a:pt x="276834" y="192443"/>
                  <a:pt x="277140" y="192137"/>
                  <a:pt x="277140" y="192137"/>
                </a:cubicBezTo>
                <a:cubicBezTo>
                  <a:pt x="277140" y="191830"/>
                  <a:pt x="276834" y="191830"/>
                  <a:pt x="276834" y="191830"/>
                </a:cubicBezTo>
                <a:cubicBezTo>
                  <a:pt x="263982" y="191830"/>
                  <a:pt x="263982" y="191830"/>
                  <a:pt x="263982" y="191830"/>
                </a:cubicBezTo>
                <a:close/>
                <a:moveTo>
                  <a:pt x="107509" y="189745"/>
                </a:moveTo>
                <a:lnTo>
                  <a:pt x="106691" y="190811"/>
                </a:lnTo>
                <a:lnTo>
                  <a:pt x="107118" y="190622"/>
                </a:lnTo>
                <a:close/>
                <a:moveTo>
                  <a:pt x="266736" y="189379"/>
                </a:moveTo>
                <a:cubicBezTo>
                  <a:pt x="266736" y="189379"/>
                  <a:pt x="266430" y="189379"/>
                  <a:pt x="266430" y="189686"/>
                </a:cubicBezTo>
                <a:cubicBezTo>
                  <a:pt x="266430" y="189686"/>
                  <a:pt x="266736" y="189992"/>
                  <a:pt x="266736" y="189992"/>
                </a:cubicBezTo>
                <a:cubicBezTo>
                  <a:pt x="274080" y="189992"/>
                  <a:pt x="274080" y="189992"/>
                  <a:pt x="274080" y="189992"/>
                </a:cubicBezTo>
                <a:cubicBezTo>
                  <a:pt x="274080" y="189992"/>
                  <a:pt x="274386" y="189686"/>
                  <a:pt x="274386" y="189686"/>
                </a:cubicBezTo>
                <a:cubicBezTo>
                  <a:pt x="274386" y="189379"/>
                  <a:pt x="274080" y="189379"/>
                  <a:pt x="274080" y="189379"/>
                </a:cubicBezTo>
                <a:cubicBezTo>
                  <a:pt x="266736" y="189379"/>
                  <a:pt x="266736" y="189379"/>
                  <a:pt x="266736" y="189379"/>
                </a:cubicBezTo>
                <a:close/>
                <a:moveTo>
                  <a:pt x="77477" y="189257"/>
                </a:moveTo>
                <a:lnTo>
                  <a:pt x="76169" y="190961"/>
                </a:lnTo>
                <a:lnTo>
                  <a:pt x="77020" y="190622"/>
                </a:lnTo>
                <a:close/>
                <a:moveTo>
                  <a:pt x="92769" y="189067"/>
                </a:moveTo>
                <a:lnTo>
                  <a:pt x="91527" y="190865"/>
                </a:lnTo>
                <a:lnTo>
                  <a:pt x="92075" y="190622"/>
                </a:lnTo>
                <a:close/>
                <a:moveTo>
                  <a:pt x="123178" y="189063"/>
                </a:moveTo>
                <a:lnTo>
                  <a:pt x="121933" y="190865"/>
                </a:lnTo>
                <a:lnTo>
                  <a:pt x="122482" y="190622"/>
                </a:lnTo>
                <a:close/>
                <a:moveTo>
                  <a:pt x="115991" y="188699"/>
                </a:moveTo>
                <a:lnTo>
                  <a:pt x="116634" y="190622"/>
                </a:lnTo>
                <a:lnTo>
                  <a:pt x="119094" y="191603"/>
                </a:lnTo>
                <a:close/>
                <a:moveTo>
                  <a:pt x="85584" y="188697"/>
                </a:moveTo>
                <a:lnTo>
                  <a:pt x="86227" y="190622"/>
                </a:lnTo>
                <a:lnTo>
                  <a:pt x="88689" y="191603"/>
                </a:lnTo>
                <a:close/>
                <a:moveTo>
                  <a:pt x="70187" y="188414"/>
                </a:moveTo>
                <a:lnTo>
                  <a:pt x="71172" y="190622"/>
                </a:lnTo>
                <a:lnTo>
                  <a:pt x="73354" y="191589"/>
                </a:lnTo>
                <a:close/>
                <a:moveTo>
                  <a:pt x="100592" y="188412"/>
                </a:moveTo>
                <a:lnTo>
                  <a:pt x="101578" y="190622"/>
                </a:lnTo>
                <a:lnTo>
                  <a:pt x="103762" y="191589"/>
                </a:lnTo>
                <a:close/>
                <a:moveTo>
                  <a:pt x="301115" y="187013"/>
                </a:moveTo>
                <a:cubicBezTo>
                  <a:pt x="301115" y="187013"/>
                  <a:pt x="301115" y="187013"/>
                  <a:pt x="305095" y="187013"/>
                </a:cubicBezTo>
                <a:lnTo>
                  <a:pt x="309075" y="187013"/>
                </a:lnTo>
                <a:cubicBezTo>
                  <a:pt x="309381" y="187013"/>
                  <a:pt x="309687" y="187013"/>
                  <a:pt x="309687" y="187320"/>
                </a:cubicBezTo>
                <a:cubicBezTo>
                  <a:pt x="309994" y="190388"/>
                  <a:pt x="310606" y="192229"/>
                  <a:pt x="311524" y="194377"/>
                </a:cubicBezTo>
                <a:cubicBezTo>
                  <a:pt x="312137" y="195912"/>
                  <a:pt x="312443" y="196525"/>
                  <a:pt x="312749" y="197753"/>
                </a:cubicBezTo>
                <a:cubicBezTo>
                  <a:pt x="313361" y="201742"/>
                  <a:pt x="312749" y="208493"/>
                  <a:pt x="308463" y="210334"/>
                </a:cubicBezTo>
                <a:cubicBezTo>
                  <a:pt x="308463" y="210334"/>
                  <a:pt x="308463" y="210334"/>
                  <a:pt x="305095" y="210334"/>
                </a:cubicBezTo>
                <a:cubicBezTo>
                  <a:pt x="305095" y="210334"/>
                  <a:pt x="305095" y="210334"/>
                  <a:pt x="304789" y="210334"/>
                </a:cubicBezTo>
                <a:cubicBezTo>
                  <a:pt x="304789" y="210334"/>
                  <a:pt x="304789" y="210334"/>
                  <a:pt x="301421" y="210334"/>
                </a:cubicBezTo>
                <a:cubicBezTo>
                  <a:pt x="297135" y="208493"/>
                  <a:pt x="296829" y="201742"/>
                  <a:pt x="297442" y="197753"/>
                </a:cubicBezTo>
                <a:cubicBezTo>
                  <a:pt x="297748" y="196525"/>
                  <a:pt x="298054" y="195912"/>
                  <a:pt x="298360" y="194377"/>
                </a:cubicBezTo>
                <a:cubicBezTo>
                  <a:pt x="299585" y="192229"/>
                  <a:pt x="299891" y="190388"/>
                  <a:pt x="300197" y="187320"/>
                </a:cubicBezTo>
                <a:cubicBezTo>
                  <a:pt x="300197" y="187013"/>
                  <a:pt x="300503" y="187013"/>
                  <a:pt x="301115" y="187013"/>
                </a:cubicBezTo>
                <a:close/>
                <a:moveTo>
                  <a:pt x="266736" y="186929"/>
                </a:moveTo>
                <a:cubicBezTo>
                  <a:pt x="266736" y="186929"/>
                  <a:pt x="266430" y="187235"/>
                  <a:pt x="266430" y="187235"/>
                </a:cubicBezTo>
                <a:cubicBezTo>
                  <a:pt x="266430" y="187541"/>
                  <a:pt x="266736" y="187541"/>
                  <a:pt x="266736" y="187541"/>
                </a:cubicBezTo>
                <a:cubicBezTo>
                  <a:pt x="274080" y="187541"/>
                  <a:pt x="274080" y="187541"/>
                  <a:pt x="274080" y="187541"/>
                </a:cubicBezTo>
                <a:cubicBezTo>
                  <a:pt x="274080" y="187541"/>
                  <a:pt x="274386" y="187541"/>
                  <a:pt x="274386" y="187235"/>
                </a:cubicBezTo>
                <a:cubicBezTo>
                  <a:pt x="274386" y="187235"/>
                  <a:pt x="274080" y="186929"/>
                  <a:pt x="274080" y="186929"/>
                </a:cubicBezTo>
                <a:cubicBezTo>
                  <a:pt x="266736" y="186929"/>
                  <a:pt x="266736" y="186929"/>
                  <a:pt x="266736" y="186929"/>
                </a:cubicBezTo>
                <a:close/>
                <a:moveTo>
                  <a:pt x="266736" y="184784"/>
                </a:moveTo>
                <a:cubicBezTo>
                  <a:pt x="266736" y="184784"/>
                  <a:pt x="266430" y="184784"/>
                  <a:pt x="266430" y="185091"/>
                </a:cubicBezTo>
                <a:cubicBezTo>
                  <a:pt x="266430" y="185091"/>
                  <a:pt x="266736" y="185397"/>
                  <a:pt x="266736" y="185397"/>
                </a:cubicBezTo>
                <a:cubicBezTo>
                  <a:pt x="274080" y="185397"/>
                  <a:pt x="274080" y="185397"/>
                  <a:pt x="274080" y="185397"/>
                </a:cubicBezTo>
                <a:cubicBezTo>
                  <a:pt x="274080" y="185397"/>
                  <a:pt x="274386" y="185091"/>
                  <a:pt x="274386" y="185091"/>
                </a:cubicBezTo>
                <a:cubicBezTo>
                  <a:pt x="274386" y="184784"/>
                  <a:pt x="274080" y="184784"/>
                  <a:pt x="274080" y="184784"/>
                </a:cubicBezTo>
                <a:cubicBezTo>
                  <a:pt x="266736" y="184784"/>
                  <a:pt x="266736" y="184784"/>
                  <a:pt x="266736" y="184784"/>
                </a:cubicBezTo>
                <a:close/>
                <a:moveTo>
                  <a:pt x="340741" y="184417"/>
                </a:moveTo>
                <a:cubicBezTo>
                  <a:pt x="342402" y="184417"/>
                  <a:pt x="344062" y="186102"/>
                  <a:pt x="344062" y="189473"/>
                </a:cubicBezTo>
                <a:cubicBezTo>
                  <a:pt x="344062" y="191617"/>
                  <a:pt x="342553" y="193762"/>
                  <a:pt x="341345" y="197133"/>
                </a:cubicBezTo>
                <a:cubicBezTo>
                  <a:pt x="341345" y="232981"/>
                  <a:pt x="341345" y="232981"/>
                  <a:pt x="341345" y="232981"/>
                </a:cubicBezTo>
                <a:cubicBezTo>
                  <a:pt x="342553" y="236352"/>
                  <a:pt x="344062" y="238496"/>
                  <a:pt x="344062" y="240335"/>
                </a:cubicBezTo>
                <a:cubicBezTo>
                  <a:pt x="344062" y="247382"/>
                  <a:pt x="337420" y="247382"/>
                  <a:pt x="337420" y="240335"/>
                </a:cubicBezTo>
                <a:cubicBezTo>
                  <a:pt x="337420" y="238496"/>
                  <a:pt x="338930" y="236352"/>
                  <a:pt x="340137" y="232981"/>
                </a:cubicBezTo>
                <a:cubicBezTo>
                  <a:pt x="340137" y="197133"/>
                  <a:pt x="340137" y="197133"/>
                  <a:pt x="340137" y="197133"/>
                </a:cubicBezTo>
                <a:cubicBezTo>
                  <a:pt x="338930" y="193762"/>
                  <a:pt x="337420" y="191617"/>
                  <a:pt x="337420" y="189473"/>
                </a:cubicBezTo>
                <a:cubicBezTo>
                  <a:pt x="337420" y="186102"/>
                  <a:pt x="339081" y="184417"/>
                  <a:pt x="340741" y="184417"/>
                </a:cubicBezTo>
                <a:close/>
                <a:moveTo>
                  <a:pt x="263982" y="181721"/>
                </a:moveTo>
                <a:cubicBezTo>
                  <a:pt x="263982" y="181721"/>
                  <a:pt x="263676" y="181721"/>
                  <a:pt x="263676" y="182027"/>
                </a:cubicBezTo>
                <a:cubicBezTo>
                  <a:pt x="263676" y="182027"/>
                  <a:pt x="263982" y="182334"/>
                  <a:pt x="263982" y="182334"/>
                </a:cubicBezTo>
                <a:cubicBezTo>
                  <a:pt x="276834" y="182334"/>
                  <a:pt x="276834" y="182334"/>
                  <a:pt x="276834" y="182334"/>
                </a:cubicBezTo>
                <a:cubicBezTo>
                  <a:pt x="276834" y="182334"/>
                  <a:pt x="277140" y="182027"/>
                  <a:pt x="277140" y="182027"/>
                </a:cubicBezTo>
                <a:cubicBezTo>
                  <a:pt x="277140" y="181721"/>
                  <a:pt x="276834" y="181721"/>
                  <a:pt x="276834" y="181721"/>
                </a:cubicBezTo>
                <a:cubicBezTo>
                  <a:pt x="263982" y="181721"/>
                  <a:pt x="263982" y="181721"/>
                  <a:pt x="263982" y="181721"/>
                </a:cubicBezTo>
                <a:close/>
                <a:moveTo>
                  <a:pt x="136887" y="180801"/>
                </a:moveTo>
                <a:cubicBezTo>
                  <a:pt x="136274" y="181720"/>
                  <a:pt x="135967" y="182638"/>
                  <a:pt x="135660" y="183557"/>
                </a:cubicBezTo>
                <a:cubicBezTo>
                  <a:pt x="158353" y="183557"/>
                  <a:pt x="158353" y="183557"/>
                  <a:pt x="158353" y="183557"/>
                </a:cubicBezTo>
                <a:cubicBezTo>
                  <a:pt x="158046" y="182638"/>
                  <a:pt x="157739" y="181720"/>
                  <a:pt x="157126" y="180801"/>
                </a:cubicBezTo>
                <a:cubicBezTo>
                  <a:pt x="136887" y="180801"/>
                  <a:pt x="136887" y="180801"/>
                  <a:pt x="136887" y="180801"/>
                </a:cubicBezTo>
                <a:close/>
                <a:moveTo>
                  <a:pt x="367752" y="178747"/>
                </a:moveTo>
                <a:cubicBezTo>
                  <a:pt x="368084" y="178747"/>
                  <a:pt x="368416" y="179052"/>
                  <a:pt x="368416" y="179358"/>
                </a:cubicBezTo>
                <a:cubicBezTo>
                  <a:pt x="368416" y="217251"/>
                  <a:pt x="368416" y="217251"/>
                  <a:pt x="368416" y="217251"/>
                </a:cubicBezTo>
                <a:cubicBezTo>
                  <a:pt x="368416" y="217556"/>
                  <a:pt x="368084" y="217862"/>
                  <a:pt x="367752" y="217862"/>
                </a:cubicBezTo>
                <a:cubicBezTo>
                  <a:pt x="367420" y="217862"/>
                  <a:pt x="367088" y="217556"/>
                  <a:pt x="367088" y="217251"/>
                </a:cubicBezTo>
                <a:lnTo>
                  <a:pt x="367088" y="179358"/>
                </a:lnTo>
                <a:cubicBezTo>
                  <a:pt x="367088" y="179052"/>
                  <a:pt x="367420" y="178747"/>
                  <a:pt x="367752" y="178747"/>
                </a:cubicBezTo>
                <a:close/>
                <a:moveTo>
                  <a:pt x="405090" y="176936"/>
                </a:moveTo>
                <a:lnTo>
                  <a:pt x="390798" y="180281"/>
                </a:lnTo>
                <a:cubicBezTo>
                  <a:pt x="390798" y="180281"/>
                  <a:pt x="390798" y="180587"/>
                  <a:pt x="390798" y="180893"/>
                </a:cubicBezTo>
                <a:cubicBezTo>
                  <a:pt x="390798" y="183954"/>
                  <a:pt x="393559" y="187015"/>
                  <a:pt x="397855" y="189157"/>
                </a:cubicBezTo>
                <a:lnTo>
                  <a:pt x="407982" y="191248"/>
                </a:lnTo>
                <a:lnTo>
                  <a:pt x="406739" y="190738"/>
                </a:lnTo>
                <a:cubicBezTo>
                  <a:pt x="404481" y="188468"/>
                  <a:pt x="403103" y="185313"/>
                  <a:pt x="403103" y="181773"/>
                </a:cubicBezTo>
                <a:close/>
                <a:moveTo>
                  <a:pt x="425919" y="176898"/>
                </a:moveTo>
                <a:lnTo>
                  <a:pt x="427900" y="181773"/>
                </a:lnTo>
                <a:cubicBezTo>
                  <a:pt x="427900" y="185313"/>
                  <a:pt x="426523" y="188468"/>
                  <a:pt x="424303" y="190738"/>
                </a:cubicBezTo>
                <a:lnTo>
                  <a:pt x="422887" y="191336"/>
                </a:lnTo>
                <a:lnTo>
                  <a:pt x="433445" y="189157"/>
                </a:lnTo>
                <a:cubicBezTo>
                  <a:pt x="437740" y="187015"/>
                  <a:pt x="440195" y="183954"/>
                  <a:pt x="440195" y="180893"/>
                </a:cubicBezTo>
                <a:cubicBezTo>
                  <a:pt x="440195" y="180587"/>
                  <a:pt x="440195" y="180281"/>
                  <a:pt x="440195" y="180281"/>
                </a:cubicBezTo>
                <a:close/>
                <a:moveTo>
                  <a:pt x="415654" y="176828"/>
                </a:moveTo>
                <a:cubicBezTo>
                  <a:pt x="417787" y="176828"/>
                  <a:pt x="419921" y="178682"/>
                  <a:pt x="420225" y="180845"/>
                </a:cubicBezTo>
                <a:cubicBezTo>
                  <a:pt x="419921" y="180536"/>
                  <a:pt x="419311" y="180536"/>
                  <a:pt x="418702" y="180536"/>
                </a:cubicBezTo>
                <a:cubicBezTo>
                  <a:pt x="417178" y="180536"/>
                  <a:pt x="415959" y="181772"/>
                  <a:pt x="415959" y="183318"/>
                </a:cubicBezTo>
                <a:cubicBezTo>
                  <a:pt x="415959" y="184554"/>
                  <a:pt x="417178" y="185790"/>
                  <a:pt x="418397" y="186099"/>
                </a:cubicBezTo>
                <a:cubicBezTo>
                  <a:pt x="417483" y="186408"/>
                  <a:pt x="416568" y="186717"/>
                  <a:pt x="415654" y="186717"/>
                </a:cubicBezTo>
                <a:cubicBezTo>
                  <a:pt x="412911" y="186717"/>
                  <a:pt x="410778" y="184554"/>
                  <a:pt x="410778" y="181772"/>
                </a:cubicBezTo>
                <a:cubicBezTo>
                  <a:pt x="410778" y="179300"/>
                  <a:pt x="412911" y="176828"/>
                  <a:pt x="415654" y="176828"/>
                </a:cubicBezTo>
                <a:close/>
                <a:moveTo>
                  <a:pt x="352394" y="176238"/>
                </a:moveTo>
                <a:cubicBezTo>
                  <a:pt x="352998" y="176238"/>
                  <a:pt x="352998" y="176238"/>
                  <a:pt x="352998" y="176238"/>
                </a:cubicBezTo>
                <a:cubicBezTo>
                  <a:pt x="354508" y="176238"/>
                  <a:pt x="356017" y="177773"/>
                  <a:pt x="356017" y="179308"/>
                </a:cubicBezTo>
                <a:cubicBezTo>
                  <a:pt x="356017" y="214927"/>
                  <a:pt x="356017" y="214927"/>
                  <a:pt x="356017" y="214927"/>
                </a:cubicBezTo>
                <a:cubicBezTo>
                  <a:pt x="356017" y="216770"/>
                  <a:pt x="354508" y="218305"/>
                  <a:pt x="352998" y="218305"/>
                </a:cubicBezTo>
                <a:cubicBezTo>
                  <a:pt x="352394" y="218305"/>
                  <a:pt x="352394" y="218305"/>
                  <a:pt x="352394" y="218305"/>
                </a:cubicBezTo>
                <a:cubicBezTo>
                  <a:pt x="350583" y="218305"/>
                  <a:pt x="349375" y="216770"/>
                  <a:pt x="349375" y="214927"/>
                </a:cubicBezTo>
                <a:cubicBezTo>
                  <a:pt x="349375" y="179308"/>
                  <a:pt x="349375" y="179308"/>
                  <a:pt x="349375" y="179308"/>
                </a:cubicBezTo>
                <a:cubicBezTo>
                  <a:pt x="349375" y="177773"/>
                  <a:pt x="350583" y="176238"/>
                  <a:pt x="352394" y="176238"/>
                </a:cubicBezTo>
                <a:close/>
                <a:moveTo>
                  <a:pt x="361552" y="174955"/>
                </a:moveTo>
                <a:cubicBezTo>
                  <a:pt x="361245" y="174955"/>
                  <a:pt x="360938" y="175262"/>
                  <a:pt x="360632" y="175262"/>
                </a:cubicBezTo>
                <a:cubicBezTo>
                  <a:pt x="360632" y="175569"/>
                  <a:pt x="360632" y="175876"/>
                  <a:pt x="360632" y="176183"/>
                </a:cubicBezTo>
                <a:cubicBezTo>
                  <a:pt x="360632" y="176796"/>
                  <a:pt x="360632" y="176796"/>
                  <a:pt x="360632" y="176796"/>
                </a:cubicBezTo>
                <a:cubicBezTo>
                  <a:pt x="360632" y="177103"/>
                  <a:pt x="360632" y="177103"/>
                  <a:pt x="360632" y="177410"/>
                </a:cubicBezTo>
                <a:cubicBezTo>
                  <a:pt x="360938" y="177717"/>
                  <a:pt x="361245" y="177717"/>
                  <a:pt x="361552" y="177717"/>
                </a:cubicBezTo>
                <a:cubicBezTo>
                  <a:pt x="364008" y="177717"/>
                  <a:pt x="364008" y="177717"/>
                  <a:pt x="364008" y="177717"/>
                </a:cubicBezTo>
                <a:cubicBezTo>
                  <a:pt x="364622" y="177717"/>
                  <a:pt x="364622" y="177717"/>
                  <a:pt x="364622" y="177717"/>
                </a:cubicBezTo>
                <a:cubicBezTo>
                  <a:pt x="364622" y="178331"/>
                  <a:pt x="364622" y="178331"/>
                  <a:pt x="364622" y="178331"/>
                </a:cubicBezTo>
                <a:cubicBezTo>
                  <a:pt x="364622" y="217300"/>
                  <a:pt x="364622" y="217300"/>
                  <a:pt x="364622" y="217300"/>
                </a:cubicBezTo>
                <a:cubicBezTo>
                  <a:pt x="364622" y="217607"/>
                  <a:pt x="364622" y="217607"/>
                  <a:pt x="364622" y="217607"/>
                </a:cubicBezTo>
                <a:cubicBezTo>
                  <a:pt x="364008" y="217914"/>
                  <a:pt x="364008" y="217914"/>
                  <a:pt x="364008" y="217914"/>
                </a:cubicBezTo>
                <a:cubicBezTo>
                  <a:pt x="359711" y="219448"/>
                  <a:pt x="356028" y="222210"/>
                  <a:pt x="353265" y="225892"/>
                </a:cubicBezTo>
                <a:cubicBezTo>
                  <a:pt x="350810" y="229267"/>
                  <a:pt x="349275" y="233870"/>
                  <a:pt x="349275" y="238472"/>
                </a:cubicBezTo>
                <a:lnTo>
                  <a:pt x="350167" y="241773"/>
                </a:lnTo>
                <a:lnTo>
                  <a:pt x="350347" y="241773"/>
                </a:lnTo>
                <a:cubicBezTo>
                  <a:pt x="351698" y="241773"/>
                  <a:pt x="355753" y="241773"/>
                  <a:pt x="367916" y="241773"/>
                </a:cubicBezTo>
                <a:lnTo>
                  <a:pt x="392185" y="241773"/>
                </a:lnTo>
                <a:lnTo>
                  <a:pt x="393167" y="238472"/>
                </a:lnTo>
                <a:cubicBezTo>
                  <a:pt x="393167" y="233870"/>
                  <a:pt x="391632" y="229267"/>
                  <a:pt x="388869" y="225892"/>
                </a:cubicBezTo>
                <a:cubicBezTo>
                  <a:pt x="386414" y="222210"/>
                  <a:pt x="382731" y="219448"/>
                  <a:pt x="378127" y="217914"/>
                </a:cubicBezTo>
                <a:cubicBezTo>
                  <a:pt x="377820" y="217607"/>
                  <a:pt x="377820" y="217607"/>
                  <a:pt x="377820" y="217607"/>
                </a:cubicBezTo>
                <a:cubicBezTo>
                  <a:pt x="377820" y="217300"/>
                  <a:pt x="377820" y="217300"/>
                  <a:pt x="377820" y="217300"/>
                </a:cubicBezTo>
                <a:cubicBezTo>
                  <a:pt x="377820" y="178331"/>
                  <a:pt x="377820" y="178331"/>
                  <a:pt x="377820" y="178331"/>
                </a:cubicBezTo>
                <a:cubicBezTo>
                  <a:pt x="377820" y="177717"/>
                  <a:pt x="377820" y="177717"/>
                  <a:pt x="377820" y="177717"/>
                </a:cubicBezTo>
                <a:cubicBezTo>
                  <a:pt x="378434" y="177717"/>
                  <a:pt x="378434" y="177717"/>
                  <a:pt x="378434" y="177717"/>
                </a:cubicBezTo>
                <a:cubicBezTo>
                  <a:pt x="380889" y="177717"/>
                  <a:pt x="380889" y="177717"/>
                  <a:pt x="380889" y="177717"/>
                </a:cubicBezTo>
                <a:cubicBezTo>
                  <a:pt x="381196" y="177717"/>
                  <a:pt x="381503" y="177717"/>
                  <a:pt x="381503" y="177410"/>
                </a:cubicBezTo>
                <a:cubicBezTo>
                  <a:pt x="381810" y="177103"/>
                  <a:pt x="381810" y="177103"/>
                  <a:pt x="381810" y="176796"/>
                </a:cubicBezTo>
                <a:cubicBezTo>
                  <a:pt x="381810" y="176183"/>
                  <a:pt x="381810" y="176183"/>
                  <a:pt x="381810" y="176183"/>
                </a:cubicBezTo>
                <a:cubicBezTo>
                  <a:pt x="381810" y="175876"/>
                  <a:pt x="381810" y="175569"/>
                  <a:pt x="381503" y="175262"/>
                </a:cubicBezTo>
                <a:cubicBezTo>
                  <a:pt x="381503" y="175262"/>
                  <a:pt x="381196" y="175262"/>
                  <a:pt x="380889" y="175262"/>
                </a:cubicBezTo>
                <a:cubicBezTo>
                  <a:pt x="361552" y="174955"/>
                  <a:pt x="361552" y="174955"/>
                  <a:pt x="361552" y="174955"/>
                </a:cubicBezTo>
                <a:close/>
                <a:moveTo>
                  <a:pt x="415650" y="174465"/>
                </a:moveTo>
                <a:lnTo>
                  <a:pt x="407144" y="176456"/>
                </a:lnTo>
                <a:lnTo>
                  <a:pt x="404940" y="181773"/>
                </a:lnTo>
                <a:cubicBezTo>
                  <a:pt x="404940" y="184851"/>
                  <a:pt x="406165" y="187621"/>
                  <a:pt x="408001" y="189468"/>
                </a:cubicBezTo>
                <a:cubicBezTo>
                  <a:pt x="410144" y="191315"/>
                  <a:pt x="412593" y="192546"/>
                  <a:pt x="415655" y="192546"/>
                </a:cubicBezTo>
                <a:cubicBezTo>
                  <a:pt x="418410" y="192546"/>
                  <a:pt x="421165" y="191315"/>
                  <a:pt x="423002" y="189468"/>
                </a:cubicBezTo>
                <a:cubicBezTo>
                  <a:pt x="424839" y="187621"/>
                  <a:pt x="426063" y="184851"/>
                  <a:pt x="426063" y="181773"/>
                </a:cubicBezTo>
                <a:lnTo>
                  <a:pt x="423839" y="176405"/>
                </a:lnTo>
                <a:close/>
                <a:moveTo>
                  <a:pt x="361552" y="173728"/>
                </a:moveTo>
                <a:cubicBezTo>
                  <a:pt x="380889" y="173728"/>
                  <a:pt x="380889" y="173728"/>
                  <a:pt x="380889" y="173728"/>
                </a:cubicBezTo>
                <a:cubicBezTo>
                  <a:pt x="381503" y="173728"/>
                  <a:pt x="382117" y="174035"/>
                  <a:pt x="382424" y="174342"/>
                </a:cubicBezTo>
                <a:cubicBezTo>
                  <a:pt x="383038" y="174955"/>
                  <a:pt x="383345" y="175569"/>
                  <a:pt x="383345" y="176183"/>
                </a:cubicBezTo>
                <a:cubicBezTo>
                  <a:pt x="383345" y="176796"/>
                  <a:pt x="383345" y="176796"/>
                  <a:pt x="383345" y="176796"/>
                </a:cubicBezTo>
                <a:cubicBezTo>
                  <a:pt x="383345" y="177410"/>
                  <a:pt x="383038" y="178024"/>
                  <a:pt x="382424" y="178331"/>
                </a:cubicBezTo>
                <a:cubicBezTo>
                  <a:pt x="382117" y="178944"/>
                  <a:pt x="381503" y="178944"/>
                  <a:pt x="380889" y="178944"/>
                </a:cubicBezTo>
                <a:cubicBezTo>
                  <a:pt x="379048" y="178944"/>
                  <a:pt x="379048" y="178944"/>
                  <a:pt x="379048" y="178944"/>
                </a:cubicBezTo>
                <a:cubicBezTo>
                  <a:pt x="379048" y="216686"/>
                  <a:pt x="379048" y="216686"/>
                  <a:pt x="379048" y="216686"/>
                </a:cubicBezTo>
                <a:cubicBezTo>
                  <a:pt x="383652" y="218221"/>
                  <a:pt x="387335" y="221289"/>
                  <a:pt x="390097" y="224971"/>
                </a:cubicBezTo>
                <a:cubicBezTo>
                  <a:pt x="392860" y="228960"/>
                  <a:pt x="394394" y="233563"/>
                  <a:pt x="394394" y="238472"/>
                </a:cubicBezTo>
                <a:cubicBezTo>
                  <a:pt x="394394" y="243075"/>
                  <a:pt x="393167" y="247064"/>
                  <a:pt x="391018" y="250746"/>
                </a:cubicBezTo>
                <a:cubicBezTo>
                  <a:pt x="388869" y="254121"/>
                  <a:pt x="385493" y="257190"/>
                  <a:pt x="381810" y="259031"/>
                </a:cubicBezTo>
                <a:cubicBezTo>
                  <a:pt x="381810" y="259338"/>
                  <a:pt x="381810" y="259338"/>
                  <a:pt x="381810" y="259338"/>
                </a:cubicBezTo>
                <a:cubicBezTo>
                  <a:pt x="381503" y="259338"/>
                  <a:pt x="381503" y="259338"/>
                  <a:pt x="381503" y="259338"/>
                </a:cubicBezTo>
                <a:cubicBezTo>
                  <a:pt x="360938" y="259338"/>
                  <a:pt x="360938" y="259338"/>
                  <a:pt x="360938" y="259338"/>
                </a:cubicBezTo>
                <a:cubicBezTo>
                  <a:pt x="360632" y="259338"/>
                  <a:pt x="360632" y="259338"/>
                  <a:pt x="360632" y="259338"/>
                </a:cubicBezTo>
                <a:cubicBezTo>
                  <a:pt x="360632" y="259031"/>
                  <a:pt x="360632" y="259031"/>
                  <a:pt x="360632" y="259031"/>
                </a:cubicBezTo>
                <a:cubicBezTo>
                  <a:pt x="356641" y="257190"/>
                  <a:pt x="353572" y="254121"/>
                  <a:pt x="351424" y="250746"/>
                </a:cubicBezTo>
                <a:cubicBezTo>
                  <a:pt x="349275" y="247064"/>
                  <a:pt x="348047" y="243075"/>
                  <a:pt x="348047" y="238472"/>
                </a:cubicBezTo>
                <a:cubicBezTo>
                  <a:pt x="348047" y="233563"/>
                  <a:pt x="349582" y="228960"/>
                  <a:pt x="352344" y="224971"/>
                </a:cubicBezTo>
                <a:cubicBezTo>
                  <a:pt x="355107" y="221289"/>
                  <a:pt x="358790" y="218221"/>
                  <a:pt x="363087" y="216686"/>
                </a:cubicBezTo>
                <a:cubicBezTo>
                  <a:pt x="363087" y="178944"/>
                  <a:pt x="363087" y="178944"/>
                  <a:pt x="363087" y="178944"/>
                </a:cubicBezTo>
                <a:cubicBezTo>
                  <a:pt x="361552" y="178944"/>
                  <a:pt x="361552" y="178944"/>
                  <a:pt x="361552" y="178944"/>
                </a:cubicBezTo>
                <a:cubicBezTo>
                  <a:pt x="360938" y="178944"/>
                  <a:pt x="360325" y="178944"/>
                  <a:pt x="359711" y="178331"/>
                </a:cubicBezTo>
                <a:cubicBezTo>
                  <a:pt x="359404" y="178024"/>
                  <a:pt x="359097" y="177410"/>
                  <a:pt x="359097" y="176796"/>
                </a:cubicBezTo>
                <a:cubicBezTo>
                  <a:pt x="359097" y="176183"/>
                  <a:pt x="359097" y="176183"/>
                  <a:pt x="359097" y="176183"/>
                </a:cubicBezTo>
                <a:cubicBezTo>
                  <a:pt x="359097" y="175569"/>
                  <a:pt x="359404" y="174955"/>
                  <a:pt x="359711" y="174342"/>
                </a:cubicBezTo>
                <a:cubicBezTo>
                  <a:pt x="360325" y="174035"/>
                  <a:pt x="360938" y="173728"/>
                  <a:pt x="361552" y="173728"/>
                </a:cubicBezTo>
                <a:close/>
                <a:moveTo>
                  <a:pt x="326338" y="173728"/>
                </a:moveTo>
                <a:cubicBezTo>
                  <a:pt x="339511" y="174649"/>
                  <a:pt x="339511" y="174649"/>
                  <a:pt x="339511" y="174649"/>
                </a:cubicBezTo>
                <a:cubicBezTo>
                  <a:pt x="341350" y="174649"/>
                  <a:pt x="342881" y="176183"/>
                  <a:pt x="342881" y="178025"/>
                </a:cubicBezTo>
                <a:cubicBezTo>
                  <a:pt x="342881" y="178638"/>
                  <a:pt x="342881" y="178638"/>
                  <a:pt x="342881" y="178638"/>
                </a:cubicBezTo>
                <a:cubicBezTo>
                  <a:pt x="342881" y="180480"/>
                  <a:pt x="341350" y="182014"/>
                  <a:pt x="339511" y="182014"/>
                </a:cubicBezTo>
                <a:cubicBezTo>
                  <a:pt x="327870" y="182628"/>
                  <a:pt x="327870" y="182628"/>
                  <a:pt x="327870" y="182628"/>
                </a:cubicBezTo>
                <a:cubicBezTo>
                  <a:pt x="327870" y="217616"/>
                  <a:pt x="327870" y="217616"/>
                  <a:pt x="327870" y="217616"/>
                </a:cubicBezTo>
                <a:cubicBezTo>
                  <a:pt x="328483" y="217616"/>
                  <a:pt x="328483" y="217616"/>
                  <a:pt x="328483" y="217616"/>
                </a:cubicBezTo>
                <a:cubicBezTo>
                  <a:pt x="329708" y="217616"/>
                  <a:pt x="330934" y="218537"/>
                  <a:pt x="330934" y="220071"/>
                </a:cubicBezTo>
                <a:cubicBezTo>
                  <a:pt x="330934" y="235724"/>
                  <a:pt x="330934" y="235724"/>
                  <a:pt x="330934" y="235724"/>
                </a:cubicBezTo>
                <a:cubicBezTo>
                  <a:pt x="332159" y="258742"/>
                  <a:pt x="332159" y="258742"/>
                  <a:pt x="332159" y="258742"/>
                </a:cubicBezTo>
                <a:cubicBezTo>
                  <a:pt x="332159" y="260890"/>
                  <a:pt x="329096" y="262732"/>
                  <a:pt x="326951" y="262732"/>
                </a:cubicBezTo>
                <a:cubicBezTo>
                  <a:pt x="326645" y="262732"/>
                  <a:pt x="326645" y="262732"/>
                  <a:pt x="326645" y="262732"/>
                </a:cubicBezTo>
                <a:cubicBezTo>
                  <a:pt x="324500" y="262732"/>
                  <a:pt x="321130" y="260890"/>
                  <a:pt x="321130" y="258742"/>
                </a:cubicBezTo>
                <a:cubicBezTo>
                  <a:pt x="322662" y="235724"/>
                  <a:pt x="322662" y="235724"/>
                  <a:pt x="322662" y="235724"/>
                </a:cubicBezTo>
                <a:cubicBezTo>
                  <a:pt x="322662" y="219458"/>
                  <a:pt x="322662" y="219458"/>
                  <a:pt x="322662" y="219458"/>
                </a:cubicBezTo>
                <a:cubicBezTo>
                  <a:pt x="322662" y="218537"/>
                  <a:pt x="323581" y="217616"/>
                  <a:pt x="324807" y="217616"/>
                </a:cubicBezTo>
                <a:cubicBezTo>
                  <a:pt x="325726" y="217616"/>
                  <a:pt x="325726" y="217616"/>
                  <a:pt x="325726" y="217616"/>
                </a:cubicBezTo>
                <a:cubicBezTo>
                  <a:pt x="325726" y="182628"/>
                  <a:pt x="325726" y="182628"/>
                  <a:pt x="325726" y="182628"/>
                </a:cubicBezTo>
                <a:cubicBezTo>
                  <a:pt x="313778" y="182014"/>
                  <a:pt x="313778" y="182014"/>
                  <a:pt x="313778" y="182014"/>
                </a:cubicBezTo>
                <a:cubicBezTo>
                  <a:pt x="311940" y="182014"/>
                  <a:pt x="310408" y="180480"/>
                  <a:pt x="310408" y="178638"/>
                </a:cubicBezTo>
                <a:cubicBezTo>
                  <a:pt x="310408" y="178025"/>
                  <a:pt x="310408" y="178025"/>
                  <a:pt x="310408" y="178025"/>
                </a:cubicBezTo>
                <a:cubicBezTo>
                  <a:pt x="310408" y="176183"/>
                  <a:pt x="311940" y="174649"/>
                  <a:pt x="313778" y="174649"/>
                </a:cubicBezTo>
                <a:cubicBezTo>
                  <a:pt x="326338" y="173728"/>
                  <a:pt x="326338" y="173728"/>
                  <a:pt x="326338" y="173728"/>
                </a:cubicBezTo>
                <a:close/>
                <a:moveTo>
                  <a:pt x="304504" y="173433"/>
                </a:moveTo>
                <a:lnTo>
                  <a:pt x="305685" y="173433"/>
                </a:lnTo>
                <a:lnTo>
                  <a:pt x="305980" y="179337"/>
                </a:lnTo>
                <a:lnTo>
                  <a:pt x="306335" y="179337"/>
                </a:lnTo>
                <a:cubicBezTo>
                  <a:pt x="307884" y="180546"/>
                  <a:pt x="307884" y="183568"/>
                  <a:pt x="308194" y="185684"/>
                </a:cubicBezTo>
                <a:lnTo>
                  <a:pt x="309070" y="185684"/>
                </a:lnTo>
                <a:cubicBezTo>
                  <a:pt x="309375" y="185684"/>
                  <a:pt x="309375" y="185684"/>
                  <a:pt x="309375" y="186016"/>
                </a:cubicBezTo>
                <a:cubicBezTo>
                  <a:pt x="309375" y="186348"/>
                  <a:pt x="309375" y="186348"/>
                  <a:pt x="309375" y="186348"/>
                </a:cubicBezTo>
                <a:cubicBezTo>
                  <a:pt x="309375" y="186680"/>
                  <a:pt x="309375" y="187012"/>
                  <a:pt x="309070" y="187012"/>
                </a:cubicBezTo>
                <a:cubicBezTo>
                  <a:pt x="301130" y="187012"/>
                  <a:pt x="301130" y="187012"/>
                  <a:pt x="301130" y="187012"/>
                </a:cubicBezTo>
                <a:cubicBezTo>
                  <a:pt x="300825" y="187012"/>
                  <a:pt x="300519" y="186680"/>
                  <a:pt x="300519" y="186348"/>
                </a:cubicBezTo>
                <a:cubicBezTo>
                  <a:pt x="300519" y="186016"/>
                  <a:pt x="300519" y="186016"/>
                  <a:pt x="300519" y="186016"/>
                </a:cubicBezTo>
                <a:cubicBezTo>
                  <a:pt x="300519" y="185684"/>
                  <a:pt x="300825" y="185684"/>
                  <a:pt x="301130" y="185684"/>
                </a:cubicBezTo>
                <a:lnTo>
                  <a:pt x="301995" y="185684"/>
                </a:lnTo>
                <a:cubicBezTo>
                  <a:pt x="302305" y="183568"/>
                  <a:pt x="301995" y="180546"/>
                  <a:pt x="303855" y="179337"/>
                </a:cubicBezTo>
                <a:lnTo>
                  <a:pt x="304209" y="179337"/>
                </a:lnTo>
                <a:close/>
                <a:moveTo>
                  <a:pt x="19304" y="171088"/>
                </a:moveTo>
                <a:cubicBezTo>
                  <a:pt x="23001" y="170481"/>
                  <a:pt x="30086" y="172301"/>
                  <a:pt x="30702" y="175942"/>
                </a:cubicBezTo>
                <a:cubicBezTo>
                  <a:pt x="26081" y="175942"/>
                  <a:pt x="21460" y="175942"/>
                  <a:pt x="16840" y="175942"/>
                </a:cubicBezTo>
                <a:cubicBezTo>
                  <a:pt x="16532" y="175335"/>
                  <a:pt x="16532" y="174728"/>
                  <a:pt x="16532" y="174425"/>
                </a:cubicBezTo>
                <a:cubicBezTo>
                  <a:pt x="16840" y="172301"/>
                  <a:pt x="16840" y="171391"/>
                  <a:pt x="19304" y="171088"/>
                </a:cubicBezTo>
                <a:close/>
                <a:moveTo>
                  <a:pt x="147006" y="169168"/>
                </a:moveTo>
                <a:cubicBezTo>
                  <a:pt x="144860" y="171004"/>
                  <a:pt x="142407" y="173148"/>
                  <a:pt x="140567" y="175597"/>
                </a:cubicBezTo>
                <a:cubicBezTo>
                  <a:pt x="153446" y="175597"/>
                  <a:pt x="153446" y="175597"/>
                  <a:pt x="153446" y="175597"/>
                </a:cubicBezTo>
                <a:cubicBezTo>
                  <a:pt x="151606" y="173148"/>
                  <a:pt x="149460" y="171004"/>
                  <a:pt x="147006" y="169168"/>
                </a:cubicBezTo>
                <a:close/>
                <a:moveTo>
                  <a:pt x="198303" y="168273"/>
                </a:moveTo>
                <a:cubicBezTo>
                  <a:pt x="199837" y="169190"/>
                  <a:pt x="201678" y="171023"/>
                  <a:pt x="202905" y="170717"/>
                </a:cubicBezTo>
                <a:cubicBezTo>
                  <a:pt x="204132" y="170412"/>
                  <a:pt x="204746" y="170106"/>
                  <a:pt x="205973" y="170106"/>
                </a:cubicBezTo>
                <a:cubicBezTo>
                  <a:pt x="207507" y="170106"/>
                  <a:pt x="208121" y="170412"/>
                  <a:pt x="209348" y="170717"/>
                </a:cubicBezTo>
                <a:cubicBezTo>
                  <a:pt x="210576" y="171023"/>
                  <a:pt x="212416" y="169190"/>
                  <a:pt x="213950" y="168273"/>
                </a:cubicBezTo>
                <a:lnTo>
                  <a:pt x="219578" y="168635"/>
                </a:lnTo>
                <a:lnTo>
                  <a:pt x="213950" y="170412"/>
                </a:lnTo>
                <a:cubicBezTo>
                  <a:pt x="211496" y="172245"/>
                  <a:pt x="211189" y="172856"/>
                  <a:pt x="211496" y="175911"/>
                </a:cubicBezTo>
                <a:cubicBezTo>
                  <a:pt x="211496" y="178049"/>
                  <a:pt x="212416" y="179577"/>
                  <a:pt x="213644" y="181715"/>
                </a:cubicBezTo>
                <a:cubicBezTo>
                  <a:pt x="216712" y="187214"/>
                  <a:pt x="222848" y="188131"/>
                  <a:pt x="228677" y="188131"/>
                </a:cubicBezTo>
                <a:cubicBezTo>
                  <a:pt x="234200" y="188131"/>
                  <a:pt x="239723" y="184465"/>
                  <a:pt x="241564" y="179271"/>
                </a:cubicBezTo>
                <a:cubicBezTo>
                  <a:pt x="241870" y="178049"/>
                  <a:pt x="241870" y="176827"/>
                  <a:pt x="241870" y="175605"/>
                </a:cubicBezTo>
                <a:cubicBezTo>
                  <a:pt x="241870" y="173772"/>
                  <a:pt x="241257" y="172856"/>
                  <a:pt x="240336" y="171328"/>
                </a:cubicBezTo>
                <a:lnTo>
                  <a:pt x="236258" y="169706"/>
                </a:lnTo>
                <a:lnTo>
                  <a:pt x="242484" y="170106"/>
                </a:lnTo>
                <a:cubicBezTo>
                  <a:pt x="244325" y="171023"/>
                  <a:pt x="244939" y="171328"/>
                  <a:pt x="247086" y="171328"/>
                </a:cubicBezTo>
                <a:cubicBezTo>
                  <a:pt x="247086" y="172856"/>
                  <a:pt x="247086" y="174078"/>
                  <a:pt x="247086" y="175605"/>
                </a:cubicBezTo>
                <a:cubicBezTo>
                  <a:pt x="245552" y="175300"/>
                  <a:pt x="244632" y="176522"/>
                  <a:pt x="243711" y="177744"/>
                </a:cubicBezTo>
                <a:cubicBezTo>
                  <a:pt x="243404" y="178355"/>
                  <a:pt x="243098" y="178966"/>
                  <a:pt x="242177" y="181104"/>
                </a:cubicBezTo>
                <a:cubicBezTo>
                  <a:pt x="241257" y="182937"/>
                  <a:pt x="239109" y="185687"/>
                  <a:pt x="236348" y="187520"/>
                </a:cubicBezTo>
                <a:cubicBezTo>
                  <a:pt x="233280" y="189658"/>
                  <a:pt x="230518" y="189964"/>
                  <a:pt x="226837" y="189658"/>
                </a:cubicBezTo>
                <a:cubicBezTo>
                  <a:pt x="222234" y="189658"/>
                  <a:pt x="217632" y="188742"/>
                  <a:pt x="214564" y="185381"/>
                </a:cubicBezTo>
                <a:cubicBezTo>
                  <a:pt x="211189" y="181715"/>
                  <a:pt x="211496" y="180188"/>
                  <a:pt x="209962" y="175911"/>
                </a:cubicBezTo>
                <a:cubicBezTo>
                  <a:pt x="209348" y="174689"/>
                  <a:pt x="209041" y="173467"/>
                  <a:pt x="207814" y="173161"/>
                </a:cubicBezTo>
                <a:cubicBezTo>
                  <a:pt x="207507" y="173161"/>
                  <a:pt x="206894" y="173161"/>
                  <a:pt x="205973" y="173161"/>
                </a:cubicBezTo>
                <a:cubicBezTo>
                  <a:pt x="205360" y="173161"/>
                  <a:pt x="204746" y="173161"/>
                  <a:pt x="204439" y="173161"/>
                </a:cubicBezTo>
                <a:cubicBezTo>
                  <a:pt x="203212" y="173467"/>
                  <a:pt x="202598" y="174689"/>
                  <a:pt x="202292" y="175911"/>
                </a:cubicBezTo>
                <a:cubicBezTo>
                  <a:pt x="200451" y="180188"/>
                  <a:pt x="201064" y="181715"/>
                  <a:pt x="197689" y="185381"/>
                </a:cubicBezTo>
                <a:cubicBezTo>
                  <a:pt x="194621" y="188742"/>
                  <a:pt x="190019" y="189658"/>
                  <a:pt x="185417" y="189658"/>
                </a:cubicBezTo>
                <a:cubicBezTo>
                  <a:pt x="181735" y="189964"/>
                  <a:pt x="178974" y="189658"/>
                  <a:pt x="175906" y="187520"/>
                </a:cubicBezTo>
                <a:cubicBezTo>
                  <a:pt x="172838" y="185687"/>
                  <a:pt x="170997" y="182937"/>
                  <a:pt x="170076" y="181104"/>
                </a:cubicBezTo>
                <a:cubicBezTo>
                  <a:pt x="169156" y="178966"/>
                  <a:pt x="168849" y="178355"/>
                  <a:pt x="168542" y="177744"/>
                </a:cubicBezTo>
                <a:cubicBezTo>
                  <a:pt x="167622" y="176522"/>
                  <a:pt x="166701" y="175300"/>
                  <a:pt x="165167" y="175605"/>
                </a:cubicBezTo>
                <a:cubicBezTo>
                  <a:pt x="165167" y="174078"/>
                  <a:pt x="165167" y="172856"/>
                  <a:pt x="165167" y="171328"/>
                </a:cubicBezTo>
                <a:cubicBezTo>
                  <a:pt x="167008" y="171328"/>
                  <a:pt x="167929" y="171023"/>
                  <a:pt x="169769" y="170106"/>
                </a:cubicBezTo>
                <a:lnTo>
                  <a:pt x="175996" y="169706"/>
                </a:lnTo>
                <a:lnTo>
                  <a:pt x="171917" y="171328"/>
                </a:lnTo>
                <a:cubicBezTo>
                  <a:pt x="170997" y="172856"/>
                  <a:pt x="170383" y="173772"/>
                  <a:pt x="170383" y="175605"/>
                </a:cubicBezTo>
                <a:cubicBezTo>
                  <a:pt x="170076" y="176827"/>
                  <a:pt x="170383" y="178049"/>
                  <a:pt x="170690" y="179271"/>
                </a:cubicBezTo>
                <a:cubicBezTo>
                  <a:pt x="172531" y="184465"/>
                  <a:pt x="178053" y="188131"/>
                  <a:pt x="183269" y="188131"/>
                </a:cubicBezTo>
                <a:cubicBezTo>
                  <a:pt x="189099" y="188131"/>
                  <a:pt x="195542" y="187214"/>
                  <a:pt x="198610" y="181715"/>
                </a:cubicBezTo>
                <a:cubicBezTo>
                  <a:pt x="199837" y="179577"/>
                  <a:pt x="200758" y="178049"/>
                  <a:pt x="200758" y="175911"/>
                </a:cubicBezTo>
                <a:cubicBezTo>
                  <a:pt x="201064" y="172856"/>
                  <a:pt x="200758" y="172245"/>
                  <a:pt x="198303" y="170412"/>
                </a:cubicBezTo>
                <a:lnTo>
                  <a:pt x="192676" y="168635"/>
                </a:lnTo>
                <a:close/>
                <a:moveTo>
                  <a:pt x="270408" y="167935"/>
                </a:moveTo>
                <a:cubicBezTo>
                  <a:pt x="270102" y="167935"/>
                  <a:pt x="269796" y="168242"/>
                  <a:pt x="269796" y="168242"/>
                </a:cubicBezTo>
                <a:cubicBezTo>
                  <a:pt x="269490" y="168548"/>
                  <a:pt x="269490" y="168854"/>
                  <a:pt x="269490" y="169161"/>
                </a:cubicBezTo>
                <a:cubicBezTo>
                  <a:pt x="269490" y="169161"/>
                  <a:pt x="269490" y="169467"/>
                  <a:pt x="269796" y="169773"/>
                </a:cubicBezTo>
                <a:cubicBezTo>
                  <a:pt x="269796" y="169773"/>
                  <a:pt x="270102" y="170080"/>
                  <a:pt x="270408" y="170080"/>
                </a:cubicBezTo>
                <a:cubicBezTo>
                  <a:pt x="270714" y="170080"/>
                  <a:pt x="271020" y="169773"/>
                  <a:pt x="271020" y="169773"/>
                </a:cubicBezTo>
                <a:cubicBezTo>
                  <a:pt x="271326" y="169467"/>
                  <a:pt x="271326" y="169161"/>
                  <a:pt x="271326" y="169161"/>
                </a:cubicBezTo>
                <a:cubicBezTo>
                  <a:pt x="271326" y="168854"/>
                  <a:pt x="271326" y="168548"/>
                  <a:pt x="271020" y="168242"/>
                </a:cubicBezTo>
                <a:cubicBezTo>
                  <a:pt x="271020" y="168242"/>
                  <a:pt x="270714" y="167935"/>
                  <a:pt x="270408" y="167935"/>
                </a:cubicBezTo>
                <a:close/>
                <a:moveTo>
                  <a:pt x="415650" y="166201"/>
                </a:moveTo>
                <a:cubicBezTo>
                  <a:pt x="423013" y="166201"/>
                  <a:pt x="429763" y="167731"/>
                  <a:pt x="434672" y="170486"/>
                </a:cubicBezTo>
                <a:cubicBezTo>
                  <a:pt x="439581" y="172935"/>
                  <a:pt x="442956" y="176608"/>
                  <a:pt x="442956" y="180893"/>
                </a:cubicBezTo>
                <a:cubicBezTo>
                  <a:pt x="442956" y="185178"/>
                  <a:pt x="439581" y="188851"/>
                  <a:pt x="434672" y="191300"/>
                </a:cubicBezTo>
                <a:cubicBezTo>
                  <a:pt x="429763" y="193748"/>
                  <a:pt x="423013" y="195279"/>
                  <a:pt x="415650" y="195279"/>
                </a:cubicBezTo>
                <a:cubicBezTo>
                  <a:pt x="408286" y="195279"/>
                  <a:pt x="401536" y="193748"/>
                  <a:pt x="396627" y="191300"/>
                </a:cubicBezTo>
                <a:cubicBezTo>
                  <a:pt x="391411" y="188851"/>
                  <a:pt x="388343" y="185178"/>
                  <a:pt x="388343" y="180893"/>
                </a:cubicBezTo>
                <a:cubicBezTo>
                  <a:pt x="388343" y="176608"/>
                  <a:pt x="391411" y="172935"/>
                  <a:pt x="396627" y="170486"/>
                </a:cubicBezTo>
                <a:cubicBezTo>
                  <a:pt x="401536" y="167731"/>
                  <a:pt x="408286" y="166201"/>
                  <a:pt x="415650" y="166201"/>
                </a:cubicBezTo>
                <a:close/>
                <a:moveTo>
                  <a:pt x="227374" y="166173"/>
                </a:moveTo>
                <a:lnTo>
                  <a:pt x="236258" y="169706"/>
                </a:lnTo>
                <a:lnTo>
                  <a:pt x="219578" y="168635"/>
                </a:lnTo>
                <a:close/>
                <a:moveTo>
                  <a:pt x="184880" y="166173"/>
                </a:moveTo>
                <a:lnTo>
                  <a:pt x="192676" y="168635"/>
                </a:lnTo>
                <a:lnTo>
                  <a:pt x="175996" y="169706"/>
                </a:lnTo>
                <a:close/>
                <a:moveTo>
                  <a:pt x="270408" y="164872"/>
                </a:moveTo>
                <a:cubicBezTo>
                  <a:pt x="271938" y="164872"/>
                  <a:pt x="272856" y="165485"/>
                  <a:pt x="273468" y="166097"/>
                </a:cubicBezTo>
                <a:cubicBezTo>
                  <a:pt x="274080" y="166710"/>
                  <a:pt x="274692" y="167323"/>
                  <a:pt x="274998" y="168242"/>
                </a:cubicBezTo>
                <a:cubicBezTo>
                  <a:pt x="275304" y="168854"/>
                  <a:pt x="275610" y="169161"/>
                  <a:pt x="275916" y="169467"/>
                </a:cubicBezTo>
                <a:cubicBezTo>
                  <a:pt x="276528" y="169773"/>
                  <a:pt x="277140" y="170080"/>
                  <a:pt x="277752" y="170080"/>
                </a:cubicBezTo>
                <a:cubicBezTo>
                  <a:pt x="278364" y="170080"/>
                  <a:pt x="278976" y="170692"/>
                  <a:pt x="279588" y="170999"/>
                </a:cubicBezTo>
                <a:cubicBezTo>
                  <a:pt x="280200" y="171611"/>
                  <a:pt x="280506" y="172530"/>
                  <a:pt x="280506" y="173450"/>
                </a:cubicBezTo>
                <a:cubicBezTo>
                  <a:pt x="282954" y="207454"/>
                  <a:pt x="282954" y="207454"/>
                  <a:pt x="282954" y="207454"/>
                </a:cubicBezTo>
                <a:cubicBezTo>
                  <a:pt x="282954" y="208373"/>
                  <a:pt x="282648" y="208985"/>
                  <a:pt x="282036" y="209598"/>
                </a:cubicBezTo>
                <a:cubicBezTo>
                  <a:pt x="281424" y="210211"/>
                  <a:pt x="280812" y="210517"/>
                  <a:pt x="279894" y="210517"/>
                </a:cubicBezTo>
                <a:cubicBezTo>
                  <a:pt x="279588" y="210517"/>
                  <a:pt x="279588" y="210517"/>
                  <a:pt x="279588" y="210517"/>
                </a:cubicBezTo>
                <a:cubicBezTo>
                  <a:pt x="277140" y="210517"/>
                  <a:pt x="277140" y="210517"/>
                  <a:pt x="277140" y="210517"/>
                </a:cubicBezTo>
                <a:cubicBezTo>
                  <a:pt x="276222" y="210517"/>
                  <a:pt x="275304" y="211130"/>
                  <a:pt x="274692" y="211743"/>
                </a:cubicBezTo>
                <a:cubicBezTo>
                  <a:pt x="274080" y="212355"/>
                  <a:pt x="273468" y="213274"/>
                  <a:pt x="273468" y="214193"/>
                </a:cubicBezTo>
                <a:cubicBezTo>
                  <a:pt x="273468" y="217563"/>
                  <a:pt x="273468" y="217563"/>
                  <a:pt x="273468" y="217563"/>
                </a:cubicBezTo>
                <a:cubicBezTo>
                  <a:pt x="274998" y="217563"/>
                  <a:pt x="274998" y="217563"/>
                  <a:pt x="274998" y="217563"/>
                </a:cubicBezTo>
                <a:cubicBezTo>
                  <a:pt x="275304" y="217563"/>
                  <a:pt x="275610" y="217869"/>
                  <a:pt x="275610" y="218788"/>
                </a:cubicBezTo>
                <a:cubicBezTo>
                  <a:pt x="275610" y="219401"/>
                  <a:pt x="275304" y="220014"/>
                  <a:pt x="274998" y="220014"/>
                </a:cubicBezTo>
                <a:cubicBezTo>
                  <a:pt x="271938" y="220014"/>
                  <a:pt x="271938" y="220014"/>
                  <a:pt x="271938" y="220014"/>
                </a:cubicBezTo>
                <a:cubicBezTo>
                  <a:pt x="271938" y="228285"/>
                  <a:pt x="271938" y="228285"/>
                  <a:pt x="271938" y="228285"/>
                </a:cubicBezTo>
                <a:lnTo>
                  <a:pt x="271068" y="229156"/>
                </a:lnTo>
                <a:lnTo>
                  <a:pt x="272241" y="230793"/>
                </a:lnTo>
                <a:cubicBezTo>
                  <a:pt x="273471" y="233244"/>
                  <a:pt x="275008" y="235696"/>
                  <a:pt x="276546" y="238148"/>
                </a:cubicBezTo>
                <a:cubicBezTo>
                  <a:pt x="282388" y="249180"/>
                  <a:pt x="285463" y="259600"/>
                  <a:pt x="270088" y="268180"/>
                </a:cubicBezTo>
                <a:cubicBezTo>
                  <a:pt x="269166" y="268487"/>
                  <a:pt x="268551" y="269100"/>
                  <a:pt x="267936" y="269713"/>
                </a:cubicBezTo>
                <a:lnTo>
                  <a:pt x="267441" y="271193"/>
                </a:lnTo>
                <a:lnTo>
                  <a:pt x="270765" y="274350"/>
                </a:lnTo>
                <a:cubicBezTo>
                  <a:pt x="272610" y="276496"/>
                  <a:pt x="274455" y="278949"/>
                  <a:pt x="275992" y="281095"/>
                </a:cubicBezTo>
                <a:cubicBezTo>
                  <a:pt x="278760" y="285694"/>
                  <a:pt x="280297" y="291213"/>
                  <a:pt x="280297" y="296119"/>
                </a:cubicBezTo>
                <a:cubicBezTo>
                  <a:pt x="279990" y="301024"/>
                  <a:pt x="278452" y="305930"/>
                  <a:pt x="274762" y="309916"/>
                </a:cubicBezTo>
                <a:cubicBezTo>
                  <a:pt x="272917" y="312062"/>
                  <a:pt x="270765" y="313901"/>
                  <a:pt x="267997" y="315128"/>
                </a:cubicBezTo>
                <a:cubicBezTo>
                  <a:pt x="265537" y="316048"/>
                  <a:pt x="262769" y="316661"/>
                  <a:pt x="259694" y="316661"/>
                </a:cubicBezTo>
                <a:cubicBezTo>
                  <a:pt x="255389" y="316661"/>
                  <a:pt x="254467" y="315741"/>
                  <a:pt x="251699" y="314208"/>
                </a:cubicBezTo>
                <a:cubicBezTo>
                  <a:pt x="251084" y="313901"/>
                  <a:pt x="250777" y="313595"/>
                  <a:pt x="250469" y="313288"/>
                </a:cubicBezTo>
                <a:cubicBezTo>
                  <a:pt x="250162" y="313288"/>
                  <a:pt x="250162" y="313288"/>
                  <a:pt x="250162" y="313288"/>
                </a:cubicBezTo>
                <a:cubicBezTo>
                  <a:pt x="250162" y="312982"/>
                  <a:pt x="250162" y="312982"/>
                  <a:pt x="250162" y="312982"/>
                </a:cubicBezTo>
                <a:cubicBezTo>
                  <a:pt x="247087" y="309916"/>
                  <a:pt x="247087" y="309916"/>
                  <a:pt x="245549" y="306236"/>
                </a:cubicBezTo>
                <a:cubicBezTo>
                  <a:pt x="245242" y="305623"/>
                  <a:pt x="245242" y="305623"/>
                  <a:pt x="245242" y="305623"/>
                </a:cubicBezTo>
                <a:cubicBezTo>
                  <a:pt x="245242" y="305317"/>
                  <a:pt x="245242" y="305317"/>
                  <a:pt x="245242" y="305317"/>
                </a:cubicBezTo>
                <a:lnTo>
                  <a:pt x="244066" y="301212"/>
                </a:lnTo>
                <a:lnTo>
                  <a:pt x="232807" y="294959"/>
                </a:lnTo>
                <a:cubicBezTo>
                  <a:pt x="231235" y="291821"/>
                  <a:pt x="231465" y="287765"/>
                  <a:pt x="231772" y="282866"/>
                </a:cubicBezTo>
                <a:cubicBezTo>
                  <a:pt x="231772" y="281642"/>
                  <a:pt x="232078" y="280111"/>
                  <a:pt x="232078" y="278581"/>
                </a:cubicBezTo>
                <a:lnTo>
                  <a:pt x="233561" y="277101"/>
                </a:lnTo>
                <a:lnTo>
                  <a:pt x="235125" y="264825"/>
                </a:lnTo>
                <a:lnTo>
                  <a:pt x="227714" y="269751"/>
                </a:lnTo>
                <a:cubicBezTo>
                  <a:pt x="225254" y="272817"/>
                  <a:pt x="223716" y="276803"/>
                  <a:pt x="223716" y="281095"/>
                </a:cubicBezTo>
                <a:cubicBezTo>
                  <a:pt x="223716" y="283548"/>
                  <a:pt x="223716" y="285387"/>
                  <a:pt x="224024" y="287227"/>
                </a:cubicBezTo>
                <a:cubicBezTo>
                  <a:pt x="224331" y="289067"/>
                  <a:pt x="224946" y="290906"/>
                  <a:pt x="225869" y="292746"/>
                </a:cubicBezTo>
                <a:cubicBezTo>
                  <a:pt x="228636" y="298265"/>
                  <a:pt x="232326" y="302864"/>
                  <a:pt x="235709" y="307156"/>
                </a:cubicBezTo>
                <a:cubicBezTo>
                  <a:pt x="240629" y="312982"/>
                  <a:pt x="245242" y="318501"/>
                  <a:pt x="248009" y="326166"/>
                </a:cubicBezTo>
                <a:cubicBezTo>
                  <a:pt x="248009" y="326472"/>
                  <a:pt x="248009" y="326472"/>
                  <a:pt x="248009" y="326472"/>
                </a:cubicBezTo>
                <a:lnTo>
                  <a:pt x="249036" y="335944"/>
                </a:lnTo>
                <a:lnTo>
                  <a:pt x="249867" y="335944"/>
                </a:lnTo>
                <a:cubicBezTo>
                  <a:pt x="250170" y="335944"/>
                  <a:pt x="250474" y="336247"/>
                  <a:pt x="250474" y="336247"/>
                </a:cubicBezTo>
                <a:cubicBezTo>
                  <a:pt x="250777" y="336551"/>
                  <a:pt x="250777" y="336551"/>
                  <a:pt x="250777" y="336854"/>
                </a:cubicBezTo>
                <a:cubicBezTo>
                  <a:pt x="250777" y="340798"/>
                  <a:pt x="250777" y="340798"/>
                  <a:pt x="250777" y="340798"/>
                </a:cubicBezTo>
                <a:cubicBezTo>
                  <a:pt x="250777" y="340798"/>
                  <a:pt x="250777" y="341101"/>
                  <a:pt x="250474" y="341405"/>
                </a:cubicBezTo>
                <a:cubicBezTo>
                  <a:pt x="250474" y="341405"/>
                  <a:pt x="250170" y="341405"/>
                  <a:pt x="249867" y="341405"/>
                </a:cubicBezTo>
                <a:lnTo>
                  <a:pt x="249580" y="341405"/>
                </a:lnTo>
                <a:lnTo>
                  <a:pt x="255989" y="343871"/>
                </a:lnTo>
                <a:cubicBezTo>
                  <a:pt x="257821" y="346010"/>
                  <a:pt x="259043" y="348761"/>
                  <a:pt x="259043" y="351817"/>
                </a:cubicBezTo>
                <a:cubicBezTo>
                  <a:pt x="259043" y="354567"/>
                  <a:pt x="257821" y="357318"/>
                  <a:pt x="255989" y="359457"/>
                </a:cubicBezTo>
                <a:cubicBezTo>
                  <a:pt x="253850" y="361290"/>
                  <a:pt x="251101" y="362513"/>
                  <a:pt x="248047" y="362513"/>
                </a:cubicBezTo>
                <a:cubicBezTo>
                  <a:pt x="244992" y="362513"/>
                  <a:pt x="242243" y="361290"/>
                  <a:pt x="240410" y="359457"/>
                </a:cubicBezTo>
                <a:cubicBezTo>
                  <a:pt x="238272" y="357318"/>
                  <a:pt x="237050" y="354567"/>
                  <a:pt x="237050" y="351817"/>
                </a:cubicBezTo>
                <a:cubicBezTo>
                  <a:pt x="237050" y="348761"/>
                  <a:pt x="238272" y="346010"/>
                  <a:pt x="240410" y="343871"/>
                </a:cubicBezTo>
                <a:lnTo>
                  <a:pt x="246572" y="341405"/>
                </a:lnTo>
                <a:lnTo>
                  <a:pt x="246226" y="341405"/>
                </a:lnTo>
                <a:cubicBezTo>
                  <a:pt x="245923" y="341405"/>
                  <a:pt x="245923" y="341405"/>
                  <a:pt x="245620" y="341405"/>
                </a:cubicBezTo>
                <a:cubicBezTo>
                  <a:pt x="245620" y="341101"/>
                  <a:pt x="245316" y="340798"/>
                  <a:pt x="245316" y="340798"/>
                </a:cubicBezTo>
                <a:cubicBezTo>
                  <a:pt x="245316" y="336854"/>
                  <a:pt x="245316" y="336854"/>
                  <a:pt x="245316" y="336854"/>
                </a:cubicBezTo>
                <a:cubicBezTo>
                  <a:pt x="245316" y="336551"/>
                  <a:pt x="245620" y="336551"/>
                  <a:pt x="245620" y="336247"/>
                </a:cubicBezTo>
                <a:cubicBezTo>
                  <a:pt x="245923" y="336247"/>
                  <a:pt x="245923" y="335944"/>
                  <a:pt x="246226" y="335944"/>
                </a:cubicBezTo>
                <a:lnTo>
                  <a:pt x="246536" y="335944"/>
                </a:lnTo>
                <a:lnTo>
                  <a:pt x="245549" y="327085"/>
                </a:lnTo>
                <a:cubicBezTo>
                  <a:pt x="242782" y="319727"/>
                  <a:pt x="238477" y="314208"/>
                  <a:pt x="233864" y="308689"/>
                </a:cubicBezTo>
                <a:cubicBezTo>
                  <a:pt x="230174" y="304090"/>
                  <a:pt x="226484" y="299491"/>
                  <a:pt x="223716" y="293972"/>
                </a:cubicBezTo>
                <a:cubicBezTo>
                  <a:pt x="223409" y="293972"/>
                  <a:pt x="223409" y="293972"/>
                  <a:pt x="223409" y="293972"/>
                </a:cubicBezTo>
                <a:cubicBezTo>
                  <a:pt x="222794" y="291520"/>
                  <a:pt x="222179" y="289680"/>
                  <a:pt x="221564" y="287840"/>
                </a:cubicBezTo>
                <a:cubicBezTo>
                  <a:pt x="221256" y="285694"/>
                  <a:pt x="221256" y="283548"/>
                  <a:pt x="221256" y="281095"/>
                </a:cubicBezTo>
                <a:cubicBezTo>
                  <a:pt x="221256" y="276189"/>
                  <a:pt x="223101" y="271590"/>
                  <a:pt x="225561" y="268218"/>
                </a:cubicBezTo>
                <a:lnTo>
                  <a:pt x="235916" y="261426"/>
                </a:lnTo>
                <a:lnTo>
                  <a:pt x="240094" y="244943"/>
                </a:lnTo>
                <a:lnTo>
                  <a:pt x="244441" y="240121"/>
                </a:lnTo>
                <a:lnTo>
                  <a:pt x="241565" y="236664"/>
                </a:lnTo>
                <a:cubicBezTo>
                  <a:pt x="241565" y="236664"/>
                  <a:pt x="241257" y="236664"/>
                  <a:pt x="241257" y="236664"/>
                </a:cubicBezTo>
                <a:cubicBezTo>
                  <a:pt x="240641" y="236664"/>
                  <a:pt x="239716" y="236971"/>
                  <a:pt x="239100" y="236971"/>
                </a:cubicBezTo>
                <a:cubicBezTo>
                  <a:pt x="238175" y="237277"/>
                  <a:pt x="237558" y="237584"/>
                  <a:pt x="236634" y="237891"/>
                </a:cubicBezTo>
                <a:lnTo>
                  <a:pt x="236230" y="237088"/>
                </a:lnTo>
                <a:lnTo>
                  <a:pt x="236607" y="238758"/>
                </a:lnTo>
                <a:cubicBezTo>
                  <a:pt x="235379" y="239664"/>
                  <a:pt x="234458" y="240873"/>
                  <a:pt x="233537" y="240873"/>
                </a:cubicBezTo>
                <a:cubicBezTo>
                  <a:pt x="231695" y="241478"/>
                  <a:pt x="229853" y="241176"/>
                  <a:pt x="229546" y="239060"/>
                </a:cubicBezTo>
                <a:cubicBezTo>
                  <a:pt x="228932" y="236944"/>
                  <a:pt x="230467" y="235735"/>
                  <a:pt x="232309" y="235433"/>
                </a:cubicBezTo>
                <a:cubicBezTo>
                  <a:pt x="233230" y="235131"/>
                  <a:pt x="234458" y="235735"/>
                  <a:pt x="235993" y="236038"/>
                </a:cubicBezTo>
                <a:lnTo>
                  <a:pt x="236126" y="236628"/>
                </a:lnTo>
                <a:lnTo>
                  <a:pt x="238791" y="235744"/>
                </a:lnTo>
                <a:cubicBezTo>
                  <a:pt x="239408" y="235744"/>
                  <a:pt x="240333" y="235438"/>
                  <a:pt x="240949" y="235438"/>
                </a:cubicBezTo>
                <a:cubicBezTo>
                  <a:pt x="241257" y="235438"/>
                  <a:pt x="241257" y="235438"/>
                  <a:pt x="241565" y="235438"/>
                </a:cubicBezTo>
                <a:lnTo>
                  <a:pt x="245127" y="239360"/>
                </a:lnTo>
                <a:lnTo>
                  <a:pt x="248663" y="235438"/>
                </a:lnTo>
                <a:cubicBezTo>
                  <a:pt x="248663" y="235438"/>
                  <a:pt x="248969" y="235438"/>
                  <a:pt x="248969" y="235438"/>
                </a:cubicBezTo>
                <a:cubicBezTo>
                  <a:pt x="249887" y="235438"/>
                  <a:pt x="250806" y="235744"/>
                  <a:pt x="251418" y="235744"/>
                </a:cubicBezTo>
                <a:lnTo>
                  <a:pt x="253787" y="236535"/>
                </a:lnTo>
                <a:lnTo>
                  <a:pt x="253899" y="236038"/>
                </a:lnTo>
                <a:cubicBezTo>
                  <a:pt x="255739" y="235735"/>
                  <a:pt x="256659" y="235131"/>
                  <a:pt x="257885" y="235433"/>
                </a:cubicBezTo>
                <a:cubicBezTo>
                  <a:pt x="259724" y="235735"/>
                  <a:pt x="261257" y="236944"/>
                  <a:pt x="260644" y="239060"/>
                </a:cubicBezTo>
                <a:cubicBezTo>
                  <a:pt x="260338" y="241176"/>
                  <a:pt x="258498" y="241478"/>
                  <a:pt x="256659" y="240873"/>
                </a:cubicBezTo>
                <a:cubicBezTo>
                  <a:pt x="255432" y="240873"/>
                  <a:pt x="254819" y="239664"/>
                  <a:pt x="253286" y="238758"/>
                </a:cubicBezTo>
                <a:lnTo>
                  <a:pt x="253488" y="237863"/>
                </a:lnTo>
                <a:lnTo>
                  <a:pt x="251112" y="236971"/>
                </a:lnTo>
                <a:cubicBezTo>
                  <a:pt x="250500" y="236971"/>
                  <a:pt x="249581" y="236664"/>
                  <a:pt x="248969" y="236664"/>
                </a:cubicBezTo>
                <a:cubicBezTo>
                  <a:pt x="248663" y="236664"/>
                  <a:pt x="248663" y="236664"/>
                  <a:pt x="248663" y="236664"/>
                </a:cubicBezTo>
                <a:lnTo>
                  <a:pt x="245751" y="240048"/>
                </a:lnTo>
                <a:lnTo>
                  <a:pt x="250196" y="244943"/>
                </a:lnTo>
                <a:lnTo>
                  <a:pt x="254619" y="262269"/>
                </a:lnTo>
                <a:lnTo>
                  <a:pt x="255082" y="262392"/>
                </a:lnTo>
                <a:cubicBezTo>
                  <a:pt x="256927" y="263006"/>
                  <a:pt x="258464" y="263925"/>
                  <a:pt x="259694" y="264845"/>
                </a:cubicBezTo>
                <a:cubicBezTo>
                  <a:pt x="261232" y="265765"/>
                  <a:pt x="262769" y="266685"/>
                  <a:pt x="264307" y="268218"/>
                </a:cubicBezTo>
                <a:lnTo>
                  <a:pt x="266704" y="270494"/>
                </a:lnTo>
                <a:lnTo>
                  <a:pt x="267321" y="268793"/>
                </a:lnTo>
                <a:cubicBezTo>
                  <a:pt x="267936" y="268180"/>
                  <a:pt x="268858" y="267567"/>
                  <a:pt x="269473" y="267261"/>
                </a:cubicBezTo>
                <a:cubicBezTo>
                  <a:pt x="283926" y="259293"/>
                  <a:pt x="281466" y="249180"/>
                  <a:pt x="275623" y="238454"/>
                </a:cubicBezTo>
                <a:cubicBezTo>
                  <a:pt x="274086" y="236309"/>
                  <a:pt x="272856" y="233857"/>
                  <a:pt x="271318" y="231405"/>
                </a:cubicBezTo>
                <a:cubicBezTo>
                  <a:pt x="271011" y="230793"/>
                  <a:pt x="270396" y="230180"/>
                  <a:pt x="269781" y="229260"/>
                </a:cubicBezTo>
                <a:lnTo>
                  <a:pt x="269805" y="229213"/>
                </a:lnTo>
                <a:lnTo>
                  <a:pt x="268878" y="228285"/>
                </a:lnTo>
                <a:cubicBezTo>
                  <a:pt x="268878" y="220014"/>
                  <a:pt x="268878" y="220014"/>
                  <a:pt x="268878" y="220014"/>
                </a:cubicBezTo>
                <a:cubicBezTo>
                  <a:pt x="265818" y="220014"/>
                  <a:pt x="265818" y="220014"/>
                  <a:pt x="265818" y="220014"/>
                </a:cubicBezTo>
                <a:cubicBezTo>
                  <a:pt x="265512" y="220014"/>
                  <a:pt x="265206" y="219401"/>
                  <a:pt x="265206" y="218788"/>
                </a:cubicBezTo>
                <a:cubicBezTo>
                  <a:pt x="265206" y="217869"/>
                  <a:pt x="265512" y="217563"/>
                  <a:pt x="265818" y="217563"/>
                </a:cubicBezTo>
                <a:cubicBezTo>
                  <a:pt x="267348" y="217563"/>
                  <a:pt x="267348" y="217563"/>
                  <a:pt x="267348" y="217563"/>
                </a:cubicBezTo>
                <a:cubicBezTo>
                  <a:pt x="267348" y="214193"/>
                  <a:pt x="267348" y="214193"/>
                  <a:pt x="267348" y="214193"/>
                </a:cubicBezTo>
                <a:cubicBezTo>
                  <a:pt x="267348" y="213274"/>
                  <a:pt x="266736" y="212355"/>
                  <a:pt x="266124" y="211743"/>
                </a:cubicBezTo>
                <a:cubicBezTo>
                  <a:pt x="265512" y="211130"/>
                  <a:pt x="264594" y="210517"/>
                  <a:pt x="263676" y="210517"/>
                </a:cubicBezTo>
                <a:cubicBezTo>
                  <a:pt x="261228" y="210517"/>
                  <a:pt x="261228" y="210517"/>
                  <a:pt x="261228" y="210517"/>
                </a:cubicBezTo>
                <a:cubicBezTo>
                  <a:pt x="260922" y="210517"/>
                  <a:pt x="260922" y="210517"/>
                  <a:pt x="260922" y="210517"/>
                </a:cubicBezTo>
                <a:cubicBezTo>
                  <a:pt x="260004" y="210517"/>
                  <a:pt x="259392" y="210211"/>
                  <a:pt x="258780" y="209598"/>
                </a:cubicBezTo>
                <a:cubicBezTo>
                  <a:pt x="258168" y="208985"/>
                  <a:pt x="257862" y="208373"/>
                  <a:pt x="257862" y="207454"/>
                </a:cubicBezTo>
                <a:cubicBezTo>
                  <a:pt x="260310" y="173450"/>
                  <a:pt x="260310" y="173450"/>
                  <a:pt x="260310" y="173450"/>
                </a:cubicBezTo>
                <a:cubicBezTo>
                  <a:pt x="260310" y="172530"/>
                  <a:pt x="260616" y="171611"/>
                  <a:pt x="261228" y="171305"/>
                </a:cubicBezTo>
                <a:cubicBezTo>
                  <a:pt x="261840" y="170692"/>
                  <a:pt x="262452" y="170080"/>
                  <a:pt x="263064" y="170080"/>
                </a:cubicBezTo>
                <a:cubicBezTo>
                  <a:pt x="263676" y="170080"/>
                  <a:pt x="264288" y="169773"/>
                  <a:pt x="264900" y="169467"/>
                </a:cubicBezTo>
                <a:cubicBezTo>
                  <a:pt x="265206" y="169161"/>
                  <a:pt x="265512" y="168548"/>
                  <a:pt x="265818" y="168242"/>
                </a:cubicBezTo>
                <a:cubicBezTo>
                  <a:pt x="266124" y="167323"/>
                  <a:pt x="266430" y="166404"/>
                  <a:pt x="267348" y="165791"/>
                </a:cubicBezTo>
                <a:cubicBezTo>
                  <a:pt x="267960" y="165178"/>
                  <a:pt x="268878" y="164872"/>
                  <a:pt x="270408" y="164872"/>
                </a:cubicBezTo>
                <a:close/>
                <a:moveTo>
                  <a:pt x="11995" y="163396"/>
                </a:moveTo>
                <a:cubicBezTo>
                  <a:pt x="14130" y="163396"/>
                  <a:pt x="14130" y="163396"/>
                  <a:pt x="14130" y="163396"/>
                </a:cubicBezTo>
                <a:cubicBezTo>
                  <a:pt x="14741" y="163396"/>
                  <a:pt x="15351" y="164007"/>
                  <a:pt x="15351" y="164619"/>
                </a:cubicBezTo>
                <a:lnTo>
                  <a:pt x="15351" y="177123"/>
                </a:lnTo>
                <a:lnTo>
                  <a:pt x="35270" y="177123"/>
                </a:lnTo>
                <a:cubicBezTo>
                  <a:pt x="42627" y="177123"/>
                  <a:pt x="46305" y="177123"/>
                  <a:pt x="48144" y="177123"/>
                </a:cubicBezTo>
                <a:lnTo>
                  <a:pt x="48857" y="177123"/>
                </a:lnTo>
                <a:lnTo>
                  <a:pt x="48857" y="172554"/>
                </a:lnTo>
                <a:cubicBezTo>
                  <a:pt x="48857" y="170368"/>
                  <a:pt x="48857" y="170368"/>
                  <a:pt x="48857" y="170368"/>
                </a:cubicBezTo>
                <a:cubicBezTo>
                  <a:pt x="48857" y="169755"/>
                  <a:pt x="49470" y="169448"/>
                  <a:pt x="49776" y="169448"/>
                </a:cubicBezTo>
                <a:cubicBezTo>
                  <a:pt x="51616" y="169448"/>
                  <a:pt x="51616" y="169448"/>
                  <a:pt x="51616" y="169448"/>
                </a:cubicBezTo>
                <a:cubicBezTo>
                  <a:pt x="52229" y="169448"/>
                  <a:pt x="52842" y="169755"/>
                  <a:pt x="52842" y="170368"/>
                </a:cubicBezTo>
                <a:cubicBezTo>
                  <a:pt x="52842" y="187852"/>
                  <a:pt x="52842" y="187852"/>
                  <a:pt x="52842" y="187852"/>
                </a:cubicBezTo>
                <a:cubicBezTo>
                  <a:pt x="52842" y="188465"/>
                  <a:pt x="52229" y="189079"/>
                  <a:pt x="51616" y="189079"/>
                </a:cubicBezTo>
                <a:cubicBezTo>
                  <a:pt x="49776" y="189079"/>
                  <a:pt x="49776" y="189079"/>
                  <a:pt x="49776" y="189079"/>
                </a:cubicBezTo>
                <a:cubicBezTo>
                  <a:pt x="49470" y="189079"/>
                  <a:pt x="48857" y="188465"/>
                  <a:pt x="48857" y="187852"/>
                </a:cubicBezTo>
                <a:lnTo>
                  <a:pt x="48857" y="182732"/>
                </a:lnTo>
                <a:lnTo>
                  <a:pt x="29821" y="182732"/>
                </a:lnTo>
                <a:cubicBezTo>
                  <a:pt x="24917" y="182732"/>
                  <a:pt x="21648" y="182732"/>
                  <a:pt x="19468" y="182732"/>
                </a:cubicBezTo>
                <a:lnTo>
                  <a:pt x="15351" y="182732"/>
                </a:lnTo>
                <a:lnTo>
                  <a:pt x="15351" y="184951"/>
                </a:lnTo>
                <a:cubicBezTo>
                  <a:pt x="15351" y="187856"/>
                  <a:pt x="15351" y="187856"/>
                  <a:pt x="15351" y="187856"/>
                </a:cubicBezTo>
                <a:cubicBezTo>
                  <a:pt x="15351" y="188467"/>
                  <a:pt x="14741" y="189079"/>
                  <a:pt x="14130" y="189079"/>
                </a:cubicBezTo>
                <a:cubicBezTo>
                  <a:pt x="11995" y="189079"/>
                  <a:pt x="11995" y="189079"/>
                  <a:pt x="11995" y="189079"/>
                </a:cubicBezTo>
                <a:cubicBezTo>
                  <a:pt x="11385" y="189079"/>
                  <a:pt x="10775" y="188467"/>
                  <a:pt x="10775" y="187856"/>
                </a:cubicBezTo>
                <a:cubicBezTo>
                  <a:pt x="10775" y="164619"/>
                  <a:pt x="10775" y="164619"/>
                  <a:pt x="10775" y="164619"/>
                </a:cubicBezTo>
                <a:cubicBezTo>
                  <a:pt x="10775" y="164007"/>
                  <a:pt x="11385" y="163396"/>
                  <a:pt x="11995" y="163396"/>
                </a:cubicBezTo>
                <a:close/>
                <a:moveTo>
                  <a:pt x="432845" y="157493"/>
                </a:moveTo>
                <a:lnTo>
                  <a:pt x="432855" y="157502"/>
                </a:lnTo>
                <a:lnTo>
                  <a:pt x="432864" y="157493"/>
                </a:lnTo>
                <a:close/>
                <a:moveTo>
                  <a:pt x="414424" y="157493"/>
                </a:moveTo>
                <a:lnTo>
                  <a:pt x="414434" y="157502"/>
                </a:lnTo>
                <a:lnTo>
                  <a:pt x="414444" y="157493"/>
                </a:lnTo>
                <a:close/>
                <a:moveTo>
                  <a:pt x="396617" y="157493"/>
                </a:moveTo>
                <a:lnTo>
                  <a:pt x="396627" y="157502"/>
                </a:lnTo>
                <a:lnTo>
                  <a:pt x="396636" y="157493"/>
                </a:lnTo>
                <a:close/>
                <a:moveTo>
                  <a:pt x="136580" y="153248"/>
                </a:moveTo>
                <a:cubicBezTo>
                  <a:pt x="138727" y="156003"/>
                  <a:pt x="142100" y="158758"/>
                  <a:pt x="145780" y="161514"/>
                </a:cubicBezTo>
                <a:cubicBezTo>
                  <a:pt x="146086" y="162126"/>
                  <a:pt x="146700" y="162432"/>
                  <a:pt x="147006" y="162738"/>
                </a:cubicBezTo>
                <a:cubicBezTo>
                  <a:pt x="147620" y="162432"/>
                  <a:pt x="147926" y="162126"/>
                  <a:pt x="148540" y="161514"/>
                </a:cubicBezTo>
                <a:cubicBezTo>
                  <a:pt x="151913" y="158758"/>
                  <a:pt x="155286" y="156003"/>
                  <a:pt x="157739" y="153248"/>
                </a:cubicBezTo>
                <a:cubicBezTo>
                  <a:pt x="136580" y="153248"/>
                  <a:pt x="136580" y="153248"/>
                  <a:pt x="136580" y="153248"/>
                </a:cubicBezTo>
                <a:close/>
                <a:moveTo>
                  <a:pt x="290072" y="152896"/>
                </a:moveTo>
                <a:cubicBezTo>
                  <a:pt x="290072" y="152896"/>
                  <a:pt x="290072" y="152896"/>
                  <a:pt x="366482" y="152896"/>
                </a:cubicBezTo>
                <a:cubicBezTo>
                  <a:pt x="366482" y="152896"/>
                  <a:pt x="366482" y="152896"/>
                  <a:pt x="366482" y="156572"/>
                </a:cubicBezTo>
                <a:cubicBezTo>
                  <a:pt x="366482" y="156572"/>
                  <a:pt x="366482" y="156572"/>
                  <a:pt x="290072" y="156572"/>
                </a:cubicBezTo>
                <a:cubicBezTo>
                  <a:pt x="290072" y="156572"/>
                  <a:pt x="290072" y="156572"/>
                  <a:pt x="290072" y="152896"/>
                </a:cubicBezTo>
                <a:close/>
                <a:moveTo>
                  <a:pt x="415058" y="150738"/>
                </a:moveTo>
                <a:lnTo>
                  <a:pt x="415058" y="156928"/>
                </a:lnTo>
                <a:lnTo>
                  <a:pt x="418425" y="153833"/>
                </a:lnTo>
                <a:close/>
                <a:moveTo>
                  <a:pt x="414025" y="150571"/>
                </a:moveTo>
                <a:lnTo>
                  <a:pt x="410750" y="153833"/>
                </a:lnTo>
                <a:lnTo>
                  <a:pt x="414025" y="157095"/>
                </a:lnTo>
                <a:close/>
                <a:moveTo>
                  <a:pt x="432476" y="150541"/>
                </a:moveTo>
                <a:lnTo>
                  <a:pt x="429170" y="153833"/>
                </a:lnTo>
                <a:lnTo>
                  <a:pt x="432476" y="157125"/>
                </a:lnTo>
                <a:close/>
                <a:moveTo>
                  <a:pt x="396313" y="150477"/>
                </a:moveTo>
                <a:lnTo>
                  <a:pt x="392943" y="153833"/>
                </a:lnTo>
                <a:lnTo>
                  <a:pt x="396313" y="157190"/>
                </a:lnTo>
                <a:close/>
                <a:moveTo>
                  <a:pt x="396903" y="150440"/>
                </a:moveTo>
                <a:lnTo>
                  <a:pt x="396903" y="157227"/>
                </a:lnTo>
                <a:lnTo>
                  <a:pt x="400311" y="153833"/>
                </a:lnTo>
                <a:close/>
                <a:moveTo>
                  <a:pt x="433066" y="150375"/>
                </a:moveTo>
                <a:lnTo>
                  <a:pt x="433066" y="157292"/>
                </a:lnTo>
                <a:lnTo>
                  <a:pt x="436539" y="153833"/>
                </a:lnTo>
                <a:close/>
                <a:moveTo>
                  <a:pt x="432855" y="150164"/>
                </a:moveTo>
                <a:lnTo>
                  <a:pt x="432759" y="150260"/>
                </a:lnTo>
                <a:lnTo>
                  <a:pt x="432951" y="150260"/>
                </a:lnTo>
                <a:close/>
                <a:moveTo>
                  <a:pt x="414434" y="150164"/>
                </a:moveTo>
                <a:lnTo>
                  <a:pt x="414338" y="150260"/>
                </a:lnTo>
                <a:lnTo>
                  <a:pt x="414538" y="150260"/>
                </a:lnTo>
                <a:close/>
                <a:moveTo>
                  <a:pt x="396627" y="150164"/>
                </a:moveTo>
                <a:lnTo>
                  <a:pt x="396531" y="150260"/>
                </a:lnTo>
                <a:lnTo>
                  <a:pt x="396723" y="150260"/>
                </a:lnTo>
                <a:close/>
                <a:moveTo>
                  <a:pt x="290072" y="148608"/>
                </a:moveTo>
                <a:cubicBezTo>
                  <a:pt x="290072" y="148608"/>
                  <a:pt x="290072" y="148608"/>
                  <a:pt x="366482" y="148608"/>
                </a:cubicBezTo>
                <a:cubicBezTo>
                  <a:pt x="366482" y="148608"/>
                  <a:pt x="366482" y="148608"/>
                  <a:pt x="366482" y="151977"/>
                </a:cubicBezTo>
                <a:cubicBezTo>
                  <a:pt x="366482" y="151977"/>
                  <a:pt x="366482" y="151977"/>
                  <a:pt x="290072" y="151977"/>
                </a:cubicBezTo>
                <a:cubicBezTo>
                  <a:pt x="290072" y="151977"/>
                  <a:pt x="290072" y="151977"/>
                  <a:pt x="290072" y="148608"/>
                </a:cubicBezTo>
                <a:close/>
                <a:moveTo>
                  <a:pt x="133207" y="145594"/>
                </a:moveTo>
                <a:cubicBezTo>
                  <a:pt x="133207" y="146206"/>
                  <a:pt x="133514" y="147124"/>
                  <a:pt x="133514" y="147737"/>
                </a:cubicBezTo>
                <a:cubicBezTo>
                  <a:pt x="160499" y="147737"/>
                  <a:pt x="160499" y="147737"/>
                  <a:pt x="160499" y="147737"/>
                </a:cubicBezTo>
                <a:cubicBezTo>
                  <a:pt x="160806" y="147124"/>
                  <a:pt x="160806" y="146206"/>
                  <a:pt x="160806" y="145594"/>
                </a:cubicBezTo>
                <a:cubicBezTo>
                  <a:pt x="133207" y="145594"/>
                  <a:pt x="133207" y="145594"/>
                  <a:pt x="133207" y="145594"/>
                </a:cubicBezTo>
                <a:close/>
                <a:moveTo>
                  <a:pt x="389565" y="145578"/>
                </a:moveTo>
                <a:cubicBezTo>
                  <a:pt x="388951" y="145578"/>
                  <a:pt x="388644" y="146190"/>
                  <a:pt x="388644" y="146495"/>
                </a:cubicBezTo>
                <a:cubicBezTo>
                  <a:pt x="388644" y="146801"/>
                  <a:pt x="388951" y="147413"/>
                  <a:pt x="389565" y="147413"/>
                </a:cubicBezTo>
                <a:cubicBezTo>
                  <a:pt x="441758" y="147413"/>
                  <a:pt x="441758" y="147413"/>
                  <a:pt x="441758" y="147413"/>
                </a:cubicBezTo>
                <a:cubicBezTo>
                  <a:pt x="442065" y="147413"/>
                  <a:pt x="442372" y="146801"/>
                  <a:pt x="442372" y="146495"/>
                </a:cubicBezTo>
                <a:cubicBezTo>
                  <a:pt x="442372" y="146190"/>
                  <a:pt x="442065" y="145578"/>
                  <a:pt x="441758" y="145578"/>
                </a:cubicBezTo>
                <a:cubicBezTo>
                  <a:pt x="389565" y="145578"/>
                  <a:pt x="389565" y="145578"/>
                  <a:pt x="389565" y="145578"/>
                </a:cubicBezTo>
                <a:close/>
                <a:moveTo>
                  <a:pt x="30427" y="144060"/>
                </a:moveTo>
                <a:cubicBezTo>
                  <a:pt x="33189" y="144060"/>
                  <a:pt x="33189" y="144060"/>
                  <a:pt x="33189" y="144060"/>
                </a:cubicBezTo>
                <a:cubicBezTo>
                  <a:pt x="33803" y="144060"/>
                  <a:pt x="34110" y="144673"/>
                  <a:pt x="34110" y="145287"/>
                </a:cubicBezTo>
                <a:cubicBezTo>
                  <a:pt x="34110" y="151421"/>
                  <a:pt x="34110" y="151421"/>
                  <a:pt x="34110" y="151421"/>
                </a:cubicBezTo>
                <a:cubicBezTo>
                  <a:pt x="40555" y="151421"/>
                  <a:pt x="40555" y="151421"/>
                  <a:pt x="40555" y="151421"/>
                </a:cubicBezTo>
                <a:cubicBezTo>
                  <a:pt x="41169" y="151421"/>
                  <a:pt x="41476" y="151728"/>
                  <a:pt x="41476" y="152342"/>
                </a:cubicBezTo>
                <a:cubicBezTo>
                  <a:pt x="41476" y="155409"/>
                  <a:pt x="41476" y="155409"/>
                  <a:pt x="41476" y="155409"/>
                </a:cubicBezTo>
                <a:cubicBezTo>
                  <a:pt x="41476" y="156023"/>
                  <a:pt x="41169" y="156329"/>
                  <a:pt x="40555" y="156329"/>
                </a:cubicBezTo>
                <a:cubicBezTo>
                  <a:pt x="34110" y="156329"/>
                  <a:pt x="34110" y="156329"/>
                  <a:pt x="34110" y="156329"/>
                </a:cubicBezTo>
                <a:cubicBezTo>
                  <a:pt x="34110" y="162464"/>
                  <a:pt x="34110" y="162464"/>
                  <a:pt x="34110" y="162464"/>
                </a:cubicBezTo>
                <a:cubicBezTo>
                  <a:pt x="34110" y="163077"/>
                  <a:pt x="33803" y="163691"/>
                  <a:pt x="33189" y="163691"/>
                </a:cubicBezTo>
                <a:cubicBezTo>
                  <a:pt x="30427" y="163691"/>
                  <a:pt x="30427" y="163691"/>
                  <a:pt x="30427" y="163691"/>
                </a:cubicBezTo>
                <a:cubicBezTo>
                  <a:pt x="29813" y="163691"/>
                  <a:pt x="29199" y="163077"/>
                  <a:pt x="29199" y="162464"/>
                </a:cubicBezTo>
                <a:cubicBezTo>
                  <a:pt x="29199" y="156329"/>
                  <a:pt x="29199" y="156329"/>
                  <a:pt x="29199" y="156329"/>
                </a:cubicBezTo>
                <a:cubicBezTo>
                  <a:pt x="23061" y="156329"/>
                  <a:pt x="23061" y="156329"/>
                  <a:pt x="23061" y="156329"/>
                </a:cubicBezTo>
                <a:cubicBezTo>
                  <a:pt x="22447" y="156329"/>
                  <a:pt x="22140" y="156023"/>
                  <a:pt x="22140" y="155409"/>
                </a:cubicBezTo>
                <a:cubicBezTo>
                  <a:pt x="22140" y="152342"/>
                  <a:pt x="22140" y="152342"/>
                  <a:pt x="22140" y="152342"/>
                </a:cubicBezTo>
                <a:cubicBezTo>
                  <a:pt x="22140" y="151728"/>
                  <a:pt x="22447" y="151421"/>
                  <a:pt x="23061" y="151421"/>
                </a:cubicBezTo>
                <a:cubicBezTo>
                  <a:pt x="29199" y="151421"/>
                  <a:pt x="29199" y="151421"/>
                  <a:pt x="29199" y="151421"/>
                </a:cubicBezTo>
                <a:cubicBezTo>
                  <a:pt x="29199" y="145287"/>
                  <a:pt x="29199" y="145287"/>
                  <a:pt x="29199" y="145287"/>
                </a:cubicBezTo>
                <a:cubicBezTo>
                  <a:pt x="29199" y="144673"/>
                  <a:pt x="29813" y="144060"/>
                  <a:pt x="30427" y="144060"/>
                </a:cubicBezTo>
                <a:close/>
                <a:moveTo>
                  <a:pt x="115711" y="141994"/>
                </a:moveTo>
                <a:lnTo>
                  <a:pt x="115711" y="164445"/>
                </a:lnTo>
                <a:cubicBezTo>
                  <a:pt x="115711" y="172251"/>
                  <a:pt x="115711" y="177455"/>
                  <a:pt x="115711" y="180924"/>
                </a:cubicBezTo>
                <a:lnTo>
                  <a:pt x="115711" y="183913"/>
                </a:lnTo>
                <a:lnTo>
                  <a:pt x="115893" y="183913"/>
                </a:lnTo>
                <a:cubicBezTo>
                  <a:pt x="116657" y="183913"/>
                  <a:pt x="118184" y="183913"/>
                  <a:pt x="121237" y="183913"/>
                </a:cubicBezTo>
                <a:lnTo>
                  <a:pt x="123713" y="183913"/>
                </a:lnTo>
                <a:lnTo>
                  <a:pt x="123713" y="155772"/>
                </a:lnTo>
                <a:cubicBezTo>
                  <a:pt x="123713" y="149918"/>
                  <a:pt x="123713" y="145527"/>
                  <a:pt x="123713" y="142234"/>
                </a:cubicBezTo>
                <a:lnTo>
                  <a:pt x="123713" y="141994"/>
                </a:lnTo>
                <a:lnTo>
                  <a:pt x="117934" y="141994"/>
                </a:lnTo>
                <a:lnTo>
                  <a:pt x="117934" y="161309"/>
                </a:lnTo>
                <a:cubicBezTo>
                  <a:pt x="117934" y="181096"/>
                  <a:pt x="117934" y="181096"/>
                  <a:pt x="117934" y="181096"/>
                </a:cubicBezTo>
                <a:cubicBezTo>
                  <a:pt x="117934" y="181096"/>
                  <a:pt x="117589" y="181403"/>
                  <a:pt x="117589" y="181403"/>
                </a:cubicBezTo>
                <a:cubicBezTo>
                  <a:pt x="117245" y="181403"/>
                  <a:pt x="116901" y="181096"/>
                  <a:pt x="116901" y="181096"/>
                </a:cubicBezTo>
                <a:lnTo>
                  <a:pt x="116901" y="141994"/>
                </a:lnTo>
                <a:close/>
                <a:moveTo>
                  <a:pt x="100347" y="141994"/>
                </a:moveTo>
                <a:lnTo>
                  <a:pt x="100347" y="164445"/>
                </a:lnTo>
                <a:cubicBezTo>
                  <a:pt x="100347" y="172251"/>
                  <a:pt x="100347" y="177455"/>
                  <a:pt x="100347" y="180924"/>
                </a:cubicBezTo>
                <a:lnTo>
                  <a:pt x="100347" y="183913"/>
                </a:lnTo>
                <a:lnTo>
                  <a:pt x="100800" y="183913"/>
                </a:lnTo>
                <a:cubicBezTo>
                  <a:pt x="101525" y="183913"/>
                  <a:pt x="102976" y="183913"/>
                  <a:pt x="105877" y="183913"/>
                </a:cubicBezTo>
                <a:lnTo>
                  <a:pt x="108349" y="183913"/>
                </a:lnTo>
                <a:lnTo>
                  <a:pt x="108349" y="155772"/>
                </a:lnTo>
                <a:cubicBezTo>
                  <a:pt x="108349" y="149918"/>
                  <a:pt x="108349" y="145527"/>
                  <a:pt x="108349" y="142234"/>
                </a:cubicBezTo>
                <a:lnTo>
                  <a:pt x="108349" y="141994"/>
                </a:lnTo>
                <a:lnTo>
                  <a:pt x="102879" y="141994"/>
                </a:lnTo>
                <a:lnTo>
                  <a:pt x="102879" y="161309"/>
                </a:lnTo>
                <a:cubicBezTo>
                  <a:pt x="102879" y="181096"/>
                  <a:pt x="102879" y="181096"/>
                  <a:pt x="102879" y="181096"/>
                </a:cubicBezTo>
                <a:cubicBezTo>
                  <a:pt x="102879" y="181096"/>
                  <a:pt x="102534" y="181403"/>
                  <a:pt x="102190" y="181403"/>
                </a:cubicBezTo>
                <a:cubicBezTo>
                  <a:pt x="102190" y="181403"/>
                  <a:pt x="101846" y="181096"/>
                  <a:pt x="101846" y="181096"/>
                </a:cubicBezTo>
                <a:lnTo>
                  <a:pt x="101846" y="141994"/>
                </a:lnTo>
                <a:close/>
                <a:moveTo>
                  <a:pt x="85304" y="141994"/>
                </a:moveTo>
                <a:lnTo>
                  <a:pt x="85304" y="164445"/>
                </a:lnTo>
                <a:cubicBezTo>
                  <a:pt x="85304" y="172251"/>
                  <a:pt x="85304" y="177455"/>
                  <a:pt x="85304" y="180924"/>
                </a:cubicBezTo>
                <a:lnTo>
                  <a:pt x="85304" y="183913"/>
                </a:lnTo>
                <a:lnTo>
                  <a:pt x="85487" y="183913"/>
                </a:lnTo>
                <a:cubicBezTo>
                  <a:pt x="86251" y="183913"/>
                  <a:pt x="87778" y="183913"/>
                  <a:pt x="90831" y="183913"/>
                </a:cubicBezTo>
                <a:lnTo>
                  <a:pt x="93306" y="183913"/>
                </a:lnTo>
                <a:lnTo>
                  <a:pt x="93306" y="155772"/>
                </a:lnTo>
                <a:cubicBezTo>
                  <a:pt x="93306" y="149918"/>
                  <a:pt x="93306" y="145527"/>
                  <a:pt x="93306" y="142234"/>
                </a:cubicBezTo>
                <a:lnTo>
                  <a:pt x="93306" y="141994"/>
                </a:lnTo>
                <a:lnTo>
                  <a:pt x="92190" y="141994"/>
                </a:lnTo>
                <a:lnTo>
                  <a:pt x="87528" y="141994"/>
                </a:lnTo>
                <a:lnTo>
                  <a:pt x="87528" y="161309"/>
                </a:lnTo>
                <a:cubicBezTo>
                  <a:pt x="87528" y="181096"/>
                  <a:pt x="87528" y="181096"/>
                  <a:pt x="87528" y="181096"/>
                </a:cubicBezTo>
                <a:cubicBezTo>
                  <a:pt x="87528" y="181096"/>
                  <a:pt x="87233" y="181403"/>
                  <a:pt x="87233" y="181403"/>
                </a:cubicBezTo>
                <a:cubicBezTo>
                  <a:pt x="86938" y="181403"/>
                  <a:pt x="86938" y="181096"/>
                  <a:pt x="86938" y="181096"/>
                </a:cubicBezTo>
                <a:lnTo>
                  <a:pt x="86938" y="141994"/>
                </a:lnTo>
                <a:close/>
                <a:moveTo>
                  <a:pt x="69941" y="141994"/>
                </a:moveTo>
                <a:lnTo>
                  <a:pt x="69941" y="164445"/>
                </a:lnTo>
                <a:cubicBezTo>
                  <a:pt x="69941" y="172251"/>
                  <a:pt x="69941" y="177455"/>
                  <a:pt x="69941" y="180924"/>
                </a:cubicBezTo>
                <a:lnTo>
                  <a:pt x="69941" y="183913"/>
                </a:lnTo>
                <a:lnTo>
                  <a:pt x="70393" y="183913"/>
                </a:lnTo>
                <a:cubicBezTo>
                  <a:pt x="71118" y="183913"/>
                  <a:pt x="72569" y="183913"/>
                  <a:pt x="75470" y="183913"/>
                </a:cubicBezTo>
                <a:lnTo>
                  <a:pt x="77943" y="183913"/>
                </a:lnTo>
                <a:lnTo>
                  <a:pt x="77943" y="155772"/>
                </a:lnTo>
                <a:cubicBezTo>
                  <a:pt x="77943" y="149918"/>
                  <a:pt x="77943" y="145527"/>
                  <a:pt x="77943" y="142234"/>
                </a:cubicBezTo>
                <a:lnTo>
                  <a:pt x="77943" y="141994"/>
                </a:lnTo>
                <a:lnTo>
                  <a:pt x="73985" y="141994"/>
                </a:lnTo>
                <a:lnTo>
                  <a:pt x="72473" y="141994"/>
                </a:lnTo>
                <a:lnTo>
                  <a:pt x="72473" y="161309"/>
                </a:lnTo>
                <a:cubicBezTo>
                  <a:pt x="72473" y="181096"/>
                  <a:pt x="72473" y="181096"/>
                  <a:pt x="72473" y="181096"/>
                </a:cubicBezTo>
                <a:cubicBezTo>
                  <a:pt x="72473" y="181096"/>
                  <a:pt x="72177" y="181403"/>
                  <a:pt x="71882" y="181403"/>
                </a:cubicBezTo>
                <a:cubicBezTo>
                  <a:pt x="71882" y="181403"/>
                  <a:pt x="71587" y="181096"/>
                  <a:pt x="71587" y="181096"/>
                </a:cubicBezTo>
                <a:lnTo>
                  <a:pt x="71587" y="141994"/>
                </a:lnTo>
                <a:close/>
                <a:moveTo>
                  <a:pt x="134127" y="137634"/>
                </a:moveTo>
                <a:cubicBezTo>
                  <a:pt x="133820" y="138246"/>
                  <a:pt x="133514" y="139164"/>
                  <a:pt x="133514" y="140083"/>
                </a:cubicBezTo>
                <a:cubicBezTo>
                  <a:pt x="160499" y="140083"/>
                  <a:pt x="160499" y="140083"/>
                  <a:pt x="160499" y="140083"/>
                </a:cubicBezTo>
                <a:cubicBezTo>
                  <a:pt x="160499" y="139164"/>
                  <a:pt x="160192" y="138246"/>
                  <a:pt x="159886" y="137634"/>
                </a:cubicBezTo>
                <a:cubicBezTo>
                  <a:pt x="134127" y="137634"/>
                  <a:pt x="134127" y="137634"/>
                  <a:pt x="134127" y="137634"/>
                </a:cubicBezTo>
                <a:close/>
                <a:moveTo>
                  <a:pt x="11030" y="136732"/>
                </a:moveTo>
                <a:cubicBezTo>
                  <a:pt x="8576" y="136732"/>
                  <a:pt x="7043" y="138570"/>
                  <a:pt x="7043" y="140714"/>
                </a:cubicBezTo>
                <a:cubicBezTo>
                  <a:pt x="7043" y="188188"/>
                  <a:pt x="7043" y="188188"/>
                  <a:pt x="7043" y="188188"/>
                </a:cubicBezTo>
                <a:cubicBezTo>
                  <a:pt x="7043" y="190332"/>
                  <a:pt x="8576" y="192170"/>
                  <a:pt x="11030" y="192170"/>
                </a:cubicBezTo>
                <a:cubicBezTo>
                  <a:pt x="52438" y="192170"/>
                  <a:pt x="52438" y="192170"/>
                  <a:pt x="52438" y="192170"/>
                </a:cubicBezTo>
                <a:cubicBezTo>
                  <a:pt x="54585" y="192170"/>
                  <a:pt x="56426" y="190332"/>
                  <a:pt x="56426" y="188188"/>
                </a:cubicBezTo>
                <a:cubicBezTo>
                  <a:pt x="56426" y="140714"/>
                  <a:pt x="56426" y="140714"/>
                  <a:pt x="56426" y="140714"/>
                </a:cubicBezTo>
                <a:cubicBezTo>
                  <a:pt x="56426" y="138570"/>
                  <a:pt x="54585" y="136732"/>
                  <a:pt x="52438" y="136732"/>
                </a:cubicBezTo>
                <a:cubicBezTo>
                  <a:pt x="11030" y="136732"/>
                  <a:pt x="11030" y="136732"/>
                  <a:pt x="11030" y="136732"/>
                </a:cubicBezTo>
                <a:close/>
                <a:moveTo>
                  <a:pt x="415058" y="135805"/>
                </a:moveTo>
                <a:lnTo>
                  <a:pt x="415058" y="142252"/>
                </a:lnTo>
                <a:lnTo>
                  <a:pt x="418425" y="139157"/>
                </a:lnTo>
                <a:close/>
                <a:moveTo>
                  <a:pt x="414025" y="135624"/>
                </a:moveTo>
                <a:lnTo>
                  <a:pt x="410750" y="139157"/>
                </a:lnTo>
                <a:lnTo>
                  <a:pt x="414025" y="142420"/>
                </a:lnTo>
                <a:close/>
                <a:moveTo>
                  <a:pt x="432476" y="135591"/>
                </a:moveTo>
                <a:lnTo>
                  <a:pt x="429170" y="139157"/>
                </a:lnTo>
                <a:lnTo>
                  <a:pt x="432476" y="142449"/>
                </a:lnTo>
                <a:close/>
                <a:moveTo>
                  <a:pt x="396313" y="135521"/>
                </a:moveTo>
                <a:lnTo>
                  <a:pt x="392943" y="139157"/>
                </a:lnTo>
                <a:lnTo>
                  <a:pt x="396313" y="142514"/>
                </a:lnTo>
                <a:close/>
                <a:moveTo>
                  <a:pt x="396903" y="135481"/>
                </a:moveTo>
                <a:lnTo>
                  <a:pt x="396903" y="142551"/>
                </a:lnTo>
                <a:lnTo>
                  <a:pt x="400311" y="139157"/>
                </a:lnTo>
                <a:close/>
                <a:moveTo>
                  <a:pt x="433066" y="135411"/>
                </a:moveTo>
                <a:lnTo>
                  <a:pt x="433066" y="142616"/>
                </a:lnTo>
                <a:lnTo>
                  <a:pt x="436539" y="139157"/>
                </a:lnTo>
                <a:close/>
                <a:moveTo>
                  <a:pt x="432855" y="135183"/>
                </a:moveTo>
                <a:lnTo>
                  <a:pt x="432835" y="135204"/>
                </a:lnTo>
                <a:lnTo>
                  <a:pt x="432874" y="135204"/>
                </a:lnTo>
                <a:close/>
                <a:moveTo>
                  <a:pt x="414434" y="135183"/>
                </a:moveTo>
                <a:lnTo>
                  <a:pt x="414414" y="135204"/>
                </a:lnTo>
                <a:lnTo>
                  <a:pt x="414455" y="135204"/>
                </a:lnTo>
                <a:close/>
                <a:moveTo>
                  <a:pt x="396627" y="135183"/>
                </a:moveTo>
                <a:lnTo>
                  <a:pt x="396607" y="135204"/>
                </a:lnTo>
                <a:lnTo>
                  <a:pt x="396646" y="135204"/>
                </a:lnTo>
                <a:close/>
                <a:moveTo>
                  <a:pt x="232646" y="133285"/>
                </a:moveTo>
                <a:cubicBezTo>
                  <a:pt x="236017" y="143129"/>
                  <a:pt x="236017" y="143129"/>
                  <a:pt x="236017" y="143129"/>
                </a:cubicBezTo>
                <a:cubicBezTo>
                  <a:pt x="220385" y="148050"/>
                  <a:pt x="207205" y="148973"/>
                  <a:pt x="192493" y="159125"/>
                </a:cubicBezTo>
                <a:cubicBezTo>
                  <a:pt x="190347" y="160663"/>
                  <a:pt x="183604" y="166200"/>
                  <a:pt x="181765" y="163124"/>
                </a:cubicBezTo>
                <a:cubicBezTo>
                  <a:pt x="180233" y="160970"/>
                  <a:pt x="188202" y="156049"/>
                  <a:pt x="190654" y="154203"/>
                </a:cubicBezTo>
                <a:cubicBezTo>
                  <a:pt x="186363" y="155741"/>
                  <a:pt x="180846" y="158202"/>
                  <a:pt x="176555" y="158817"/>
                </a:cubicBezTo>
                <a:cubicBezTo>
                  <a:pt x="175941" y="159125"/>
                  <a:pt x="175635" y="159125"/>
                  <a:pt x="175328" y="159125"/>
                </a:cubicBezTo>
                <a:cubicBezTo>
                  <a:pt x="171957" y="159432"/>
                  <a:pt x="171957" y="156971"/>
                  <a:pt x="174409" y="155433"/>
                </a:cubicBezTo>
                <a:cubicBezTo>
                  <a:pt x="174715" y="155126"/>
                  <a:pt x="175635" y="154510"/>
                  <a:pt x="176555" y="154203"/>
                </a:cubicBezTo>
                <a:cubicBezTo>
                  <a:pt x="179620" y="152665"/>
                  <a:pt x="184830" y="151127"/>
                  <a:pt x="187282" y="149589"/>
                </a:cubicBezTo>
                <a:cubicBezTo>
                  <a:pt x="185137" y="149589"/>
                  <a:pt x="180539" y="151434"/>
                  <a:pt x="176555" y="152665"/>
                </a:cubicBezTo>
                <a:cubicBezTo>
                  <a:pt x="174715" y="153280"/>
                  <a:pt x="172876" y="153895"/>
                  <a:pt x="171344" y="154203"/>
                </a:cubicBezTo>
                <a:cubicBezTo>
                  <a:pt x="168892" y="154510"/>
                  <a:pt x="167972" y="152972"/>
                  <a:pt x="168585" y="151742"/>
                </a:cubicBezTo>
                <a:cubicBezTo>
                  <a:pt x="168892" y="150819"/>
                  <a:pt x="170118" y="149896"/>
                  <a:pt x="171957" y="149281"/>
                </a:cubicBezTo>
                <a:cubicBezTo>
                  <a:pt x="173489" y="148666"/>
                  <a:pt x="175022" y="148050"/>
                  <a:pt x="176555" y="147435"/>
                </a:cubicBezTo>
                <a:cubicBezTo>
                  <a:pt x="179620" y="146205"/>
                  <a:pt x="182685" y="145282"/>
                  <a:pt x="186056" y="143436"/>
                </a:cubicBezTo>
                <a:cubicBezTo>
                  <a:pt x="184217" y="143436"/>
                  <a:pt x="180233" y="144667"/>
                  <a:pt x="176555" y="145282"/>
                </a:cubicBezTo>
                <a:cubicBezTo>
                  <a:pt x="172876" y="145590"/>
                  <a:pt x="169505" y="145897"/>
                  <a:pt x="169198" y="143744"/>
                </a:cubicBezTo>
                <a:cubicBezTo>
                  <a:pt x="168892" y="140668"/>
                  <a:pt x="172876" y="140052"/>
                  <a:pt x="175941" y="139745"/>
                </a:cubicBezTo>
                <a:cubicBezTo>
                  <a:pt x="176248" y="139745"/>
                  <a:pt x="176248" y="139745"/>
                  <a:pt x="176555" y="139745"/>
                </a:cubicBezTo>
                <a:cubicBezTo>
                  <a:pt x="178087" y="139437"/>
                  <a:pt x="179926" y="139130"/>
                  <a:pt x="181765" y="138822"/>
                </a:cubicBezTo>
                <a:cubicBezTo>
                  <a:pt x="181459" y="139130"/>
                  <a:pt x="181152" y="140052"/>
                  <a:pt x="181152" y="140668"/>
                </a:cubicBezTo>
                <a:cubicBezTo>
                  <a:pt x="181152" y="140975"/>
                  <a:pt x="181152" y="140975"/>
                  <a:pt x="181152" y="140975"/>
                </a:cubicBezTo>
                <a:cubicBezTo>
                  <a:pt x="181152" y="140975"/>
                  <a:pt x="181152" y="141283"/>
                  <a:pt x="181459" y="141591"/>
                </a:cubicBezTo>
                <a:cubicBezTo>
                  <a:pt x="181765" y="142821"/>
                  <a:pt x="183604" y="143129"/>
                  <a:pt x="185750" y="143129"/>
                </a:cubicBezTo>
                <a:cubicBezTo>
                  <a:pt x="187589" y="143129"/>
                  <a:pt x="190041" y="142821"/>
                  <a:pt x="192799" y="142206"/>
                </a:cubicBezTo>
                <a:cubicBezTo>
                  <a:pt x="197704" y="141283"/>
                  <a:pt x="202914" y="139437"/>
                  <a:pt x="205060" y="138207"/>
                </a:cubicBezTo>
                <a:cubicBezTo>
                  <a:pt x="209964" y="138514"/>
                  <a:pt x="216707" y="140360"/>
                  <a:pt x="223144" y="142206"/>
                </a:cubicBezTo>
                <a:cubicBezTo>
                  <a:pt x="225289" y="143129"/>
                  <a:pt x="227435" y="143744"/>
                  <a:pt x="229581" y="144051"/>
                </a:cubicBezTo>
                <a:cubicBezTo>
                  <a:pt x="229581" y="144359"/>
                  <a:pt x="229887" y="144051"/>
                  <a:pt x="230194" y="143744"/>
                </a:cubicBezTo>
                <a:cubicBezTo>
                  <a:pt x="232646" y="133285"/>
                  <a:pt x="232646" y="133285"/>
                  <a:pt x="232646" y="133285"/>
                </a:cubicBezTo>
                <a:close/>
                <a:moveTo>
                  <a:pt x="387416" y="131514"/>
                </a:moveTo>
                <a:cubicBezTo>
                  <a:pt x="443293" y="131514"/>
                  <a:pt x="443293" y="131514"/>
                  <a:pt x="443293" y="131514"/>
                </a:cubicBezTo>
                <a:cubicBezTo>
                  <a:pt x="444828" y="131514"/>
                  <a:pt x="446056" y="132737"/>
                  <a:pt x="446056" y="134266"/>
                </a:cubicBezTo>
                <a:cubicBezTo>
                  <a:pt x="446056" y="158725"/>
                  <a:pt x="446056" y="158725"/>
                  <a:pt x="446056" y="158725"/>
                </a:cubicBezTo>
                <a:cubicBezTo>
                  <a:pt x="446056" y="160254"/>
                  <a:pt x="444828" y="161477"/>
                  <a:pt x="443293" y="161477"/>
                </a:cubicBezTo>
                <a:cubicBezTo>
                  <a:pt x="387416" y="161477"/>
                  <a:pt x="387416" y="161477"/>
                  <a:pt x="387416" y="161477"/>
                </a:cubicBezTo>
                <a:cubicBezTo>
                  <a:pt x="385881" y="161477"/>
                  <a:pt x="384653" y="160254"/>
                  <a:pt x="384653" y="158725"/>
                </a:cubicBezTo>
                <a:cubicBezTo>
                  <a:pt x="384653" y="134266"/>
                  <a:pt x="384653" y="134266"/>
                  <a:pt x="384653" y="134266"/>
                </a:cubicBezTo>
                <a:cubicBezTo>
                  <a:pt x="384653" y="132737"/>
                  <a:pt x="385881" y="131514"/>
                  <a:pt x="387416" y="131514"/>
                </a:cubicBezTo>
                <a:close/>
                <a:moveTo>
                  <a:pt x="4589" y="131219"/>
                </a:moveTo>
                <a:cubicBezTo>
                  <a:pt x="58880" y="131219"/>
                  <a:pt x="58880" y="131219"/>
                  <a:pt x="58880" y="131219"/>
                </a:cubicBezTo>
                <a:cubicBezTo>
                  <a:pt x="61027" y="131219"/>
                  <a:pt x="63174" y="133363"/>
                  <a:pt x="63174" y="135507"/>
                </a:cubicBezTo>
                <a:cubicBezTo>
                  <a:pt x="63174" y="216673"/>
                  <a:pt x="63174" y="216673"/>
                  <a:pt x="63174" y="216673"/>
                </a:cubicBezTo>
                <a:cubicBezTo>
                  <a:pt x="63174" y="219123"/>
                  <a:pt x="61027" y="220961"/>
                  <a:pt x="58880" y="220961"/>
                </a:cubicBezTo>
                <a:cubicBezTo>
                  <a:pt x="4589" y="220961"/>
                  <a:pt x="4589" y="220961"/>
                  <a:pt x="4589" y="220961"/>
                </a:cubicBezTo>
                <a:cubicBezTo>
                  <a:pt x="2135" y="220961"/>
                  <a:pt x="295" y="219123"/>
                  <a:pt x="295" y="216673"/>
                </a:cubicBezTo>
                <a:cubicBezTo>
                  <a:pt x="295" y="135507"/>
                  <a:pt x="295" y="135507"/>
                  <a:pt x="295" y="135507"/>
                </a:cubicBezTo>
                <a:cubicBezTo>
                  <a:pt x="295" y="133363"/>
                  <a:pt x="2135" y="131219"/>
                  <a:pt x="4589" y="131219"/>
                </a:cubicBezTo>
                <a:close/>
                <a:moveTo>
                  <a:pt x="374461" y="130843"/>
                </a:moveTo>
                <a:cubicBezTo>
                  <a:pt x="371699" y="131455"/>
                  <a:pt x="368630" y="133293"/>
                  <a:pt x="366482" y="136356"/>
                </a:cubicBezTo>
                <a:cubicBezTo>
                  <a:pt x="366482" y="136356"/>
                  <a:pt x="366482" y="136356"/>
                  <a:pt x="366482" y="147383"/>
                </a:cubicBezTo>
                <a:cubicBezTo>
                  <a:pt x="366482" y="147383"/>
                  <a:pt x="366482" y="147383"/>
                  <a:pt x="290072" y="147383"/>
                </a:cubicBezTo>
                <a:cubicBezTo>
                  <a:pt x="290072" y="147383"/>
                  <a:pt x="290072" y="147383"/>
                  <a:pt x="290072" y="136356"/>
                </a:cubicBezTo>
                <a:cubicBezTo>
                  <a:pt x="290072" y="136356"/>
                  <a:pt x="290072" y="136356"/>
                  <a:pt x="288230" y="136050"/>
                </a:cubicBezTo>
                <a:cubicBezTo>
                  <a:pt x="287617" y="136050"/>
                  <a:pt x="287003" y="135743"/>
                  <a:pt x="286389" y="135743"/>
                </a:cubicBezTo>
                <a:cubicBezTo>
                  <a:pt x="281479" y="134825"/>
                  <a:pt x="275342" y="133599"/>
                  <a:pt x="273194" y="138806"/>
                </a:cubicBezTo>
                <a:cubicBezTo>
                  <a:pt x="271659" y="142788"/>
                  <a:pt x="271966" y="144626"/>
                  <a:pt x="272887" y="147689"/>
                </a:cubicBezTo>
                <a:cubicBezTo>
                  <a:pt x="273194" y="148914"/>
                  <a:pt x="273501" y="150752"/>
                  <a:pt x="273808" y="152590"/>
                </a:cubicBezTo>
                <a:cubicBezTo>
                  <a:pt x="274421" y="156572"/>
                  <a:pt x="276569" y="159329"/>
                  <a:pt x="279331" y="160860"/>
                </a:cubicBezTo>
                <a:cubicBezTo>
                  <a:pt x="282400" y="162698"/>
                  <a:pt x="286389" y="163617"/>
                  <a:pt x="290072" y="163617"/>
                </a:cubicBezTo>
                <a:cubicBezTo>
                  <a:pt x="290072" y="163617"/>
                  <a:pt x="290072" y="163617"/>
                  <a:pt x="290072" y="157491"/>
                </a:cubicBezTo>
                <a:cubicBezTo>
                  <a:pt x="290072" y="157491"/>
                  <a:pt x="290072" y="157491"/>
                  <a:pt x="366482" y="157491"/>
                </a:cubicBezTo>
                <a:cubicBezTo>
                  <a:pt x="366482" y="157491"/>
                  <a:pt x="366482" y="157491"/>
                  <a:pt x="366482" y="165148"/>
                </a:cubicBezTo>
                <a:cubicBezTo>
                  <a:pt x="366482" y="164842"/>
                  <a:pt x="366789" y="164536"/>
                  <a:pt x="367096" y="164536"/>
                </a:cubicBezTo>
                <a:cubicBezTo>
                  <a:pt x="370471" y="161473"/>
                  <a:pt x="372619" y="159635"/>
                  <a:pt x="372619" y="153815"/>
                </a:cubicBezTo>
                <a:cubicBezTo>
                  <a:pt x="372313" y="145851"/>
                  <a:pt x="375074" y="143095"/>
                  <a:pt x="377529" y="140644"/>
                </a:cubicBezTo>
                <a:cubicBezTo>
                  <a:pt x="378757" y="139725"/>
                  <a:pt x="379984" y="138500"/>
                  <a:pt x="380291" y="136969"/>
                </a:cubicBezTo>
                <a:cubicBezTo>
                  <a:pt x="380905" y="134825"/>
                  <a:pt x="380598" y="133293"/>
                  <a:pt x="379984" y="132374"/>
                </a:cubicBezTo>
                <a:cubicBezTo>
                  <a:pt x="379371" y="131455"/>
                  <a:pt x="378757" y="131149"/>
                  <a:pt x="377836" y="130843"/>
                </a:cubicBezTo>
                <a:cubicBezTo>
                  <a:pt x="376609" y="130536"/>
                  <a:pt x="375688" y="130536"/>
                  <a:pt x="374461" y="130843"/>
                </a:cubicBezTo>
                <a:close/>
                <a:moveTo>
                  <a:pt x="113865" y="130515"/>
                </a:moveTo>
                <a:cubicBezTo>
                  <a:pt x="113865" y="130515"/>
                  <a:pt x="113557" y="130822"/>
                  <a:pt x="113557" y="130822"/>
                </a:cubicBezTo>
                <a:cubicBezTo>
                  <a:pt x="113249" y="130822"/>
                  <a:pt x="113249" y="131128"/>
                  <a:pt x="113249" y="131435"/>
                </a:cubicBezTo>
                <a:cubicBezTo>
                  <a:pt x="113249" y="131435"/>
                  <a:pt x="113249" y="131742"/>
                  <a:pt x="113557" y="131742"/>
                </a:cubicBezTo>
                <a:cubicBezTo>
                  <a:pt x="113557" y="132048"/>
                  <a:pt x="113865" y="132048"/>
                  <a:pt x="113865" y="132048"/>
                </a:cubicBezTo>
                <a:cubicBezTo>
                  <a:pt x="115096" y="132048"/>
                  <a:pt x="115096" y="132048"/>
                  <a:pt x="115096" y="132048"/>
                </a:cubicBezTo>
                <a:cubicBezTo>
                  <a:pt x="115711" y="132048"/>
                  <a:pt x="115711" y="132048"/>
                  <a:pt x="115711" y="132048"/>
                </a:cubicBezTo>
                <a:cubicBezTo>
                  <a:pt x="115711" y="132355"/>
                  <a:pt x="115711" y="132355"/>
                  <a:pt x="115711" y="132355"/>
                </a:cubicBezTo>
                <a:lnTo>
                  <a:pt x="115711" y="139780"/>
                </a:lnTo>
                <a:lnTo>
                  <a:pt x="116901" y="139780"/>
                </a:lnTo>
                <a:lnTo>
                  <a:pt x="116901" y="134193"/>
                </a:lnTo>
                <a:cubicBezTo>
                  <a:pt x="116901" y="133886"/>
                  <a:pt x="117245" y="133580"/>
                  <a:pt x="117589" y="133580"/>
                </a:cubicBezTo>
                <a:cubicBezTo>
                  <a:pt x="117589" y="133580"/>
                  <a:pt x="117934" y="133886"/>
                  <a:pt x="117934" y="134193"/>
                </a:cubicBezTo>
                <a:lnTo>
                  <a:pt x="117934" y="139780"/>
                </a:lnTo>
                <a:lnTo>
                  <a:pt x="119976" y="139780"/>
                </a:lnTo>
                <a:lnTo>
                  <a:pt x="123713" y="139780"/>
                </a:lnTo>
                <a:lnTo>
                  <a:pt x="123713" y="135282"/>
                </a:lnTo>
                <a:cubicBezTo>
                  <a:pt x="123713" y="132355"/>
                  <a:pt x="123713" y="132355"/>
                  <a:pt x="123713" y="132355"/>
                </a:cubicBezTo>
                <a:cubicBezTo>
                  <a:pt x="123713" y="132048"/>
                  <a:pt x="123713" y="132048"/>
                  <a:pt x="123713" y="132048"/>
                </a:cubicBezTo>
                <a:cubicBezTo>
                  <a:pt x="124021" y="132048"/>
                  <a:pt x="124021" y="132048"/>
                  <a:pt x="124021" y="132048"/>
                </a:cubicBezTo>
                <a:cubicBezTo>
                  <a:pt x="125252" y="132048"/>
                  <a:pt x="125252" y="132048"/>
                  <a:pt x="125252" y="132048"/>
                </a:cubicBezTo>
                <a:cubicBezTo>
                  <a:pt x="125560" y="132048"/>
                  <a:pt x="125560" y="132048"/>
                  <a:pt x="125867" y="131742"/>
                </a:cubicBezTo>
                <a:cubicBezTo>
                  <a:pt x="125867" y="131742"/>
                  <a:pt x="125867" y="131435"/>
                  <a:pt x="125867" y="131435"/>
                </a:cubicBezTo>
                <a:cubicBezTo>
                  <a:pt x="125867" y="131128"/>
                  <a:pt x="125867" y="130822"/>
                  <a:pt x="125867" y="130822"/>
                </a:cubicBezTo>
                <a:cubicBezTo>
                  <a:pt x="125560" y="130822"/>
                  <a:pt x="125560" y="130515"/>
                  <a:pt x="125252" y="130515"/>
                </a:cubicBezTo>
                <a:cubicBezTo>
                  <a:pt x="113865" y="130515"/>
                  <a:pt x="113865" y="130515"/>
                  <a:pt x="113865" y="130515"/>
                </a:cubicBezTo>
                <a:close/>
                <a:moveTo>
                  <a:pt x="98809" y="130515"/>
                </a:moveTo>
                <a:cubicBezTo>
                  <a:pt x="98501" y="130515"/>
                  <a:pt x="98501" y="130822"/>
                  <a:pt x="98193" y="130822"/>
                </a:cubicBezTo>
                <a:cubicBezTo>
                  <a:pt x="98193" y="130822"/>
                  <a:pt x="98193" y="131128"/>
                  <a:pt x="98193" y="131435"/>
                </a:cubicBezTo>
                <a:cubicBezTo>
                  <a:pt x="98193" y="131435"/>
                  <a:pt x="98193" y="131742"/>
                  <a:pt x="98193" y="131742"/>
                </a:cubicBezTo>
                <a:cubicBezTo>
                  <a:pt x="98501" y="132048"/>
                  <a:pt x="98501" y="132048"/>
                  <a:pt x="98809" y="132048"/>
                </a:cubicBezTo>
                <a:cubicBezTo>
                  <a:pt x="100040" y="132048"/>
                  <a:pt x="100040" y="132048"/>
                  <a:pt x="100040" y="132048"/>
                </a:cubicBezTo>
                <a:cubicBezTo>
                  <a:pt x="100347" y="132048"/>
                  <a:pt x="100347" y="132048"/>
                  <a:pt x="100347" y="132048"/>
                </a:cubicBezTo>
                <a:cubicBezTo>
                  <a:pt x="100347" y="132355"/>
                  <a:pt x="100347" y="132355"/>
                  <a:pt x="100347" y="132355"/>
                </a:cubicBezTo>
                <a:lnTo>
                  <a:pt x="100347" y="139780"/>
                </a:lnTo>
                <a:lnTo>
                  <a:pt x="101771" y="139780"/>
                </a:lnTo>
                <a:lnTo>
                  <a:pt x="101846" y="139780"/>
                </a:lnTo>
                <a:lnTo>
                  <a:pt x="101846" y="134193"/>
                </a:lnTo>
                <a:cubicBezTo>
                  <a:pt x="101846" y="133886"/>
                  <a:pt x="102190" y="133580"/>
                  <a:pt x="102190" y="133580"/>
                </a:cubicBezTo>
                <a:cubicBezTo>
                  <a:pt x="102534" y="133580"/>
                  <a:pt x="102879" y="133886"/>
                  <a:pt x="102879" y="134193"/>
                </a:cubicBezTo>
                <a:lnTo>
                  <a:pt x="102879" y="139780"/>
                </a:lnTo>
                <a:lnTo>
                  <a:pt x="108349" y="139780"/>
                </a:lnTo>
                <a:lnTo>
                  <a:pt x="108349" y="135282"/>
                </a:lnTo>
                <a:cubicBezTo>
                  <a:pt x="108349" y="132355"/>
                  <a:pt x="108349" y="132355"/>
                  <a:pt x="108349" y="132355"/>
                </a:cubicBezTo>
                <a:cubicBezTo>
                  <a:pt x="108349" y="132048"/>
                  <a:pt x="108349" y="132048"/>
                  <a:pt x="108349" y="132048"/>
                </a:cubicBezTo>
                <a:cubicBezTo>
                  <a:pt x="108965" y="132048"/>
                  <a:pt x="108965" y="132048"/>
                  <a:pt x="108965" y="132048"/>
                </a:cubicBezTo>
                <a:cubicBezTo>
                  <a:pt x="109888" y="132048"/>
                  <a:pt x="109888" y="132048"/>
                  <a:pt x="109888" y="132048"/>
                </a:cubicBezTo>
                <a:cubicBezTo>
                  <a:pt x="110196" y="132048"/>
                  <a:pt x="110504" y="132048"/>
                  <a:pt x="110504" y="131742"/>
                </a:cubicBezTo>
                <a:cubicBezTo>
                  <a:pt x="110504" y="131742"/>
                  <a:pt x="110811" y="131435"/>
                  <a:pt x="110811" y="131435"/>
                </a:cubicBezTo>
                <a:cubicBezTo>
                  <a:pt x="110811" y="131128"/>
                  <a:pt x="110504" y="130822"/>
                  <a:pt x="110504" y="130822"/>
                </a:cubicBezTo>
                <a:cubicBezTo>
                  <a:pt x="110504" y="130822"/>
                  <a:pt x="110196" y="130515"/>
                  <a:pt x="109888" y="130515"/>
                </a:cubicBezTo>
                <a:cubicBezTo>
                  <a:pt x="98809" y="130515"/>
                  <a:pt x="98809" y="130515"/>
                  <a:pt x="98809" y="130515"/>
                </a:cubicBezTo>
                <a:close/>
                <a:moveTo>
                  <a:pt x="83458" y="130515"/>
                </a:moveTo>
                <a:cubicBezTo>
                  <a:pt x="83458" y="130515"/>
                  <a:pt x="83150" y="130822"/>
                  <a:pt x="83150" y="130822"/>
                </a:cubicBezTo>
                <a:cubicBezTo>
                  <a:pt x="82842" y="130822"/>
                  <a:pt x="82842" y="131128"/>
                  <a:pt x="82842" y="131435"/>
                </a:cubicBezTo>
                <a:cubicBezTo>
                  <a:pt x="82842" y="131435"/>
                  <a:pt x="82842" y="131742"/>
                  <a:pt x="83150" y="131742"/>
                </a:cubicBezTo>
                <a:cubicBezTo>
                  <a:pt x="83150" y="132048"/>
                  <a:pt x="83458" y="132048"/>
                  <a:pt x="83458" y="132048"/>
                </a:cubicBezTo>
                <a:cubicBezTo>
                  <a:pt x="84689" y="132048"/>
                  <a:pt x="84689" y="132048"/>
                  <a:pt x="84689" y="132048"/>
                </a:cubicBezTo>
                <a:cubicBezTo>
                  <a:pt x="85304" y="132048"/>
                  <a:pt x="85304" y="132048"/>
                  <a:pt x="85304" y="132048"/>
                </a:cubicBezTo>
                <a:cubicBezTo>
                  <a:pt x="85304" y="132355"/>
                  <a:pt x="85304" y="132355"/>
                  <a:pt x="85304" y="132355"/>
                </a:cubicBezTo>
                <a:lnTo>
                  <a:pt x="85304" y="139780"/>
                </a:lnTo>
                <a:lnTo>
                  <a:pt x="86938" y="139780"/>
                </a:lnTo>
                <a:lnTo>
                  <a:pt x="86938" y="134193"/>
                </a:lnTo>
                <a:cubicBezTo>
                  <a:pt x="86938" y="133886"/>
                  <a:pt x="86938" y="133580"/>
                  <a:pt x="87233" y="133580"/>
                </a:cubicBezTo>
                <a:cubicBezTo>
                  <a:pt x="87233" y="133580"/>
                  <a:pt x="87528" y="133886"/>
                  <a:pt x="87528" y="134193"/>
                </a:cubicBezTo>
                <a:lnTo>
                  <a:pt x="87528" y="139780"/>
                </a:lnTo>
                <a:lnTo>
                  <a:pt x="93306" y="139780"/>
                </a:lnTo>
                <a:lnTo>
                  <a:pt x="93306" y="135282"/>
                </a:lnTo>
                <a:cubicBezTo>
                  <a:pt x="93306" y="132355"/>
                  <a:pt x="93306" y="132355"/>
                  <a:pt x="93306" y="132355"/>
                </a:cubicBezTo>
                <a:cubicBezTo>
                  <a:pt x="93306" y="132048"/>
                  <a:pt x="93306" y="132048"/>
                  <a:pt x="93306" y="132048"/>
                </a:cubicBezTo>
                <a:cubicBezTo>
                  <a:pt x="93614" y="132048"/>
                  <a:pt x="93614" y="132048"/>
                  <a:pt x="93614" y="132048"/>
                </a:cubicBezTo>
                <a:cubicBezTo>
                  <a:pt x="94845" y="132048"/>
                  <a:pt x="94845" y="132048"/>
                  <a:pt x="94845" y="132048"/>
                </a:cubicBezTo>
                <a:cubicBezTo>
                  <a:pt x="95153" y="132048"/>
                  <a:pt x="95153" y="132048"/>
                  <a:pt x="95460" y="131742"/>
                </a:cubicBezTo>
                <a:cubicBezTo>
                  <a:pt x="95460" y="131742"/>
                  <a:pt x="95460" y="131435"/>
                  <a:pt x="95460" y="131435"/>
                </a:cubicBezTo>
                <a:cubicBezTo>
                  <a:pt x="95460" y="131128"/>
                  <a:pt x="95460" y="130822"/>
                  <a:pt x="95460" y="130822"/>
                </a:cubicBezTo>
                <a:cubicBezTo>
                  <a:pt x="95153" y="130822"/>
                  <a:pt x="95153" y="130515"/>
                  <a:pt x="94845" y="130515"/>
                </a:cubicBezTo>
                <a:cubicBezTo>
                  <a:pt x="83458" y="130515"/>
                  <a:pt x="83458" y="130515"/>
                  <a:pt x="83458" y="130515"/>
                </a:cubicBezTo>
                <a:close/>
                <a:moveTo>
                  <a:pt x="68403" y="130515"/>
                </a:moveTo>
                <a:cubicBezTo>
                  <a:pt x="68095" y="130515"/>
                  <a:pt x="68095" y="130822"/>
                  <a:pt x="67787" y="130822"/>
                </a:cubicBezTo>
                <a:cubicBezTo>
                  <a:pt x="67787" y="130822"/>
                  <a:pt x="67787" y="131128"/>
                  <a:pt x="67787" y="131435"/>
                </a:cubicBezTo>
                <a:cubicBezTo>
                  <a:pt x="67787" y="131435"/>
                  <a:pt x="67787" y="131742"/>
                  <a:pt x="67787" y="131742"/>
                </a:cubicBezTo>
                <a:cubicBezTo>
                  <a:pt x="68095" y="132048"/>
                  <a:pt x="68095" y="132048"/>
                  <a:pt x="68403" y="132048"/>
                </a:cubicBezTo>
                <a:cubicBezTo>
                  <a:pt x="69634" y="132048"/>
                  <a:pt x="69634" y="132048"/>
                  <a:pt x="69634" y="132048"/>
                </a:cubicBezTo>
                <a:cubicBezTo>
                  <a:pt x="69941" y="132048"/>
                  <a:pt x="69941" y="132048"/>
                  <a:pt x="69941" y="132048"/>
                </a:cubicBezTo>
                <a:cubicBezTo>
                  <a:pt x="69941" y="132355"/>
                  <a:pt x="69941" y="132355"/>
                  <a:pt x="69941" y="132355"/>
                </a:cubicBezTo>
                <a:lnTo>
                  <a:pt x="69941" y="139780"/>
                </a:lnTo>
                <a:lnTo>
                  <a:pt x="71587" y="139780"/>
                </a:lnTo>
                <a:lnTo>
                  <a:pt x="71587" y="134193"/>
                </a:lnTo>
                <a:cubicBezTo>
                  <a:pt x="71587" y="133886"/>
                  <a:pt x="71882" y="133580"/>
                  <a:pt x="71882" y="133580"/>
                </a:cubicBezTo>
                <a:cubicBezTo>
                  <a:pt x="72177" y="133580"/>
                  <a:pt x="72473" y="133886"/>
                  <a:pt x="72473" y="134193"/>
                </a:cubicBezTo>
                <a:lnTo>
                  <a:pt x="72473" y="139780"/>
                </a:lnTo>
                <a:lnTo>
                  <a:pt x="77943" y="139780"/>
                </a:lnTo>
                <a:lnTo>
                  <a:pt x="77943" y="135282"/>
                </a:lnTo>
                <a:cubicBezTo>
                  <a:pt x="77943" y="132355"/>
                  <a:pt x="77943" y="132355"/>
                  <a:pt x="77943" y="132355"/>
                </a:cubicBezTo>
                <a:cubicBezTo>
                  <a:pt x="77943" y="132048"/>
                  <a:pt x="77943" y="132048"/>
                  <a:pt x="77943" y="132048"/>
                </a:cubicBezTo>
                <a:cubicBezTo>
                  <a:pt x="78559" y="132048"/>
                  <a:pt x="78559" y="132048"/>
                  <a:pt x="78559" y="132048"/>
                </a:cubicBezTo>
                <a:cubicBezTo>
                  <a:pt x="79482" y="132048"/>
                  <a:pt x="79482" y="132048"/>
                  <a:pt x="79482" y="132048"/>
                </a:cubicBezTo>
                <a:cubicBezTo>
                  <a:pt x="79790" y="132048"/>
                  <a:pt x="80098" y="132048"/>
                  <a:pt x="80098" y="131742"/>
                </a:cubicBezTo>
                <a:cubicBezTo>
                  <a:pt x="80098" y="131742"/>
                  <a:pt x="80405" y="131435"/>
                  <a:pt x="80405" y="131435"/>
                </a:cubicBezTo>
                <a:cubicBezTo>
                  <a:pt x="80405" y="131128"/>
                  <a:pt x="80098" y="130822"/>
                  <a:pt x="80098" y="130822"/>
                </a:cubicBezTo>
                <a:cubicBezTo>
                  <a:pt x="80098" y="130822"/>
                  <a:pt x="79790" y="130515"/>
                  <a:pt x="79482" y="130515"/>
                </a:cubicBezTo>
                <a:cubicBezTo>
                  <a:pt x="68403" y="130515"/>
                  <a:pt x="68403" y="130515"/>
                  <a:pt x="68403" y="130515"/>
                </a:cubicBezTo>
                <a:close/>
                <a:moveTo>
                  <a:pt x="68403" y="129595"/>
                </a:moveTo>
                <a:cubicBezTo>
                  <a:pt x="79482" y="129595"/>
                  <a:pt x="79482" y="129595"/>
                  <a:pt x="79482" y="129595"/>
                </a:cubicBezTo>
                <a:cubicBezTo>
                  <a:pt x="80098" y="129595"/>
                  <a:pt x="80405" y="129902"/>
                  <a:pt x="80713" y="130208"/>
                </a:cubicBezTo>
                <a:cubicBezTo>
                  <a:pt x="81021" y="130515"/>
                  <a:pt x="81329" y="130822"/>
                  <a:pt x="81329" y="131435"/>
                </a:cubicBezTo>
                <a:cubicBezTo>
                  <a:pt x="81329" y="131742"/>
                  <a:pt x="81021" y="132048"/>
                  <a:pt x="80713" y="132355"/>
                </a:cubicBezTo>
                <a:cubicBezTo>
                  <a:pt x="80405" y="132662"/>
                  <a:pt x="80098" y="132968"/>
                  <a:pt x="79482" y="132968"/>
                </a:cubicBezTo>
                <a:cubicBezTo>
                  <a:pt x="78867" y="132968"/>
                  <a:pt x="78867" y="132968"/>
                  <a:pt x="78867" y="132968"/>
                </a:cubicBezTo>
                <a:lnTo>
                  <a:pt x="78867" y="139780"/>
                </a:lnTo>
                <a:lnTo>
                  <a:pt x="84073" y="139780"/>
                </a:lnTo>
                <a:lnTo>
                  <a:pt x="84073" y="133826"/>
                </a:lnTo>
                <a:cubicBezTo>
                  <a:pt x="84073" y="132968"/>
                  <a:pt x="84073" y="132968"/>
                  <a:pt x="84073" y="132968"/>
                </a:cubicBezTo>
                <a:cubicBezTo>
                  <a:pt x="83458" y="132968"/>
                  <a:pt x="83458" y="132968"/>
                  <a:pt x="83458" y="132968"/>
                </a:cubicBezTo>
                <a:cubicBezTo>
                  <a:pt x="83150" y="132968"/>
                  <a:pt x="82842" y="132662"/>
                  <a:pt x="82534" y="132355"/>
                </a:cubicBezTo>
                <a:cubicBezTo>
                  <a:pt x="82227" y="132048"/>
                  <a:pt x="81919" y="131742"/>
                  <a:pt x="81919" y="131435"/>
                </a:cubicBezTo>
                <a:cubicBezTo>
                  <a:pt x="81919" y="130822"/>
                  <a:pt x="82227" y="130515"/>
                  <a:pt x="82534" y="130208"/>
                </a:cubicBezTo>
                <a:cubicBezTo>
                  <a:pt x="82842" y="129902"/>
                  <a:pt x="83150" y="129595"/>
                  <a:pt x="83458" y="129595"/>
                </a:cubicBezTo>
                <a:cubicBezTo>
                  <a:pt x="94845" y="129595"/>
                  <a:pt x="94845" y="129595"/>
                  <a:pt x="94845" y="129595"/>
                </a:cubicBezTo>
                <a:cubicBezTo>
                  <a:pt x="95153" y="129595"/>
                  <a:pt x="95768" y="129902"/>
                  <a:pt x="96076" y="130208"/>
                </a:cubicBezTo>
                <a:cubicBezTo>
                  <a:pt x="96384" y="130515"/>
                  <a:pt x="96384" y="130822"/>
                  <a:pt x="96384" y="131435"/>
                </a:cubicBezTo>
                <a:cubicBezTo>
                  <a:pt x="96384" y="131742"/>
                  <a:pt x="96384" y="132048"/>
                  <a:pt x="96076" y="132355"/>
                </a:cubicBezTo>
                <a:cubicBezTo>
                  <a:pt x="95768" y="132662"/>
                  <a:pt x="95153" y="132968"/>
                  <a:pt x="94845" y="132968"/>
                </a:cubicBezTo>
                <a:cubicBezTo>
                  <a:pt x="94229" y="132968"/>
                  <a:pt x="94229" y="132968"/>
                  <a:pt x="94229" y="132968"/>
                </a:cubicBezTo>
                <a:lnTo>
                  <a:pt x="94229" y="139780"/>
                </a:lnTo>
                <a:lnTo>
                  <a:pt x="99424" y="139780"/>
                </a:lnTo>
                <a:lnTo>
                  <a:pt x="99424" y="133826"/>
                </a:lnTo>
                <a:cubicBezTo>
                  <a:pt x="99424" y="132968"/>
                  <a:pt x="99424" y="132968"/>
                  <a:pt x="99424" y="132968"/>
                </a:cubicBezTo>
                <a:cubicBezTo>
                  <a:pt x="98809" y="132968"/>
                  <a:pt x="98809" y="132968"/>
                  <a:pt x="98809" y="132968"/>
                </a:cubicBezTo>
                <a:cubicBezTo>
                  <a:pt x="98193" y="132968"/>
                  <a:pt x="97885" y="132662"/>
                  <a:pt x="97578" y="132355"/>
                </a:cubicBezTo>
                <a:cubicBezTo>
                  <a:pt x="97270" y="132048"/>
                  <a:pt x="97270" y="131742"/>
                  <a:pt x="97270" y="131435"/>
                </a:cubicBezTo>
                <a:cubicBezTo>
                  <a:pt x="97270" y="130822"/>
                  <a:pt x="97270" y="130515"/>
                  <a:pt x="97578" y="130208"/>
                </a:cubicBezTo>
                <a:cubicBezTo>
                  <a:pt x="97885" y="129902"/>
                  <a:pt x="98193" y="129595"/>
                  <a:pt x="98809" y="129595"/>
                </a:cubicBezTo>
                <a:cubicBezTo>
                  <a:pt x="109888" y="129595"/>
                  <a:pt x="109888" y="129595"/>
                  <a:pt x="109888" y="129595"/>
                </a:cubicBezTo>
                <a:cubicBezTo>
                  <a:pt x="110504" y="129595"/>
                  <a:pt x="110811" y="129902"/>
                  <a:pt x="111119" y="130208"/>
                </a:cubicBezTo>
                <a:cubicBezTo>
                  <a:pt x="111427" y="130515"/>
                  <a:pt x="111735" y="130822"/>
                  <a:pt x="111735" y="131435"/>
                </a:cubicBezTo>
                <a:cubicBezTo>
                  <a:pt x="111735" y="131742"/>
                  <a:pt x="111427" y="132048"/>
                  <a:pt x="111119" y="132355"/>
                </a:cubicBezTo>
                <a:cubicBezTo>
                  <a:pt x="110811" y="132662"/>
                  <a:pt x="110504" y="132968"/>
                  <a:pt x="109888" y="132968"/>
                </a:cubicBezTo>
                <a:cubicBezTo>
                  <a:pt x="109273" y="132968"/>
                  <a:pt x="109273" y="132968"/>
                  <a:pt x="109273" y="132968"/>
                </a:cubicBezTo>
                <a:lnTo>
                  <a:pt x="109273" y="139780"/>
                </a:lnTo>
                <a:lnTo>
                  <a:pt x="114480" y="139780"/>
                </a:lnTo>
                <a:lnTo>
                  <a:pt x="114480" y="133826"/>
                </a:lnTo>
                <a:cubicBezTo>
                  <a:pt x="114480" y="132968"/>
                  <a:pt x="114480" y="132968"/>
                  <a:pt x="114480" y="132968"/>
                </a:cubicBezTo>
                <a:cubicBezTo>
                  <a:pt x="113865" y="132968"/>
                  <a:pt x="113865" y="132968"/>
                  <a:pt x="113865" y="132968"/>
                </a:cubicBezTo>
                <a:cubicBezTo>
                  <a:pt x="113557" y="132968"/>
                  <a:pt x="113249" y="132662"/>
                  <a:pt x="112941" y="132355"/>
                </a:cubicBezTo>
                <a:cubicBezTo>
                  <a:pt x="112634" y="132048"/>
                  <a:pt x="112326" y="131742"/>
                  <a:pt x="112326" y="131435"/>
                </a:cubicBezTo>
                <a:cubicBezTo>
                  <a:pt x="112326" y="130822"/>
                  <a:pt x="112634" y="130515"/>
                  <a:pt x="112941" y="130208"/>
                </a:cubicBezTo>
                <a:cubicBezTo>
                  <a:pt x="113249" y="129902"/>
                  <a:pt x="113557" y="129595"/>
                  <a:pt x="113865" y="129595"/>
                </a:cubicBezTo>
                <a:cubicBezTo>
                  <a:pt x="125252" y="129595"/>
                  <a:pt x="125252" y="129595"/>
                  <a:pt x="125252" y="129595"/>
                </a:cubicBezTo>
                <a:cubicBezTo>
                  <a:pt x="125560" y="129595"/>
                  <a:pt x="126175" y="129902"/>
                  <a:pt x="126483" y="130208"/>
                </a:cubicBezTo>
                <a:cubicBezTo>
                  <a:pt x="126791" y="130515"/>
                  <a:pt x="126791" y="130822"/>
                  <a:pt x="126791" y="131435"/>
                </a:cubicBezTo>
                <a:cubicBezTo>
                  <a:pt x="126791" y="131742"/>
                  <a:pt x="126791" y="132048"/>
                  <a:pt x="126483" y="132355"/>
                </a:cubicBezTo>
                <a:cubicBezTo>
                  <a:pt x="126175" y="132662"/>
                  <a:pt x="125560" y="132968"/>
                  <a:pt x="125252" y="132968"/>
                </a:cubicBezTo>
                <a:cubicBezTo>
                  <a:pt x="124636" y="132968"/>
                  <a:pt x="124636" y="132968"/>
                  <a:pt x="124636" y="132968"/>
                </a:cubicBezTo>
                <a:lnTo>
                  <a:pt x="124636" y="139780"/>
                </a:lnTo>
                <a:lnTo>
                  <a:pt x="126684" y="139780"/>
                </a:lnTo>
                <a:cubicBezTo>
                  <a:pt x="127642" y="139780"/>
                  <a:pt x="127642" y="139780"/>
                  <a:pt x="127642" y="139780"/>
                </a:cubicBezTo>
                <a:cubicBezTo>
                  <a:pt x="128255" y="139780"/>
                  <a:pt x="128562" y="140096"/>
                  <a:pt x="128562" y="140729"/>
                </a:cubicBezTo>
                <a:cubicBezTo>
                  <a:pt x="128562" y="141361"/>
                  <a:pt x="128255" y="141994"/>
                  <a:pt x="127642" y="141994"/>
                </a:cubicBezTo>
                <a:lnTo>
                  <a:pt x="124636" y="141994"/>
                </a:lnTo>
                <a:lnTo>
                  <a:pt x="124636" y="164704"/>
                </a:lnTo>
                <a:cubicBezTo>
                  <a:pt x="124636" y="187862"/>
                  <a:pt x="124636" y="187862"/>
                  <a:pt x="124636" y="187862"/>
                </a:cubicBezTo>
                <a:cubicBezTo>
                  <a:pt x="124636" y="189089"/>
                  <a:pt x="124021" y="190316"/>
                  <a:pt x="123098" y="191236"/>
                </a:cubicBezTo>
                <a:cubicBezTo>
                  <a:pt x="122174" y="192156"/>
                  <a:pt x="120943" y="192769"/>
                  <a:pt x="119712" y="192769"/>
                </a:cubicBezTo>
                <a:cubicBezTo>
                  <a:pt x="118173" y="192769"/>
                  <a:pt x="116942" y="192156"/>
                  <a:pt x="116019" y="191236"/>
                </a:cubicBezTo>
                <a:cubicBezTo>
                  <a:pt x="115096" y="190316"/>
                  <a:pt x="114480" y="189089"/>
                  <a:pt x="114480" y="187862"/>
                </a:cubicBezTo>
                <a:cubicBezTo>
                  <a:pt x="114480" y="174139"/>
                  <a:pt x="114480" y="163846"/>
                  <a:pt x="114480" y="156127"/>
                </a:cubicBezTo>
                <a:lnTo>
                  <a:pt x="114480" y="141994"/>
                </a:lnTo>
                <a:lnTo>
                  <a:pt x="109273" y="141994"/>
                </a:lnTo>
                <a:lnTo>
                  <a:pt x="109273" y="164704"/>
                </a:lnTo>
                <a:cubicBezTo>
                  <a:pt x="109273" y="187862"/>
                  <a:pt x="109273" y="187862"/>
                  <a:pt x="109273" y="187862"/>
                </a:cubicBezTo>
                <a:cubicBezTo>
                  <a:pt x="109273" y="189089"/>
                  <a:pt x="108965" y="190316"/>
                  <a:pt x="108042" y="191236"/>
                </a:cubicBezTo>
                <a:cubicBezTo>
                  <a:pt x="107118" y="192156"/>
                  <a:pt x="105887" y="192769"/>
                  <a:pt x="104348" y="192769"/>
                </a:cubicBezTo>
                <a:cubicBezTo>
                  <a:pt x="103117" y="192769"/>
                  <a:pt x="101886" y="192156"/>
                  <a:pt x="100963" y="191236"/>
                </a:cubicBezTo>
                <a:cubicBezTo>
                  <a:pt x="100040" y="190316"/>
                  <a:pt x="99424" y="189089"/>
                  <a:pt x="99424" y="187862"/>
                </a:cubicBezTo>
                <a:cubicBezTo>
                  <a:pt x="99424" y="174139"/>
                  <a:pt x="99424" y="163846"/>
                  <a:pt x="99424" y="156127"/>
                </a:cubicBezTo>
                <a:lnTo>
                  <a:pt x="99424" y="141994"/>
                </a:lnTo>
                <a:lnTo>
                  <a:pt x="94229" y="141994"/>
                </a:lnTo>
                <a:lnTo>
                  <a:pt x="94229" y="164704"/>
                </a:lnTo>
                <a:cubicBezTo>
                  <a:pt x="94229" y="187862"/>
                  <a:pt x="94229" y="187862"/>
                  <a:pt x="94229" y="187862"/>
                </a:cubicBezTo>
                <a:cubicBezTo>
                  <a:pt x="94229" y="189089"/>
                  <a:pt x="93614" y="190316"/>
                  <a:pt x="92691" y="191236"/>
                </a:cubicBezTo>
                <a:cubicBezTo>
                  <a:pt x="91767" y="192156"/>
                  <a:pt x="90536" y="192769"/>
                  <a:pt x="89305" y="192769"/>
                </a:cubicBezTo>
                <a:cubicBezTo>
                  <a:pt x="87766" y="192769"/>
                  <a:pt x="86535" y="192156"/>
                  <a:pt x="85612" y="191236"/>
                </a:cubicBezTo>
                <a:cubicBezTo>
                  <a:pt x="84689" y="190316"/>
                  <a:pt x="84073" y="189089"/>
                  <a:pt x="84073" y="187862"/>
                </a:cubicBezTo>
                <a:cubicBezTo>
                  <a:pt x="84073" y="174139"/>
                  <a:pt x="84073" y="163846"/>
                  <a:pt x="84073" y="156127"/>
                </a:cubicBezTo>
                <a:lnTo>
                  <a:pt x="84073" y="141994"/>
                </a:lnTo>
                <a:lnTo>
                  <a:pt x="78867" y="141994"/>
                </a:lnTo>
                <a:lnTo>
                  <a:pt x="78867" y="164704"/>
                </a:lnTo>
                <a:cubicBezTo>
                  <a:pt x="78867" y="187862"/>
                  <a:pt x="78867" y="187862"/>
                  <a:pt x="78867" y="187862"/>
                </a:cubicBezTo>
                <a:cubicBezTo>
                  <a:pt x="78867" y="189089"/>
                  <a:pt x="78559" y="190316"/>
                  <a:pt x="77636" y="191236"/>
                </a:cubicBezTo>
                <a:cubicBezTo>
                  <a:pt x="76712" y="192156"/>
                  <a:pt x="75481" y="192769"/>
                  <a:pt x="73942" y="192769"/>
                </a:cubicBezTo>
                <a:cubicBezTo>
                  <a:pt x="72711" y="192769"/>
                  <a:pt x="71480" y="192156"/>
                  <a:pt x="70557" y="191236"/>
                </a:cubicBezTo>
                <a:cubicBezTo>
                  <a:pt x="69634" y="190316"/>
                  <a:pt x="69018" y="189089"/>
                  <a:pt x="69018" y="187862"/>
                </a:cubicBezTo>
                <a:cubicBezTo>
                  <a:pt x="69018" y="174139"/>
                  <a:pt x="69018" y="163846"/>
                  <a:pt x="69018" y="156127"/>
                </a:cubicBezTo>
                <a:lnTo>
                  <a:pt x="69018" y="141994"/>
                </a:lnTo>
                <a:lnTo>
                  <a:pt x="67277" y="141994"/>
                </a:lnTo>
                <a:cubicBezTo>
                  <a:pt x="66319" y="141994"/>
                  <a:pt x="66319" y="141994"/>
                  <a:pt x="66319" y="141994"/>
                </a:cubicBezTo>
                <a:cubicBezTo>
                  <a:pt x="65706" y="141994"/>
                  <a:pt x="65093" y="141361"/>
                  <a:pt x="65093" y="140729"/>
                </a:cubicBezTo>
                <a:cubicBezTo>
                  <a:pt x="65093" y="140096"/>
                  <a:pt x="65706" y="139780"/>
                  <a:pt x="66319" y="139780"/>
                </a:cubicBezTo>
                <a:lnTo>
                  <a:pt x="69018" y="139780"/>
                </a:lnTo>
                <a:lnTo>
                  <a:pt x="69018" y="133826"/>
                </a:lnTo>
                <a:cubicBezTo>
                  <a:pt x="69018" y="132968"/>
                  <a:pt x="69018" y="132968"/>
                  <a:pt x="69018" y="132968"/>
                </a:cubicBezTo>
                <a:cubicBezTo>
                  <a:pt x="68403" y="132968"/>
                  <a:pt x="68403" y="132968"/>
                  <a:pt x="68403" y="132968"/>
                </a:cubicBezTo>
                <a:cubicBezTo>
                  <a:pt x="68095" y="132968"/>
                  <a:pt x="67479" y="132662"/>
                  <a:pt x="67172" y="132355"/>
                </a:cubicBezTo>
                <a:cubicBezTo>
                  <a:pt x="66864" y="132048"/>
                  <a:pt x="66864" y="131742"/>
                  <a:pt x="66864" y="131435"/>
                </a:cubicBezTo>
                <a:cubicBezTo>
                  <a:pt x="66864" y="130822"/>
                  <a:pt x="66864" y="130515"/>
                  <a:pt x="67172" y="130208"/>
                </a:cubicBezTo>
                <a:cubicBezTo>
                  <a:pt x="67479" y="129902"/>
                  <a:pt x="68095" y="129595"/>
                  <a:pt x="68403" y="129595"/>
                </a:cubicBezTo>
                <a:close/>
                <a:moveTo>
                  <a:pt x="374154" y="129311"/>
                </a:moveTo>
                <a:cubicBezTo>
                  <a:pt x="375381" y="129005"/>
                  <a:pt x="376916" y="129005"/>
                  <a:pt x="378143" y="129311"/>
                </a:cubicBezTo>
                <a:cubicBezTo>
                  <a:pt x="379371" y="129617"/>
                  <a:pt x="380291" y="130230"/>
                  <a:pt x="381212" y="131455"/>
                </a:cubicBezTo>
                <a:cubicBezTo>
                  <a:pt x="382132" y="132680"/>
                  <a:pt x="382439" y="134825"/>
                  <a:pt x="381826" y="137581"/>
                </a:cubicBezTo>
                <a:cubicBezTo>
                  <a:pt x="381212" y="139419"/>
                  <a:pt x="379984" y="140644"/>
                  <a:pt x="378757" y="141870"/>
                </a:cubicBezTo>
                <a:cubicBezTo>
                  <a:pt x="376609" y="144014"/>
                  <a:pt x="373847" y="146464"/>
                  <a:pt x="374154" y="153815"/>
                </a:cubicBezTo>
                <a:cubicBezTo>
                  <a:pt x="374154" y="160248"/>
                  <a:pt x="372006" y="162392"/>
                  <a:pt x="368323" y="165455"/>
                </a:cubicBezTo>
                <a:cubicBezTo>
                  <a:pt x="367710" y="166067"/>
                  <a:pt x="367096" y="166680"/>
                  <a:pt x="366482" y="167292"/>
                </a:cubicBezTo>
                <a:cubicBezTo>
                  <a:pt x="366482" y="169743"/>
                  <a:pt x="366482" y="169743"/>
                  <a:pt x="366482" y="169743"/>
                </a:cubicBezTo>
                <a:cubicBezTo>
                  <a:pt x="290072" y="169743"/>
                  <a:pt x="290072" y="169743"/>
                  <a:pt x="290072" y="169743"/>
                </a:cubicBezTo>
                <a:cubicBezTo>
                  <a:pt x="290072" y="165148"/>
                  <a:pt x="290072" y="165148"/>
                  <a:pt x="290072" y="165148"/>
                </a:cubicBezTo>
                <a:cubicBezTo>
                  <a:pt x="286082" y="165148"/>
                  <a:pt x="281786" y="164229"/>
                  <a:pt x="278411" y="162392"/>
                </a:cubicBezTo>
                <a:cubicBezTo>
                  <a:pt x="275342" y="160248"/>
                  <a:pt x="273194" y="157491"/>
                  <a:pt x="272273" y="152896"/>
                </a:cubicBezTo>
                <a:cubicBezTo>
                  <a:pt x="271966" y="151059"/>
                  <a:pt x="271659" y="149527"/>
                  <a:pt x="271353" y="147996"/>
                </a:cubicBezTo>
                <a:cubicBezTo>
                  <a:pt x="270432" y="144626"/>
                  <a:pt x="269818" y="142482"/>
                  <a:pt x="271659" y="138194"/>
                </a:cubicBezTo>
                <a:cubicBezTo>
                  <a:pt x="274421" y="131762"/>
                  <a:pt x="281172" y="133293"/>
                  <a:pt x="286696" y="134212"/>
                </a:cubicBezTo>
                <a:cubicBezTo>
                  <a:pt x="287310" y="134212"/>
                  <a:pt x="287924" y="134518"/>
                  <a:pt x="288537" y="134518"/>
                </a:cubicBezTo>
                <a:cubicBezTo>
                  <a:pt x="290072" y="134825"/>
                  <a:pt x="290072" y="134825"/>
                  <a:pt x="290072" y="134825"/>
                </a:cubicBezTo>
                <a:cubicBezTo>
                  <a:pt x="290072" y="131149"/>
                  <a:pt x="290072" y="131149"/>
                  <a:pt x="290072" y="131149"/>
                </a:cubicBezTo>
                <a:cubicBezTo>
                  <a:pt x="366482" y="131149"/>
                  <a:pt x="366482" y="131149"/>
                  <a:pt x="366482" y="131149"/>
                </a:cubicBezTo>
                <a:lnTo>
                  <a:pt x="366482" y="133906"/>
                </a:lnTo>
                <a:cubicBezTo>
                  <a:pt x="368630" y="131455"/>
                  <a:pt x="371699" y="129924"/>
                  <a:pt x="374154" y="129311"/>
                </a:cubicBezTo>
                <a:close/>
                <a:moveTo>
                  <a:pt x="254747" y="126563"/>
                </a:moveTo>
                <a:cubicBezTo>
                  <a:pt x="253217" y="126563"/>
                  <a:pt x="251687" y="127176"/>
                  <a:pt x="250464" y="128402"/>
                </a:cubicBezTo>
                <a:cubicBezTo>
                  <a:pt x="249240" y="129321"/>
                  <a:pt x="248628" y="131160"/>
                  <a:pt x="248628" y="132692"/>
                </a:cubicBezTo>
                <a:cubicBezTo>
                  <a:pt x="248628" y="146177"/>
                  <a:pt x="248628" y="146177"/>
                  <a:pt x="248628" y="146177"/>
                </a:cubicBezTo>
                <a:cubicBezTo>
                  <a:pt x="262090" y="146177"/>
                  <a:pt x="262090" y="146177"/>
                  <a:pt x="262090" y="146177"/>
                </a:cubicBezTo>
                <a:cubicBezTo>
                  <a:pt x="262090" y="132692"/>
                  <a:pt x="262090" y="132692"/>
                  <a:pt x="262090" y="132692"/>
                </a:cubicBezTo>
                <a:cubicBezTo>
                  <a:pt x="262090" y="131160"/>
                  <a:pt x="261172" y="129321"/>
                  <a:pt x="259948" y="128402"/>
                </a:cubicBezTo>
                <a:cubicBezTo>
                  <a:pt x="259030" y="127176"/>
                  <a:pt x="257500" y="126563"/>
                  <a:pt x="255665" y="126563"/>
                </a:cubicBezTo>
                <a:cubicBezTo>
                  <a:pt x="254747" y="126563"/>
                  <a:pt x="254747" y="126563"/>
                  <a:pt x="254747" y="126563"/>
                </a:cubicBezTo>
                <a:close/>
                <a:moveTo>
                  <a:pt x="254747" y="124724"/>
                </a:moveTo>
                <a:cubicBezTo>
                  <a:pt x="255665" y="124724"/>
                  <a:pt x="255665" y="124724"/>
                  <a:pt x="255665" y="124724"/>
                </a:cubicBezTo>
                <a:cubicBezTo>
                  <a:pt x="257806" y="124724"/>
                  <a:pt x="259948" y="125643"/>
                  <a:pt x="261172" y="127176"/>
                </a:cubicBezTo>
                <a:cubicBezTo>
                  <a:pt x="262701" y="128708"/>
                  <a:pt x="263619" y="130547"/>
                  <a:pt x="263619" y="132692"/>
                </a:cubicBezTo>
                <a:cubicBezTo>
                  <a:pt x="263619" y="146177"/>
                  <a:pt x="263619" y="146177"/>
                  <a:pt x="263619" y="146177"/>
                </a:cubicBezTo>
                <a:cubicBezTo>
                  <a:pt x="263619" y="146790"/>
                  <a:pt x="263619" y="146790"/>
                  <a:pt x="263619" y="146790"/>
                </a:cubicBezTo>
                <a:lnTo>
                  <a:pt x="263619" y="147710"/>
                </a:lnTo>
                <a:cubicBezTo>
                  <a:pt x="263619" y="160888"/>
                  <a:pt x="263619" y="160888"/>
                  <a:pt x="263619" y="160888"/>
                </a:cubicBezTo>
                <a:cubicBezTo>
                  <a:pt x="263619" y="163034"/>
                  <a:pt x="262701" y="165179"/>
                  <a:pt x="261172" y="166712"/>
                </a:cubicBezTo>
                <a:cubicBezTo>
                  <a:pt x="259948" y="167937"/>
                  <a:pt x="257806" y="168857"/>
                  <a:pt x="255665" y="168857"/>
                </a:cubicBezTo>
                <a:cubicBezTo>
                  <a:pt x="254747" y="168857"/>
                  <a:pt x="254747" y="168857"/>
                  <a:pt x="254747" y="168857"/>
                </a:cubicBezTo>
                <a:cubicBezTo>
                  <a:pt x="252605" y="168857"/>
                  <a:pt x="250770" y="167937"/>
                  <a:pt x="249240" y="166712"/>
                </a:cubicBezTo>
                <a:cubicBezTo>
                  <a:pt x="247710" y="165179"/>
                  <a:pt x="246792" y="163034"/>
                  <a:pt x="246792" y="160888"/>
                </a:cubicBezTo>
                <a:cubicBezTo>
                  <a:pt x="246792" y="146790"/>
                  <a:pt x="246792" y="146790"/>
                  <a:pt x="246792" y="146790"/>
                </a:cubicBezTo>
                <a:cubicBezTo>
                  <a:pt x="246792" y="146177"/>
                  <a:pt x="246792" y="146177"/>
                  <a:pt x="246792" y="146177"/>
                </a:cubicBezTo>
                <a:cubicBezTo>
                  <a:pt x="246792" y="132692"/>
                  <a:pt x="246792" y="132692"/>
                  <a:pt x="246792" y="132692"/>
                </a:cubicBezTo>
                <a:cubicBezTo>
                  <a:pt x="246792" y="130547"/>
                  <a:pt x="247710" y="128708"/>
                  <a:pt x="249240" y="127176"/>
                </a:cubicBezTo>
                <a:cubicBezTo>
                  <a:pt x="250770" y="125643"/>
                  <a:pt x="252605" y="124724"/>
                  <a:pt x="254747" y="124724"/>
                </a:cubicBezTo>
                <a:close/>
                <a:moveTo>
                  <a:pt x="147006" y="120795"/>
                </a:moveTo>
                <a:cubicBezTo>
                  <a:pt x="146393" y="121408"/>
                  <a:pt x="145780" y="122020"/>
                  <a:pt x="145167" y="122632"/>
                </a:cubicBezTo>
                <a:cubicBezTo>
                  <a:pt x="142100" y="126000"/>
                  <a:pt x="139033" y="128755"/>
                  <a:pt x="136887" y="132123"/>
                </a:cubicBezTo>
                <a:cubicBezTo>
                  <a:pt x="157126" y="132123"/>
                  <a:pt x="157126" y="132123"/>
                  <a:pt x="157126" y="132123"/>
                </a:cubicBezTo>
                <a:cubicBezTo>
                  <a:pt x="154979" y="128755"/>
                  <a:pt x="151913" y="126000"/>
                  <a:pt x="148846" y="122632"/>
                </a:cubicBezTo>
                <a:cubicBezTo>
                  <a:pt x="148233" y="122020"/>
                  <a:pt x="147620" y="121408"/>
                  <a:pt x="147006" y="120795"/>
                </a:cubicBezTo>
                <a:close/>
                <a:moveTo>
                  <a:pt x="298653" y="118937"/>
                </a:moveTo>
                <a:cubicBezTo>
                  <a:pt x="298345" y="118937"/>
                  <a:pt x="298345" y="119243"/>
                  <a:pt x="298345" y="119549"/>
                </a:cubicBezTo>
                <a:cubicBezTo>
                  <a:pt x="298345" y="119549"/>
                  <a:pt x="298345" y="119855"/>
                  <a:pt x="298653" y="119855"/>
                </a:cubicBezTo>
                <a:lnTo>
                  <a:pt x="307888" y="119855"/>
                </a:lnTo>
                <a:cubicBezTo>
                  <a:pt x="307888" y="119855"/>
                  <a:pt x="308196" y="119549"/>
                  <a:pt x="308196" y="119549"/>
                </a:cubicBezTo>
                <a:cubicBezTo>
                  <a:pt x="308196" y="119243"/>
                  <a:pt x="307888" y="118937"/>
                  <a:pt x="307888" y="118937"/>
                </a:cubicBezTo>
                <a:cubicBezTo>
                  <a:pt x="307888" y="118937"/>
                  <a:pt x="307888" y="118937"/>
                  <a:pt x="298653" y="118937"/>
                </a:cubicBezTo>
                <a:close/>
                <a:moveTo>
                  <a:pt x="295267" y="116182"/>
                </a:moveTo>
                <a:cubicBezTo>
                  <a:pt x="294959" y="116182"/>
                  <a:pt x="294959" y="116488"/>
                  <a:pt x="294959" y="116488"/>
                </a:cubicBezTo>
                <a:cubicBezTo>
                  <a:pt x="294959" y="116794"/>
                  <a:pt x="294959" y="117100"/>
                  <a:pt x="295267" y="117100"/>
                </a:cubicBezTo>
                <a:cubicBezTo>
                  <a:pt x="295267" y="117100"/>
                  <a:pt x="295267" y="117100"/>
                  <a:pt x="311274" y="117100"/>
                </a:cubicBezTo>
                <a:cubicBezTo>
                  <a:pt x="311274" y="117100"/>
                  <a:pt x="311582" y="116794"/>
                  <a:pt x="311582" y="116488"/>
                </a:cubicBezTo>
                <a:cubicBezTo>
                  <a:pt x="311582" y="116488"/>
                  <a:pt x="311274" y="116182"/>
                  <a:pt x="311274" y="116182"/>
                </a:cubicBezTo>
                <a:cubicBezTo>
                  <a:pt x="311274" y="116182"/>
                  <a:pt x="311274" y="116182"/>
                  <a:pt x="295267" y="116182"/>
                </a:cubicBezTo>
                <a:close/>
                <a:moveTo>
                  <a:pt x="298653" y="113427"/>
                </a:moveTo>
                <a:cubicBezTo>
                  <a:pt x="298345" y="113427"/>
                  <a:pt x="298345" y="113427"/>
                  <a:pt x="298345" y="113733"/>
                </a:cubicBezTo>
                <a:cubicBezTo>
                  <a:pt x="298345" y="114039"/>
                  <a:pt x="298345" y="114039"/>
                  <a:pt x="298653" y="114039"/>
                </a:cubicBezTo>
                <a:cubicBezTo>
                  <a:pt x="298653" y="114039"/>
                  <a:pt x="298653" y="114039"/>
                  <a:pt x="307888" y="114039"/>
                </a:cubicBezTo>
                <a:cubicBezTo>
                  <a:pt x="307888" y="114039"/>
                  <a:pt x="308196" y="114039"/>
                  <a:pt x="308196" y="113733"/>
                </a:cubicBezTo>
                <a:cubicBezTo>
                  <a:pt x="308196" y="113427"/>
                  <a:pt x="307888" y="113427"/>
                  <a:pt x="307888" y="113427"/>
                </a:cubicBezTo>
                <a:cubicBezTo>
                  <a:pt x="307888" y="113427"/>
                  <a:pt x="307888" y="113427"/>
                  <a:pt x="298653" y="113427"/>
                </a:cubicBezTo>
                <a:close/>
                <a:moveTo>
                  <a:pt x="298653" y="110672"/>
                </a:moveTo>
                <a:cubicBezTo>
                  <a:pt x="298345" y="110672"/>
                  <a:pt x="298345" y="110672"/>
                  <a:pt x="298345" y="110978"/>
                </a:cubicBezTo>
                <a:cubicBezTo>
                  <a:pt x="298345" y="110978"/>
                  <a:pt x="298345" y="111285"/>
                  <a:pt x="298653" y="111285"/>
                </a:cubicBezTo>
                <a:cubicBezTo>
                  <a:pt x="298653" y="111285"/>
                  <a:pt x="298653" y="111285"/>
                  <a:pt x="307888" y="111285"/>
                </a:cubicBezTo>
                <a:cubicBezTo>
                  <a:pt x="307888" y="111285"/>
                  <a:pt x="308196" y="110978"/>
                  <a:pt x="308196" y="110978"/>
                </a:cubicBezTo>
                <a:cubicBezTo>
                  <a:pt x="308196" y="110672"/>
                  <a:pt x="307888" y="110672"/>
                  <a:pt x="307888" y="110672"/>
                </a:cubicBezTo>
                <a:cubicBezTo>
                  <a:pt x="307888" y="110672"/>
                  <a:pt x="307888" y="110672"/>
                  <a:pt x="298653" y="110672"/>
                </a:cubicBezTo>
                <a:close/>
                <a:moveTo>
                  <a:pt x="298653" y="107612"/>
                </a:moveTo>
                <a:cubicBezTo>
                  <a:pt x="298345" y="107612"/>
                  <a:pt x="298345" y="107918"/>
                  <a:pt x="298345" y="107918"/>
                </a:cubicBezTo>
                <a:cubicBezTo>
                  <a:pt x="298345" y="108224"/>
                  <a:pt x="298345" y="108224"/>
                  <a:pt x="298653" y="108224"/>
                </a:cubicBezTo>
                <a:cubicBezTo>
                  <a:pt x="298653" y="108224"/>
                  <a:pt x="298653" y="108224"/>
                  <a:pt x="307888" y="108224"/>
                </a:cubicBezTo>
                <a:cubicBezTo>
                  <a:pt x="307888" y="108224"/>
                  <a:pt x="308196" y="108224"/>
                  <a:pt x="308196" y="107918"/>
                </a:cubicBezTo>
                <a:cubicBezTo>
                  <a:pt x="308196" y="107918"/>
                  <a:pt x="307888" y="107612"/>
                  <a:pt x="307888" y="107612"/>
                </a:cubicBezTo>
                <a:cubicBezTo>
                  <a:pt x="307888" y="107612"/>
                  <a:pt x="307888" y="107612"/>
                  <a:pt x="298653" y="107612"/>
                </a:cubicBezTo>
                <a:close/>
                <a:moveTo>
                  <a:pt x="141793" y="107324"/>
                </a:moveTo>
                <a:cubicBezTo>
                  <a:pt x="143633" y="109468"/>
                  <a:pt x="145167" y="111611"/>
                  <a:pt x="147006" y="113754"/>
                </a:cubicBezTo>
                <a:cubicBezTo>
                  <a:pt x="148846" y="111611"/>
                  <a:pt x="150686" y="109468"/>
                  <a:pt x="152219" y="107324"/>
                </a:cubicBezTo>
                <a:cubicBezTo>
                  <a:pt x="141793" y="107324"/>
                  <a:pt x="141793" y="107324"/>
                  <a:pt x="141793" y="107324"/>
                </a:cubicBezTo>
                <a:close/>
                <a:moveTo>
                  <a:pt x="178060" y="106382"/>
                </a:moveTo>
                <a:cubicBezTo>
                  <a:pt x="179901" y="103322"/>
                  <a:pt x="187268" y="108524"/>
                  <a:pt x="189417" y="109747"/>
                </a:cubicBezTo>
                <a:cubicBezTo>
                  <a:pt x="205072" y="118927"/>
                  <a:pt x="218271" y="118927"/>
                  <a:pt x="234540" y="122904"/>
                </a:cubicBezTo>
                <a:cubicBezTo>
                  <a:pt x="234540" y="122904"/>
                  <a:pt x="234540" y="122904"/>
                  <a:pt x="229322" y="143405"/>
                </a:cubicBezTo>
                <a:cubicBezTo>
                  <a:pt x="221955" y="141263"/>
                  <a:pt x="211825" y="137591"/>
                  <a:pt x="205072" y="137591"/>
                </a:cubicBezTo>
                <a:cubicBezTo>
                  <a:pt x="200775" y="140039"/>
                  <a:pt x="182357" y="145241"/>
                  <a:pt x="182050" y="140651"/>
                </a:cubicBezTo>
                <a:cubicBezTo>
                  <a:pt x="181743" y="136062"/>
                  <a:pt x="190031" y="135144"/>
                  <a:pt x="193101" y="134838"/>
                </a:cubicBezTo>
                <a:cubicBezTo>
                  <a:pt x="188189" y="132696"/>
                  <a:pt x="182050" y="131166"/>
                  <a:pt x="176525" y="130554"/>
                </a:cubicBezTo>
                <a:cubicBezTo>
                  <a:pt x="175604" y="130554"/>
                  <a:pt x="174683" y="130554"/>
                  <a:pt x="174069" y="130554"/>
                </a:cubicBezTo>
                <a:cubicBezTo>
                  <a:pt x="170999" y="130248"/>
                  <a:pt x="166702" y="129942"/>
                  <a:pt x="166702" y="126882"/>
                </a:cubicBezTo>
                <a:cubicBezTo>
                  <a:pt x="167009" y="124434"/>
                  <a:pt x="171920" y="124740"/>
                  <a:pt x="176525" y="125046"/>
                </a:cubicBezTo>
                <a:cubicBezTo>
                  <a:pt x="179594" y="125658"/>
                  <a:pt x="182357" y="125964"/>
                  <a:pt x="183892" y="125964"/>
                </a:cubicBezTo>
                <a:cubicBezTo>
                  <a:pt x="181129" y="125046"/>
                  <a:pt x="178980" y="124128"/>
                  <a:pt x="176525" y="123210"/>
                </a:cubicBezTo>
                <a:cubicBezTo>
                  <a:pt x="174069" y="122598"/>
                  <a:pt x="171613" y="121987"/>
                  <a:pt x="169158" y="121069"/>
                </a:cubicBezTo>
                <a:cubicBezTo>
                  <a:pt x="167316" y="120457"/>
                  <a:pt x="166088" y="119845"/>
                  <a:pt x="165781" y="118927"/>
                </a:cubicBezTo>
                <a:cubicBezTo>
                  <a:pt x="165167" y="117703"/>
                  <a:pt x="165781" y="116173"/>
                  <a:pt x="168237" y="116173"/>
                </a:cubicBezTo>
                <a:cubicBezTo>
                  <a:pt x="170386" y="116479"/>
                  <a:pt x="173455" y="117397"/>
                  <a:pt x="176525" y="118009"/>
                </a:cubicBezTo>
                <a:cubicBezTo>
                  <a:pt x="179901" y="118927"/>
                  <a:pt x="182971" y="119845"/>
                  <a:pt x="184813" y="119539"/>
                </a:cubicBezTo>
                <a:cubicBezTo>
                  <a:pt x="182664" y="118621"/>
                  <a:pt x="179594" y="117703"/>
                  <a:pt x="176525" y="116785"/>
                </a:cubicBezTo>
                <a:cubicBezTo>
                  <a:pt x="174376" y="116173"/>
                  <a:pt x="172227" y="115561"/>
                  <a:pt x="171306" y="114949"/>
                </a:cubicBezTo>
                <a:cubicBezTo>
                  <a:pt x="168544" y="113419"/>
                  <a:pt x="168544" y="110971"/>
                  <a:pt x="171920" y="110971"/>
                </a:cubicBezTo>
                <a:cubicBezTo>
                  <a:pt x="173148" y="110971"/>
                  <a:pt x="174683" y="111277"/>
                  <a:pt x="176525" y="111583"/>
                </a:cubicBezTo>
                <a:cubicBezTo>
                  <a:pt x="180208" y="112501"/>
                  <a:pt x="184506" y="114031"/>
                  <a:pt x="187882" y="114949"/>
                </a:cubicBezTo>
                <a:cubicBezTo>
                  <a:pt x="185427" y="113113"/>
                  <a:pt x="176832" y="108524"/>
                  <a:pt x="178060" y="106382"/>
                </a:cubicBezTo>
                <a:close/>
                <a:moveTo>
                  <a:pt x="295267" y="104551"/>
                </a:moveTo>
                <a:cubicBezTo>
                  <a:pt x="294959" y="104551"/>
                  <a:pt x="294959" y="104551"/>
                  <a:pt x="294959" y="104857"/>
                </a:cubicBezTo>
                <a:cubicBezTo>
                  <a:pt x="294959" y="104857"/>
                  <a:pt x="294959" y="105163"/>
                  <a:pt x="295267" y="105163"/>
                </a:cubicBezTo>
                <a:cubicBezTo>
                  <a:pt x="295267" y="105163"/>
                  <a:pt x="295267" y="105163"/>
                  <a:pt x="311274" y="105163"/>
                </a:cubicBezTo>
                <a:cubicBezTo>
                  <a:pt x="311274" y="105163"/>
                  <a:pt x="311582" y="104857"/>
                  <a:pt x="311582" y="104857"/>
                </a:cubicBezTo>
                <a:cubicBezTo>
                  <a:pt x="311582" y="104551"/>
                  <a:pt x="311274" y="104551"/>
                  <a:pt x="311274" y="104551"/>
                </a:cubicBezTo>
                <a:cubicBezTo>
                  <a:pt x="311274" y="104551"/>
                  <a:pt x="311274" y="104551"/>
                  <a:pt x="295267" y="104551"/>
                </a:cubicBezTo>
                <a:close/>
                <a:moveTo>
                  <a:pt x="298653" y="101490"/>
                </a:moveTo>
                <a:cubicBezTo>
                  <a:pt x="298345" y="101490"/>
                  <a:pt x="298345" y="101490"/>
                  <a:pt x="298345" y="101796"/>
                </a:cubicBezTo>
                <a:cubicBezTo>
                  <a:pt x="298345" y="102102"/>
                  <a:pt x="298345" y="102102"/>
                  <a:pt x="298653" y="102102"/>
                </a:cubicBezTo>
                <a:cubicBezTo>
                  <a:pt x="298653" y="102102"/>
                  <a:pt x="298653" y="102102"/>
                  <a:pt x="307888" y="102102"/>
                </a:cubicBezTo>
                <a:cubicBezTo>
                  <a:pt x="307888" y="102102"/>
                  <a:pt x="308196" y="102102"/>
                  <a:pt x="308196" y="101796"/>
                </a:cubicBezTo>
                <a:cubicBezTo>
                  <a:pt x="308196" y="101490"/>
                  <a:pt x="307888" y="101490"/>
                  <a:pt x="307888" y="101490"/>
                </a:cubicBezTo>
                <a:cubicBezTo>
                  <a:pt x="307888" y="101490"/>
                  <a:pt x="307888" y="101490"/>
                  <a:pt x="298653" y="101490"/>
                </a:cubicBezTo>
                <a:close/>
                <a:moveTo>
                  <a:pt x="137807" y="99364"/>
                </a:moveTo>
                <a:cubicBezTo>
                  <a:pt x="138114" y="100283"/>
                  <a:pt x="138420" y="101201"/>
                  <a:pt x="138727" y="101814"/>
                </a:cubicBezTo>
                <a:cubicBezTo>
                  <a:pt x="155286" y="101814"/>
                  <a:pt x="155286" y="101814"/>
                  <a:pt x="155286" y="101814"/>
                </a:cubicBezTo>
                <a:cubicBezTo>
                  <a:pt x="155593" y="101201"/>
                  <a:pt x="155899" y="100283"/>
                  <a:pt x="156206" y="99364"/>
                </a:cubicBezTo>
                <a:cubicBezTo>
                  <a:pt x="137807" y="99364"/>
                  <a:pt x="137807" y="99364"/>
                  <a:pt x="137807" y="99364"/>
                </a:cubicBezTo>
                <a:close/>
                <a:moveTo>
                  <a:pt x="298653" y="98735"/>
                </a:moveTo>
                <a:cubicBezTo>
                  <a:pt x="298345" y="98735"/>
                  <a:pt x="298345" y="98735"/>
                  <a:pt x="298345" y="99041"/>
                </a:cubicBezTo>
                <a:cubicBezTo>
                  <a:pt x="298345" y="99041"/>
                  <a:pt x="298345" y="99347"/>
                  <a:pt x="298653" y="99347"/>
                </a:cubicBezTo>
                <a:cubicBezTo>
                  <a:pt x="298653" y="99347"/>
                  <a:pt x="298653" y="99347"/>
                  <a:pt x="307888" y="99347"/>
                </a:cubicBezTo>
                <a:cubicBezTo>
                  <a:pt x="307888" y="99347"/>
                  <a:pt x="308196" y="99041"/>
                  <a:pt x="308196" y="99041"/>
                </a:cubicBezTo>
                <a:cubicBezTo>
                  <a:pt x="308196" y="98735"/>
                  <a:pt x="307888" y="98735"/>
                  <a:pt x="307888" y="98735"/>
                </a:cubicBezTo>
                <a:cubicBezTo>
                  <a:pt x="307888" y="98735"/>
                  <a:pt x="307888" y="98735"/>
                  <a:pt x="298653" y="98735"/>
                </a:cubicBezTo>
                <a:close/>
                <a:moveTo>
                  <a:pt x="298653" y="95675"/>
                </a:moveTo>
                <a:cubicBezTo>
                  <a:pt x="298345" y="95675"/>
                  <a:pt x="298345" y="95675"/>
                  <a:pt x="298345" y="95981"/>
                </a:cubicBezTo>
                <a:cubicBezTo>
                  <a:pt x="298345" y="96287"/>
                  <a:pt x="298345" y="96287"/>
                  <a:pt x="298653" y="96287"/>
                </a:cubicBezTo>
                <a:cubicBezTo>
                  <a:pt x="298653" y="96287"/>
                  <a:pt x="298653" y="96287"/>
                  <a:pt x="307888" y="96287"/>
                </a:cubicBezTo>
                <a:cubicBezTo>
                  <a:pt x="307888" y="96287"/>
                  <a:pt x="308196" y="96287"/>
                  <a:pt x="308196" y="95981"/>
                </a:cubicBezTo>
                <a:cubicBezTo>
                  <a:pt x="308196" y="95675"/>
                  <a:pt x="307888" y="95675"/>
                  <a:pt x="307888" y="95675"/>
                </a:cubicBezTo>
                <a:cubicBezTo>
                  <a:pt x="307888" y="95675"/>
                  <a:pt x="307888" y="95675"/>
                  <a:pt x="298653" y="95675"/>
                </a:cubicBezTo>
                <a:close/>
                <a:moveTo>
                  <a:pt x="295267" y="92614"/>
                </a:moveTo>
                <a:cubicBezTo>
                  <a:pt x="294959" y="92614"/>
                  <a:pt x="294959" y="92920"/>
                  <a:pt x="294959" y="92920"/>
                </a:cubicBezTo>
                <a:cubicBezTo>
                  <a:pt x="294959" y="93226"/>
                  <a:pt x="294959" y="93226"/>
                  <a:pt x="295267" y="93226"/>
                </a:cubicBezTo>
                <a:cubicBezTo>
                  <a:pt x="295267" y="93226"/>
                  <a:pt x="295267" y="93226"/>
                  <a:pt x="311274" y="93226"/>
                </a:cubicBezTo>
                <a:cubicBezTo>
                  <a:pt x="311274" y="93226"/>
                  <a:pt x="311582" y="93226"/>
                  <a:pt x="311582" y="92920"/>
                </a:cubicBezTo>
                <a:cubicBezTo>
                  <a:pt x="311582" y="92920"/>
                  <a:pt x="311274" y="92614"/>
                  <a:pt x="311274" y="92614"/>
                </a:cubicBezTo>
                <a:cubicBezTo>
                  <a:pt x="311274" y="92614"/>
                  <a:pt x="311274" y="92614"/>
                  <a:pt x="295267" y="92614"/>
                </a:cubicBezTo>
                <a:close/>
                <a:moveTo>
                  <a:pt x="298653" y="89553"/>
                </a:moveTo>
                <a:cubicBezTo>
                  <a:pt x="298345" y="89553"/>
                  <a:pt x="298345" y="89859"/>
                  <a:pt x="298345" y="89859"/>
                </a:cubicBezTo>
                <a:cubicBezTo>
                  <a:pt x="298345" y="90165"/>
                  <a:pt x="298345" y="90165"/>
                  <a:pt x="298653" y="90165"/>
                </a:cubicBezTo>
                <a:cubicBezTo>
                  <a:pt x="298653" y="90165"/>
                  <a:pt x="298653" y="90165"/>
                  <a:pt x="307888" y="90165"/>
                </a:cubicBezTo>
                <a:cubicBezTo>
                  <a:pt x="307888" y="90165"/>
                  <a:pt x="308196" y="90165"/>
                  <a:pt x="308196" y="89859"/>
                </a:cubicBezTo>
                <a:cubicBezTo>
                  <a:pt x="308196" y="89859"/>
                  <a:pt x="307888" y="89553"/>
                  <a:pt x="307888" y="89553"/>
                </a:cubicBezTo>
                <a:cubicBezTo>
                  <a:pt x="307888" y="89553"/>
                  <a:pt x="307888" y="89553"/>
                  <a:pt x="298653" y="89553"/>
                </a:cubicBezTo>
                <a:close/>
                <a:moveTo>
                  <a:pt x="298653" y="86798"/>
                </a:moveTo>
                <a:cubicBezTo>
                  <a:pt x="298345" y="86798"/>
                  <a:pt x="298345" y="86798"/>
                  <a:pt x="298345" y="87104"/>
                </a:cubicBezTo>
                <a:cubicBezTo>
                  <a:pt x="298345" y="87410"/>
                  <a:pt x="298345" y="87410"/>
                  <a:pt x="298653" y="87410"/>
                </a:cubicBezTo>
                <a:cubicBezTo>
                  <a:pt x="298653" y="87410"/>
                  <a:pt x="298653" y="87410"/>
                  <a:pt x="307888" y="87410"/>
                </a:cubicBezTo>
                <a:cubicBezTo>
                  <a:pt x="307888" y="87410"/>
                  <a:pt x="308196" y="87410"/>
                  <a:pt x="308196" y="87104"/>
                </a:cubicBezTo>
                <a:cubicBezTo>
                  <a:pt x="308196" y="86798"/>
                  <a:pt x="307888" y="86798"/>
                  <a:pt x="307888" y="86798"/>
                </a:cubicBezTo>
                <a:cubicBezTo>
                  <a:pt x="307888" y="86798"/>
                  <a:pt x="307888" y="86798"/>
                  <a:pt x="298653" y="86798"/>
                </a:cubicBezTo>
                <a:close/>
                <a:moveTo>
                  <a:pt x="132594" y="86200"/>
                </a:moveTo>
                <a:cubicBezTo>
                  <a:pt x="133820" y="86200"/>
                  <a:pt x="135047" y="87118"/>
                  <a:pt x="135354" y="88649"/>
                </a:cubicBezTo>
                <a:cubicBezTo>
                  <a:pt x="135354" y="90486"/>
                  <a:pt x="135660" y="92323"/>
                  <a:pt x="136274" y="94160"/>
                </a:cubicBezTo>
                <a:cubicBezTo>
                  <a:pt x="158046" y="94160"/>
                  <a:pt x="158046" y="94160"/>
                  <a:pt x="158046" y="94160"/>
                </a:cubicBezTo>
                <a:cubicBezTo>
                  <a:pt x="158353" y="92323"/>
                  <a:pt x="158659" y="90486"/>
                  <a:pt x="158659" y="88649"/>
                </a:cubicBezTo>
                <a:cubicBezTo>
                  <a:pt x="158966" y="87118"/>
                  <a:pt x="160192" y="86200"/>
                  <a:pt x="161419" y="86200"/>
                </a:cubicBezTo>
                <a:cubicBezTo>
                  <a:pt x="162952" y="86506"/>
                  <a:pt x="163872" y="87424"/>
                  <a:pt x="163872" y="88955"/>
                </a:cubicBezTo>
                <a:cubicBezTo>
                  <a:pt x="162646" y="102120"/>
                  <a:pt x="156819" y="110386"/>
                  <a:pt x="150380" y="117428"/>
                </a:cubicBezTo>
                <a:cubicBezTo>
                  <a:pt x="150993" y="118040"/>
                  <a:pt x="151606" y="118652"/>
                  <a:pt x="152219" y="119264"/>
                </a:cubicBezTo>
                <a:cubicBezTo>
                  <a:pt x="159886" y="126918"/>
                  <a:pt x="166939" y="133654"/>
                  <a:pt x="165712" y="145900"/>
                </a:cubicBezTo>
                <a:cubicBezTo>
                  <a:pt x="165099" y="154472"/>
                  <a:pt x="158659" y="159677"/>
                  <a:pt x="151606" y="165494"/>
                </a:cubicBezTo>
                <a:cubicBezTo>
                  <a:pt x="150993" y="165800"/>
                  <a:pt x="150993" y="165800"/>
                  <a:pt x="150993" y="165800"/>
                </a:cubicBezTo>
                <a:cubicBezTo>
                  <a:pt x="158353" y="172535"/>
                  <a:pt x="165405" y="180801"/>
                  <a:pt x="166019" y="194884"/>
                </a:cubicBezTo>
                <a:cubicBezTo>
                  <a:pt x="166019" y="196415"/>
                  <a:pt x="164792" y="197640"/>
                  <a:pt x="163566" y="197640"/>
                </a:cubicBezTo>
                <a:cubicBezTo>
                  <a:pt x="162032" y="197640"/>
                  <a:pt x="161112" y="196415"/>
                  <a:pt x="161112" y="195191"/>
                </a:cubicBezTo>
                <a:cubicBezTo>
                  <a:pt x="160806" y="192741"/>
                  <a:pt x="160499" y="190904"/>
                  <a:pt x="160192" y="188761"/>
                </a:cubicBezTo>
                <a:cubicBezTo>
                  <a:pt x="133820" y="188761"/>
                  <a:pt x="133820" y="188761"/>
                  <a:pt x="133820" y="188761"/>
                </a:cubicBezTo>
                <a:cubicBezTo>
                  <a:pt x="133514" y="190904"/>
                  <a:pt x="133207" y="192741"/>
                  <a:pt x="133207" y="195191"/>
                </a:cubicBezTo>
                <a:cubicBezTo>
                  <a:pt x="132900" y="196415"/>
                  <a:pt x="131981" y="197640"/>
                  <a:pt x="130447" y="197640"/>
                </a:cubicBezTo>
                <a:cubicBezTo>
                  <a:pt x="129221" y="197640"/>
                  <a:pt x="127994" y="196415"/>
                  <a:pt x="127994" y="194884"/>
                </a:cubicBezTo>
                <a:cubicBezTo>
                  <a:pt x="128607" y="180801"/>
                  <a:pt x="135660" y="172535"/>
                  <a:pt x="143020" y="165800"/>
                </a:cubicBezTo>
                <a:cubicBezTo>
                  <a:pt x="142713" y="165494"/>
                  <a:pt x="142713" y="165494"/>
                  <a:pt x="142713" y="165494"/>
                </a:cubicBezTo>
                <a:cubicBezTo>
                  <a:pt x="135354" y="159677"/>
                  <a:pt x="128914" y="154472"/>
                  <a:pt x="128301" y="145900"/>
                </a:cubicBezTo>
                <a:cubicBezTo>
                  <a:pt x="127381" y="133654"/>
                  <a:pt x="134127" y="126918"/>
                  <a:pt x="141793" y="119264"/>
                </a:cubicBezTo>
                <a:cubicBezTo>
                  <a:pt x="142407" y="118652"/>
                  <a:pt x="143020" y="118040"/>
                  <a:pt x="143633" y="117428"/>
                </a:cubicBezTo>
                <a:cubicBezTo>
                  <a:pt x="137194" y="110386"/>
                  <a:pt x="131367" y="102120"/>
                  <a:pt x="130447" y="88955"/>
                </a:cubicBezTo>
                <a:cubicBezTo>
                  <a:pt x="130141" y="87424"/>
                  <a:pt x="131367" y="86506"/>
                  <a:pt x="132594" y="86200"/>
                </a:cubicBezTo>
                <a:close/>
                <a:moveTo>
                  <a:pt x="298653" y="83737"/>
                </a:moveTo>
                <a:cubicBezTo>
                  <a:pt x="298345" y="83737"/>
                  <a:pt x="298345" y="84044"/>
                  <a:pt x="298345" y="84044"/>
                </a:cubicBezTo>
                <a:cubicBezTo>
                  <a:pt x="298345" y="84350"/>
                  <a:pt x="298345" y="84656"/>
                  <a:pt x="298653" y="84656"/>
                </a:cubicBezTo>
                <a:cubicBezTo>
                  <a:pt x="298653" y="84656"/>
                  <a:pt x="298653" y="84656"/>
                  <a:pt x="307888" y="84656"/>
                </a:cubicBezTo>
                <a:cubicBezTo>
                  <a:pt x="307888" y="84656"/>
                  <a:pt x="308196" y="84350"/>
                  <a:pt x="308196" y="84044"/>
                </a:cubicBezTo>
                <a:cubicBezTo>
                  <a:pt x="308196" y="84044"/>
                  <a:pt x="307888" y="83737"/>
                  <a:pt x="307888" y="83737"/>
                </a:cubicBezTo>
                <a:cubicBezTo>
                  <a:pt x="307888" y="83737"/>
                  <a:pt x="307888" y="83737"/>
                  <a:pt x="298653" y="83737"/>
                </a:cubicBezTo>
                <a:close/>
                <a:moveTo>
                  <a:pt x="295267" y="80064"/>
                </a:moveTo>
                <a:cubicBezTo>
                  <a:pt x="294959" y="80064"/>
                  <a:pt x="294959" y="80371"/>
                  <a:pt x="294959" y="80371"/>
                </a:cubicBezTo>
                <a:cubicBezTo>
                  <a:pt x="294959" y="80677"/>
                  <a:pt x="294959" y="80677"/>
                  <a:pt x="295267" y="80677"/>
                </a:cubicBezTo>
                <a:cubicBezTo>
                  <a:pt x="295267" y="80677"/>
                  <a:pt x="295267" y="80677"/>
                  <a:pt x="311274" y="80677"/>
                </a:cubicBezTo>
                <a:cubicBezTo>
                  <a:pt x="311274" y="80677"/>
                  <a:pt x="311582" y="80677"/>
                  <a:pt x="311582" y="80371"/>
                </a:cubicBezTo>
                <a:cubicBezTo>
                  <a:pt x="311582" y="80371"/>
                  <a:pt x="311274" y="80064"/>
                  <a:pt x="311274" y="80064"/>
                </a:cubicBezTo>
                <a:cubicBezTo>
                  <a:pt x="311274" y="80064"/>
                  <a:pt x="311274" y="80064"/>
                  <a:pt x="295267" y="80064"/>
                </a:cubicBezTo>
                <a:close/>
                <a:moveTo>
                  <a:pt x="287264" y="69964"/>
                </a:moveTo>
                <a:cubicBezTo>
                  <a:pt x="287264" y="69964"/>
                  <a:pt x="287264" y="69964"/>
                  <a:pt x="318969" y="69964"/>
                </a:cubicBezTo>
                <a:cubicBezTo>
                  <a:pt x="318969" y="69964"/>
                  <a:pt x="318969" y="69964"/>
                  <a:pt x="316199" y="125364"/>
                </a:cubicBezTo>
                <a:cubicBezTo>
                  <a:pt x="316199" y="126895"/>
                  <a:pt x="314968" y="128119"/>
                  <a:pt x="313428" y="128119"/>
                </a:cubicBezTo>
                <a:cubicBezTo>
                  <a:pt x="313428" y="128119"/>
                  <a:pt x="313428" y="128119"/>
                  <a:pt x="295267" y="128119"/>
                </a:cubicBezTo>
                <a:cubicBezTo>
                  <a:pt x="293728" y="128119"/>
                  <a:pt x="292497" y="126895"/>
                  <a:pt x="292497" y="125364"/>
                </a:cubicBezTo>
                <a:cubicBezTo>
                  <a:pt x="292497" y="125364"/>
                  <a:pt x="292497" y="125364"/>
                  <a:pt x="287264" y="77616"/>
                </a:cubicBezTo>
                <a:cubicBezTo>
                  <a:pt x="287264" y="77004"/>
                  <a:pt x="286956" y="76392"/>
                  <a:pt x="286648" y="76085"/>
                </a:cubicBezTo>
                <a:cubicBezTo>
                  <a:pt x="286648" y="76085"/>
                  <a:pt x="286648" y="76085"/>
                  <a:pt x="282954" y="72106"/>
                </a:cubicBezTo>
                <a:cubicBezTo>
                  <a:pt x="282954" y="72106"/>
                  <a:pt x="282954" y="72106"/>
                  <a:pt x="286032" y="70270"/>
                </a:cubicBezTo>
                <a:cubicBezTo>
                  <a:pt x="286340" y="69964"/>
                  <a:pt x="286648" y="69964"/>
                  <a:pt x="287264" y="69964"/>
                </a:cubicBezTo>
                <a:close/>
                <a:moveTo>
                  <a:pt x="255380" y="65240"/>
                </a:moveTo>
                <a:lnTo>
                  <a:pt x="257966" y="78161"/>
                </a:lnTo>
                <a:lnTo>
                  <a:pt x="267989" y="76321"/>
                </a:lnTo>
                <a:cubicBezTo>
                  <a:pt x="272293" y="76321"/>
                  <a:pt x="275982" y="80610"/>
                  <a:pt x="277826" y="85511"/>
                </a:cubicBezTo>
                <a:cubicBezTo>
                  <a:pt x="280593" y="91331"/>
                  <a:pt x="280286" y="96233"/>
                  <a:pt x="278749" y="100521"/>
                </a:cubicBezTo>
                <a:cubicBezTo>
                  <a:pt x="277519" y="104197"/>
                  <a:pt x="275674" y="107873"/>
                  <a:pt x="273215" y="111549"/>
                </a:cubicBezTo>
                <a:cubicBezTo>
                  <a:pt x="271370" y="114612"/>
                  <a:pt x="268911" y="117676"/>
                  <a:pt x="265529" y="118901"/>
                </a:cubicBezTo>
                <a:cubicBezTo>
                  <a:pt x="260918" y="120739"/>
                  <a:pt x="259688" y="117676"/>
                  <a:pt x="256614" y="117676"/>
                </a:cubicBezTo>
                <a:cubicBezTo>
                  <a:pt x="254462" y="117676"/>
                  <a:pt x="252925" y="119514"/>
                  <a:pt x="249851" y="119514"/>
                </a:cubicBezTo>
                <a:cubicBezTo>
                  <a:pt x="248928" y="119514"/>
                  <a:pt x="248006" y="119207"/>
                  <a:pt x="247084" y="118901"/>
                </a:cubicBezTo>
                <a:cubicBezTo>
                  <a:pt x="244009" y="117676"/>
                  <a:pt x="241550" y="114612"/>
                  <a:pt x="239398" y="111549"/>
                </a:cubicBezTo>
                <a:cubicBezTo>
                  <a:pt x="237246" y="107873"/>
                  <a:pt x="235402" y="104197"/>
                  <a:pt x="234172" y="100521"/>
                </a:cubicBezTo>
                <a:cubicBezTo>
                  <a:pt x="232635" y="96233"/>
                  <a:pt x="232327" y="91331"/>
                  <a:pt x="234787" y="85511"/>
                </a:cubicBezTo>
                <a:cubicBezTo>
                  <a:pt x="236939" y="80610"/>
                  <a:pt x="240628" y="76321"/>
                  <a:pt x="244932" y="76321"/>
                </a:cubicBezTo>
                <a:lnTo>
                  <a:pt x="255401" y="78295"/>
                </a:lnTo>
                <a:lnTo>
                  <a:pt x="251367" y="66782"/>
                </a:lnTo>
                <a:cubicBezTo>
                  <a:pt x="252602" y="66473"/>
                  <a:pt x="254145" y="65857"/>
                  <a:pt x="255380" y="65240"/>
                </a:cubicBezTo>
                <a:close/>
                <a:moveTo>
                  <a:pt x="214319" y="61698"/>
                </a:moveTo>
                <a:lnTo>
                  <a:pt x="216090" y="61698"/>
                </a:lnTo>
                <a:lnTo>
                  <a:pt x="216385" y="69669"/>
                </a:lnTo>
                <a:lnTo>
                  <a:pt x="216737" y="69669"/>
                </a:lnTo>
                <a:lnTo>
                  <a:pt x="219402" y="79115"/>
                </a:lnTo>
                <a:lnTo>
                  <a:pt x="220644" y="79115"/>
                </a:lnTo>
                <a:cubicBezTo>
                  <a:pt x="220950" y="79115"/>
                  <a:pt x="221256" y="79410"/>
                  <a:pt x="221256" y="79705"/>
                </a:cubicBezTo>
                <a:cubicBezTo>
                  <a:pt x="221256" y="80296"/>
                  <a:pt x="221256" y="80296"/>
                  <a:pt x="221256" y="80296"/>
                </a:cubicBezTo>
                <a:cubicBezTo>
                  <a:pt x="221256" y="80591"/>
                  <a:pt x="220950" y="80886"/>
                  <a:pt x="220644" y="80886"/>
                </a:cubicBezTo>
                <a:lnTo>
                  <a:pt x="220735" y="80886"/>
                </a:lnTo>
                <a:cubicBezTo>
                  <a:pt x="221348" y="80886"/>
                  <a:pt x="221961" y="80886"/>
                  <a:pt x="221961" y="81501"/>
                </a:cubicBezTo>
                <a:cubicBezTo>
                  <a:pt x="222268" y="85804"/>
                  <a:pt x="223187" y="88263"/>
                  <a:pt x="224414" y="91645"/>
                </a:cubicBezTo>
                <a:cubicBezTo>
                  <a:pt x="225333" y="93796"/>
                  <a:pt x="225640" y="94411"/>
                  <a:pt x="225947" y="96563"/>
                </a:cubicBezTo>
                <a:cubicBezTo>
                  <a:pt x="226866" y="102096"/>
                  <a:pt x="226253" y="112240"/>
                  <a:pt x="220122" y="114392"/>
                </a:cubicBezTo>
                <a:cubicBezTo>
                  <a:pt x="220122" y="114392"/>
                  <a:pt x="220122" y="114392"/>
                  <a:pt x="215523" y="114392"/>
                </a:cubicBezTo>
                <a:cubicBezTo>
                  <a:pt x="215523" y="114392"/>
                  <a:pt x="215523" y="114392"/>
                  <a:pt x="215217" y="114392"/>
                </a:cubicBezTo>
                <a:cubicBezTo>
                  <a:pt x="215217" y="114392"/>
                  <a:pt x="215217" y="114392"/>
                  <a:pt x="214910" y="114392"/>
                </a:cubicBezTo>
                <a:cubicBezTo>
                  <a:pt x="214910" y="114392"/>
                  <a:pt x="214910" y="114392"/>
                  <a:pt x="214604" y="114392"/>
                </a:cubicBezTo>
                <a:cubicBezTo>
                  <a:pt x="214604" y="114392"/>
                  <a:pt x="214604" y="114392"/>
                  <a:pt x="209699" y="114392"/>
                </a:cubicBezTo>
                <a:cubicBezTo>
                  <a:pt x="203874" y="112240"/>
                  <a:pt x="202954" y="102096"/>
                  <a:pt x="204181" y="96563"/>
                </a:cubicBezTo>
                <a:cubicBezTo>
                  <a:pt x="204487" y="94411"/>
                  <a:pt x="204794" y="93796"/>
                  <a:pt x="205713" y="91645"/>
                </a:cubicBezTo>
                <a:cubicBezTo>
                  <a:pt x="206940" y="88263"/>
                  <a:pt x="207859" y="85804"/>
                  <a:pt x="208166" y="81501"/>
                </a:cubicBezTo>
                <a:cubicBezTo>
                  <a:pt x="208166" y="80886"/>
                  <a:pt x="208472" y="80886"/>
                  <a:pt x="209392" y="80886"/>
                </a:cubicBezTo>
                <a:lnTo>
                  <a:pt x="209016" y="80886"/>
                </a:lnTo>
                <a:cubicBezTo>
                  <a:pt x="208710" y="80886"/>
                  <a:pt x="208710" y="80591"/>
                  <a:pt x="208710" y="80296"/>
                </a:cubicBezTo>
                <a:cubicBezTo>
                  <a:pt x="208710" y="79705"/>
                  <a:pt x="208710" y="79705"/>
                  <a:pt x="208710" y="79705"/>
                </a:cubicBezTo>
                <a:cubicBezTo>
                  <a:pt x="208710" y="79410"/>
                  <a:pt x="208710" y="79115"/>
                  <a:pt x="209016" y="79115"/>
                </a:cubicBezTo>
                <a:lnTo>
                  <a:pt x="210713" y="79115"/>
                </a:lnTo>
                <a:lnTo>
                  <a:pt x="213378" y="69669"/>
                </a:lnTo>
                <a:lnTo>
                  <a:pt x="213581" y="69669"/>
                </a:lnTo>
                <a:close/>
                <a:moveTo>
                  <a:pt x="274767" y="42296"/>
                </a:moveTo>
                <a:cubicBezTo>
                  <a:pt x="274767" y="42296"/>
                  <a:pt x="274767" y="42296"/>
                  <a:pt x="281214" y="42296"/>
                </a:cubicBezTo>
                <a:cubicBezTo>
                  <a:pt x="281214" y="42296"/>
                  <a:pt x="281214" y="42296"/>
                  <a:pt x="281214" y="48733"/>
                </a:cubicBezTo>
                <a:cubicBezTo>
                  <a:pt x="281214" y="49652"/>
                  <a:pt x="280907" y="50265"/>
                  <a:pt x="280293" y="50878"/>
                </a:cubicBezTo>
                <a:cubicBezTo>
                  <a:pt x="279986" y="51491"/>
                  <a:pt x="279065" y="51798"/>
                  <a:pt x="278144" y="51798"/>
                </a:cubicBezTo>
                <a:cubicBezTo>
                  <a:pt x="278144" y="51798"/>
                  <a:pt x="278144" y="51798"/>
                  <a:pt x="277837" y="51798"/>
                </a:cubicBezTo>
                <a:cubicBezTo>
                  <a:pt x="276916" y="51798"/>
                  <a:pt x="276302" y="51491"/>
                  <a:pt x="275688" y="50878"/>
                </a:cubicBezTo>
                <a:cubicBezTo>
                  <a:pt x="275074" y="50265"/>
                  <a:pt x="274767" y="49652"/>
                  <a:pt x="274767" y="48733"/>
                </a:cubicBezTo>
                <a:cubicBezTo>
                  <a:pt x="274767" y="48733"/>
                  <a:pt x="274767" y="48733"/>
                  <a:pt x="274767" y="42296"/>
                </a:cubicBezTo>
                <a:close/>
                <a:moveTo>
                  <a:pt x="261259" y="42296"/>
                </a:moveTo>
                <a:cubicBezTo>
                  <a:pt x="261259" y="42296"/>
                  <a:pt x="261259" y="42296"/>
                  <a:pt x="268013" y="42296"/>
                </a:cubicBezTo>
                <a:cubicBezTo>
                  <a:pt x="268013" y="42296"/>
                  <a:pt x="268013" y="42296"/>
                  <a:pt x="268013" y="48733"/>
                </a:cubicBezTo>
                <a:cubicBezTo>
                  <a:pt x="268013" y="49652"/>
                  <a:pt x="267706" y="50265"/>
                  <a:pt x="267092" y="50878"/>
                </a:cubicBezTo>
                <a:cubicBezTo>
                  <a:pt x="266478" y="51491"/>
                  <a:pt x="265864" y="51798"/>
                  <a:pt x="264943" y="51798"/>
                </a:cubicBezTo>
                <a:cubicBezTo>
                  <a:pt x="264943" y="51798"/>
                  <a:pt x="264943" y="51798"/>
                  <a:pt x="264636" y="51798"/>
                </a:cubicBezTo>
                <a:cubicBezTo>
                  <a:pt x="263715" y="51798"/>
                  <a:pt x="262794" y="51491"/>
                  <a:pt x="262180" y="50878"/>
                </a:cubicBezTo>
                <a:cubicBezTo>
                  <a:pt x="261873" y="50265"/>
                  <a:pt x="261259" y="49652"/>
                  <a:pt x="261259" y="48733"/>
                </a:cubicBezTo>
                <a:cubicBezTo>
                  <a:pt x="261259" y="48733"/>
                  <a:pt x="261259" y="48733"/>
                  <a:pt x="261259" y="42296"/>
                </a:cubicBezTo>
                <a:close/>
                <a:moveTo>
                  <a:pt x="248058" y="42296"/>
                </a:moveTo>
                <a:cubicBezTo>
                  <a:pt x="248058" y="42296"/>
                  <a:pt x="248058" y="42296"/>
                  <a:pt x="254505" y="42296"/>
                </a:cubicBezTo>
                <a:cubicBezTo>
                  <a:pt x="254505" y="42296"/>
                  <a:pt x="254505" y="42296"/>
                  <a:pt x="254505" y="48733"/>
                </a:cubicBezTo>
                <a:cubicBezTo>
                  <a:pt x="254505" y="49652"/>
                  <a:pt x="254198" y="50265"/>
                  <a:pt x="253584" y="50878"/>
                </a:cubicBezTo>
                <a:cubicBezTo>
                  <a:pt x="253277" y="51491"/>
                  <a:pt x="252356" y="51798"/>
                  <a:pt x="251435" y="51798"/>
                </a:cubicBezTo>
                <a:cubicBezTo>
                  <a:pt x="251435" y="51798"/>
                  <a:pt x="251435" y="51798"/>
                  <a:pt x="251128" y="51798"/>
                </a:cubicBezTo>
                <a:cubicBezTo>
                  <a:pt x="250207" y="51798"/>
                  <a:pt x="249593" y="51491"/>
                  <a:pt x="248979" y="50878"/>
                </a:cubicBezTo>
                <a:cubicBezTo>
                  <a:pt x="248365" y="50265"/>
                  <a:pt x="248058" y="49652"/>
                  <a:pt x="248058" y="48733"/>
                </a:cubicBezTo>
                <a:cubicBezTo>
                  <a:pt x="248058" y="48733"/>
                  <a:pt x="248058" y="48733"/>
                  <a:pt x="248058" y="42296"/>
                </a:cubicBezTo>
                <a:close/>
                <a:moveTo>
                  <a:pt x="234858" y="42296"/>
                </a:moveTo>
                <a:cubicBezTo>
                  <a:pt x="234858" y="42296"/>
                  <a:pt x="234858" y="42296"/>
                  <a:pt x="241305" y="42296"/>
                </a:cubicBezTo>
                <a:cubicBezTo>
                  <a:pt x="241305" y="42296"/>
                  <a:pt x="241305" y="42296"/>
                  <a:pt x="241305" y="48733"/>
                </a:cubicBezTo>
                <a:cubicBezTo>
                  <a:pt x="241305" y="49652"/>
                  <a:pt x="240998" y="50572"/>
                  <a:pt x="240384" y="50878"/>
                </a:cubicBezTo>
                <a:cubicBezTo>
                  <a:pt x="239770" y="51491"/>
                  <a:pt x="239156" y="51798"/>
                  <a:pt x="238235" y="51798"/>
                </a:cubicBezTo>
                <a:cubicBezTo>
                  <a:pt x="238235" y="51798"/>
                  <a:pt x="238235" y="51798"/>
                  <a:pt x="237928" y="51798"/>
                </a:cubicBezTo>
                <a:cubicBezTo>
                  <a:pt x="237007" y="51798"/>
                  <a:pt x="236086" y="51491"/>
                  <a:pt x="235779" y="50878"/>
                </a:cubicBezTo>
                <a:cubicBezTo>
                  <a:pt x="235165" y="50572"/>
                  <a:pt x="234858" y="49652"/>
                  <a:pt x="234858" y="48733"/>
                </a:cubicBezTo>
                <a:cubicBezTo>
                  <a:pt x="234858" y="48733"/>
                  <a:pt x="234858" y="48733"/>
                  <a:pt x="234858" y="42296"/>
                </a:cubicBezTo>
                <a:close/>
                <a:moveTo>
                  <a:pt x="221350" y="42296"/>
                </a:moveTo>
                <a:cubicBezTo>
                  <a:pt x="221350" y="42296"/>
                  <a:pt x="221350" y="42296"/>
                  <a:pt x="228104" y="42296"/>
                </a:cubicBezTo>
                <a:cubicBezTo>
                  <a:pt x="228104" y="42296"/>
                  <a:pt x="228104" y="42296"/>
                  <a:pt x="228104" y="48733"/>
                </a:cubicBezTo>
                <a:cubicBezTo>
                  <a:pt x="228104" y="49652"/>
                  <a:pt x="227490" y="50265"/>
                  <a:pt x="227183" y="50878"/>
                </a:cubicBezTo>
                <a:cubicBezTo>
                  <a:pt x="226569" y="51491"/>
                  <a:pt x="225648" y="51798"/>
                  <a:pt x="225034" y="51798"/>
                </a:cubicBezTo>
                <a:cubicBezTo>
                  <a:pt x="225034" y="51798"/>
                  <a:pt x="225034" y="51798"/>
                  <a:pt x="224420" y="51798"/>
                </a:cubicBezTo>
                <a:cubicBezTo>
                  <a:pt x="223806" y="51798"/>
                  <a:pt x="222885" y="51491"/>
                  <a:pt x="222271" y="50878"/>
                </a:cubicBezTo>
                <a:cubicBezTo>
                  <a:pt x="221657" y="50265"/>
                  <a:pt x="221350" y="49652"/>
                  <a:pt x="221350" y="48733"/>
                </a:cubicBezTo>
                <a:cubicBezTo>
                  <a:pt x="221350" y="48733"/>
                  <a:pt x="221350" y="48733"/>
                  <a:pt x="221350" y="42296"/>
                </a:cubicBezTo>
                <a:close/>
                <a:moveTo>
                  <a:pt x="166641" y="37491"/>
                </a:moveTo>
                <a:cubicBezTo>
                  <a:pt x="170335" y="37491"/>
                  <a:pt x="170335" y="37491"/>
                  <a:pt x="170335" y="37491"/>
                </a:cubicBezTo>
                <a:cubicBezTo>
                  <a:pt x="171258" y="37491"/>
                  <a:pt x="171566" y="38103"/>
                  <a:pt x="171566" y="38715"/>
                </a:cubicBezTo>
                <a:cubicBezTo>
                  <a:pt x="171566" y="46671"/>
                  <a:pt x="171566" y="46671"/>
                  <a:pt x="171566" y="46671"/>
                </a:cubicBezTo>
                <a:cubicBezTo>
                  <a:pt x="179877" y="46671"/>
                  <a:pt x="179877" y="46671"/>
                  <a:pt x="179877" y="46671"/>
                </a:cubicBezTo>
                <a:cubicBezTo>
                  <a:pt x="180493" y="46671"/>
                  <a:pt x="181108" y="47283"/>
                  <a:pt x="181108" y="48201"/>
                </a:cubicBezTo>
                <a:cubicBezTo>
                  <a:pt x="181108" y="51873"/>
                  <a:pt x="181108" y="51873"/>
                  <a:pt x="181108" y="51873"/>
                </a:cubicBezTo>
                <a:cubicBezTo>
                  <a:pt x="181108" y="52791"/>
                  <a:pt x="180493" y="53097"/>
                  <a:pt x="179877" y="53097"/>
                </a:cubicBezTo>
                <a:cubicBezTo>
                  <a:pt x="171566" y="53097"/>
                  <a:pt x="171566" y="53097"/>
                  <a:pt x="171566" y="53097"/>
                </a:cubicBezTo>
                <a:cubicBezTo>
                  <a:pt x="171566" y="61359"/>
                  <a:pt x="171566" y="61359"/>
                  <a:pt x="171566" y="61359"/>
                </a:cubicBezTo>
                <a:cubicBezTo>
                  <a:pt x="171566" y="61971"/>
                  <a:pt x="171258" y="62583"/>
                  <a:pt x="170335" y="62583"/>
                </a:cubicBezTo>
                <a:cubicBezTo>
                  <a:pt x="166641" y="62583"/>
                  <a:pt x="166641" y="62583"/>
                  <a:pt x="166641" y="62583"/>
                </a:cubicBezTo>
                <a:cubicBezTo>
                  <a:pt x="165718" y="62583"/>
                  <a:pt x="165102" y="61971"/>
                  <a:pt x="165102" y="61359"/>
                </a:cubicBezTo>
                <a:cubicBezTo>
                  <a:pt x="165102" y="53097"/>
                  <a:pt x="165102" y="53097"/>
                  <a:pt x="165102" y="53097"/>
                </a:cubicBezTo>
                <a:cubicBezTo>
                  <a:pt x="157099" y="53097"/>
                  <a:pt x="157099" y="53097"/>
                  <a:pt x="157099" y="53097"/>
                </a:cubicBezTo>
                <a:cubicBezTo>
                  <a:pt x="156483" y="53097"/>
                  <a:pt x="155868" y="52791"/>
                  <a:pt x="155868" y="51873"/>
                </a:cubicBezTo>
                <a:cubicBezTo>
                  <a:pt x="155868" y="48201"/>
                  <a:pt x="155868" y="48201"/>
                  <a:pt x="155868" y="48201"/>
                </a:cubicBezTo>
                <a:cubicBezTo>
                  <a:pt x="155868" y="47283"/>
                  <a:pt x="156483" y="46671"/>
                  <a:pt x="157099" y="46671"/>
                </a:cubicBezTo>
                <a:cubicBezTo>
                  <a:pt x="165102" y="46671"/>
                  <a:pt x="165102" y="46671"/>
                  <a:pt x="165102" y="46671"/>
                </a:cubicBezTo>
                <a:cubicBezTo>
                  <a:pt x="165102" y="38715"/>
                  <a:pt x="165102" y="38715"/>
                  <a:pt x="165102" y="38715"/>
                </a:cubicBezTo>
                <a:cubicBezTo>
                  <a:pt x="165102" y="38103"/>
                  <a:pt x="165718" y="37491"/>
                  <a:pt x="166641" y="37491"/>
                </a:cubicBezTo>
                <a:close/>
                <a:moveTo>
                  <a:pt x="168563" y="32257"/>
                </a:moveTo>
                <a:cubicBezTo>
                  <a:pt x="158747" y="32257"/>
                  <a:pt x="150771" y="40215"/>
                  <a:pt x="150771" y="50010"/>
                </a:cubicBezTo>
                <a:cubicBezTo>
                  <a:pt x="150771" y="59805"/>
                  <a:pt x="158747" y="68069"/>
                  <a:pt x="168563" y="68069"/>
                </a:cubicBezTo>
                <a:cubicBezTo>
                  <a:pt x="178378" y="68069"/>
                  <a:pt x="186354" y="59805"/>
                  <a:pt x="186354" y="50010"/>
                </a:cubicBezTo>
                <a:cubicBezTo>
                  <a:pt x="186354" y="40215"/>
                  <a:pt x="178378" y="32257"/>
                  <a:pt x="168563" y="32257"/>
                </a:cubicBezTo>
                <a:close/>
                <a:moveTo>
                  <a:pt x="277837" y="30956"/>
                </a:moveTo>
                <a:cubicBezTo>
                  <a:pt x="276609" y="30956"/>
                  <a:pt x="275688" y="31569"/>
                  <a:pt x="275074" y="32182"/>
                </a:cubicBezTo>
                <a:cubicBezTo>
                  <a:pt x="274460" y="32795"/>
                  <a:pt x="273846" y="33715"/>
                  <a:pt x="273846" y="34941"/>
                </a:cubicBezTo>
                <a:cubicBezTo>
                  <a:pt x="273846" y="41377"/>
                  <a:pt x="273846" y="41377"/>
                  <a:pt x="273846" y="41377"/>
                </a:cubicBezTo>
                <a:cubicBezTo>
                  <a:pt x="273846" y="41990"/>
                  <a:pt x="273846" y="41990"/>
                  <a:pt x="273846" y="41990"/>
                </a:cubicBezTo>
                <a:lnTo>
                  <a:pt x="273846" y="42296"/>
                </a:lnTo>
                <a:cubicBezTo>
                  <a:pt x="273846" y="48733"/>
                  <a:pt x="273846" y="48733"/>
                  <a:pt x="273846" y="48733"/>
                </a:cubicBezTo>
                <a:cubicBezTo>
                  <a:pt x="273846" y="49959"/>
                  <a:pt x="274460" y="50878"/>
                  <a:pt x="275074" y="51491"/>
                </a:cubicBezTo>
                <a:cubicBezTo>
                  <a:pt x="275688" y="52104"/>
                  <a:pt x="276609" y="52717"/>
                  <a:pt x="277837" y="52717"/>
                </a:cubicBezTo>
                <a:cubicBezTo>
                  <a:pt x="278144" y="52717"/>
                  <a:pt x="278144" y="52717"/>
                  <a:pt x="278144" y="52717"/>
                </a:cubicBezTo>
                <a:cubicBezTo>
                  <a:pt x="279372" y="52717"/>
                  <a:pt x="280293" y="52104"/>
                  <a:pt x="280907" y="51491"/>
                </a:cubicBezTo>
                <a:cubicBezTo>
                  <a:pt x="281827" y="50878"/>
                  <a:pt x="282134" y="49959"/>
                  <a:pt x="282134" y="48733"/>
                </a:cubicBezTo>
                <a:cubicBezTo>
                  <a:pt x="282134" y="42296"/>
                  <a:pt x="282134" y="42296"/>
                  <a:pt x="282134" y="42296"/>
                </a:cubicBezTo>
                <a:cubicBezTo>
                  <a:pt x="282134" y="41990"/>
                  <a:pt x="282134" y="41990"/>
                  <a:pt x="282134" y="41990"/>
                </a:cubicBezTo>
                <a:cubicBezTo>
                  <a:pt x="282134" y="41377"/>
                  <a:pt x="282134" y="41377"/>
                  <a:pt x="282134" y="41377"/>
                </a:cubicBezTo>
                <a:cubicBezTo>
                  <a:pt x="282134" y="34941"/>
                  <a:pt x="282134" y="34941"/>
                  <a:pt x="282134" y="34941"/>
                </a:cubicBezTo>
                <a:cubicBezTo>
                  <a:pt x="282134" y="33715"/>
                  <a:pt x="281827" y="32795"/>
                  <a:pt x="280907" y="32182"/>
                </a:cubicBezTo>
                <a:cubicBezTo>
                  <a:pt x="280293" y="31569"/>
                  <a:pt x="279372" y="30956"/>
                  <a:pt x="278144" y="30956"/>
                </a:cubicBezTo>
                <a:cubicBezTo>
                  <a:pt x="277837" y="30956"/>
                  <a:pt x="277837" y="30956"/>
                  <a:pt x="277837" y="30956"/>
                </a:cubicBezTo>
                <a:close/>
                <a:moveTo>
                  <a:pt x="264636" y="30956"/>
                </a:moveTo>
                <a:cubicBezTo>
                  <a:pt x="263408" y="30956"/>
                  <a:pt x="262487" y="31569"/>
                  <a:pt x="261566" y="32182"/>
                </a:cubicBezTo>
                <a:cubicBezTo>
                  <a:pt x="260952" y="32795"/>
                  <a:pt x="260645" y="33715"/>
                  <a:pt x="260645" y="34941"/>
                </a:cubicBezTo>
                <a:cubicBezTo>
                  <a:pt x="260645" y="41377"/>
                  <a:pt x="260645" y="41377"/>
                  <a:pt x="260645" y="41377"/>
                </a:cubicBezTo>
                <a:cubicBezTo>
                  <a:pt x="260645" y="41990"/>
                  <a:pt x="260645" y="41990"/>
                  <a:pt x="260645" y="41990"/>
                </a:cubicBezTo>
                <a:cubicBezTo>
                  <a:pt x="260645" y="42296"/>
                  <a:pt x="260645" y="42296"/>
                  <a:pt x="260645" y="42296"/>
                </a:cubicBezTo>
                <a:cubicBezTo>
                  <a:pt x="260645" y="48733"/>
                  <a:pt x="260645" y="48733"/>
                  <a:pt x="260645" y="48733"/>
                </a:cubicBezTo>
                <a:cubicBezTo>
                  <a:pt x="260645" y="49959"/>
                  <a:pt x="260952" y="50878"/>
                  <a:pt x="261566" y="51491"/>
                </a:cubicBezTo>
                <a:cubicBezTo>
                  <a:pt x="262487" y="52104"/>
                  <a:pt x="263408" y="52717"/>
                  <a:pt x="264636" y="52717"/>
                </a:cubicBezTo>
                <a:cubicBezTo>
                  <a:pt x="264943" y="52717"/>
                  <a:pt x="264943" y="52717"/>
                  <a:pt x="264943" y="52717"/>
                </a:cubicBezTo>
                <a:cubicBezTo>
                  <a:pt x="265864" y="52717"/>
                  <a:pt x="266785" y="52104"/>
                  <a:pt x="267706" y="51491"/>
                </a:cubicBezTo>
                <a:cubicBezTo>
                  <a:pt x="268320" y="50878"/>
                  <a:pt x="268934" y="49959"/>
                  <a:pt x="268934" y="48733"/>
                </a:cubicBezTo>
                <a:cubicBezTo>
                  <a:pt x="268934" y="42296"/>
                  <a:pt x="268934" y="42296"/>
                  <a:pt x="268934" y="42296"/>
                </a:cubicBezTo>
                <a:cubicBezTo>
                  <a:pt x="268934" y="41990"/>
                  <a:pt x="268934" y="41990"/>
                  <a:pt x="268934" y="41990"/>
                </a:cubicBezTo>
                <a:cubicBezTo>
                  <a:pt x="268934" y="41377"/>
                  <a:pt x="268934" y="41377"/>
                  <a:pt x="268934" y="41377"/>
                </a:cubicBezTo>
                <a:cubicBezTo>
                  <a:pt x="268934" y="34941"/>
                  <a:pt x="268934" y="34941"/>
                  <a:pt x="268934" y="34941"/>
                </a:cubicBezTo>
                <a:cubicBezTo>
                  <a:pt x="268934" y="33715"/>
                  <a:pt x="268320" y="32795"/>
                  <a:pt x="267706" y="32182"/>
                </a:cubicBezTo>
                <a:cubicBezTo>
                  <a:pt x="266785" y="31569"/>
                  <a:pt x="265864" y="30956"/>
                  <a:pt x="264943" y="30956"/>
                </a:cubicBezTo>
                <a:cubicBezTo>
                  <a:pt x="264636" y="30956"/>
                  <a:pt x="264636" y="30956"/>
                  <a:pt x="264636" y="30956"/>
                </a:cubicBezTo>
                <a:close/>
                <a:moveTo>
                  <a:pt x="251128" y="30956"/>
                </a:moveTo>
                <a:cubicBezTo>
                  <a:pt x="249900" y="30956"/>
                  <a:pt x="248979" y="31569"/>
                  <a:pt x="248365" y="32182"/>
                </a:cubicBezTo>
                <a:cubicBezTo>
                  <a:pt x="247751" y="32795"/>
                  <a:pt x="247137" y="33715"/>
                  <a:pt x="247137" y="34941"/>
                </a:cubicBezTo>
                <a:cubicBezTo>
                  <a:pt x="247137" y="41377"/>
                  <a:pt x="247137" y="41377"/>
                  <a:pt x="247137" y="41377"/>
                </a:cubicBezTo>
                <a:cubicBezTo>
                  <a:pt x="247137" y="41990"/>
                  <a:pt x="247137" y="41990"/>
                  <a:pt x="247137" y="41990"/>
                </a:cubicBezTo>
                <a:cubicBezTo>
                  <a:pt x="247137" y="42296"/>
                  <a:pt x="247137" y="42296"/>
                  <a:pt x="247137" y="42296"/>
                </a:cubicBezTo>
                <a:cubicBezTo>
                  <a:pt x="247137" y="48733"/>
                  <a:pt x="247137" y="48733"/>
                  <a:pt x="247137" y="48733"/>
                </a:cubicBezTo>
                <a:cubicBezTo>
                  <a:pt x="247137" y="49959"/>
                  <a:pt x="247751" y="50878"/>
                  <a:pt x="248365" y="51491"/>
                </a:cubicBezTo>
                <a:cubicBezTo>
                  <a:pt x="248979" y="52104"/>
                  <a:pt x="249900" y="52717"/>
                  <a:pt x="251128" y="52717"/>
                </a:cubicBezTo>
                <a:cubicBezTo>
                  <a:pt x="251435" y="52717"/>
                  <a:pt x="251435" y="52717"/>
                  <a:pt x="251435" y="52717"/>
                </a:cubicBezTo>
                <a:cubicBezTo>
                  <a:pt x="252663" y="52717"/>
                  <a:pt x="253584" y="52104"/>
                  <a:pt x="254198" y="51491"/>
                </a:cubicBezTo>
                <a:cubicBezTo>
                  <a:pt x="255119" y="50878"/>
                  <a:pt x="255426" y="49959"/>
                  <a:pt x="255426" y="48733"/>
                </a:cubicBezTo>
                <a:cubicBezTo>
                  <a:pt x="255426" y="42296"/>
                  <a:pt x="255426" y="42296"/>
                  <a:pt x="255426" y="42296"/>
                </a:cubicBezTo>
                <a:cubicBezTo>
                  <a:pt x="255426" y="41990"/>
                  <a:pt x="255426" y="41990"/>
                  <a:pt x="255426" y="41990"/>
                </a:cubicBezTo>
                <a:cubicBezTo>
                  <a:pt x="255426" y="41377"/>
                  <a:pt x="255426" y="41377"/>
                  <a:pt x="255426" y="41377"/>
                </a:cubicBezTo>
                <a:cubicBezTo>
                  <a:pt x="255426" y="34941"/>
                  <a:pt x="255426" y="34941"/>
                  <a:pt x="255426" y="34941"/>
                </a:cubicBezTo>
                <a:cubicBezTo>
                  <a:pt x="255426" y="33715"/>
                  <a:pt x="255119" y="32795"/>
                  <a:pt x="254198" y="32182"/>
                </a:cubicBezTo>
                <a:cubicBezTo>
                  <a:pt x="253584" y="31569"/>
                  <a:pt x="252663" y="30956"/>
                  <a:pt x="251435" y="30956"/>
                </a:cubicBezTo>
                <a:cubicBezTo>
                  <a:pt x="251128" y="30956"/>
                  <a:pt x="251128" y="30956"/>
                  <a:pt x="251128" y="30956"/>
                </a:cubicBezTo>
                <a:close/>
                <a:moveTo>
                  <a:pt x="237928" y="30956"/>
                </a:moveTo>
                <a:cubicBezTo>
                  <a:pt x="236700" y="30956"/>
                  <a:pt x="235779" y="31569"/>
                  <a:pt x="235165" y="32182"/>
                </a:cubicBezTo>
                <a:cubicBezTo>
                  <a:pt x="234244" y="32795"/>
                  <a:pt x="233937" y="34021"/>
                  <a:pt x="233937" y="34941"/>
                </a:cubicBezTo>
                <a:cubicBezTo>
                  <a:pt x="233937" y="41377"/>
                  <a:pt x="233937" y="41377"/>
                  <a:pt x="233937" y="41377"/>
                </a:cubicBezTo>
                <a:cubicBezTo>
                  <a:pt x="233937" y="41990"/>
                  <a:pt x="233937" y="41990"/>
                  <a:pt x="233937" y="41990"/>
                </a:cubicBezTo>
                <a:cubicBezTo>
                  <a:pt x="233937" y="42296"/>
                  <a:pt x="233937" y="42296"/>
                  <a:pt x="233937" y="42296"/>
                </a:cubicBezTo>
                <a:cubicBezTo>
                  <a:pt x="233937" y="48733"/>
                  <a:pt x="233937" y="48733"/>
                  <a:pt x="233937" y="48733"/>
                </a:cubicBezTo>
                <a:cubicBezTo>
                  <a:pt x="233937" y="49959"/>
                  <a:pt x="234244" y="50878"/>
                  <a:pt x="235165" y="51491"/>
                </a:cubicBezTo>
                <a:cubicBezTo>
                  <a:pt x="235779" y="52411"/>
                  <a:pt x="236700" y="52717"/>
                  <a:pt x="237928" y="52717"/>
                </a:cubicBezTo>
                <a:cubicBezTo>
                  <a:pt x="238235" y="52717"/>
                  <a:pt x="238235" y="52717"/>
                  <a:pt x="238235" y="52717"/>
                </a:cubicBezTo>
                <a:cubicBezTo>
                  <a:pt x="239156" y="52717"/>
                  <a:pt x="240384" y="52411"/>
                  <a:pt x="240998" y="51491"/>
                </a:cubicBezTo>
                <a:cubicBezTo>
                  <a:pt x="241611" y="50878"/>
                  <a:pt x="242225" y="49959"/>
                  <a:pt x="242225" y="48733"/>
                </a:cubicBezTo>
                <a:cubicBezTo>
                  <a:pt x="242225" y="42296"/>
                  <a:pt x="242225" y="42296"/>
                  <a:pt x="242225" y="42296"/>
                </a:cubicBezTo>
                <a:cubicBezTo>
                  <a:pt x="242225" y="41990"/>
                  <a:pt x="242225" y="41990"/>
                  <a:pt x="242225" y="41990"/>
                </a:cubicBezTo>
                <a:cubicBezTo>
                  <a:pt x="242225" y="41377"/>
                  <a:pt x="242225" y="41377"/>
                  <a:pt x="242225" y="41377"/>
                </a:cubicBezTo>
                <a:cubicBezTo>
                  <a:pt x="242225" y="34941"/>
                  <a:pt x="242225" y="34941"/>
                  <a:pt x="242225" y="34941"/>
                </a:cubicBezTo>
                <a:cubicBezTo>
                  <a:pt x="242225" y="34021"/>
                  <a:pt x="241611" y="32795"/>
                  <a:pt x="240998" y="32182"/>
                </a:cubicBezTo>
                <a:cubicBezTo>
                  <a:pt x="240384" y="31569"/>
                  <a:pt x="239156" y="30956"/>
                  <a:pt x="238235" y="30956"/>
                </a:cubicBezTo>
                <a:cubicBezTo>
                  <a:pt x="237928" y="30956"/>
                  <a:pt x="237928" y="30956"/>
                  <a:pt x="237928" y="30956"/>
                </a:cubicBezTo>
                <a:close/>
                <a:moveTo>
                  <a:pt x="224420" y="30956"/>
                </a:moveTo>
                <a:cubicBezTo>
                  <a:pt x="223499" y="30956"/>
                  <a:pt x="222578" y="31569"/>
                  <a:pt x="221657" y="32182"/>
                </a:cubicBezTo>
                <a:cubicBezTo>
                  <a:pt x="221043" y="32795"/>
                  <a:pt x="220736" y="33715"/>
                  <a:pt x="220736" y="34941"/>
                </a:cubicBezTo>
                <a:cubicBezTo>
                  <a:pt x="220736" y="41377"/>
                  <a:pt x="220736" y="41377"/>
                  <a:pt x="220736" y="41377"/>
                </a:cubicBezTo>
                <a:cubicBezTo>
                  <a:pt x="220736" y="41990"/>
                  <a:pt x="220736" y="41990"/>
                  <a:pt x="220736" y="41990"/>
                </a:cubicBezTo>
                <a:cubicBezTo>
                  <a:pt x="220736" y="42296"/>
                  <a:pt x="220736" y="42296"/>
                  <a:pt x="220736" y="42296"/>
                </a:cubicBezTo>
                <a:cubicBezTo>
                  <a:pt x="220736" y="48733"/>
                  <a:pt x="220736" y="48733"/>
                  <a:pt x="220736" y="48733"/>
                </a:cubicBezTo>
                <a:cubicBezTo>
                  <a:pt x="220736" y="49959"/>
                  <a:pt x="221043" y="50878"/>
                  <a:pt x="221657" y="51491"/>
                </a:cubicBezTo>
                <a:cubicBezTo>
                  <a:pt x="222578" y="52104"/>
                  <a:pt x="223499" y="52717"/>
                  <a:pt x="224420" y="52717"/>
                </a:cubicBezTo>
                <a:cubicBezTo>
                  <a:pt x="225034" y="52717"/>
                  <a:pt x="225034" y="52717"/>
                  <a:pt x="225034" y="52717"/>
                </a:cubicBezTo>
                <a:cubicBezTo>
                  <a:pt x="225955" y="52717"/>
                  <a:pt x="226876" y="52104"/>
                  <a:pt x="227797" y="51491"/>
                </a:cubicBezTo>
                <a:cubicBezTo>
                  <a:pt x="228411" y="50878"/>
                  <a:pt x="228718" y="49959"/>
                  <a:pt x="228718" y="48733"/>
                </a:cubicBezTo>
                <a:cubicBezTo>
                  <a:pt x="228718" y="42296"/>
                  <a:pt x="228718" y="42296"/>
                  <a:pt x="228718" y="42296"/>
                </a:cubicBezTo>
                <a:cubicBezTo>
                  <a:pt x="228718" y="41990"/>
                  <a:pt x="228718" y="41990"/>
                  <a:pt x="228718" y="41990"/>
                </a:cubicBezTo>
                <a:cubicBezTo>
                  <a:pt x="228718" y="41377"/>
                  <a:pt x="228718" y="41377"/>
                  <a:pt x="228718" y="41377"/>
                </a:cubicBezTo>
                <a:cubicBezTo>
                  <a:pt x="228718" y="34941"/>
                  <a:pt x="228718" y="34941"/>
                  <a:pt x="228718" y="34941"/>
                </a:cubicBezTo>
                <a:cubicBezTo>
                  <a:pt x="228718" y="33715"/>
                  <a:pt x="228411" y="32795"/>
                  <a:pt x="227797" y="32182"/>
                </a:cubicBezTo>
                <a:cubicBezTo>
                  <a:pt x="226876" y="31569"/>
                  <a:pt x="225955" y="30956"/>
                  <a:pt x="225034" y="30956"/>
                </a:cubicBezTo>
                <a:cubicBezTo>
                  <a:pt x="224420" y="30956"/>
                  <a:pt x="224420" y="30956"/>
                  <a:pt x="224420" y="30956"/>
                </a:cubicBezTo>
                <a:close/>
                <a:moveTo>
                  <a:pt x="220429" y="27278"/>
                </a:moveTo>
                <a:cubicBezTo>
                  <a:pt x="219815" y="27278"/>
                  <a:pt x="219508" y="27585"/>
                  <a:pt x="219508" y="28198"/>
                </a:cubicBezTo>
                <a:cubicBezTo>
                  <a:pt x="219508" y="28504"/>
                  <a:pt x="219815" y="28811"/>
                  <a:pt x="220429" y="28811"/>
                </a:cubicBezTo>
                <a:cubicBezTo>
                  <a:pt x="282748" y="28811"/>
                  <a:pt x="282748" y="28811"/>
                  <a:pt x="282748" y="28811"/>
                </a:cubicBezTo>
                <a:cubicBezTo>
                  <a:pt x="283362" y="28811"/>
                  <a:pt x="283669" y="28504"/>
                  <a:pt x="283669" y="28198"/>
                </a:cubicBezTo>
                <a:cubicBezTo>
                  <a:pt x="283669" y="27585"/>
                  <a:pt x="283362" y="27278"/>
                  <a:pt x="282748" y="27278"/>
                </a:cubicBezTo>
                <a:cubicBezTo>
                  <a:pt x="220429" y="27278"/>
                  <a:pt x="220429" y="27278"/>
                  <a:pt x="220429" y="27278"/>
                </a:cubicBezTo>
                <a:close/>
                <a:moveTo>
                  <a:pt x="148931" y="22462"/>
                </a:moveTo>
                <a:cubicBezTo>
                  <a:pt x="148931" y="22462"/>
                  <a:pt x="148931" y="22462"/>
                  <a:pt x="188501" y="22462"/>
                </a:cubicBezTo>
                <a:cubicBezTo>
                  <a:pt x="188501" y="22462"/>
                  <a:pt x="188501" y="22462"/>
                  <a:pt x="201997" y="38379"/>
                </a:cubicBezTo>
                <a:cubicBezTo>
                  <a:pt x="201997" y="38379"/>
                  <a:pt x="201997" y="38379"/>
                  <a:pt x="201997" y="63172"/>
                </a:cubicBezTo>
                <a:cubicBezTo>
                  <a:pt x="201997" y="63172"/>
                  <a:pt x="201997" y="63172"/>
                  <a:pt x="188194" y="79088"/>
                </a:cubicBezTo>
                <a:cubicBezTo>
                  <a:pt x="188194" y="79088"/>
                  <a:pt x="188194" y="79088"/>
                  <a:pt x="148624" y="79088"/>
                </a:cubicBezTo>
                <a:cubicBezTo>
                  <a:pt x="148624" y="79088"/>
                  <a:pt x="148624" y="79088"/>
                  <a:pt x="135128" y="62866"/>
                </a:cubicBezTo>
                <a:cubicBezTo>
                  <a:pt x="135128" y="62866"/>
                  <a:pt x="135128" y="62866"/>
                  <a:pt x="135128" y="38073"/>
                </a:cubicBezTo>
                <a:cubicBezTo>
                  <a:pt x="135128" y="38073"/>
                  <a:pt x="135128" y="38073"/>
                  <a:pt x="148931" y="22462"/>
                </a:cubicBezTo>
                <a:close/>
                <a:moveTo>
                  <a:pt x="148318" y="20932"/>
                </a:moveTo>
                <a:cubicBezTo>
                  <a:pt x="133594" y="37767"/>
                  <a:pt x="133594" y="37767"/>
                  <a:pt x="133594" y="37767"/>
                </a:cubicBezTo>
                <a:cubicBezTo>
                  <a:pt x="133594" y="63478"/>
                  <a:pt x="133594" y="63478"/>
                  <a:pt x="133594" y="63478"/>
                </a:cubicBezTo>
                <a:cubicBezTo>
                  <a:pt x="148011" y="80313"/>
                  <a:pt x="148011" y="80313"/>
                  <a:pt x="148011" y="80313"/>
                </a:cubicBezTo>
                <a:cubicBezTo>
                  <a:pt x="188807" y="80313"/>
                  <a:pt x="188807" y="80313"/>
                  <a:pt x="188807" y="80313"/>
                </a:cubicBezTo>
                <a:cubicBezTo>
                  <a:pt x="203531" y="63478"/>
                  <a:pt x="203531" y="63478"/>
                  <a:pt x="203531" y="63478"/>
                </a:cubicBezTo>
                <a:cubicBezTo>
                  <a:pt x="203531" y="37767"/>
                  <a:pt x="203531" y="37767"/>
                  <a:pt x="203531" y="37767"/>
                </a:cubicBezTo>
                <a:cubicBezTo>
                  <a:pt x="189114" y="20932"/>
                  <a:pt x="189114" y="20932"/>
                  <a:pt x="189114" y="20932"/>
                </a:cubicBezTo>
                <a:lnTo>
                  <a:pt x="188807" y="20932"/>
                </a:lnTo>
                <a:cubicBezTo>
                  <a:pt x="148318" y="20932"/>
                  <a:pt x="148318" y="20932"/>
                  <a:pt x="148318" y="20932"/>
                </a:cubicBezTo>
                <a:close/>
                <a:moveTo>
                  <a:pt x="274767" y="14712"/>
                </a:moveTo>
                <a:cubicBezTo>
                  <a:pt x="274767" y="14712"/>
                  <a:pt x="274767" y="14712"/>
                  <a:pt x="281214" y="14712"/>
                </a:cubicBezTo>
                <a:cubicBezTo>
                  <a:pt x="281214" y="14712"/>
                  <a:pt x="281214" y="14712"/>
                  <a:pt x="281214" y="21148"/>
                </a:cubicBezTo>
                <a:cubicBezTo>
                  <a:pt x="281214" y="22068"/>
                  <a:pt x="280907" y="22681"/>
                  <a:pt x="280293" y="23294"/>
                </a:cubicBezTo>
                <a:cubicBezTo>
                  <a:pt x="279986" y="23907"/>
                  <a:pt x="279065" y="24213"/>
                  <a:pt x="278144" y="24213"/>
                </a:cubicBezTo>
                <a:cubicBezTo>
                  <a:pt x="278144" y="24213"/>
                  <a:pt x="278144" y="24213"/>
                  <a:pt x="277837" y="24213"/>
                </a:cubicBezTo>
                <a:cubicBezTo>
                  <a:pt x="276916" y="24213"/>
                  <a:pt x="276302" y="23907"/>
                  <a:pt x="275688" y="23294"/>
                </a:cubicBezTo>
                <a:cubicBezTo>
                  <a:pt x="275074" y="22681"/>
                  <a:pt x="274767" y="22068"/>
                  <a:pt x="274767" y="21148"/>
                </a:cubicBezTo>
                <a:cubicBezTo>
                  <a:pt x="274767" y="21148"/>
                  <a:pt x="274767" y="21148"/>
                  <a:pt x="274767" y="14712"/>
                </a:cubicBezTo>
                <a:close/>
                <a:moveTo>
                  <a:pt x="261259" y="14712"/>
                </a:moveTo>
                <a:cubicBezTo>
                  <a:pt x="261259" y="14712"/>
                  <a:pt x="261259" y="14712"/>
                  <a:pt x="268013" y="14712"/>
                </a:cubicBezTo>
                <a:cubicBezTo>
                  <a:pt x="268013" y="14712"/>
                  <a:pt x="268013" y="14712"/>
                  <a:pt x="268013" y="21148"/>
                </a:cubicBezTo>
                <a:cubicBezTo>
                  <a:pt x="268013" y="22068"/>
                  <a:pt x="267706" y="22681"/>
                  <a:pt x="267092" y="23294"/>
                </a:cubicBezTo>
                <a:cubicBezTo>
                  <a:pt x="266478" y="23907"/>
                  <a:pt x="265864" y="24213"/>
                  <a:pt x="264943" y="24213"/>
                </a:cubicBezTo>
                <a:cubicBezTo>
                  <a:pt x="264943" y="24213"/>
                  <a:pt x="264943" y="24213"/>
                  <a:pt x="264636" y="24213"/>
                </a:cubicBezTo>
                <a:cubicBezTo>
                  <a:pt x="263715" y="24213"/>
                  <a:pt x="262794" y="23907"/>
                  <a:pt x="262180" y="23294"/>
                </a:cubicBezTo>
                <a:cubicBezTo>
                  <a:pt x="261873" y="22681"/>
                  <a:pt x="261259" y="22068"/>
                  <a:pt x="261259" y="21148"/>
                </a:cubicBezTo>
                <a:cubicBezTo>
                  <a:pt x="261259" y="21148"/>
                  <a:pt x="261259" y="21148"/>
                  <a:pt x="261259" y="14712"/>
                </a:cubicBezTo>
                <a:close/>
                <a:moveTo>
                  <a:pt x="248058" y="14712"/>
                </a:moveTo>
                <a:cubicBezTo>
                  <a:pt x="248058" y="14712"/>
                  <a:pt x="248058" y="14712"/>
                  <a:pt x="254505" y="14712"/>
                </a:cubicBezTo>
                <a:cubicBezTo>
                  <a:pt x="254505" y="14712"/>
                  <a:pt x="254505" y="14712"/>
                  <a:pt x="254505" y="21148"/>
                </a:cubicBezTo>
                <a:cubicBezTo>
                  <a:pt x="254505" y="22068"/>
                  <a:pt x="254198" y="22681"/>
                  <a:pt x="253584" y="23294"/>
                </a:cubicBezTo>
                <a:cubicBezTo>
                  <a:pt x="253277" y="23907"/>
                  <a:pt x="252356" y="24213"/>
                  <a:pt x="251435" y="24213"/>
                </a:cubicBezTo>
                <a:cubicBezTo>
                  <a:pt x="251435" y="24213"/>
                  <a:pt x="251435" y="24213"/>
                  <a:pt x="251128" y="24213"/>
                </a:cubicBezTo>
                <a:cubicBezTo>
                  <a:pt x="250207" y="24213"/>
                  <a:pt x="249593" y="23907"/>
                  <a:pt x="248979" y="23294"/>
                </a:cubicBezTo>
                <a:cubicBezTo>
                  <a:pt x="248365" y="22681"/>
                  <a:pt x="248058" y="22068"/>
                  <a:pt x="248058" y="21148"/>
                </a:cubicBezTo>
                <a:cubicBezTo>
                  <a:pt x="248058" y="21148"/>
                  <a:pt x="248058" y="21148"/>
                  <a:pt x="248058" y="14712"/>
                </a:cubicBezTo>
                <a:close/>
                <a:moveTo>
                  <a:pt x="234858" y="14712"/>
                </a:moveTo>
                <a:cubicBezTo>
                  <a:pt x="234858" y="14712"/>
                  <a:pt x="234858" y="14712"/>
                  <a:pt x="241305" y="14712"/>
                </a:cubicBezTo>
                <a:cubicBezTo>
                  <a:pt x="241305" y="14712"/>
                  <a:pt x="241305" y="14712"/>
                  <a:pt x="241305" y="21148"/>
                </a:cubicBezTo>
                <a:cubicBezTo>
                  <a:pt x="241305" y="22068"/>
                  <a:pt x="240998" y="22987"/>
                  <a:pt x="240384" y="23294"/>
                </a:cubicBezTo>
                <a:cubicBezTo>
                  <a:pt x="239770" y="23907"/>
                  <a:pt x="239156" y="24213"/>
                  <a:pt x="238235" y="24213"/>
                </a:cubicBezTo>
                <a:cubicBezTo>
                  <a:pt x="238235" y="24213"/>
                  <a:pt x="238235" y="24213"/>
                  <a:pt x="237928" y="24213"/>
                </a:cubicBezTo>
                <a:cubicBezTo>
                  <a:pt x="237007" y="24213"/>
                  <a:pt x="236086" y="23907"/>
                  <a:pt x="235779" y="23294"/>
                </a:cubicBezTo>
                <a:cubicBezTo>
                  <a:pt x="235165" y="22987"/>
                  <a:pt x="234858" y="22068"/>
                  <a:pt x="234858" y="21148"/>
                </a:cubicBezTo>
                <a:cubicBezTo>
                  <a:pt x="234858" y="21148"/>
                  <a:pt x="234858" y="21148"/>
                  <a:pt x="234858" y="14712"/>
                </a:cubicBezTo>
                <a:close/>
                <a:moveTo>
                  <a:pt x="221350" y="14712"/>
                </a:moveTo>
                <a:cubicBezTo>
                  <a:pt x="221350" y="14712"/>
                  <a:pt x="221350" y="14712"/>
                  <a:pt x="228104" y="14712"/>
                </a:cubicBezTo>
                <a:cubicBezTo>
                  <a:pt x="228104" y="14712"/>
                  <a:pt x="228104" y="14712"/>
                  <a:pt x="228104" y="21148"/>
                </a:cubicBezTo>
                <a:cubicBezTo>
                  <a:pt x="228104" y="22068"/>
                  <a:pt x="227490" y="22681"/>
                  <a:pt x="227183" y="23294"/>
                </a:cubicBezTo>
                <a:cubicBezTo>
                  <a:pt x="226569" y="23907"/>
                  <a:pt x="225648" y="24213"/>
                  <a:pt x="225034" y="24213"/>
                </a:cubicBezTo>
                <a:cubicBezTo>
                  <a:pt x="225034" y="24213"/>
                  <a:pt x="225034" y="24213"/>
                  <a:pt x="224420" y="24213"/>
                </a:cubicBezTo>
                <a:cubicBezTo>
                  <a:pt x="223806" y="24213"/>
                  <a:pt x="222885" y="23907"/>
                  <a:pt x="222271" y="23294"/>
                </a:cubicBezTo>
                <a:cubicBezTo>
                  <a:pt x="221657" y="22681"/>
                  <a:pt x="221350" y="22068"/>
                  <a:pt x="221350" y="21148"/>
                </a:cubicBezTo>
                <a:cubicBezTo>
                  <a:pt x="221350" y="21148"/>
                  <a:pt x="221350" y="21148"/>
                  <a:pt x="221350" y="14712"/>
                </a:cubicBezTo>
                <a:close/>
                <a:moveTo>
                  <a:pt x="159590" y="5899"/>
                </a:moveTo>
                <a:cubicBezTo>
                  <a:pt x="158362" y="5899"/>
                  <a:pt x="157442" y="6510"/>
                  <a:pt x="156521" y="7121"/>
                </a:cubicBezTo>
                <a:cubicBezTo>
                  <a:pt x="155601" y="8037"/>
                  <a:pt x="155294" y="9564"/>
                  <a:pt x="155294" y="10785"/>
                </a:cubicBezTo>
                <a:lnTo>
                  <a:pt x="155294" y="17565"/>
                </a:lnTo>
                <a:lnTo>
                  <a:pt x="163671" y="17565"/>
                </a:lnTo>
                <a:lnTo>
                  <a:pt x="163249" y="16925"/>
                </a:lnTo>
                <a:cubicBezTo>
                  <a:pt x="163249" y="15991"/>
                  <a:pt x="163249" y="15991"/>
                  <a:pt x="163249" y="15991"/>
                </a:cubicBezTo>
                <a:cubicBezTo>
                  <a:pt x="163249" y="15367"/>
                  <a:pt x="163557" y="15056"/>
                  <a:pt x="163865" y="15056"/>
                </a:cubicBezTo>
                <a:cubicBezTo>
                  <a:pt x="172805" y="15056"/>
                  <a:pt x="172805" y="15056"/>
                  <a:pt x="172805" y="15056"/>
                </a:cubicBezTo>
                <a:cubicBezTo>
                  <a:pt x="173421" y="15056"/>
                  <a:pt x="173729" y="15367"/>
                  <a:pt x="173729" y="15991"/>
                </a:cubicBezTo>
                <a:cubicBezTo>
                  <a:pt x="173729" y="16925"/>
                  <a:pt x="173729" y="16925"/>
                  <a:pt x="173729" y="16925"/>
                </a:cubicBezTo>
                <a:lnTo>
                  <a:pt x="173097" y="17565"/>
                </a:lnTo>
                <a:lnTo>
                  <a:pt x="181684" y="17565"/>
                </a:lnTo>
                <a:lnTo>
                  <a:pt x="181684" y="12389"/>
                </a:lnTo>
                <a:cubicBezTo>
                  <a:pt x="181684" y="11396"/>
                  <a:pt x="181684" y="11396"/>
                  <a:pt x="181684" y="11396"/>
                </a:cubicBezTo>
                <a:cubicBezTo>
                  <a:pt x="181684" y="9869"/>
                  <a:pt x="181070" y="8342"/>
                  <a:pt x="180150" y="7426"/>
                </a:cubicBezTo>
                <a:cubicBezTo>
                  <a:pt x="179536" y="6510"/>
                  <a:pt x="178309" y="5899"/>
                  <a:pt x="176774" y="5899"/>
                </a:cubicBezTo>
                <a:cubicBezTo>
                  <a:pt x="159590" y="5899"/>
                  <a:pt x="159590" y="5899"/>
                  <a:pt x="159590" y="5899"/>
                </a:cubicBezTo>
                <a:close/>
                <a:moveTo>
                  <a:pt x="277837" y="3371"/>
                </a:moveTo>
                <a:cubicBezTo>
                  <a:pt x="276609" y="3371"/>
                  <a:pt x="275688" y="3984"/>
                  <a:pt x="275074" y="4597"/>
                </a:cubicBezTo>
                <a:cubicBezTo>
                  <a:pt x="274460" y="5210"/>
                  <a:pt x="273846" y="6130"/>
                  <a:pt x="273846" y="7356"/>
                </a:cubicBezTo>
                <a:cubicBezTo>
                  <a:pt x="273846" y="13792"/>
                  <a:pt x="273846" y="13792"/>
                  <a:pt x="273846" y="13792"/>
                </a:cubicBezTo>
                <a:cubicBezTo>
                  <a:pt x="273846" y="14405"/>
                  <a:pt x="273846" y="14405"/>
                  <a:pt x="273846" y="14405"/>
                </a:cubicBezTo>
                <a:cubicBezTo>
                  <a:pt x="273846" y="14712"/>
                  <a:pt x="273846" y="14712"/>
                  <a:pt x="273846" y="14712"/>
                </a:cubicBezTo>
                <a:cubicBezTo>
                  <a:pt x="273846" y="21148"/>
                  <a:pt x="273846" y="21148"/>
                  <a:pt x="273846" y="21148"/>
                </a:cubicBezTo>
                <a:cubicBezTo>
                  <a:pt x="273846" y="22374"/>
                  <a:pt x="274460" y="23294"/>
                  <a:pt x="275074" y="23907"/>
                </a:cubicBezTo>
                <a:cubicBezTo>
                  <a:pt x="275688" y="24520"/>
                  <a:pt x="276609" y="25133"/>
                  <a:pt x="277837" y="25133"/>
                </a:cubicBezTo>
                <a:cubicBezTo>
                  <a:pt x="278144" y="25133"/>
                  <a:pt x="278144" y="25133"/>
                  <a:pt x="278144" y="25133"/>
                </a:cubicBezTo>
                <a:cubicBezTo>
                  <a:pt x="279372" y="25133"/>
                  <a:pt x="280293" y="24520"/>
                  <a:pt x="280907" y="23907"/>
                </a:cubicBezTo>
                <a:cubicBezTo>
                  <a:pt x="281827" y="23294"/>
                  <a:pt x="282134" y="22374"/>
                  <a:pt x="282134" y="21148"/>
                </a:cubicBezTo>
                <a:cubicBezTo>
                  <a:pt x="282134" y="14712"/>
                  <a:pt x="282134" y="14712"/>
                  <a:pt x="282134" y="14712"/>
                </a:cubicBezTo>
                <a:cubicBezTo>
                  <a:pt x="282134" y="14405"/>
                  <a:pt x="282134" y="14405"/>
                  <a:pt x="282134" y="14405"/>
                </a:cubicBezTo>
                <a:cubicBezTo>
                  <a:pt x="282134" y="13792"/>
                  <a:pt x="282134" y="13792"/>
                  <a:pt x="282134" y="13792"/>
                </a:cubicBezTo>
                <a:cubicBezTo>
                  <a:pt x="282134" y="7356"/>
                  <a:pt x="282134" y="7356"/>
                  <a:pt x="282134" y="7356"/>
                </a:cubicBezTo>
                <a:cubicBezTo>
                  <a:pt x="282134" y="6130"/>
                  <a:pt x="281827" y="5210"/>
                  <a:pt x="280907" y="4597"/>
                </a:cubicBezTo>
                <a:cubicBezTo>
                  <a:pt x="280293" y="3984"/>
                  <a:pt x="279372" y="3371"/>
                  <a:pt x="278144" y="3371"/>
                </a:cubicBezTo>
                <a:cubicBezTo>
                  <a:pt x="277837" y="3371"/>
                  <a:pt x="277837" y="3371"/>
                  <a:pt x="277837" y="3371"/>
                </a:cubicBezTo>
                <a:close/>
                <a:moveTo>
                  <a:pt x="264636" y="3371"/>
                </a:moveTo>
                <a:cubicBezTo>
                  <a:pt x="263408" y="3371"/>
                  <a:pt x="262487" y="3984"/>
                  <a:pt x="261566" y="4597"/>
                </a:cubicBezTo>
                <a:cubicBezTo>
                  <a:pt x="260952" y="5210"/>
                  <a:pt x="260645" y="6130"/>
                  <a:pt x="260645" y="7356"/>
                </a:cubicBezTo>
                <a:cubicBezTo>
                  <a:pt x="260645" y="13792"/>
                  <a:pt x="260645" y="13792"/>
                  <a:pt x="260645" y="13792"/>
                </a:cubicBezTo>
                <a:cubicBezTo>
                  <a:pt x="260645" y="14405"/>
                  <a:pt x="260645" y="14405"/>
                  <a:pt x="260645" y="14405"/>
                </a:cubicBezTo>
                <a:cubicBezTo>
                  <a:pt x="260645" y="14712"/>
                  <a:pt x="260645" y="14712"/>
                  <a:pt x="260645" y="14712"/>
                </a:cubicBezTo>
                <a:cubicBezTo>
                  <a:pt x="260645" y="21148"/>
                  <a:pt x="260645" y="21148"/>
                  <a:pt x="260645" y="21148"/>
                </a:cubicBezTo>
                <a:cubicBezTo>
                  <a:pt x="260645" y="22374"/>
                  <a:pt x="260952" y="23294"/>
                  <a:pt x="261566" y="23907"/>
                </a:cubicBezTo>
                <a:cubicBezTo>
                  <a:pt x="262487" y="24520"/>
                  <a:pt x="263408" y="25133"/>
                  <a:pt x="264636" y="25133"/>
                </a:cubicBezTo>
                <a:cubicBezTo>
                  <a:pt x="264943" y="25133"/>
                  <a:pt x="264943" y="25133"/>
                  <a:pt x="264943" y="25133"/>
                </a:cubicBezTo>
                <a:cubicBezTo>
                  <a:pt x="265864" y="25133"/>
                  <a:pt x="266785" y="24520"/>
                  <a:pt x="267706" y="23907"/>
                </a:cubicBezTo>
                <a:cubicBezTo>
                  <a:pt x="268320" y="23294"/>
                  <a:pt x="268934" y="22374"/>
                  <a:pt x="268934" y="21148"/>
                </a:cubicBezTo>
                <a:cubicBezTo>
                  <a:pt x="268934" y="14712"/>
                  <a:pt x="268934" y="14712"/>
                  <a:pt x="268934" y="14712"/>
                </a:cubicBezTo>
                <a:cubicBezTo>
                  <a:pt x="268934" y="14405"/>
                  <a:pt x="268934" y="14405"/>
                  <a:pt x="268934" y="14405"/>
                </a:cubicBezTo>
                <a:cubicBezTo>
                  <a:pt x="268934" y="13792"/>
                  <a:pt x="268934" y="13792"/>
                  <a:pt x="268934" y="13792"/>
                </a:cubicBezTo>
                <a:cubicBezTo>
                  <a:pt x="268934" y="7356"/>
                  <a:pt x="268934" y="7356"/>
                  <a:pt x="268934" y="7356"/>
                </a:cubicBezTo>
                <a:cubicBezTo>
                  <a:pt x="268934" y="6130"/>
                  <a:pt x="268320" y="5210"/>
                  <a:pt x="267706" y="4597"/>
                </a:cubicBezTo>
                <a:cubicBezTo>
                  <a:pt x="266785" y="3984"/>
                  <a:pt x="265864" y="3371"/>
                  <a:pt x="264943" y="3371"/>
                </a:cubicBezTo>
                <a:cubicBezTo>
                  <a:pt x="264636" y="3371"/>
                  <a:pt x="264636" y="3371"/>
                  <a:pt x="264636" y="3371"/>
                </a:cubicBezTo>
                <a:close/>
                <a:moveTo>
                  <a:pt x="251128" y="3371"/>
                </a:moveTo>
                <a:cubicBezTo>
                  <a:pt x="249900" y="3371"/>
                  <a:pt x="248979" y="3984"/>
                  <a:pt x="248365" y="4597"/>
                </a:cubicBezTo>
                <a:cubicBezTo>
                  <a:pt x="247751" y="5210"/>
                  <a:pt x="247137" y="6130"/>
                  <a:pt x="247137" y="7356"/>
                </a:cubicBezTo>
                <a:cubicBezTo>
                  <a:pt x="247137" y="13792"/>
                  <a:pt x="247137" y="13792"/>
                  <a:pt x="247137" y="13792"/>
                </a:cubicBezTo>
                <a:cubicBezTo>
                  <a:pt x="247137" y="14405"/>
                  <a:pt x="247137" y="14405"/>
                  <a:pt x="247137" y="14405"/>
                </a:cubicBezTo>
                <a:cubicBezTo>
                  <a:pt x="247137" y="14712"/>
                  <a:pt x="247137" y="14712"/>
                  <a:pt x="247137" y="14712"/>
                </a:cubicBezTo>
                <a:cubicBezTo>
                  <a:pt x="247137" y="21148"/>
                  <a:pt x="247137" y="21148"/>
                  <a:pt x="247137" y="21148"/>
                </a:cubicBezTo>
                <a:cubicBezTo>
                  <a:pt x="247137" y="22374"/>
                  <a:pt x="247751" y="23294"/>
                  <a:pt x="248365" y="23907"/>
                </a:cubicBezTo>
                <a:cubicBezTo>
                  <a:pt x="248979" y="24520"/>
                  <a:pt x="249900" y="25133"/>
                  <a:pt x="251128" y="25133"/>
                </a:cubicBezTo>
                <a:cubicBezTo>
                  <a:pt x="251435" y="25133"/>
                  <a:pt x="251435" y="25133"/>
                  <a:pt x="251435" y="25133"/>
                </a:cubicBezTo>
                <a:cubicBezTo>
                  <a:pt x="252663" y="25133"/>
                  <a:pt x="253584" y="24520"/>
                  <a:pt x="254198" y="23907"/>
                </a:cubicBezTo>
                <a:cubicBezTo>
                  <a:pt x="255119" y="23294"/>
                  <a:pt x="255426" y="22374"/>
                  <a:pt x="255426" y="21148"/>
                </a:cubicBezTo>
                <a:cubicBezTo>
                  <a:pt x="255426" y="14712"/>
                  <a:pt x="255426" y="14712"/>
                  <a:pt x="255426" y="14712"/>
                </a:cubicBezTo>
                <a:cubicBezTo>
                  <a:pt x="255426" y="14405"/>
                  <a:pt x="255426" y="14405"/>
                  <a:pt x="255426" y="14405"/>
                </a:cubicBezTo>
                <a:cubicBezTo>
                  <a:pt x="255426" y="13792"/>
                  <a:pt x="255426" y="13792"/>
                  <a:pt x="255426" y="13792"/>
                </a:cubicBezTo>
                <a:cubicBezTo>
                  <a:pt x="255426" y="7356"/>
                  <a:pt x="255426" y="7356"/>
                  <a:pt x="255426" y="7356"/>
                </a:cubicBezTo>
                <a:cubicBezTo>
                  <a:pt x="255426" y="6130"/>
                  <a:pt x="255119" y="5210"/>
                  <a:pt x="254198" y="4597"/>
                </a:cubicBezTo>
                <a:cubicBezTo>
                  <a:pt x="253584" y="3984"/>
                  <a:pt x="252663" y="3371"/>
                  <a:pt x="251435" y="3371"/>
                </a:cubicBezTo>
                <a:cubicBezTo>
                  <a:pt x="251128" y="3371"/>
                  <a:pt x="251128" y="3371"/>
                  <a:pt x="251128" y="3371"/>
                </a:cubicBezTo>
                <a:close/>
                <a:moveTo>
                  <a:pt x="237928" y="3371"/>
                </a:moveTo>
                <a:cubicBezTo>
                  <a:pt x="236700" y="3371"/>
                  <a:pt x="235779" y="3984"/>
                  <a:pt x="235165" y="4597"/>
                </a:cubicBezTo>
                <a:cubicBezTo>
                  <a:pt x="234244" y="5210"/>
                  <a:pt x="233937" y="6436"/>
                  <a:pt x="233937" y="7356"/>
                </a:cubicBezTo>
                <a:cubicBezTo>
                  <a:pt x="233937" y="13792"/>
                  <a:pt x="233937" y="13792"/>
                  <a:pt x="233937" y="13792"/>
                </a:cubicBezTo>
                <a:cubicBezTo>
                  <a:pt x="233937" y="14405"/>
                  <a:pt x="233937" y="14405"/>
                  <a:pt x="233937" y="14405"/>
                </a:cubicBezTo>
                <a:cubicBezTo>
                  <a:pt x="233937" y="14712"/>
                  <a:pt x="233937" y="14712"/>
                  <a:pt x="233937" y="14712"/>
                </a:cubicBezTo>
                <a:cubicBezTo>
                  <a:pt x="233937" y="21148"/>
                  <a:pt x="233937" y="21148"/>
                  <a:pt x="233937" y="21148"/>
                </a:cubicBezTo>
                <a:cubicBezTo>
                  <a:pt x="233937" y="22374"/>
                  <a:pt x="234244" y="23294"/>
                  <a:pt x="235165" y="23907"/>
                </a:cubicBezTo>
                <a:cubicBezTo>
                  <a:pt x="235779" y="24826"/>
                  <a:pt x="236700" y="25133"/>
                  <a:pt x="237928" y="25133"/>
                </a:cubicBezTo>
                <a:cubicBezTo>
                  <a:pt x="238235" y="25133"/>
                  <a:pt x="238235" y="25133"/>
                  <a:pt x="238235" y="25133"/>
                </a:cubicBezTo>
                <a:cubicBezTo>
                  <a:pt x="239156" y="25133"/>
                  <a:pt x="240384" y="24826"/>
                  <a:pt x="240998" y="23907"/>
                </a:cubicBezTo>
                <a:cubicBezTo>
                  <a:pt x="241611" y="23294"/>
                  <a:pt x="242225" y="22374"/>
                  <a:pt x="242225" y="21148"/>
                </a:cubicBezTo>
                <a:cubicBezTo>
                  <a:pt x="242225" y="14712"/>
                  <a:pt x="242225" y="14712"/>
                  <a:pt x="242225" y="14712"/>
                </a:cubicBezTo>
                <a:cubicBezTo>
                  <a:pt x="242225" y="14405"/>
                  <a:pt x="242225" y="14405"/>
                  <a:pt x="242225" y="14405"/>
                </a:cubicBezTo>
                <a:cubicBezTo>
                  <a:pt x="242225" y="13792"/>
                  <a:pt x="242225" y="13792"/>
                  <a:pt x="242225" y="13792"/>
                </a:cubicBezTo>
                <a:cubicBezTo>
                  <a:pt x="242225" y="7356"/>
                  <a:pt x="242225" y="7356"/>
                  <a:pt x="242225" y="7356"/>
                </a:cubicBezTo>
                <a:cubicBezTo>
                  <a:pt x="242225" y="6436"/>
                  <a:pt x="241611" y="5210"/>
                  <a:pt x="240998" y="4597"/>
                </a:cubicBezTo>
                <a:cubicBezTo>
                  <a:pt x="240384" y="3984"/>
                  <a:pt x="239156" y="3371"/>
                  <a:pt x="238235" y="3371"/>
                </a:cubicBezTo>
                <a:cubicBezTo>
                  <a:pt x="237928" y="3371"/>
                  <a:pt x="237928" y="3371"/>
                  <a:pt x="237928" y="3371"/>
                </a:cubicBezTo>
                <a:close/>
                <a:moveTo>
                  <a:pt x="224420" y="3371"/>
                </a:moveTo>
                <a:cubicBezTo>
                  <a:pt x="223499" y="3371"/>
                  <a:pt x="222578" y="3984"/>
                  <a:pt x="221657" y="4597"/>
                </a:cubicBezTo>
                <a:cubicBezTo>
                  <a:pt x="221043" y="5210"/>
                  <a:pt x="220736" y="6130"/>
                  <a:pt x="220736" y="7356"/>
                </a:cubicBezTo>
                <a:cubicBezTo>
                  <a:pt x="220736" y="13792"/>
                  <a:pt x="220736" y="13792"/>
                  <a:pt x="220736" y="13792"/>
                </a:cubicBezTo>
                <a:cubicBezTo>
                  <a:pt x="220736" y="14405"/>
                  <a:pt x="220736" y="14405"/>
                  <a:pt x="220736" y="14405"/>
                </a:cubicBezTo>
                <a:cubicBezTo>
                  <a:pt x="220736" y="14712"/>
                  <a:pt x="220736" y="14712"/>
                  <a:pt x="220736" y="14712"/>
                </a:cubicBezTo>
                <a:cubicBezTo>
                  <a:pt x="220736" y="21148"/>
                  <a:pt x="220736" y="21148"/>
                  <a:pt x="220736" y="21148"/>
                </a:cubicBezTo>
                <a:cubicBezTo>
                  <a:pt x="220736" y="22374"/>
                  <a:pt x="221043" y="23294"/>
                  <a:pt x="221657" y="23907"/>
                </a:cubicBezTo>
                <a:cubicBezTo>
                  <a:pt x="222578" y="24520"/>
                  <a:pt x="223499" y="25133"/>
                  <a:pt x="224420" y="25133"/>
                </a:cubicBezTo>
                <a:cubicBezTo>
                  <a:pt x="225034" y="25133"/>
                  <a:pt x="225034" y="25133"/>
                  <a:pt x="225034" y="25133"/>
                </a:cubicBezTo>
                <a:cubicBezTo>
                  <a:pt x="225955" y="25133"/>
                  <a:pt x="226876" y="24520"/>
                  <a:pt x="227797" y="23907"/>
                </a:cubicBezTo>
                <a:cubicBezTo>
                  <a:pt x="228411" y="23294"/>
                  <a:pt x="228718" y="22374"/>
                  <a:pt x="228718" y="21148"/>
                </a:cubicBezTo>
                <a:cubicBezTo>
                  <a:pt x="228718" y="14712"/>
                  <a:pt x="228718" y="14712"/>
                  <a:pt x="228718" y="14712"/>
                </a:cubicBezTo>
                <a:cubicBezTo>
                  <a:pt x="228718" y="14405"/>
                  <a:pt x="228718" y="14405"/>
                  <a:pt x="228718" y="14405"/>
                </a:cubicBezTo>
                <a:cubicBezTo>
                  <a:pt x="228718" y="13792"/>
                  <a:pt x="228718" y="13792"/>
                  <a:pt x="228718" y="13792"/>
                </a:cubicBezTo>
                <a:cubicBezTo>
                  <a:pt x="228718" y="7356"/>
                  <a:pt x="228718" y="7356"/>
                  <a:pt x="228718" y="7356"/>
                </a:cubicBezTo>
                <a:cubicBezTo>
                  <a:pt x="228718" y="6130"/>
                  <a:pt x="228411" y="5210"/>
                  <a:pt x="227797" y="4597"/>
                </a:cubicBezTo>
                <a:cubicBezTo>
                  <a:pt x="226876" y="3984"/>
                  <a:pt x="225955" y="3371"/>
                  <a:pt x="225034" y="3371"/>
                </a:cubicBezTo>
                <a:cubicBezTo>
                  <a:pt x="224420" y="3371"/>
                  <a:pt x="224420" y="3371"/>
                  <a:pt x="224420" y="3371"/>
                </a:cubicBezTo>
                <a:close/>
                <a:moveTo>
                  <a:pt x="294376" y="1624"/>
                </a:moveTo>
                <a:cubicBezTo>
                  <a:pt x="315815" y="1624"/>
                  <a:pt x="315815" y="1624"/>
                  <a:pt x="315815" y="1624"/>
                </a:cubicBezTo>
                <a:cubicBezTo>
                  <a:pt x="316734" y="1624"/>
                  <a:pt x="317346" y="2236"/>
                  <a:pt x="317346" y="3154"/>
                </a:cubicBezTo>
                <a:cubicBezTo>
                  <a:pt x="317346" y="4071"/>
                  <a:pt x="317346" y="4071"/>
                  <a:pt x="317346" y="4071"/>
                </a:cubicBezTo>
                <a:cubicBezTo>
                  <a:pt x="317346" y="4989"/>
                  <a:pt x="316734" y="5601"/>
                  <a:pt x="315815" y="5601"/>
                </a:cubicBezTo>
                <a:cubicBezTo>
                  <a:pt x="312446" y="5601"/>
                  <a:pt x="312446" y="5601"/>
                  <a:pt x="312446" y="5601"/>
                </a:cubicBezTo>
                <a:cubicBezTo>
                  <a:pt x="312446" y="18451"/>
                  <a:pt x="312446" y="18451"/>
                  <a:pt x="312446" y="18451"/>
                </a:cubicBezTo>
                <a:lnTo>
                  <a:pt x="310998" y="18451"/>
                </a:lnTo>
                <a:lnTo>
                  <a:pt x="310998" y="24925"/>
                </a:lnTo>
                <a:cubicBezTo>
                  <a:pt x="310998" y="26040"/>
                  <a:pt x="310998" y="26040"/>
                  <a:pt x="310998" y="26040"/>
                </a:cubicBezTo>
                <a:cubicBezTo>
                  <a:pt x="310998" y="26962"/>
                  <a:pt x="310384" y="27885"/>
                  <a:pt x="309770" y="28807"/>
                </a:cubicBezTo>
                <a:cubicBezTo>
                  <a:pt x="307005" y="31882"/>
                  <a:pt x="307005" y="31882"/>
                  <a:pt x="307005" y="31882"/>
                </a:cubicBezTo>
                <a:cubicBezTo>
                  <a:pt x="306391" y="32497"/>
                  <a:pt x="306084" y="32805"/>
                  <a:pt x="306084" y="33727"/>
                </a:cubicBezTo>
                <a:cubicBezTo>
                  <a:pt x="306084" y="34650"/>
                  <a:pt x="306391" y="34957"/>
                  <a:pt x="307005" y="35572"/>
                </a:cubicBezTo>
                <a:cubicBezTo>
                  <a:pt x="309770" y="38648"/>
                  <a:pt x="309770" y="38648"/>
                  <a:pt x="309770" y="38648"/>
                </a:cubicBezTo>
                <a:cubicBezTo>
                  <a:pt x="310384" y="39570"/>
                  <a:pt x="310998" y="40493"/>
                  <a:pt x="310998" y="41415"/>
                </a:cubicBezTo>
                <a:lnTo>
                  <a:pt x="310998" y="48709"/>
                </a:lnTo>
                <a:lnTo>
                  <a:pt x="312446" y="48709"/>
                </a:lnTo>
                <a:cubicBezTo>
                  <a:pt x="312446" y="61362"/>
                  <a:pt x="312446" y="61362"/>
                  <a:pt x="312446" y="61362"/>
                </a:cubicBezTo>
                <a:cubicBezTo>
                  <a:pt x="315815" y="61362"/>
                  <a:pt x="315815" y="61362"/>
                  <a:pt x="315815" y="61362"/>
                </a:cubicBezTo>
                <a:cubicBezTo>
                  <a:pt x="316734" y="61362"/>
                  <a:pt x="317346" y="61979"/>
                  <a:pt x="317346" y="62905"/>
                </a:cubicBezTo>
                <a:cubicBezTo>
                  <a:pt x="317346" y="63831"/>
                  <a:pt x="317346" y="63831"/>
                  <a:pt x="317346" y="63831"/>
                </a:cubicBezTo>
                <a:cubicBezTo>
                  <a:pt x="317346" y="64757"/>
                  <a:pt x="316734" y="65683"/>
                  <a:pt x="315815" y="65683"/>
                </a:cubicBezTo>
                <a:cubicBezTo>
                  <a:pt x="294376" y="65683"/>
                  <a:pt x="294376" y="65683"/>
                  <a:pt x="294376" y="65683"/>
                </a:cubicBezTo>
                <a:cubicBezTo>
                  <a:pt x="293457" y="65683"/>
                  <a:pt x="292844" y="64757"/>
                  <a:pt x="292844" y="63831"/>
                </a:cubicBezTo>
                <a:cubicBezTo>
                  <a:pt x="292844" y="62905"/>
                  <a:pt x="292844" y="62905"/>
                  <a:pt x="292844" y="62905"/>
                </a:cubicBezTo>
                <a:cubicBezTo>
                  <a:pt x="292844" y="61979"/>
                  <a:pt x="293457" y="61362"/>
                  <a:pt x="294376" y="61362"/>
                </a:cubicBezTo>
                <a:cubicBezTo>
                  <a:pt x="297745" y="61362"/>
                  <a:pt x="297745" y="61362"/>
                  <a:pt x="297745" y="61362"/>
                </a:cubicBezTo>
                <a:cubicBezTo>
                  <a:pt x="297745" y="48709"/>
                  <a:pt x="297745" y="48709"/>
                  <a:pt x="297745" y="48709"/>
                </a:cubicBezTo>
                <a:lnTo>
                  <a:pt x="299633" y="48709"/>
                </a:lnTo>
                <a:lnTo>
                  <a:pt x="299633" y="42530"/>
                </a:lnTo>
                <a:cubicBezTo>
                  <a:pt x="299633" y="41415"/>
                  <a:pt x="299633" y="41415"/>
                  <a:pt x="299633" y="41415"/>
                </a:cubicBezTo>
                <a:cubicBezTo>
                  <a:pt x="299633" y="40493"/>
                  <a:pt x="299940" y="39570"/>
                  <a:pt x="300555" y="38648"/>
                </a:cubicBezTo>
                <a:cubicBezTo>
                  <a:pt x="303319" y="35572"/>
                  <a:pt x="303319" y="35572"/>
                  <a:pt x="303319" y="35572"/>
                </a:cubicBezTo>
                <a:cubicBezTo>
                  <a:pt x="303934" y="34957"/>
                  <a:pt x="304241" y="34650"/>
                  <a:pt x="304241" y="33727"/>
                </a:cubicBezTo>
                <a:cubicBezTo>
                  <a:pt x="304241" y="32805"/>
                  <a:pt x="303934" y="32497"/>
                  <a:pt x="303319" y="31882"/>
                </a:cubicBezTo>
                <a:cubicBezTo>
                  <a:pt x="300555" y="28807"/>
                  <a:pt x="300555" y="28807"/>
                  <a:pt x="300555" y="28807"/>
                </a:cubicBezTo>
                <a:cubicBezTo>
                  <a:pt x="299940" y="27885"/>
                  <a:pt x="299633" y="26962"/>
                  <a:pt x="299633" y="26040"/>
                </a:cubicBezTo>
                <a:lnTo>
                  <a:pt x="299633" y="18451"/>
                </a:lnTo>
                <a:lnTo>
                  <a:pt x="299582" y="18451"/>
                </a:lnTo>
                <a:cubicBezTo>
                  <a:pt x="297745" y="18451"/>
                  <a:pt x="297745" y="18451"/>
                  <a:pt x="297745" y="18451"/>
                </a:cubicBezTo>
                <a:cubicBezTo>
                  <a:pt x="297745" y="5601"/>
                  <a:pt x="297745" y="5601"/>
                  <a:pt x="297745" y="5601"/>
                </a:cubicBezTo>
                <a:cubicBezTo>
                  <a:pt x="294376" y="5601"/>
                  <a:pt x="294376" y="5601"/>
                  <a:pt x="294376" y="5601"/>
                </a:cubicBezTo>
                <a:cubicBezTo>
                  <a:pt x="293457" y="5601"/>
                  <a:pt x="292844" y="4989"/>
                  <a:pt x="292844" y="4071"/>
                </a:cubicBezTo>
                <a:cubicBezTo>
                  <a:pt x="292844" y="3154"/>
                  <a:pt x="292844" y="3154"/>
                  <a:pt x="292844" y="3154"/>
                </a:cubicBezTo>
                <a:cubicBezTo>
                  <a:pt x="292844" y="2236"/>
                  <a:pt x="293457" y="1624"/>
                  <a:pt x="294376" y="1624"/>
                </a:cubicBezTo>
                <a:close/>
                <a:moveTo>
                  <a:pt x="159590" y="1624"/>
                </a:moveTo>
                <a:cubicBezTo>
                  <a:pt x="176774" y="1624"/>
                  <a:pt x="176774" y="1624"/>
                  <a:pt x="176774" y="1624"/>
                </a:cubicBezTo>
                <a:cubicBezTo>
                  <a:pt x="179536" y="1624"/>
                  <a:pt x="181684" y="2845"/>
                  <a:pt x="183525" y="4372"/>
                </a:cubicBezTo>
                <a:cubicBezTo>
                  <a:pt x="185060" y="6205"/>
                  <a:pt x="185980" y="8648"/>
                  <a:pt x="185980" y="11396"/>
                </a:cubicBezTo>
                <a:lnTo>
                  <a:pt x="185980" y="17565"/>
                </a:lnTo>
                <a:lnTo>
                  <a:pt x="190849" y="17565"/>
                </a:lnTo>
                <a:cubicBezTo>
                  <a:pt x="191568" y="17565"/>
                  <a:pt x="191568" y="17565"/>
                  <a:pt x="191568" y="17565"/>
                </a:cubicBezTo>
                <a:cubicBezTo>
                  <a:pt x="207825" y="36236"/>
                  <a:pt x="207825" y="36236"/>
                  <a:pt x="207825" y="36236"/>
                </a:cubicBezTo>
                <a:cubicBezTo>
                  <a:pt x="207825" y="65315"/>
                  <a:pt x="207825" y="65315"/>
                  <a:pt x="207825" y="65315"/>
                </a:cubicBezTo>
                <a:cubicBezTo>
                  <a:pt x="191568" y="83986"/>
                  <a:pt x="191568" y="83986"/>
                  <a:pt x="191568" y="83986"/>
                </a:cubicBezTo>
                <a:lnTo>
                  <a:pt x="188860" y="83986"/>
                </a:lnTo>
                <a:lnTo>
                  <a:pt x="189079" y="84318"/>
                </a:lnTo>
                <a:cubicBezTo>
                  <a:pt x="189079" y="86163"/>
                  <a:pt x="189079" y="86163"/>
                  <a:pt x="189079" y="86163"/>
                </a:cubicBezTo>
                <a:cubicBezTo>
                  <a:pt x="189079" y="86778"/>
                  <a:pt x="188775" y="87086"/>
                  <a:pt x="188470" y="87086"/>
                </a:cubicBezTo>
                <a:cubicBezTo>
                  <a:pt x="185122" y="87086"/>
                  <a:pt x="185122" y="87086"/>
                  <a:pt x="185122" y="87086"/>
                </a:cubicBezTo>
                <a:cubicBezTo>
                  <a:pt x="184513" y="87086"/>
                  <a:pt x="184208" y="86778"/>
                  <a:pt x="184208" y="86163"/>
                </a:cubicBezTo>
                <a:cubicBezTo>
                  <a:pt x="184208" y="84318"/>
                  <a:pt x="184208" y="84318"/>
                  <a:pt x="184208" y="84318"/>
                </a:cubicBezTo>
                <a:lnTo>
                  <a:pt x="184538" y="83986"/>
                </a:lnTo>
                <a:lnTo>
                  <a:pt x="164968" y="83986"/>
                </a:lnTo>
                <a:lnTo>
                  <a:pt x="152579" y="83986"/>
                </a:lnTo>
                <a:lnTo>
                  <a:pt x="152917" y="84318"/>
                </a:lnTo>
                <a:cubicBezTo>
                  <a:pt x="152917" y="86163"/>
                  <a:pt x="152917" y="86163"/>
                  <a:pt x="152917" y="86163"/>
                </a:cubicBezTo>
                <a:cubicBezTo>
                  <a:pt x="152917" y="86778"/>
                  <a:pt x="152604" y="87086"/>
                  <a:pt x="151979" y="87086"/>
                </a:cubicBezTo>
                <a:cubicBezTo>
                  <a:pt x="148541" y="87086"/>
                  <a:pt x="148541" y="87086"/>
                  <a:pt x="148541" y="87086"/>
                </a:cubicBezTo>
                <a:cubicBezTo>
                  <a:pt x="147915" y="87086"/>
                  <a:pt x="147603" y="86778"/>
                  <a:pt x="147603" y="86163"/>
                </a:cubicBezTo>
                <a:cubicBezTo>
                  <a:pt x="147603" y="84318"/>
                  <a:pt x="147603" y="84318"/>
                  <a:pt x="147603" y="84318"/>
                </a:cubicBezTo>
                <a:lnTo>
                  <a:pt x="147941" y="83986"/>
                </a:lnTo>
                <a:lnTo>
                  <a:pt x="146276" y="83986"/>
                </a:lnTo>
                <a:cubicBezTo>
                  <a:pt x="145557" y="83986"/>
                  <a:pt x="145557" y="83986"/>
                  <a:pt x="145557" y="83986"/>
                </a:cubicBezTo>
                <a:cubicBezTo>
                  <a:pt x="129300" y="65008"/>
                  <a:pt x="129300" y="65008"/>
                  <a:pt x="129300" y="65008"/>
                </a:cubicBezTo>
                <a:cubicBezTo>
                  <a:pt x="129300" y="35930"/>
                  <a:pt x="129300" y="35930"/>
                  <a:pt x="129300" y="35930"/>
                </a:cubicBezTo>
                <a:cubicBezTo>
                  <a:pt x="145557" y="17565"/>
                  <a:pt x="145557" y="17565"/>
                  <a:pt x="145557" y="17565"/>
                </a:cubicBezTo>
                <a:lnTo>
                  <a:pt x="150998" y="17565"/>
                </a:lnTo>
                <a:lnTo>
                  <a:pt x="150998" y="11854"/>
                </a:lnTo>
                <a:cubicBezTo>
                  <a:pt x="150998" y="10785"/>
                  <a:pt x="150998" y="10785"/>
                  <a:pt x="150998" y="10785"/>
                </a:cubicBezTo>
                <a:cubicBezTo>
                  <a:pt x="150998" y="8342"/>
                  <a:pt x="151918" y="6205"/>
                  <a:pt x="153453" y="4372"/>
                </a:cubicBezTo>
                <a:cubicBezTo>
                  <a:pt x="154987" y="2540"/>
                  <a:pt x="157135" y="1624"/>
                  <a:pt x="159590" y="1624"/>
                </a:cubicBezTo>
                <a:close/>
                <a:moveTo>
                  <a:pt x="216438" y="0"/>
                </a:moveTo>
                <a:cubicBezTo>
                  <a:pt x="286739" y="0"/>
                  <a:pt x="286739" y="0"/>
                  <a:pt x="286739" y="0"/>
                </a:cubicBezTo>
                <a:cubicBezTo>
                  <a:pt x="289502" y="0"/>
                  <a:pt x="291958" y="2145"/>
                  <a:pt x="291958" y="4904"/>
                </a:cubicBezTo>
                <a:cubicBezTo>
                  <a:pt x="291958" y="51185"/>
                  <a:pt x="291958" y="51185"/>
                  <a:pt x="291958" y="51185"/>
                </a:cubicBezTo>
                <a:cubicBezTo>
                  <a:pt x="291958" y="53943"/>
                  <a:pt x="289502" y="56089"/>
                  <a:pt x="286739" y="56089"/>
                </a:cubicBezTo>
                <a:cubicBezTo>
                  <a:pt x="216438" y="56089"/>
                  <a:pt x="216438" y="56089"/>
                  <a:pt x="216438" y="56089"/>
                </a:cubicBezTo>
                <a:cubicBezTo>
                  <a:pt x="213675" y="56089"/>
                  <a:pt x="211219" y="53943"/>
                  <a:pt x="211219" y="51185"/>
                </a:cubicBezTo>
                <a:cubicBezTo>
                  <a:pt x="211219" y="4904"/>
                  <a:pt x="211219" y="4904"/>
                  <a:pt x="211219" y="4904"/>
                </a:cubicBezTo>
                <a:cubicBezTo>
                  <a:pt x="211219" y="2145"/>
                  <a:pt x="213675" y="0"/>
                  <a:pt x="21643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/>
          <a:p>
            <a:pPr algn="ctr"/>
            <a:endParaRPr/>
          </a:p>
        </p:txBody>
      </p:sp>
      <p:sp>
        <p:nvSpPr>
          <p:cNvPr id="32" name="任意多边形 299">
            <a:extLst>
              <a:ext uri="{FF2B5EF4-FFF2-40B4-BE49-F238E27FC236}">
                <a16:creationId xmlns:a16="http://schemas.microsoft.com/office/drawing/2014/main" id="{3EF714F5-2608-4548-8EA0-6999F4C97817}"/>
              </a:ext>
            </a:extLst>
          </p:cNvPr>
          <p:cNvSpPr/>
          <p:nvPr/>
        </p:nvSpPr>
        <p:spPr bwMode="auto">
          <a:xfrm>
            <a:off x="8973756" y="2621192"/>
            <a:ext cx="447236" cy="448122"/>
          </a:xfrm>
          <a:custGeom>
            <a:avLst/>
            <a:gdLst>
              <a:gd name="connsiteX0" fmla="*/ 155052 w 447236"/>
              <a:gd name="connsiteY0" fmla="*/ 428506 h 448122"/>
              <a:gd name="connsiteX1" fmla="*/ 153825 w 447236"/>
              <a:gd name="connsiteY1" fmla="*/ 430038 h 448122"/>
              <a:gd name="connsiteX2" fmla="*/ 153825 w 447236"/>
              <a:gd name="connsiteY2" fmla="*/ 433716 h 448122"/>
              <a:gd name="connsiteX3" fmla="*/ 155052 w 447236"/>
              <a:gd name="connsiteY3" fmla="*/ 434942 h 448122"/>
              <a:gd name="connsiteX4" fmla="*/ 161189 w 447236"/>
              <a:gd name="connsiteY4" fmla="*/ 434942 h 448122"/>
              <a:gd name="connsiteX5" fmla="*/ 162417 w 447236"/>
              <a:gd name="connsiteY5" fmla="*/ 433716 h 448122"/>
              <a:gd name="connsiteX6" fmla="*/ 162417 w 447236"/>
              <a:gd name="connsiteY6" fmla="*/ 430038 h 448122"/>
              <a:gd name="connsiteX7" fmla="*/ 161189 w 447236"/>
              <a:gd name="connsiteY7" fmla="*/ 428506 h 448122"/>
              <a:gd name="connsiteX8" fmla="*/ 155052 w 447236"/>
              <a:gd name="connsiteY8" fmla="*/ 428506 h 448122"/>
              <a:gd name="connsiteX9" fmla="*/ 144312 w 447236"/>
              <a:gd name="connsiteY9" fmla="*/ 428506 h 448122"/>
              <a:gd name="connsiteX10" fmla="*/ 143085 w 447236"/>
              <a:gd name="connsiteY10" fmla="*/ 430038 h 448122"/>
              <a:gd name="connsiteX11" fmla="*/ 143085 w 447236"/>
              <a:gd name="connsiteY11" fmla="*/ 433716 h 448122"/>
              <a:gd name="connsiteX12" fmla="*/ 144312 w 447236"/>
              <a:gd name="connsiteY12" fmla="*/ 434942 h 448122"/>
              <a:gd name="connsiteX13" fmla="*/ 150449 w 447236"/>
              <a:gd name="connsiteY13" fmla="*/ 434942 h 448122"/>
              <a:gd name="connsiteX14" fmla="*/ 151677 w 447236"/>
              <a:gd name="connsiteY14" fmla="*/ 433716 h 448122"/>
              <a:gd name="connsiteX15" fmla="*/ 151677 w 447236"/>
              <a:gd name="connsiteY15" fmla="*/ 430038 h 448122"/>
              <a:gd name="connsiteX16" fmla="*/ 150449 w 447236"/>
              <a:gd name="connsiteY16" fmla="*/ 428506 h 448122"/>
              <a:gd name="connsiteX17" fmla="*/ 144312 w 447236"/>
              <a:gd name="connsiteY17" fmla="*/ 428506 h 448122"/>
              <a:gd name="connsiteX18" fmla="*/ 133572 w 447236"/>
              <a:gd name="connsiteY18" fmla="*/ 428506 h 448122"/>
              <a:gd name="connsiteX19" fmla="*/ 132345 w 447236"/>
              <a:gd name="connsiteY19" fmla="*/ 430038 h 448122"/>
              <a:gd name="connsiteX20" fmla="*/ 132345 w 447236"/>
              <a:gd name="connsiteY20" fmla="*/ 433716 h 448122"/>
              <a:gd name="connsiteX21" fmla="*/ 133572 w 447236"/>
              <a:gd name="connsiteY21" fmla="*/ 434942 h 448122"/>
              <a:gd name="connsiteX22" fmla="*/ 139709 w 447236"/>
              <a:gd name="connsiteY22" fmla="*/ 434942 h 448122"/>
              <a:gd name="connsiteX23" fmla="*/ 140937 w 447236"/>
              <a:gd name="connsiteY23" fmla="*/ 433716 h 448122"/>
              <a:gd name="connsiteX24" fmla="*/ 140937 w 447236"/>
              <a:gd name="connsiteY24" fmla="*/ 430038 h 448122"/>
              <a:gd name="connsiteX25" fmla="*/ 139709 w 447236"/>
              <a:gd name="connsiteY25" fmla="*/ 428506 h 448122"/>
              <a:gd name="connsiteX26" fmla="*/ 133572 w 447236"/>
              <a:gd name="connsiteY26" fmla="*/ 428506 h 448122"/>
              <a:gd name="connsiteX27" fmla="*/ 213492 w 447236"/>
              <a:gd name="connsiteY27" fmla="*/ 421388 h 448122"/>
              <a:gd name="connsiteX28" fmla="*/ 213946 w 447236"/>
              <a:gd name="connsiteY28" fmla="*/ 422000 h 448122"/>
              <a:gd name="connsiteX29" fmla="*/ 214253 w 447236"/>
              <a:gd name="connsiteY29" fmla="*/ 422307 h 448122"/>
              <a:gd name="connsiteX30" fmla="*/ 213024 w 447236"/>
              <a:gd name="connsiteY30" fmla="*/ 423838 h 448122"/>
              <a:gd name="connsiteX31" fmla="*/ 212533 w 447236"/>
              <a:gd name="connsiteY31" fmla="*/ 423674 h 448122"/>
              <a:gd name="connsiteX32" fmla="*/ 234451 w 447236"/>
              <a:gd name="connsiteY32" fmla="*/ 420576 h 448122"/>
              <a:gd name="connsiteX33" fmla="*/ 234389 w 447236"/>
              <a:gd name="connsiteY33" fmla="*/ 425298 h 448122"/>
              <a:gd name="connsiteX34" fmla="*/ 234499 w 447236"/>
              <a:gd name="connsiteY34" fmla="*/ 425160 h 448122"/>
              <a:gd name="connsiteX35" fmla="*/ 235113 w 447236"/>
              <a:gd name="connsiteY35" fmla="*/ 421484 h 448122"/>
              <a:gd name="connsiteX36" fmla="*/ 234806 w 447236"/>
              <a:gd name="connsiteY36" fmla="*/ 420871 h 448122"/>
              <a:gd name="connsiteX37" fmla="*/ 232056 w 447236"/>
              <a:gd name="connsiteY37" fmla="*/ 420445 h 448122"/>
              <a:gd name="connsiteX38" fmla="*/ 231459 w 447236"/>
              <a:gd name="connsiteY38" fmla="*/ 420871 h 448122"/>
              <a:gd name="connsiteX39" fmla="*/ 231152 w 447236"/>
              <a:gd name="connsiteY39" fmla="*/ 421484 h 448122"/>
              <a:gd name="connsiteX40" fmla="*/ 232073 w 447236"/>
              <a:gd name="connsiteY40" fmla="*/ 425160 h 448122"/>
              <a:gd name="connsiteX41" fmla="*/ 232141 w 447236"/>
              <a:gd name="connsiteY41" fmla="*/ 425248 h 448122"/>
              <a:gd name="connsiteX42" fmla="*/ 170985 w 447236"/>
              <a:gd name="connsiteY42" fmla="*/ 417599 h 448122"/>
              <a:gd name="connsiteX43" fmla="*/ 171995 w 447236"/>
              <a:gd name="connsiteY43" fmla="*/ 420044 h 448122"/>
              <a:gd name="connsiteX44" fmla="*/ 171262 w 447236"/>
              <a:gd name="connsiteY44" fmla="*/ 420775 h 448122"/>
              <a:gd name="connsiteX45" fmla="*/ 170954 w 447236"/>
              <a:gd name="connsiteY45" fmla="*/ 421082 h 448122"/>
              <a:gd name="connsiteX46" fmla="*/ 169726 w 447236"/>
              <a:gd name="connsiteY46" fmla="*/ 418938 h 448122"/>
              <a:gd name="connsiteX47" fmla="*/ 155052 w 447236"/>
              <a:gd name="connsiteY47" fmla="*/ 416859 h 448122"/>
              <a:gd name="connsiteX48" fmla="*/ 153825 w 447236"/>
              <a:gd name="connsiteY48" fmla="*/ 418085 h 448122"/>
              <a:gd name="connsiteX49" fmla="*/ 153825 w 447236"/>
              <a:gd name="connsiteY49" fmla="*/ 422069 h 448122"/>
              <a:gd name="connsiteX50" fmla="*/ 155052 w 447236"/>
              <a:gd name="connsiteY50" fmla="*/ 423295 h 448122"/>
              <a:gd name="connsiteX51" fmla="*/ 161189 w 447236"/>
              <a:gd name="connsiteY51" fmla="*/ 423295 h 448122"/>
              <a:gd name="connsiteX52" fmla="*/ 162417 w 447236"/>
              <a:gd name="connsiteY52" fmla="*/ 422069 h 448122"/>
              <a:gd name="connsiteX53" fmla="*/ 162417 w 447236"/>
              <a:gd name="connsiteY53" fmla="*/ 418085 h 448122"/>
              <a:gd name="connsiteX54" fmla="*/ 161189 w 447236"/>
              <a:gd name="connsiteY54" fmla="*/ 416859 h 448122"/>
              <a:gd name="connsiteX55" fmla="*/ 155052 w 447236"/>
              <a:gd name="connsiteY55" fmla="*/ 416859 h 448122"/>
              <a:gd name="connsiteX56" fmla="*/ 144312 w 447236"/>
              <a:gd name="connsiteY56" fmla="*/ 416859 h 448122"/>
              <a:gd name="connsiteX57" fmla="*/ 143085 w 447236"/>
              <a:gd name="connsiteY57" fmla="*/ 418085 h 448122"/>
              <a:gd name="connsiteX58" fmla="*/ 143085 w 447236"/>
              <a:gd name="connsiteY58" fmla="*/ 422069 h 448122"/>
              <a:gd name="connsiteX59" fmla="*/ 144312 w 447236"/>
              <a:gd name="connsiteY59" fmla="*/ 423295 h 448122"/>
              <a:gd name="connsiteX60" fmla="*/ 150449 w 447236"/>
              <a:gd name="connsiteY60" fmla="*/ 423295 h 448122"/>
              <a:gd name="connsiteX61" fmla="*/ 151677 w 447236"/>
              <a:gd name="connsiteY61" fmla="*/ 422069 h 448122"/>
              <a:gd name="connsiteX62" fmla="*/ 151677 w 447236"/>
              <a:gd name="connsiteY62" fmla="*/ 418085 h 448122"/>
              <a:gd name="connsiteX63" fmla="*/ 150449 w 447236"/>
              <a:gd name="connsiteY63" fmla="*/ 416859 h 448122"/>
              <a:gd name="connsiteX64" fmla="*/ 144312 w 447236"/>
              <a:gd name="connsiteY64" fmla="*/ 416859 h 448122"/>
              <a:gd name="connsiteX65" fmla="*/ 133572 w 447236"/>
              <a:gd name="connsiteY65" fmla="*/ 416859 h 448122"/>
              <a:gd name="connsiteX66" fmla="*/ 132345 w 447236"/>
              <a:gd name="connsiteY66" fmla="*/ 418085 h 448122"/>
              <a:gd name="connsiteX67" fmla="*/ 132345 w 447236"/>
              <a:gd name="connsiteY67" fmla="*/ 422069 h 448122"/>
              <a:gd name="connsiteX68" fmla="*/ 133572 w 447236"/>
              <a:gd name="connsiteY68" fmla="*/ 423295 h 448122"/>
              <a:gd name="connsiteX69" fmla="*/ 139709 w 447236"/>
              <a:gd name="connsiteY69" fmla="*/ 423295 h 448122"/>
              <a:gd name="connsiteX70" fmla="*/ 140937 w 447236"/>
              <a:gd name="connsiteY70" fmla="*/ 422069 h 448122"/>
              <a:gd name="connsiteX71" fmla="*/ 140937 w 447236"/>
              <a:gd name="connsiteY71" fmla="*/ 418085 h 448122"/>
              <a:gd name="connsiteX72" fmla="*/ 139709 w 447236"/>
              <a:gd name="connsiteY72" fmla="*/ 416859 h 448122"/>
              <a:gd name="connsiteX73" fmla="*/ 133572 w 447236"/>
              <a:gd name="connsiteY73" fmla="*/ 416859 h 448122"/>
              <a:gd name="connsiteX74" fmla="*/ 287340 w 447236"/>
              <a:gd name="connsiteY74" fmla="*/ 416486 h 448122"/>
              <a:gd name="connsiteX75" fmla="*/ 283658 w 447236"/>
              <a:gd name="connsiteY75" fmla="*/ 420164 h 448122"/>
              <a:gd name="connsiteX76" fmla="*/ 287340 w 447236"/>
              <a:gd name="connsiteY76" fmla="*/ 423842 h 448122"/>
              <a:gd name="connsiteX77" fmla="*/ 291023 w 447236"/>
              <a:gd name="connsiteY77" fmla="*/ 420164 h 448122"/>
              <a:gd name="connsiteX78" fmla="*/ 287340 w 447236"/>
              <a:gd name="connsiteY78" fmla="*/ 416486 h 448122"/>
              <a:gd name="connsiteX79" fmla="*/ 231869 w 447236"/>
              <a:gd name="connsiteY79" fmla="*/ 409869 h 448122"/>
              <a:gd name="connsiteX80" fmla="*/ 229587 w 447236"/>
              <a:gd name="connsiteY80" fmla="*/ 411067 h 448122"/>
              <a:gd name="connsiteX81" fmla="*/ 229587 w 447236"/>
              <a:gd name="connsiteY81" fmla="*/ 413212 h 448122"/>
              <a:gd name="connsiteX82" fmla="*/ 231962 w 447236"/>
              <a:gd name="connsiteY82" fmla="*/ 415108 h 448122"/>
              <a:gd name="connsiteX83" fmla="*/ 234594 w 447236"/>
              <a:gd name="connsiteY83" fmla="*/ 409812 h 448122"/>
              <a:gd name="connsiteX84" fmla="*/ 234524 w 447236"/>
              <a:gd name="connsiteY84" fmla="*/ 415123 h 448122"/>
              <a:gd name="connsiteX85" fmla="*/ 236678 w 447236"/>
              <a:gd name="connsiteY85" fmla="*/ 413212 h 448122"/>
              <a:gd name="connsiteX86" fmla="*/ 236985 w 447236"/>
              <a:gd name="connsiteY86" fmla="*/ 411067 h 448122"/>
              <a:gd name="connsiteX87" fmla="*/ 155052 w 447236"/>
              <a:gd name="connsiteY87" fmla="*/ 405211 h 448122"/>
              <a:gd name="connsiteX88" fmla="*/ 153825 w 447236"/>
              <a:gd name="connsiteY88" fmla="*/ 406437 h 448122"/>
              <a:gd name="connsiteX89" fmla="*/ 153825 w 447236"/>
              <a:gd name="connsiteY89" fmla="*/ 410116 h 448122"/>
              <a:gd name="connsiteX90" fmla="*/ 155052 w 447236"/>
              <a:gd name="connsiteY90" fmla="*/ 411648 h 448122"/>
              <a:gd name="connsiteX91" fmla="*/ 161189 w 447236"/>
              <a:gd name="connsiteY91" fmla="*/ 411648 h 448122"/>
              <a:gd name="connsiteX92" fmla="*/ 162417 w 447236"/>
              <a:gd name="connsiteY92" fmla="*/ 410116 h 448122"/>
              <a:gd name="connsiteX93" fmla="*/ 162417 w 447236"/>
              <a:gd name="connsiteY93" fmla="*/ 406437 h 448122"/>
              <a:gd name="connsiteX94" fmla="*/ 161189 w 447236"/>
              <a:gd name="connsiteY94" fmla="*/ 405211 h 448122"/>
              <a:gd name="connsiteX95" fmla="*/ 155052 w 447236"/>
              <a:gd name="connsiteY95" fmla="*/ 405211 h 448122"/>
              <a:gd name="connsiteX96" fmla="*/ 144312 w 447236"/>
              <a:gd name="connsiteY96" fmla="*/ 405211 h 448122"/>
              <a:gd name="connsiteX97" fmla="*/ 143085 w 447236"/>
              <a:gd name="connsiteY97" fmla="*/ 406437 h 448122"/>
              <a:gd name="connsiteX98" fmla="*/ 143085 w 447236"/>
              <a:gd name="connsiteY98" fmla="*/ 410116 h 448122"/>
              <a:gd name="connsiteX99" fmla="*/ 144312 w 447236"/>
              <a:gd name="connsiteY99" fmla="*/ 411648 h 448122"/>
              <a:gd name="connsiteX100" fmla="*/ 150449 w 447236"/>
              <a:gd name="connsiteY100" fmla="*/ 411648 h 448122"/>
              <a:gd name="connsiteX101" fmla="*/ 151677 w 447236"/>
              <a:gd name="connsiteY101" fmla="*/ 410116 h 448122"/>
              <a:gd name="connsiteX102" fmla="*/ 151677 w 447236"/>
              <a:gd name="connsiteY102" fmla="*/ 406437 h 448122"/>
              <a:gd name="connsiteX103" fmla="*/ 150449 w 447236"/>
              <a:gd name="connsiteY103" fmla="*/ 405211 h 448122"/>
              <a:gd name="connsiteX104" fmla="*/ 144312 w 447236"/>
              <a:gd name="connsiteY104" fmla="*/ 405211 h 448122"/>
              <a:gd name="connsiteX105" fmla="*/ 133572 w 447236"/>
              <a:gd name="connsiteY105" fmla="*/ 405211 h 448122"/>
              <a:gd name="connsiteX106" fmla="*/ 132345 w 447236"/>
              <a:gd name="connsiteY106" fmla="*/ 406437 h 448122"/>
              <a:gd name="connsiteX107" fmla="*/ 132345 w 447236"/>
              <a:gd name="connsiteY107" fmla="*/ 410116 h 448122"/>
              <a:gd name="connsiteX108" fmla="*/ 133572 w 447236"/>
              <a:gd name="connsiteY108" fmla="*/ 411648 h 448122"/>
              <a:gd name="connsiteX109" fmla="*/ 139709 w 447236"/>
              <a:gd name="connsiteY109" fmla="*/ 411648 h 448122"/>
              <a:gd name="connsiteX110" fmla="*/ 140937 w 447236"/>
              <a:gd name="connsiteY110" fmla="*/ 410116 h 448122"/>
              <a:gd name="connsiteX111" fmla="*/ 140937 w 447236"/>
              <a:gd name="connsiteY111" fmla="*/ 406437 h 448122"/>
              <a:gd name="connsiteX112" fmla="*/ 139709 w 447236"/>
              <a:gd name="connsiteY112" fmla="*/ 405211 h 448122"/>
              <a:gd name="connsiteX113" fmla="*/ 133572 w 447236"/>
              <a:gd name="connsiteY113" fmla="*/ 405211 h 448122"/>
              <a:gd name="connsiteX114" fmla="*/ 186886 w 447236"/>
              <a:gd name="connsiteY114" fmla="*/ 398533 h 448122"/>
              <a:gd name="connsiteX115" fmla="*/ 186935 w 447236"/>
              <a:gd name="connsiteY115" fmla="*/ 398568 h 448122"/>
              <a:gd name="connsiteX116" fmla="*/ 189341 w 447236"/>
              <a:gd name="connsiteY116" fmla="*/ 428431 h 448122"/>
              <a:gd name="connsiteX117" fmla="*/ 189686 w 447236"/>
              <a:gd name="connsiteY117" fmla="*/ 432719 h 448122"/>
              <a:gd name="connsiteX118" fmla="*/ 191222 w 447236"/>
              <a:gd name="connsiteY118" fmla="*/ 433943 h 448122"/>
              <a:gd name="connsiteX119" fmla="*/ 192143 w 447236"/>
              <a:gd name="connsiteY119" fmla="*/ 433025 h 448122"/>
              <a:gd name="connsiteX120" fmla="*/ 197670 w 447236"/>
              <a:gd name="connsiteY120" fmla="*/ 418019 h 448122"/>
              <a:gd name="connsiteX121" fmla="*/ 200741 w 447236"/>
              <a:gd name="connsiteY121" fmla="*/ 425981 h 448122"/>
              <a:gd name="connsiteX122" fmla="*/ 202584 w 447236"/>
              <a:gd name="connsiteY122" fmla="*/ 426900 h 448122"/>
              <a:gd name="connsiteX123" fmla="*/ 203198 w 447236"/>
              <a:gd name="connsiteY123" fmla="*/ 426288 h 448122"/>
              <a:gd name="connsiteX124" fmla="*/ 208111 w 447236"/>
              <a:gd name="connsiteY124" fmla="*/ 418019 h 448122"/>
              <a:gd name="connsiteX125" fmla="*/ 212103 w 447236"/>
              <a:gd name="connsiteY125" fmla="*/ 423531 h 448122"/>
              <a:gd name="connsiteX126" fmla="*/ 212533 w 447236"/>
              <a:gd name="connsiteY126" fmla="*/ 423674 h 448122"/>
              <a:gd name="connsiteX127" fmla="*/ 211374 w 447236"/>
              <a:gd name="connsiteY127" fmla="*/ 426441 h 448122"/>
              <a:gd name="connsiteX128" fmla="*/ 193064 w 447236"/>
              <a:gd name="connsiteY128" fmla="*/ 446499 h 448122"/>
              <a:gd name="connsiteX129" fmla="*/ 174639 w 447236"/>
              <a:gd name="connsiteY129" fmla="*/ 426441 h 448122"/>
              <a:gd name="connsiteX130" fmla="*/ 171995 w 447236"/>
              <a:gd name="connsiteY130" fmla="*/ 420044 h 448122"/>
              <a:gd name="connsiteX131" fmla="*/ 174639 w 447236"/>
              <a:gd name="connsiteY131" fmla="*/ 417407 h 448122"/>
              <a:gd name="connsiteX132" fmla="*/ 176482 w 447236"/>
              <a:gd name="connsiteY132" fmla="*/ 423225 h 448122"/>
              <a:gd name="connsiteX133" fmla="*/ 178017 w 447236"/>
              <a:gd name="connsiteY133" fmla="*/ 423838 h 448122"/>
              <a:gd name="connsiteX134" fmla="*/ 178939 w 447236"/>
              <a:gd name="connsiteY134" fmla="*/ 423225 h 448122"/>
              <a:gd name="connsiteX135" fmla="*/ 185925 w 447236"/>
              <a:gd name="connsiteY135" fmla="*/ 401521 h 448122"/>
              <a:gd name="connsiteX136" fmla="*/ 231662 w 447236"/>
              <a:gd name="connsiteY136" fmla="*/ 398173 h 448122"/>
              <a:gd name="connsiteX137" fmla="*/ 231459 w 447236"/>
              <a:gd name="connsiteY137" fmla="*/ 398200 h 448122"/>
              <a:gd name="connsiteX138" fmla="*/ 228273 w 447236"/>
              <a:gd name="connsiteY138" fmla="*/ 400881 h 448122"/>
              <a:gd name="connsiteX139" fmla="*/ 231766 w 447236"/>
              <a:gd name="connsiteY139" fmla="*/ 404021 h 448122"/>
              <a:gd name="connsiteX140" fmla="*/ 234748 w 447236"/>
              <a:gd name="connsiteY140" fmla="*/ 398152 h 448122"/>
              <a:gd name="connsiteX141" fmla="*/ 234670 w 447236"/>
              <a:gd name="connsiteY141" fmla="*/ 404089 h 448122"/>
              <a:gd name="connsiteX142" fmla="*/ 234806 w 447236"/>
              <a:gd name="connsiteY142" fmla="*/ 404021 h 448122"/>
              <a:gd name="connsiteX143" fmla="*/ 235113 w 447236"/>
              <a:gd name="connsiteY143" fmla="*/ 398200 h 448122"/>
              <a:gd name="connsiteX144" fmla="*/ 185694 w 447236"/>
              <a:gd name="connsiteY144" fmla="*/ 394439 h 448122"/>
              <a:gd name="connsiteX145" fmla="*/ 189379 w 447236"/>
              <a:gd name="connsiteY145" fmla="*/ 397195 h 448122"/>
              <a:gd name="connsiteX146" fmla="*/ 189659 w 447236"/>
              <a:gd name="connsiteY146" fmla="*/ 400544 h 448122"/>
              <a:gd name="connsiteX147" fmla="*/ 186935 w 447236"/>
              <a:gd name="connsiteY147" fmla="*/ 398568 h 448122"/>
              <a:gd name="connsiteX148" fmla="*/ 186923 w 447236"/>
              <a:gd name="connsiteY148" fmla="*/ 398420 h 448122"/>
              <a:gd name="connsiteX149" fmla="*/ 186886 w 447236"/>
              <a:gd name="connsiteY149" fmla="*/ 398533 h 448122"/>
              <a:gd name="connsiteX150" fmla="*/ 184834 w 447236"/>
              <a:gd name="connsiteY150" fmla="*/ 397045 h 448122"/>
              <a:gd name="connsiteX151" fmla="*/ 155052 w 447236"/>
              <a:gd name="connsiteY151" fmla="*/ 393564 h 448122"/>
              <a:gd name="connsiteX152" fmla="*/ 153825 w 447236"/>
              <a:gd name="connsiteY152" fmla="*/ 394790 h 448122"/>
              <a:gd name="connsiteX153" fmla="*/ 153825 w 447236"/>
              <a:gd name="connsiteY153" fmla="*/ 398468 h 448122"/>
              <a:gd name="connsiteX154" fmla="*/ 155052 w 447236"/>
              <a:gd name="connsiteY154" fmla="*/ 399694 h 448122"/>
              <a:gd name="connsiteX155" fmla="*/ 161189 w 447236"/>
              <a:gd name="connsiteY155" fmla="*/ 399694 h 448122"/>
              <a:gd name="connsiteX156" fmla="*/ 162417 w 447236"/>
              <a:gd name="connsiteY156" fmla="*/ 398468 h 448122"/>
              <a:gd name="connsiteX157" fmla="*/ 162417 w 447236"/>
              <a:gd name="connsiteY157" fmla="*/ 394790 h 448122"/>
              <a:gd name="connsiteX158" fmla="*/ 161189 w 447236"/>
              <a:gd name="connsiteY158" fmla="*/ 393564 h 448122"/>
              <a:gd name="connsiteX159" fmla="*/ 155052 w 447236"/>
              <a:gd name="connsiteY159" fmla="*/ 393564 h 448122"/>
              <a:gd name="connsiteX160" fmla="*/ 144312 w 447236"/>
              <a:gd name="connsiteY160" fmla="*/ 393564 h 448122"/>
              <a:gd name="connsiteX161" fmla="*/ 143085 w 447236"/>
              <a:gd name="connsiteY161" fmla="*/ 394790 h 448122"/>
              <a:gd name="connsiteX162" fmla="*/ 143085 w 447236"/>
              <a:gd name="connsiteY162" fmla="*/ 398468 h 448122"/>
              <a:gd name="connsiteX163" fmla="*/ 144312 w 447236"/>
              <a:gd name="connsiteY163" fmla="*/ 399694 h 448122"/>
              <a:gd name="connsiteX164" fmla="*/ 150449 w 447236"/>
              <a:gd name="connsiteY164" fmla="*/ 399694 h 448122"/>
              <a:gd name="connsiteX165" fmla="*/ 151677 w 447236"/>
              <a:gd name="connsiteY165" fmla="*/ 398468 h 448122"/>
              <a:gd name="connsiteX166" fmla="*/ 151677 w 447236"/>
              <a:gd name="connsiteY166" fmla="*/ 394790 h 448122"/>
              <a:gd name="connsiteX167" fmla="*/ 150449 w 447236"/>
              <a:gd name="connsiteY167" fmla="*/ 393564 h 448122"/>
              <a:gd name="connsiteX168" fmla="*/ 144312 w 447236"/>
              <a:gd name="connsiteY168" fmla="*/ 393564 h 448122"/>
              <a:gd name="connsiteX169" fmla="*/ 133572 w 447236"/>
              <a:gd name="connsiteY169" fmla="*/ 393564 h 448122"/>
              <a:gd name="connsiteX170" fmla="*/ 132345 w 447236"/>
              <a:gd name="connsiteY170" fmla="*/ 394790 h 448122"/>
              <a:gd name="connsiteX171" fmla="*/ 132345 w 447236"/>
              <a:gd name="connsiteY171" fmla="*/ 398468 h 448122"/>
              <a:gd name="connsiteX172" fmla="*/ 133572 w 447236"/>
              <a:gd name="connsiteY172" fmla="*/ 399694 h 448122"/>
              <a:gd name="connsiteX173" fmla="*/ 139709 w 447236"/>
              <a:gd name="connsiteY173" fmla="*/ 399694 h 448122"/>
              <a:gd name="connsiteX174" fmla="*/ 140937 w 447236"/>
              <a:gd name="connsiteY174" fmla="*/ 398468 h 448122"/>
              <a:gd name="connsiteX175" fmla="*/ 140937 w 447236"/>
              <a:gd name="connsiteY175" fmla="*/ 394790 h 448122"/>
              <a:gd name="connsiteX176" fmla="*/ 139709 w 447236"/>
              <a:gd name="connsiteY176" fmla="*/ 393564 h 448122"/>
              <a:gd name="connsiteX177" fmla="*/ 206269 w 447236"/>
              <a:gd name="connsiteY177" fmla="*/ 393214 h 448122"/>
              <a:gd name="connsiteX178" fmla="*/ 219780 w 447236"/>
              <a:gd name="connsiteY178" fmla="*/ 406382 h 448122"/>
              <a:gd name="connsiteX179" fmla="*/ 213492 w 447236"/>
              <a:gd name="connsiteY179" fmla="*/ 421388 h 448122"/>
              <a:gd name="connsiteX180" fmla="*/ 209378 w 447236"/>
              <a:gd name="connsiteY180" fmla="*/ 415837 h 448122"/>
              <a:gd name="connsiteX181" fmla="*/ 208725 w 447236"/>
              <a:gd name="connsiteY181" fmla="*/ 414957 h 448122"/>
              <a:gd name="connsiteX182" fmla="*/ 208418 w 447236"/>
              <a:gd name="connsiteY182" fmla="*/ 414651 h 448122"/>
              <a:gd name="connsiteX183" fmla="*/ 206883 w 447236"/>
              <a:gd name="connsiteY183" fmla="*/ 415263 h 448122"/>
              <a:gd name="connsiteX184" fmla="*/ 202277 w 447236"/>
              <a:gd name="connsiteY184" fmla="*/ 422919 h 448122"/>
              <a:gd name="connsiteX185" fmla="*/ 198592 w 447236"/>
              <a:gd name="connsiteY185" fmla="*/ 413732 h 448122"/>
              <a:gd name="connsiteX186" fmla="*/ 197978 w 447236"/>
              <a:gd name="connsiteY186" fmla="*/ 413119 h 448122"/>
              <a:gd name="connsiteX187" fmla="*/ 196442 w 447236"/>
              <a:gd name="connsiteY187" fmla="*/ 414038 h 448122"/>
              <a:gd name="connsiteX188" fmla="*/ 191836 w 447236"/>
              <a:gd name="connsiteY188" fmla="*/ 426594 h 448122"/>
              <a:gd name="connsiteX189" fmla="*/ 189686 w 447236"/>
              <a:gd name="connsiteY189" fmla="*/ 400870 h 448122"/>
              <a:gd name="connsiteX190" fmla="*/ 189659 w 447236"/>
              <a:gd name="connsiteY190" fmla="*/ 400544 h 448122"/>
              <a:gd name="connsiteX191" fmla="*/ 193064 w 447236"/>
              <a:gd name="connsiteY191" fmla="*/ 403014 h 448122"/>
              <a:gd name="connsiteX192" fmla="*/ 206269 w 447236"/>
              <a:gd name="connsiteY192" fmla="*/ 393214 h 448122"/>
              <a:gd name="connsiteX193" fmla="*/ 179553 w 447236"/>
              <a:gd name="connsiteY193" fmla="*/ 393214 h 448122"/>
              <a:gd name="connsiteX194" fmla="*/ 184834 w 447236"/>
              <a:gd name="connsiteY194" fmla="*/ 397045 h 448122"/>
              <a:gd name="connsiteX195" fmla="*/ 178708 w 447236"/>
              <a:gd name="connsiteY195" fmla="*/ 415608 h 448122"/>
              <a:gd name="connsiteX196" fmla="*/ 177710 w 447236"/>
              <a:gd name="connsiteY196" fmla="*/ 418632 h 448122"/>
              <a:gd name="connsiteX197" fmla="*/ 176175 w 447236"/>
              <a:gd name="connsiteY197" fmla="*/ 414651 h 448122"/>
              <a:gd name="connsiteX198" fmla="*/ 175868 w 447236"/>
              <a:gd name="connsiteY198" fmla="*/ 414038 h 448122"/>
              <a:gd name="connsiteX199" fmla="*/ 174332 w 447236"/>
              <a:gd name="connsiteY199" fmla="*/ 414038 h 448122"/>
              <a:gd name="connsiteX200" fmla="*/ 170985 w 447236"/>
              <a:gd name="connsiteY200" fmla="*/ 417599 h 448122"/>
              <a:gd name="connsiteX201" fmla="*/ 166348 w 447236"/>
              <a:gd name="connsiteY201" fmla="*/ 406382 h 448122"/>
              <a:gd name="connsiteX202" fmla="*/ 179553 w 447236"/>
              <a:gd name="connsiteY202" fmla="*/ 393214 h 448122"/>
              <a:gd name="connsiteX203" fmla="*/ 237599 w 447236"/>
              <a:gd name="connsiteY203" fmla="*/ 389009 h 448122"/>
              <a:gd name="connsiteX204" fmla="*/ 238765 w 447236"/>
              <a:gd name="connsiteY204" fmla="*/ 389009 h 448122"/>
              <a:gd name="connsiteX205" fmla="*/ 238520 w 447236"/>
              <a:gd name="connsiteY205" fmla="*/ 389315 h 448122"/>
              <a:gd name="connsiteX206" fmla="*/ 237599 w 447236"/>
              <a:gd name="connsiteY206" fmla="*/ 389009 h 448122"/>
              <a:gd name="connsiteX207" fmla="*/ 228700 w 447236"/>
              <a:gd name="connsiteY207" fmla="*/ 388854 h 448122"/>
              <a:gd name="connsiteX208" fmla="*/ 228973 w 447236"/>
              <a:gd name="connsiteY208" fmla="*/ 389009 h 448122"/>
              <a:gd name="connsiteX209" fmla="*/ 228052 w 447236"/>
              <a:gd name="connsiteY209" fmla="*/ 389315 h 448122"/>
              <a:gd name="connsiteX210" fmla="*/ 227806 w 447236"/>
              <a:gd name="connsiteY210" fmla="*/ 389009 h 448122"/>
              <a:gd name="connsiteX211" fmla="*/ 228666 w 447236"/>
              <a:gd name="connsiteY211" fmla="*/ 389009 h 448122"/>
              <a:gd name="connsiteX212" fmla="*/ 240669 w 447236"/>
              <a:gd name="connsiteY212" fmla="*/ 385333 h 448122"/>
              <a:gd name="connsiteX213" fmla="*/ 239441 w 447236"/>
              <a:gd name="connsiteY213" fmla="*/ 385639 h 448122"/>
              <a:gd name="connsiteX214" fmla="*/ 238827 w 447236"/>
              <a:gd name="connsiteY214" fmla="*/ 386252 h 448122"/>
              <a:gd name="connsiteX215" fmla="*/ 240055 w 447236"/>
              <a:gd name="connsiteY215" fmla="*/ 386252 h 448122"/>
              <a:gd name="connsiteX216" fmla="*/ 240669 w 447236"/>
              <a:gd name="connsiteY216" fmla="*/ 385333 h 448122"/>
              <a:gd name="connsiteX217" fmla="*/ 225903 w 447236"/>
              <a:gd name="connsiteY217" fmla="*/ 385333 h 448122"/>
              <a:gd name="connsiteX218" fmla="*/ 226517 w 447236"/>
              <a:gd name="connsiteY218" fmla="*/ 386252 h 448122"/>
              <a:gd name="connsiteX219" fmla="*/ 227438 w 447236"/>
              <a:gd name="connsiteY219" fmla="*/ 386252 h 448122"/>
              <a:gd name="connsiteX220" fmla="*/ 226824 w 447236"/>
              <a:gd name="connsiteY220" fmla="*/ 385639 h 448122"/>
              <a:gd name="connsiteX221" fmla="*/ 225903 w 447236"/>
              <a:gd name="connsiteY221" fmla="*/ 385333 h 448122"/>
              <a:gd name="connsiteX222" fmla="*/ 242746 w 447236"/>
              <a:gd name="connsiteY222" fmla="*/ 365317 h 448122"/>
              <a:gd name="connsiteX223" fmla="*/ 244894 w 447236"/>
              <a:gd name="connsiteY223" fmla="*/ 365623 h 448122"/>
              <a:gd name="connsiteX224" fmla="*/ 249191 w 447236"/>
              <a:gd name="connsiteY224" fmla="*/ 367153 h 448122"/>
              <a:gd name="connsiteX225" fmla="*/ 257478 w 447236"/>
              <a:gd name="connsiteY225" fmla="*/ 368376 h 448122"/>
              <a:gd name="connsiteX226" fmla="*/ 275279 w 447236"/>
              <a:gd name="connsiteY226" fmla="*/ 368376 h 448122"/>
              <a:gd name="connsiteX227" fmla="*/ 264230 w 447236"/>
              <a:gd name="connsiteY227" fmla="*/ 372660 h 448122"/>
              <a:gd name="connsiteX228" fmla="*/ 263002 w 447236"/>
              <a:gd name="connsiteY228" fmla="*/ 375413 h 448122"/>
              <a:gd name="connsiteX229" fmla="*/ 258399 w 447236"/>
              <a:gd name="connsiteY229" fmla="*/ 375719 h 448122"/>
              <a:gd name="connsiteX230" fmla="*/ 255022 w 447236"/>
              <a:gd name="connsiteY230" fmla="*/ 379390 h 448122"/>
              <a:gd name="connsiteX231" fmla="*/ 253795 w 447236"/>
              <a:gd name="connsiteY231" fmla="*/ 379390 h 448122"/>
              <a:gd name="connsiteX232" fmla="*/ 251953 w 447236"/>
              <a:gd name="connsiteY232" fmla="*/ 379084 h 448122"/>
              <a:gd name="connsiteX233" fmla="*/ 249805 w 447236"/>
              <a:gd name="connsiteY233" fmla="*/ 378167 h 448122"/>
              <a:gd name="connsiteX234" fmla="*/ 248270 w 447236"/>
              <a:gd name="connsiteY234" fmla="*/ 380920 h 448122"/>
              <a:gd name="connsiteX235" fmla="*/ 244587 w 447236"/>
              <a:gd name="connsiteY235" fmla="*/ 380614 h 448122"/>
              <a:gd name="connsiteX236" fmla="*/ 243666 w 447236"/>
              <a:gd name="connsiteY236" fmla="*/ 381532 h 448122"/>
              <a:gd name="connsiteX237" fmla="*/ 238142 w 447236"/>
              <a:gd name="connsiteY237" fmla="*/ 380920 h 448122"/>
              <a:gd name="connsiteX238" fmla="*/ 236607 w 447236"/>
              <a:gd name="connsiteY238" fmla="*/ 380614 h 448122"/>
              <a:gd name="connsiteX239" fmla="*/ 236607 w 447236"/>
              <a:gd name="connsiteY239" fmla="*/ 369600 h 448122"/>
              <a:gd name="connsiteX240" fmla="*/ 239676 w 447236"/>
              <a:gd name="connsiteY240" fmla="*/ 368376 h 448122"/>
              <a:gd name="connsiteX241" fmla="*/ 240904 w 447236"/>
              <a:gd name="connsiteY241" fmla="*/ 365929 h 448122"/>
              <a:gd name="connsiteX242" fmla="*/ 242746 w 447236"/>
              <a:gd name="connsiteY242" fmla="*/ 365317 h 448122"/>
              <a:gd name="connsiteX243" fmla="*/ 223839 w 447236"/>
              <a:gd name="connsiteY243" fmla="*/ 365317 h 448122"/>
              <a:gd name="connsiteX244" fmla="*/ 225373 w 447236"/>
              <a:gd name="connsiteY244" fmla="*/ 365929 h 448122"/>
              <a:gd name="connsiteX245" fmla="*/ 226908 w 447236"/>
              <a:gd name="connsiteY245" fmla="*/ 368376 h 448122"/>
              <a:gd name="connsiteX246" fmla="*/ 229670 w 447236"/>
              <a:gd name="connsiteY246" fmla="*/ 369600 h 448122"/>
              <a:gd name="connsiteX247" fmla="*/ 229670 w 447236"/>
              <a:gd name="connsiteY247" fmla="*/ 380614 h 448122"/>
              <a:gd name="connsiteX248" fmla="*/ 228136 w 447236"/>
              <a:gd name="connsiteY248" fmla="*/ 380920 h 448122"/>
              <a:gd name="connsiteX249" fmla="*/ 222918 w 447236"/>
              <a:gd name="connsiteY249" fmla="*/ 381532 h 448122"/>
              <a:gd name="connsiteX250" fmla="*/ 221997 w 447236"/>
              <a:gd name="connsiteY250" fmla="*/ 380614 h 448122"/>
              <a:gd name="connsiteX251" fmla="*/ 218314 w 447236"/>
              <a:gd name="connsiteY251" fmla="*/ 380920 h 448122"/>
              <a:gd name="connsiteX252" fmla="*/ 216473 w 447236"/>
              <a:gd name="connsiteY252" fmla="*/ 378167 h 448122"/>
              <a:gd name="connsiteX253" fmla="*/ 214631 w 447236"/>
              <a:gd name="connsiteY253" fmla="*/ 379084 h 448122"/>
              <a:gd name="connsiteX254" fmla="*/ 212790 w 447236"/>
              <a:gd name="connsiteY254" fmla="*/ 379390 h 448122"/>
              <a:gd name="connsiteX255" fmla="*/ 211255 w 447236"/>
              <a:gd name="connsiteY255" fmla="*/ 379390 h 448122"/>
              <a:gd name="connsiteX256" fmla="*/ 208186 w 447236"/>
              <a:gd name="connsiteY256" fmla="*/ 375719 h 448122"/>
              <a:gd name="connsiteX257" fmla="*/ 203275 w 447236"/>
              <a:gd name="connsiteY257" fmla="*/ 375413 h 448122"/>
              <a:gd name="connsiteX258" fmla="*/ 202047 w 447236"/>
              <a:gd name="connsiteY258" fmla="*/ 372660 h 448122"/>
              <a:gd name="connsiteX259" fmla="*/ 190998 w 447236"/>
              <a:gd name="connsiteY259" fmla="*/ 368376 h 448122"/>
              <a:gd name="connsiteX260" fmla="*/ 208800 w 447236"/>
              <a:gd name="connsiteY260" fmla="*/ 368376 h 448122"/>
              <a:gd name="connsiteX261" fmla="*/ 217087 w 447236"/>
              <a:gd name="connsiteY261" fmla="*/ 367153 h 448122"/>
              <a:gd name="connsiteX262" fmla="*/ 221383 w 447236"/>
              <a:gd name="connsiteY262" fmla="*/ 365623 h 448122"/>
              <a:gd name="connsiteX263" fmla="*/ 223839 w 447236"/>
              <a:gd name="connsiteY263" fmla="*/ 365317 h 448122"/>
              <a:gd name="connsiteX264" fmla="*/ 147381 w 447236"/>
              <a:gd name="connsiteY264" fmla="*/ 360155 h 448122"/>
              <a:gd name="connsiteX265" fmla="*/ 155052 w 447236"/>
              <a:gd name="connsiteY265" fmla="*/ 363220 h 448122"/>
              <a:gd name="connsiteX266" fmla="*/ 158428 w 447236"/>
              <a:gd name="connsiteY266" fmla="*/ 371189 h 448122"/>
              <a:gd name="connsiteX267" fmla="*/ 155052 w 447236"/>
              <a:gd name="connsiteY267" fmla="*/ 378852 h 448122"/>
              <a:gd name="connsiteX268" fmla="*/ 147381 w 447236"/>
              <a:gd name="connsiteY268" fmla="*/ 381917 h 448122"/>
              <a:gd name="connsiteX269" fmla="*/ 139709 w 447236"/>
              <a:gd name="connsiteY269" fmla="*/ 378852 h 448122"/>
              <a:gd name="connsiteX270" fmla="*/ 136334 w 447236"/>
              <a:gd name="connsiteY270" fmla="*/ 371189 h 448122"/>
              <a:gd name="connsiteX271" fmla="*/ 139709 w 447236"/>
              <a:gd name="connsiteY271" fmla="*/ 363220 h 448122"/>
              <a:gd name="connsiteX272" fmla="*/ 147381 w 447236"/>
              <a:gd name="connsiteY272" fmla="*/ 360155 h 448122"/>
              <a:gd name="connsiteX273" fmla="*/ 233293 w 447236"/>
              <a:gd name="connsiteY273" fmla="*/ 358970 h 448122"/>
              <a:gd name="connsiteX274" fmla="*/ 237935 w 447236"/>
              <a:gd name="connsiteY274" fmla="*/ 363561 h 448122"/>
              <a:gd name="connsiteX275" fmla="*/ 235150 w 447236"/>
              <a:gd name="connsiteY275" fmla="*/ 367845 h 448122"/>
              <a:gd name="connsiteX276" fmla="*/ 234823 w 447236"/>
              <a:gd name="connsiteY276" fmla="*/ 392548 h 448122"/>
              <a:gd name="connsiteX277" fmla="*/ 244967 w 447236"/>
              <a:gd name="connsiteY277" fmla="*/ 390235 h 448122"/>
              <a:gd name="connsiteX278" fmla="*/ 245581 w 447236"/>
              <a:gd name="connsiteY278" fmla="*/ 387784 h 448122"/>
              <a:gd name="connsiteX279" fmla="*/ 244353 w 447236"/>
              <a:gd name="connsiteY279" fmla="*/ 387171 h 448122"/>
              <a:gd name="connsiteX280" fmla="*/ 241590 w 447236"/>
              <a:gd name="connsiteY280" fmla="*/ 389009 h 448122"/>
              <a:gd name="connsiteX281" fmla="*/ 238765 w 447236"/>
              <a:gd name="connsiteY281" fmla="*/ 389009 h 448122"/>
              <a:gd name="connsiteX282" fmla="*/ 239748 w 447236"/>
              <a:gd name="connsiteY282" fmla="*/ 387784 h 448122"/>
              <a:gd name="connsiteX283" fmla="*/ 237599 w 447236"/>
              <a:gd name="connsiteY283" fmla="*/ 389009 h 448122"/>
              <a:gd name="connsiteX284" fmla="*/ 237292 w 447236"/>
              <a:gd name="connsiteY284" fmla="*/ 386252 h 448122"/>
              <a:gd name="connsiteX285" fmla="*/ 239134 w 447236"/>
              <a:gd name="connsiteY285" fmla="*/ 383801 h 448122"/>
              <a:gd name="connsiteX286" fmla="*/ 240976 w 447236"/>
              <a:gd name="connsiteY286" fmla="*/ 383188 h 448122"/>
              <a:gd name="connsiteX287" fmla="*/ 248037 w 447236"/>
              <a:gd name="connsiteY287" fmla="*/ 384414 h 448122"/>
              <a:gd name="connsiteX288" fmla="*/ 249879 w 447236"/>
              <a:gd name="connsiteY288" fmla="*/ 388703 h 448122"/>
              <a:gd name="connsiteX289" fmla="*/ 248344 w 447236"/>
              <a:gd name="connsiteY289" fmla="*/ 392379 h 448122"/>
              <a:gd name="connsiteX290" fmla="*/ 241319 w 447236"/>
              <a:gd name="connsiteY290" fmla="*/ 396399 h 448122"/>
              <a:gd name="connsiteX291" fmla="*/ 242481 w 447236"/>
              <a:gd name="connsiteY291" fmla="*/ 404327 h 448122"/>
              <a:gd name="connsiteX292" fmla="*/ 237578 w 447236"/>
              <a:gd name="connsiteY292" fmla="*/ 406880 h 448122"/>
              <a:gd name="connsiteX293" fmla="*/ 240055 w 447236"/>
              <a:gd name="connsiteY293" fmla="*/ 408004 h 448122"/>
              <a:gd name="connsiteX294" fmla="*/ 241590 w 447236"/>
              <a:gd name="connsiteY294" fmla="*/ 415356 h 448122"/>
              <a:gd name="connsiteX295" fmla="*/ 237906 w 447236"/>
              <a:gd name="connsiteY295" fmla="*/ 418114 h 448122"/>
              <a:gd name="connsiteX296" fmla="*/ 235841 w 447236"/>
              <a:gd name="connsiteY296" fmla="*/ 418702 h 448122"/>
              <a:gd name="connsiteX297" fmla="*/ 239718 w 447236"/>
              <a:gd name="connsiteY297" fmla="*/ 422403 h 448122"/>
              <a:gd name="connsiteX298" fmla="*/ 235034 w 447236"/>
              <a:gd name="connsiteY298" fmla="*/ 429001 h 448122"/>
              <a:gd name="connsiteX299" fmla="*/ 236678 w 447236"/>
              <a:gd name="connsiteY299" fmla="*/ 431134 h 448122"/>
              <a:gd name="connsiteX300" fmla="*/ 240362 w 447236"/>
              <a:gd name="connsiteY300" fmla="*/ 435270 h 448122"/>
              <a:gd name="connsiteX301" fmla="*/ 237906 w 447236"/>
              <a:gd name="connsiteY301" fmla="*/ 434657 h 448122"/>
              <a:gd name="connsiteX302" fmla="*/ 234303 w 447236"/>
              <a:gd name="connsiteY302" fmla="*/ 431781 h 448122"/>
              <a:gd name="connsiteX303" fmla="*/ 234236 w 447236"/>
              <a:gd name="connsiteY303" fmla="*/ 436834 h 448122"/>
              <a:gd name="connsiteX304" fmla="*/ 234221 w 447236"/>
              <a:gd name="connsiteY304" fmla="*/ 437929 h 448122"/>
              <a:gd name="connsiteX305" fmla="*/ 232365 w 447236"/>
              <a:gd name="connsiteY305" fmla="*/ 437929 h 448122"/>
              <a:gd name="connsiteX306" fmla="*/ 232252 w 447236"/>
              <a:gd name="connsiteY306" fmla="*/ 431549 h 448122"/>
              <a:gd name="connsiteX307" fmla="*/ 228359 w 447236"/>
              <a:gd name="connsiteY307" fmla="*/ 434657 h 448122"/>
              <a:gd name="connsiteX308" fmla="*/ 225903 w 447236"/>
              <a:gd name="connsiteY308" fmla="*/ 435270 h 448122"/>
              <a:gd name="connsiteX309" fmla="*/ 229740 w 447236"/>
              <a:gd name="connsiteY309" fmla="*/ 431134 h 448122"/>
              <a:gd name="connsiteX310" fmla="*/ 231343 w 447236"/>
              <a:gd name="connsiteY310" fmla="*/ 429122 h 448122"/>
              <a:gd name="connsiteX311" fmla="*/ 226853 w 447236"/>
              <a:gd name="connsiteY311" fmla="*/ 422403 h 448122"/>
              <a:gd name="connsiteX312" fmla="*/ 230695 w 447236"/>
              <a:gd name="connsiteY312" fmla="*/ 418735 h 448122"/>
              <a:gd name="connsiteX313" fmla="*/ 228359 w 447236"/>
              <a:gd name="connsiteY313" fmla="*/ 418114 h 448122"/>
              <a:gd name="connsiteX314" fmla="*/ 224982 w 447236"/>
              <a:gd name="connsiteY314" fmla="*/ 415356 h 448122"/>
              <a:gd name="connsiteX315" fmla="*/ 226517 w 447236"/>
              <a:gd name="connsiteY315" fmla="*/ 408004 h 448122"/>
              <a:gd name="connsiteX316" fmla="*/ 228945 w 447236"/>
              <a:gd name="connsiteY316" fmla="*/ 406902 h 448122"/>
              <a:gd name="connsiteX317" fmla="*/ 223783 w 447236"/>
              <a:gd name="connsiteY317" fmla="*/ 404327 h 448122"/>
              <a:gd name="connsiteX318" fmla="*/ 225066 w 447236"/>
              <a:gd name="connsiteY318" fmla="*/ 396349 h 448122"/>
              <a:gd name="connsiteX319" fmla="*/ 218227 w 447236"/>
              <a:gd name="connsiteY319" fmla="*/ 392379 h 448122"/>
              <a:gd name="connsiteX320" fmla="*/ 216385 w 447236"/>
              <a:gd name="connsiteY320" fmla="*/ 388703 h 448122"/>
              <a:gd name="connsiteX321" fmla="*/ 218227 w 447236"/>
              <a:gd name="connsiteY321" fmla="*/ 384414 h 448122"/>
              <a:gd name="connsiteX322" fmla="*/ 225289 w 447236"/>
              <a:gd name="connsiteY322" fmla="*/ 383188 h 448122"/>
              <a:gd name="connsiteX323" fmla="*/ 227131 w 447236"/>
              <a:gd name="connsiteY323" fmla="*/ 383801 h 448122"/>
              <a:gd name="connsiteX324" fmla="*/ 229280 w 447236"/>
              <a:gd name="connsiteY324" fmla="*/ 386252 h 448122"/>
              <a:gd name="connsiteX325" fmla="*/ 228700 w 447236"/>
              <a:gd name="connsiteY325" fmla="*/ 388854 h 448122"/>
              <a:gd name="connsiteX326" fmla="*/ 226824 w 447236"/>
              <a:gd name="connsiteY326" fmla="*/ 387784 h 448122"/>
              <a:gd name="connsiteX327" fmla="*/ 227806 w 447236"/>
              <a:gd name="connsiteY327" fmla="*/ 389009 h 448122"/>
              <a:gd name="connsiteX328" fmla="*/ 224675 w 447236"/>
              <a:gd name="connsiteY328" fmla="*/ 389009 h 448122"/>
              <a:gd name="connsiteX329" fmla="*/ 221911 w 447236"/>
              <a:gd name="connsiteY329" fmla="*/ 387171 h 448122"/>
              <a:gd name="connsiteX330" fmla="*/ 220683 w 447236"/>
              <a:gd name="connsiteY330" fmla="*/ 387784 h 448122"/>
              <a:gd name="connsiteX331" fmla="*/ 221604 w 447236"/>
              <a:gd name="connsiteY331" fmla="*/ 390235 h 448122"/>
              <a:gd name="connsiteX332" fmla="*/ 231564 w 447236"/>
              <a:gd name="connsiteY332" fmla="*/ 392573 h 448122"/>
              <a:gd name="connsiteX333" fmla="*/ 231281 w 447236"/>
              <a:gd name="connsiteY333" fmla="*/ 376606 h 448122"/>
              <a:gd name="connsiteX334" fmla="*/ 231127 w 447236"/>
              <a:gd name="connsiteY334" fmla="*/ 367845 h 448122"/>
              <a:gd name="connsiteX335" fmla="*/ 228341 w 447236"/>
              <a:gd name="connsiteY335" fmla="*/ 363561 h 448122"/>
              <a:gd name="connsiteX336" fmla="*/ 233293 w 447236"/>
              <a:gd name="connsiteY336" fmla="*/ 358970 h 448122"/>
              <a:gd name="connsiteX337" fmla="*/ 147381 w 447236"/>
              <a:gd name="connsiteY337" fmla="*/ 358929 h 448122"/>
              <a:gd name="connsiteX338" fmla="*/ 138789 w 447236"/>
              <a:gd name="connsiteY338" fmla="*/ 362301 h 448122"/>
              <a:gd name="connsiteX339" fmla="*/ 135106 w 447236"/>
              <a:gd name="connsiteY339" fmla="*/ 371189 h 448122"/>
              <a:gd name="connsiteX340" fmla="*/ 138789 w 447236"/>
              <a:gd name="connsiteY340" fmla="*/ 379771 h 448122"/>
              <a:gd name="connsiteX341" fmla="*/ 147381 w 447236"/>
              <a:gd name="connsiteY341" fmla="*/ 383449 h 448122"/>
              <a:gd name="connsiteX342" fmla="*/ 155973 w 447236"/>
              <a:gd name="connsiteY342" fmla="*/ 379771 h 448122"/>
              <a:gd name="connsiteX343" fmla="*/ 159655 w 447236"/>
              <a:gd name="connsiteY343" fmla="*/ 371189 h 448122"/>
              <a:gd name="connsiteX344" fmla="*/ 155973 w 447236"/>
              <a:gd name="connsiteY344" fmla="*/ 362301 h 448122"/>
              <a:gd name="connsiteX345" fmla="*/ 147381 w 447236"/>
              <a:gd name="connsiteY345" fmla="*/ 358929 h 448122"/>
              <a:gd name="connsiteX346" fmla="*/ 292250 w 447236"/>
              <a:gd name="connsiteY346" fmla="*/ 353965 h 448122"/>
              <a:gd name="connsiteX347" fmla="*/ 284271 w 447236"/>
              <a:gd name="connsiteY347" fmla="*/ 361933 h 448122"/>
              <a:gd name="connsiteX348" fmla="*/ 292250 w 447236"/>
              <a:gd name="connsiteY348" fmla="*/ 369595 h 448122"/>
              <a:gd name="connsiteX349" fmla="*/ 299922 w 447236"/>
              <a:gd name="connsiteY349" fmla="*/ 361933 h 448122"/>
              <a:gd name="connsiteX350" fmla="*/ 292250 w 447236"/>
              <a:gd name="connsiteY350" fmla="*/ 353965 h 448122"/>
              <a:gd name="connsiteX351" fmla="*/ 248047 w 447236"/>
              <a:gd name="connsiteY351" fmla="*/ 347918 h 448122"/>
              <a:gd name="connsiteX352" fmla="*/ 247128 w 447236"/>
              <a:gd name="connsiteY352" fmla="*/ 348224 h 448122"/>
              <a:gd name="connsiteX353" fmla="*/ 246515 w 447236"/>
              <a:gd name="connsiteY353" fmla="*/ 349449 h 448122"/>
              <a:gd name="connsiteX354" fmla="*/ 247128 w 447236"/>
              <a:gd name="connsiteY354" fmla="*/ 350674 h 448122"/>
              <a:gd name="connsiteX355" fmla="*/ 248047 w 447236"/>
              <a:gd name="connsiteY355" fmla="*/ 350981 h 448122"/>
              <a:gd name="connsiteX356" fmla="*/ 249272 w 447236"/>
              <a:gd name="connsiteY356" fmla="*/ 350674 h 448122"/>
              <a:gd name="connsiteX357" fmla="*/ 249578 w 447236"/>
              <a:gd name="connsiteY357" fmla="*/ 349449 h 448122"/>
              <a:gd name="connsiteX358" fmla="*/ 249272 w 447236"/>
              <a:gd name="connsiteY358" fmla="*/ 348224 h 448122"/>
              <a:gd name="connsiteX359" fmla="*/ 248047 w 447236"/>
              <a:gd name="connsiteY359" fmla="*/ 347918 h 448122"/>
              <a:gd name="connsiteX360" fmla="*/ 248047 w 447236"/>
              <a:gd name="connsiteY360" fmla="*/ 343324 h 448122"/>
              <a:gd name="connsiteX361" fmla="*/ 254172 w 447236"/>
              <a:gd name="connsiteY361" fmla="*/ 349449 h 448122"/>
              <a:gd name="connsiteX362" fmla="*/ 248047 w 447236"/>
              <a:gd name="connsiteY362" fmla="*/ 355575 h 448122"/>
              <a:gd name="connsiteX363" fmla="*/ 241921 w 447236"/>
              <a:gd name="connsiteY363" fmla="*/ 349449 h 448122"/>
              <a:gd name="connsiteX364" fmla="*/ 248047 w 447236"/>
              <a:gd name="connsiteY364" fmla="*/ 343324 h 448122"/>
              <a:gd name="connsiteX365" fmla="*/ 248047 w 447236"/>
              <a:gd name="connsiteY365" fmla="*/ 342037 h 448122"/>
              <a:gd name="connsiteX366" fmla="*/ 241327 w 447236"/>
              <a:gd name="connsiteY366" fmla="*/ 344788 h 448122"/>
              <a:gd name="connsiteX367" fmla="*/ 238578 w 447236"/>
              <a:gd name="connsiteY367" fmla="*/ 351817 h 448122"/>
              <a:gd name="connsiteX368" fmla="*/ 241327 w 447236"/>
              <a:gd name="connsiteY368" fmla="*/ 358540 h 448122"/>
              <a:gd name="connsiteX369" fmla="*/ 248047 w 447236"/>
              <a:gd name="connsiteY369" fmla="*/ 361290 h 448122"/>
              <a:gd name="connsiteX370" fmla="*/ 255072 w 447236"/>
              <a:gd name="connsiteY370" fmla="*/ 358540 h 448122"/>
              <a:gd name="connsiteX371" fmla="*/ 257821 w 447236"/>
              <a:gd name="connsiteY371" fmla="*/ 351817 h 448122"/>
              <a:gd name="connsiteX372" fmla="*/ 255072 w 447236"/>
              <a:gd name="connsiteY372" fmla="*/ 344788 h 448122"/>
              <a:gd name="connsiteX373" fmla="*/ 248047 w 447236"/>
              <a:gd name="connsiteY373" fmla="*/ 342037 h 448122"/>
              <a:gd name="connsiteX374" fmla="*/ 201047 w 447236"/>
              <a:gd name="connsiteY374" fmla="*/ 341678 h 448122"/>
              <a:gd name="connsiteX375" fmla="*/ 201047 w 447236"/>
              <a:gd name="connsiteY375" fmla="*/ 344743 h 448122"/>
              <a:gd name="connsiteX376" fmla="*/ 203815 w 447236"/>
              <a:gd name="connsiteY376" fmla="*/ 344743 h 448122"/>
              <a:gd name="connsiteX377" fmla="*/ 203815 w 447236"/>
              <a:gd name="connsiteY377" fmla="*/ 341678 h 448122"/>
              <a:gd name="connsiteX378" fmla="*/ 201047 w 447236"/>
              <a:gd name="connsiteY378" fmla="*/ 341678 h 448122"/>
              <a:gd name="connsiteX379" fmla="*/ 213417 w 447236"/>
              <a:gd name="connsiteY379" fmla="*/ 338850 h 448122"/>
              <a:gd name="connsiteX380" fmla="*/ 205895 w 447236"/>
              <a:gd name="connsiteY380" fmla="*/ 346348 h 448122"/>
              <a:gd name="connsiteX381" fmla="*/ 203073 w 447236"/>
              <a:gd name="connsiteY381" fmla="*/ 349162 h 448122"/>
              <a:gd name="connsiteX382" fmla="*/ 208922 w 447236"/>
              <a:gd name="connsiteY382" fmla="*/ 355034 h 448122"/>
              <a:gd name="connsiteX383" fmla="*/ 212729 w 447236"/>
              <a:gd name="connsiteY383" fmla="*/ 358855 h 448122"/>
              <a:gd name="connsiteX384" fmla="*/ 217958 w 447236"/>
              <a:gd name="connsiteY384" fmla="*/ 360995 h 448122"/>
              <a:gd name="connsiteX385" fmla="*/ 223187 w 447236"/>
              <a:gd name="connsiteY385" fmla="*/ 358855 h 448122"/>
              <a:gd name="connsiteX386" fmla="*/ 225032 w 447236"/>
              <a:gd name="connsiteY386" fmla="*/ 353659 h 448122"/>
              <a:gd name="connsiteX387" fmla="*/ 223187 w 447236"/>
              <a:gd name="connsiteY387" fmla="*/ 348462 h 448122"/>
              <a:gd name="connsiteX388" fmla="*/ 196435 w 447236"/>
              <a:gd name="connsiteY388" fmla="*/ 337079 h 448122"/>
              <a:gd name="connsiteX389" fmla="*/ 196435 w 447236"/>
              <a:gd name="connsiteY389" fmla="*/ 340145 h 448122"/>
              <a:gd name="connsiteX390" fmla="*/ 199202 w 447236"/>
              <a:gd name="connsiteY390" fmla="*/ 340145 h 448122"/>
              <a:gd name="connsiteX391" fmla="*/ 199202 w 447236"/>
              <a:gd name="connsiteY391" fmla="*/ 337079 h 448122"/>
              <a:gd name="connsiteX392" fmla="*/ 196435 w 447236"/>
              <a:gd name="connsiteY392" fmla="*/ 337079 h 448122"/>
              <a:gd name="connsiteX393" fmla="*/ 205967 w 447236"/>
              <a:gd name="connsiteY393" fmla="*/ 336773 h 448122"/>
              <a:gd name="connsiteX394" fmla="*/ 205967 w 447236"/>
              <a:gd name="connsiteY394" fmla="*/ 339532 h 448122"/>
              <a:gd name="connsiteX395" fmla="*/ 209042 w 447236"/>
              <a:gd name="connsiteY395" fmla="*/ 339532 h 448122"/>
              <a:gd name="connsiteX396" fmla="*/ 209042 w 447236"/>
              <a:gd name="connsiteY396" fmla="*/ 336773 h 448122"/>
              <a:gd name="connsiteX397" fmla="*/ 205967 w 447236"/>
              <a:gd name="connsiteY397" fmla="*/ 336773 h 448122"/>
              <a:gd name="connsiteX398" fmla="*/ 201355 w 447236"/>
              <a:gd name="connsiteY398" fmla="*/ 332174 h 448122"/>
              <a:gd name="connsiteX399" fmla="*/ 201355 w 447236"/>
              <a:gd name="connsiteY399" fmla="*/ 334933 h 448122"/>
              <a:gd name="connsiteX400" fmla="*/ 204430 w 447236"/>
              <a:gd name="connsiteY400" fmla="*/ 334933 h 448122"/>
              <a:gd name="connsiteX401" fmla="*/ 204430 w 447236"/>
              <a:gd name="connsiteY401" fmla="*/ 332174 h 448122"/>
              <a:gd name="connsiteX402" fmla="*/ 201355 w 447236"/>
              <a:gd name="connsiteY402" fmla="*/ 332174 h 448122"/>
              <a:gd name="connsiteX403" fmla="*/ 153802 w 447236"/>
              <a:gd name="connsiteY403" fmla="*/ 323988 h 448122"/>
              <a:gd name="connsiteX404" fmla="*/ 148257 w 447236"/>
              <a:gd name="connsiteY404" fmla="*/ 332259 h 448122"/>
              <a:gd name="connsiteX405" fmla="*/ 153802 w 447236"/>
              <a:gd name="connsiteY405" fmla="*/ 340224 h 448122"/>
              <a:gd name="connsiteX406" fmla="*/ 146717 w 447236"/>
              <a:gd name="connsiteY406" fmla="*/ 332259 h 448122"/>
              <a:gd name="connsiteX407" fmla="*/ 153802 w 447236"/>
              <a:gd name="connsiteY407" fmla="*/ 323988 h 448122"/>
              <a:gd name="connsiteX408" fmla="*/ 262733 w 447236"/>
              <a:gd name="connsiteY408" fmla="*/ 321184 h 448122"/>
              <a:gd name="connsiteX409" fmla="*/ 269818 w 447236"/>
              <a:gd name="connsiteY409" fmla="*/ 326393 h 448122"/>
              <a:gd name="connsiteX410" fmla="*/ 276903 w 447236"/>
              <a:gd name="connsiteY410" fmla="*/ 321184 h 448122"/>
              <a:gd name="connsiteX411" fmla="*/ 283988 w 447236"/>
              <a:gd name="connsiteY411" fmla="*/ 328232 h 448122"/>
              <a:gd name="connsiteX412" fmla="*/ 269818 w 447236"/>
              <a:gd name="connsiteY412" fmla="*/ 349376 h 448122"/>
              <a:gd name="connsiteX413" fmla="*/ 255648 w 447236"/>
              <a:gd name="connsiteY413" fmla="*/ 328232 h 448122"/>
              <a:gd name="connsiteX414" fmla="*/ 262733 w 447236"/>
              <a:gd name="connsiteY414" fmla="*/ 321184 h 448122"/>
              <a:gd name="connsiteX415" fmla="*/ 147603 w 447236"/>
              <a:gd name="connsiteY415" fmla="*/ 320888 h 448122"/>
              <a:gd name="connsiteX416" fmla="*/ 140289 w 447236"/>
              <a:gd name="connsiteY416" fmla="*/ 332253 h 448122"/>
              <a:gd name="connsiteX417" fmla="*/ 147603 w 447236"/>
              <a:gd name="connsiteY417" fmla="*/ 343619 h 448122"/>
              <a:gd name="connsiteX418" fmla="*/ 138156 w 447236"/>
              <a:gd name="connsiteY418" fmla="*/ 332253 h 448122"/>
              <a:gd name="connsiteX419" fmla="*/ 147603 w 447236"/>
              <a:gd name="connsiteY419" fmla="*/ 320888 h 448122"/>
              <a:gd name="connsiteX420" fmla="*/ 157200 w 447236"/>
              <a:gd name="connsiteY420" fmla="*/ 320003 h 448122"/>
              <a:gd name="connsiteX421" fmla="*/ 160883 w 447236"/>
              <a:gd name="connsiteY421" fmla="*/ 320003 h 448122"/>
              <a:gd name="connsiteX422" fmla="*/ 162110 w 447236"/>
              <a:gd name="connsiteY422" fmla="*/ 321229 h 448122"/>
              <a:gd name="connsiteX423" fmla="*/ 162110 w 447236"/>
              <a:gd name="connsiteY423" fmla="*/ 351573 h 448122"/>
              <a:gd name="connsiteX424" fmla="*/ 164872 w 447236"/>
              <a:gd name="connsiteY424" fmla="*/ 356477 h 448122"/>
              <a:gd name="connsiteX425" fmla="*/ 164872 w 447236"/>
              <a:gd name="connsiteY425" fmla="*/ 444751 h 448122"/>
              <a:gd name="connsiteX426" fmla="*/ 161496 w 447236"/>
              <a:gd name="connsiteY426" fmla="*/ 448122 h 448122"/>
              <a:gd name="connsiteX427" fmla="*/ 133265 w 447236"/>
              <a:gd name="connsiteY427" fmla="*/ 448122 h 448122"/>
              <a:gd name="connsiteX428" fmla="*/ 129890 w 447236"/>
              <a:gd name="connsiteY428" fmla="*/ 444751 h 448122"/>
              <a:gd name="connsiteX429" fmla="*/ 129890 w 447236"/>
              <a:gd name="connsiteY429" fmla="*/ 357396 h 448122"/>
              <a:gd name="connsiteX430" fmla="*/ 136948 w 447236"/>
              <a:gd name="connsiteY430" fmla="*/ 350347 h 448122"/>
              <a:gd name="connsiteX431" fmla="*/ 155973 w 447236"/>
              <a:gd name="connsiteY431" fmla="*/ 350347 h 448122"/>
              <a:gd name="connsiteX432" fmla="*/ 155973 w 447236"/>
              <a:gd name="connsiteY432" fmla="*/ 321229 h 448122"/>
              <a:gd name="connsiteX433" fmla="*/ 157200 w 447236"/>
              <a:gd name="connsiteY433" fmla="*/ 320003 h 448122"/>
              <a:gd name="connsiteX434" fmla="*/ 295319 w 447236"/>
              <a:gd name="connsiteY434" fmla="*/ 317800 h 448122"/>
              <a:gd name="connsiteX435" fmla="*/ 304219 w 447236"/>
              <a:gd name="connsiteY435" fmla="*/ 320559 h 448122"/>
              <a:gd name="connsiteX436" fmla="*/ 304833 w 447236"/>
              <a:gd name="connsiteY436" fmla="*/ 321785 h 448122"/>
              <a:gd name="connsiteX437" fmla="*/ 303912 w 447236"/>
              <a:gd name="connsiteY437" fmla="*/ 323930 h 448122"/>
              <a:gd name="connsiteX438" fmla="*/ 302991 w 447236"/>
              <a:gd name="connsiteY438" fmla="*/ 324543 h 448122"/>
              <a:gd name="connsiteX439" fmla="*/ 302378 w 447236"/>
              <a:gd name="connsiteY439" fmla="*/ 324543 h 448122"/>
              <a:gd name="connsiteX440" fmla="*/ 298081 w 447236"/>
              <a:gd name="connsiteY440" fmla="*/ 338028 h 448122"/>
              <a:gd name="connsiteX441" fmla="*/ 299002 w 447236"/>
              <a:gd name="connsiteY441" fmla="*/ 338334 h 448122"/>
              <a:gd name="connsiteX442" fmla="*/ 300843 w 447236"/>
              <a:gd name="connsiteY442" fmla="*/ 341706 h 448122"/>
              <a:gd name="connsiteX443" fmla="*/ 299002 w 447236"/>
              <a:gd name="connsiteY443" fmla="*/ 347835 h 448122"/>
              <a:gd name="connsiteX444" fmla="*/ 303605 w 447236"/>
              <a:gd name="connsiteY444" fmla="*/ 350593 h 448122"/>
              <a:gd name="connsiteX445" fmla="*/ 299002 w 447236"/>
              <a:gd name="connsiteY445" fmla="*/ 425374 h 448122"/>
              <a:gd name="connsiteX446" fmla="*/ 307901 w 447236"/>
              <a:gd name="connsiteY446" fmla="*/ 440392 h 448122"/>
              <a:gd name="connsiteX447" fmla="*/ 312505 w 447236"/>
              <a:gd name="connsiteY447" fmla="*/ 440392 h 448122"/>
              <a:gd name="connsiteX448" fmla="*/ 314039 w 447236"/>
              <a:gd name="connsiteY448" fmla="*/ 441924 h 448122"/>
              <a:gd name="connsiteX449" fmla="*/ 314039 w 447236"/>
              <a:gd name="connsiteY449" fmla="*/ 444376 h 448122"/>
              <a:gd name="connsiteX450" fmla="*/ 312505 w 447236"/>
              <a:gd name="connsiteY450" fmla="*/ 445908 h 448122"/>
              <a:gd name="connsiteX451" fmla="*/ 243456 w 447236"/>
              <a:gd name="connsiteY451" fmla="*/ 445908 h 448122"/>
              <a:gd name="connsiteX452" fmla="*/ 241921 w 447236"/>
              <a:gd name="connsiteY452" fmla="*/ 444376 h 448122"/>
              <a:gd name="connsiteX453" fmla="*/ 241921 w 447236"/>
              <a:gd name="connsiteY453" fmla="*/ 441924 h 448122"/>
              <a:gd name="connsiteX454" fmla="*/ 243456 w 447236"/>
              <a:gd name="connsiteY454" fmla="*/ 440392 h 448122"/>
              <a:gd name="connsiteX455" fmla="*/ 280896 w 447236"/>
              <a:gd name="connsiteY455" fmla="*/ 440392 h 448122"/>
              <a:gd name="connsiteX456" fmla="*/ 280896 w 447236"/>
              <a:gd name="connsiteY456" fmla="*/ 432730 h 448122"/>
              <a:gd name="connsiteX457" fmla="*/ 273224 w 447236"/>
              <a:gd name="connsiteY457" fmla="*/ 429052 h 448122"/>
              <a:gd name="connsiteX458" fmla="*/ 273530 w 447236"/>
              <a:gd name="connsiteY458" fmla="*/ 428132 h 448122"/>
              <a:gd name="connsiteX459" fmla="*/ 270155 w 447236"/>
              <a:gd name="connsiteY459" fmla="*/ 427213 h 448122"/>
              <a:gd name="connsiteX460" fmla="*/ 262789 w 447236"/>
              <a:gd name="connsiteY460" fmla="*/ 427519 h 448122"/>
              <a:gd name="connsiteX461" fmla="*/ 253276 w 447236"/>
              <a:gd name="connsiteY461" fmla="*/ 421083 h 448122"/>
              <a:gd name="connsiteX462" fmla="*/ 262789 w 447236"/>
              <a:gd name="connsiteY462" fmla="*/ 418019 h 448122"/>
              <a:gd name="connsiteX463" fmla="*/ 271996 w 447236"/>
              <a:gd name="connsiteY463" fmla="*/ 424761 h 448122"/>
              <a:gd name="connsiteX464" fmla="*/ 271996 w 447236"/>
              <a:gd name="connsiteY464" fmla="*/ 425681 h 448122"/>
              <a:gd name="connsiteX465" fmla="*/ 274451 w 447236"/>
              <a:gd name="connsiteY465" fmla="*/ 426294 h 448122"/>
              <a:gd name="connsiteX466" fmla="*/ 282430 w 447236"/>
              <a:gd name="connsiteY466" fmla="*/ 408211 h 448122"/>
              <a:gd name="connsiteX467" fmla="*/ 251742 w 447236"/>
              <a:gd name="connsiteY467" fmla="*/ 400243 h 448122"/>
              <a:gd name="connsiteX468" fmla="*/ 250821 w 447236"/>
              <a:gd name="connsiteY468" fmla="*/ 398711 h 448122"/>
              <a:gd name="connsiteX469" fmla="*/ 251742 w 447236"/>
              <a:gd name="connsiteY469" fmla="*/ 395952 h 448122"/>
              <a:gd name="connsiteX470" fmla="*/ 252969 w 447236"/>
              <a:gd name="connsiteY470" fmla="*/ 395033 h 448122"/>
              <a:gd name="connsiteX471" fmla="*/ 291330 w 447236"/>
              <a:gd name="connsiteY471" fmla="*/ 405147 h 448122"/>
              <a:gd name="connsiteX472" fmla="*/ 292250 w 447236"/>
              <a:gd name="connsiteY472" fmla="*/ 406679 h 448122"/>
              <a:gd name="connsiteX473" fmla="*/ 291637 w 447236"/>
              <a:gd name="connsiteY473" fmla="*/ 408518 h 448122"/>
              <a:gd name="connsiteX474" fmla="*/ 294705 w 447236"/>
              <a:gd name="connsiteY474" fmla="*/ 408518 h 448122"/>
              <a:gd name="connsiteX475" fmla="*/ 307901 w 447236"/>
              <a:gd name="connsiteY475" fmla="*/ 388290 h 448122"/>
              <a:gd name="connsiteX476" fmla="*/ 288568 w 447236"/>
              <a:gd name="connsiteY476" fmla="*/ 380015 h 448122"/>
              <a:gd name="connsiteX477" fmla="*/ 285806 w 447236"/>
              <a:gd name="connsiteY477" fmla="*/ 389210 h 448122"/>
              <a:gd name="connsiteX478" fmla="*/ 282430 w 447236"/>
              <a:gd name="connsiteY478" fmla="*/ 391048 h 448122"/>
              <a:gd name="connsiteX479" fmla="*/ 281816 w 447236"/>
              <a:gd name="connsiteY479" fmla="*/ 390742 h 448122"/>
              <a:gd name="connsiteX480" fmla="*/ 280589 w 447236"/>
              <a:gd name="connsiteY480" fmla="*/ 394726 h 448122"/>
              <a:gd name="connsiteX481" fmla="*/ 278747 w 447236"/>
              <a:gd name="connsiteY481" fmla="*/ 395646 h 448122"/>
              <a:gd name="connsiteX482" fmla="*/ 273224 w 447236"/>
              <a:gd name="connsiteY482" fmla="*/ 393807 h 448122"/>
              <a:gd name="connsiteX483" fmla="*/ 272303 w 447236"/>
              <a:gd name="connsiteY483" fmla="*/ 391968 h 448122"/>
              <a:gd name="connsiteX484" fmla="*/ 273530 w 447236"/>
              <a:gd name="connsiteY484" fmla="*/ 387984 h 448122"/>
              <a:gd name="connsiteX485" fmla="*/ 272917 w 447236"/>
              <a:gd name="connsiteY485" fmla="*/ 387984 h 448122"/>
              <a:gd name="connsiteX486" fmla="*/ 271075 w 447236"/>
              <a:gd name="connsiteY486" fmla="*/ 384612 h 448122"/>
              <a:gd name="connsiteX487" fmla="*/ 286113 w 447236"/>
              <a:gd name="connsiteY487" fmla="*/ 337108 h 448122"/>
              <a:gd name="connsiteX488" fmla="*/ 289488 w 447236"/>
              <a:gd name="connsiteY488" fmla="*/ 335270 h 448122"/>
              <a:gd name="connsiteX489" fmla="*/ 290102 w 447236"/>
              <a:gd name="connsiteY489" fmla="*/ 335576 h 448122"/>
              <a:gd name="connsiteX490" fmla="*/ 294399 w 447236"/>
              <a:gd name="connsiteY490" fmla="*/ 321785 h 448122"/>
              <a:gd name="connsiteX491" fmla="*/ 293785 w 447236"/>
              <a:gd name="connsiteY491" fmla="*/ 321785 h 448122"/>
              <a:gd name="connsiteX492" fmla="*/ 293171 w 447236"/>
              <a:gd name="connsiteY492" fmla="*/ 320559 h 448122"/>
              <a:gd name="connsiteX493" fmla="*/ 294092 w 447236"/>
              <a:gd name="connsiteY493" fmla="*/ 318413 h 448122"/>
              <a:gd name="connsiteX494" fmla="*/ 295319 w 447236"/>
              <a:gd name="connsiteY494" fmla="*/ 317800 h 448122"/>
              <a:gd name="connsiteX495" fmla="*/ 187507 w 447236"/>
              <a:gd name="connsiteY495" fmla="*/ 316060 h 448122"/>
              <a:gd name="connsiteX496" fmla="*/ 182278 w 447236"/>
              <a:gd name="connsiteY496" fmla="*/ 318199 h 448122"/>
              <a:gd name="connsiteX497" fmla="*/ 180125 w 447236"/>
              <a:gd name="connsiteY497" fmla="*/ 323396 h 448122"/>
              <a:gd name="connsiteX498" fmla="*/ 182278 w 447236"/>
              <a:gd name="connsiteY498" fmla="*/ 328287 h 448122"/>
              <a:gd name="connsiteX499" fmla="*/ 191887 w 447236"/>
              <a:gd name="connsiteY499" fmla="*/ 337934 h 448122"/>
              <a:gd name="connsiteX500" fmla="*/ 199452 w 447236"/>
              <a:gd name="connsiteY500" fmla="*/ 330392 h 448122"/>
              <a:gd name="connsiteX501" fmla="*/ 202119 w 447236"/>
              <a:gd name="connsiteY501" fmla="*/ 327734 h 448122"/>
              <a:gd name="connsiteX502" fmla="*/ 196273 w 447236"/>
              <a:gd name="connsiteY502" fmla="*/ 321982 h 448122"/>
              <a:gd name="connsiteX503" fmla="*/ 192428 w 447236"/>
              <a:gd name="connsiteY503" fmla="*/ 318199 h 448122"/>
              <a:gd name="connsiteX504" fmla="*/ 187507 w 447236"/>
              <a:gd name="connsiteY504" fmla="*/ 316060 h 448122"/>
              <a:gd name="connsiteX505" fmla="*/ 143027 w 447236"/>
              <a:gd name="connsiteY505" fmla="*/ 315427 h 448122"/>
              <a:gd name="connsiteX506" fmla="*/ 132045 w 447236"/>
              <a:gd name="connsiteY506" fmla="*/ 332259 h 448122"/>
              <a:gd name="connsiteX507" fmla="*/ 143027 w 447236"/>
              <a:gd name="connsiteY507" fmla="*/ 348785 h 448122"/>
              <a:gd name="connsiteX508" fmla="*/ 129300 w 447236"/>
              <a:gd name="connsiteY508" fmla="*/ 332259 h 448122"/>
              <a:gd name="connsiteX509" fmla="*/ 143027 w 447236"/>
              <a:gd name="connsiteY509" fmla="*/ 315427 h 448122"/>
              <a:gd name="connsiteX510" fmla="*/ 187507 w 447236"/>
              <a:gd name="connsiteY510" fmla="*/ 314837 h 448122"/>
              <a:gd name="connsiteX511" fmla="*/ 193351 w 447236"/>
              <a:gd name="connsiteY511" fmla="*/ 317282 h 448122"/>
              <a:gd name="connsiteX512" fmla="*/ 203040 w 447236"/>
              <a:gd name="connsiteY512" fmla="*/ 326815 h 448122"/>
              <a:gd name="connsiteX513" fmla="*/ 208581 w 447236"/>
              <a:gd name="connsiteY513" fmla="*/ 321291 h 448122"/>
              <a:gd name="connsiteX514" fmla="*/ 212425 w 447236"/>
              <a:gd name="connsiteY514" fmla="*/ 317459 h 448122"/>
              <a:gd name="connsiteX515" fmla="*/ 223495 w 447236"/>
              <a:gd name="connsiteY515" fmla="*/ 317459 h 448122"/>
              <a:gd name="connsiteX516" fmla="*/ 223495 w 447236"/>
              <a:gd name="connsiteY516" fmla="*/ 328802 h 448122"/>
              <a:gd name="connsiteX517" fmla="*/ 214338 w 447236"/>
              <a:gd name="connsiteY517" fmla="*/ 337931 h 448122"/>
              <a:gd name="connsiteX518" fmla="*/ 220265 w 447236"/>
              <a:gd name="connsiteY518" fmla="*/ 343762 h 448122"/>
              <a:gd name="connsiteX519" fmla="*/ 224110 w 447236"/>
              <a:gd name="connsiteY519" fmla="*/ 347545 h 448122"/>
              <a:gd name="connsiteX520" fmla="*/ 226570 w 447236"/>
              <a:gd name="connsiteY520" fmla="*/ 353659 h 448122"/>
              <a:gd name="connsiteX521" fmla="*/ 224110 w 447236"/>
              <a:gd name="connsiteY521" fmla="*/ 359772 h 448122"/>
              <a:gd name="connsiteX522" fmla="*/ 217958 w 447236"/>
              <a:gd name="connsiteY522" fmla="*/ 362218 h 448122"/>
              <a:gd name="connsiteX523" fmla="*/ 211806 w 447236"/>
              <a:gd name="connsiteY523" fmla="*/ 359772 h 448122"/>
              <a:gd name="connsiteX524" fmla="*/ 202151 w 447236"/>
              <a:gd name="connsiteY524" fmla="*/ 350080 h 448122"/>
              <a:gd name="connsiteX525" fmla="*/ 196858 w 447236"/>
              <a:gd name="connsiteY525" fmla="*/ 355358 h 448122"/>
              <a:gd name="connsiteX526" fmla="*/ 193052 w 447236"/>
              <a:gd name="connsiteY526" fmla="*/ 359151 h 448122"/>
              <a:gd name="connsiteX527" fmla="*/ 181674 w 447236"/>
              <a:gd name="connsiteY527" fmla="*/ 359151 h 448122"/>
              <a:gd name="connsiteX528" fmla="*/ 181674 w 447236"/>
              <a:gd name="connsiteY528" fmla="*/ 348115 h 448122"/>
              <a:gd name="connsiteX529" fmla="*/ 190966 w 447236"/>
              <a:gd name="connsiteY529" fmla="*/ 338852 h 448122"/>
              <a:gd name="connsiteX530" fmla="*/ 185161 w 447236"/>
              <a:gd name="connsiteY530" fmla="*/ 333025 h 448122"/>
              <a:gd name="connsiteX531" fmla="*/ 181355 w 447236"/>
              <a:gd name="connsiteY531" fmla="*/ 329204 h 448122"/>
              <a:gd name="connsiteX532" fmla="*/ 178894 w 447236"/>
              <a:gd name="connsiteY532" fmla="*/ 323396 h 448122"/>
              <a:gd name="connsiteX533" fmla="*/ 181355 w 447236"/>
              <a:gd name="connsiteY533" fmla="*/ 317282 h 448122"/>
              <a:gd name="connsiteX534" fmla="*/ 187507 w 447236"/>
              <a:gd name="connsiteY534" fmla="*/ 314837 h 448122"/>
              <a:gd name="connsiteX535" fmla="*/ 199820 w 447236"/>
              <a:gd name="connsiteY535" fmla="*/ 314087 h 448122"/>
              <a:gd name="connsiteX536" fmla="*/ 199821 w 447236"/>
              <a:gd name="connsiteY536" fmla="*/ 314088 h 448122"/>
              <a:gd name="connsiteX537" fmla="*/ 200745 w 447236"/>
              <a:gd name="connsiteY537" fmla="*/ 314088 h 448122"/>
              <a:gd name="connsiteX538" fmla="*/ 201668 w 447236"/>
              <a:gd name="connsiteY538" fmla="*/ 314088 h 448122"/>
              <a:gd name="connsiteX539" fmla="*/ 201668 w 447236"/>
              <a:gd name="connsiteY539" fmla="*/ 314087 h 448122"/>
              <a:gd name="connsiteX540" fmla="*/ 200992 w 447236"/>
              <a:gd name="connsiteY540" fmla="*/ 313129 h 448122"/>
              <a:gd name="connsiteX541" fmla="*/ 201020 w 447236"/>
              <a:gd name="connsiteY541" fmla="*/ 313168 h 448122"/>
              <a:gd name="connsiteX542" fmla="*/ 201030 w 447236"/>
              <a:gd name="connsiteY542" fmla="*/ 313154 h 448122"/>
              <a:gd name="connsiteX543" fmla="*/ 174725 w 447236"/>
              <a:gd name="connsiteY543" fmla="*/ 312657 h 448122"/>
              <a:gd name="connsiteX544" fmla="*/ 170648 w 447236"/>
              <a:gd name="connsiteY544" fmla="*/ 314394 h 448122"/>
              <a:gd name="connsiteX545" fmla="*/ 167607 w 447236"/>
              <a:gd name="connsiteY545" fmla="*/ 313487 h 448122"/>
              <a:gd name="connsiteX546" fmla="*/ 167664 w 447236"/>
              <a:gd name="connsiteY546" fmla="*/ 313611 h 448122"/>
              <a:gd name="connsiteX547" fmla="*/ 170422 w 447236"/>
              <a:gd name="connsiteY547" fmla="*/ 314530 h 448122"/>
              <a:gd name="connsiteX548" fmla="*/ 170728 w 447236"/>
              <a:gd name="connsiteY548" fmla="*/ 314530 h 448122"/>
              <a:gd name="connsiteX549" fmla="*/ 174712 w 447236"/>
              <a:gd name="connsiteY549" fmla="*/ 312691 h 448122"/>
              <a:gd name="connsiteX550" fmla="*/ 429011 w 447236"/>
              <a:gd name="connsiteY550" fmla="*/ 310428 h 448122"/>
              <a:gd name="connsiteX551" fmla="*/ 431286 w 447236"/>
              <a:gd name="connsiteY551" fmla="*/ 315733 h 448122"/>
              <a:gd name="connsiteX552" fmla="*/ 436819 w 447236"/>
              <a:gd name="connsiteY552" fmla="*/ 318222 h 448122"/>
              <a:gd name="connsiteX553" fmla="*/ 445918 w 447236"/>
              <a:gd name="connsiteY553" fmla="*/ 310340 h 448122"/>
              <a:gd name="connsiteX554" fmla="*/ 437999 w 447236"/>
              <a:gd name="connsiteY554" fmla="*/ 318244 h 448122"/>
              <a:gd name="connsiteX555" fmla="*/ 443862 w 447236"/>
              <a:gd name="connsiteY555" fmla="*/ 315733 h 448122"/>
              <a:gd name="connsiteX556" fmla="*/ 196064 w 447236"/>
              <a:gd name="connsiteY556" fmla="*/ 304479 h 448122"/>
              <a:gd name="connsiteX557" fmla="*/ 195491 w 447236"/>
              <a:gd name="connsiteY557" fmla="*/ 305201 h 448122"/>
              <a:gd name="connsiteX558" fmla="*/ 195511 w 447236"/>
              <a:gd name="connsiteY558" fmla="*/ 305230 h 448122"/>
              <a:gd name="connsiteX559" fmla="*/ 195511 w 447236"/>
              <a:gd name="connsiteY559" fmla="*/ 305203 h 448122"/>
              <a:gd name="connsiteX560" fmla="*/ 130397 w 447236"/>
              <a:gd name="connsiteY560" fmla="*/ 303117 h 448122"/>
              <a:gd name="connsiteX561" fmla="*/ 125792 w 447236"/>
              <a:gd name="connsiteY561" fmla="*/ 307409 h 448122"/>
              <a:gd name="connsiteX562" fmla="*/ 130397 w 447236"/>
              <a:gd name="connsiteY562" fmla="*/ 312009 h 448122"/>
              <a:gd name="connsiteX563" fmla="*/ 135001 w 447236"/>
              <a:gd name="connsiteY563" fmla="*/ 307409 h 448122"/>
              <a:gd name="connsiteX564" fmla="*/ 130397 w 447236"/>
              <a:gd name="connsiteY564" fmla="*/ 303117 h 448122"/>
              <a:gd name="connsiteX565" fmla="*/ 63789 w 447236"/>
              <a:gd name="connsiteY565" fmla="*/ 303117 h 448122"/>
              <a:gd name="connsiteX566" fmla="*/ 59185 w 447236"/>
              <a:gd name="connsiteY566" fmla="*/ 307409 h 448122"/>
              <a:gd name="connsiteX567" fmla="*/ 63789 w 447236"/>
              <a:gd name="connsiteY567" fmla="*/ 312009 h 448122"/>
              <a:gd name="connsiteX568" fmla="*/ 68086 w 447236"/>
              <a:gd name="connsiteY568" fmla="*/ 307409 h 448122"/>
              <a:gd name="connsiteX569" fmla="*/ 63789 w 447236"/>
              <a:gd name="connsiteY569" fmla="*/ 303117 h 448122"/>
              <a:gd name="connsiteX570" fmla="*/ 178187 w 447236"/>
              <a:gd name="connsiteY570" fmla="*/ 302387 h 448122"/>
              <a:gd name="connsiteX571" fmla="*/ 178036 w 447236"/>
              <a:gd name="connsiteY571" fmla="*/ 302459 h 448122"/>
              <a:gd name="connsiteX572" fmla="*/ 178036 w 447236"/>
              <a:gd name="connsiteY572" fmla="*/ 303989 h 448122"/>
              <a:gd name="connsiteX573" fmla="*/ 177034 w 447236"/>
              <a:gd name="connsiteY573" fmla="*/ 306777 h 448122"/>
              <a:gd name="connsiteX574" fmla="*/ 178082 w 447236"/>
              <a:gd name="connsiteY574" fmla="*/ 304109 h 448122"/>
              <a:gd name="connsiteX575" fmla="*/ 178082 w 447236"/>
              <a:gd name="connsiteY575" fmla="*/ 302576 h 448122"/>
              <a:gd name="connsiteX576" fmla="*/ 171035 w 447236"/>
              <a:gd name="connsiteY576" fmla="*/ 298898 h 448122"/>
              <a:gd name="connsiteX577" fmla="*/ 170360 w 447236"/>
              <a:gd name="connsiteY577" fmla="*/ 299262 h 448122"/>
              <a:gd name="connsiteX578" fmla="*/ 165383 w 447236"/>
              <a:gd name="connsiteY578" fmla="*/ 305771 h 448122"/>
              <a:gd name="connsiteX579" fmla="*/ 165212 w 447236"/>
              <a:gd name="connsiteY579" fmla="*/ 306254 h 448122"/>
              <a:gd name="connsiteX580" fmla="*/ 165326 w 447236"/>
              <a:gd name="connsiteY580" fmla="*/ 305845 h 448122"/>
              <a:gd name="connsiteX581" fmla="*/ 165107 w 447236"/>
              <a:gd name="connsiteY581" fmla="*/ 306131 h 448122"/>
              <a:gd name="connsiteX582" fmla="*/ 165216 w 447236"/>
              <a:gd name="connsiteY582" fmla="*/ 306268 h 448122"/>
              <a:gd name="connsiteX583" fmla="*/ 165212 w 447236"/>
              <a:gd name="connsiteY583" fmla="*/ 306254 h 448122"/>
              <a:gd name="connsiteX584" fmla="*/ 165219 w 447236"/>
              <a:gd name="connsiteY584" fmla="*/ 306271 h 448122"/>
              <a:gd name="connsiteX585" fmla="*/ 170658 w 447236"/>
              <a:gd name="connsiteY585" fmla="*/ 313102 h 448122"/>
              <a:gd name="connsiteX586" fmla="*/ 171035 w 447236"/>
              <a:gd name="connsiteY586" fmla="*/ 313304 h 448122"/>
              <a:gd name="connsiteX587" fmla="*/ 171126 w 447236"/>
              <a:gd name="connsiteY587" fmla="*/ 313251 h 448122"/>
              <a:gd name="connsiteX588" fmla="*/ 176497 w 447236"/>
              <a:gd name="connsiteY588" fmla="*/ 306131 h 448122"/>
              <a:gd name="connsiteX589" fmla="*/ 171422 w 447236"/>
              <a:gd name="connsiteY589" fmla="*/ 299124 h 448122"/>
              <a:gd name="connsiteX590" fmla="*/ 170956 w 447236"/>
              <a:gd name="connsiteY590" fmla="*/ 298481 h 448122"/>
              <a:gd name="connsiteX591" fmla="*/ 171021 w 447236"/>
              <a:gd name="connsiteY591" fmla="*/ 298571 h 448122"/>
              <a:gd name="connsiteX592" fmla="*/ 170865 w 447236"/>
              <a:gd name="connsiteY592" fmla="*/ 298600 h 448122"/>
              <a:gd name="connsiteX593" fmla="*/ 170728 w 447236"/>
              <a:gd name="connsiteY593" fmla="*/ 298285 h 448122"/>
              <a:gd name="connsiteX594" fmla="*/ 167848 w 447236"/>
              <a:gd name="connsiteY594" fmla="*/ 299171 h 448122"/>
              <a:gd name="connsiteX595" fmla="*/ 170865 w 447236"/>
              <a:gd name="connsiteY595" fmla="*/ 298600 h 448122"/>
              <a:gd name="connsiteX596" fmla="*/ 170771 w 447236"/>
              <a:gd name="connsiteY596" fmla="*/ 298723 h 448122"/>
              <a:gd name="connsiteX597" fmla="*/ 171035 w 447236"/>
              <a:gd name="connsiteY597" fmla="*/ 298591 h 448122"/>
              <a:gd name="connsiteX598" fmla="*/ 171037 w 447236"/>
              <a:gd name="connsiteY598" fmla="*/ 298593 h 448122"/>
              <a:gd name="connsiteX599" fmla="*/ 171021 w 447236"/>
              <a:gd name="connsiteY599" fmla="*/ 298571 h 448122"/>
              <a:gd name="connsiteX600" fmla="*/ 172530 w 447236"/>
              <a:gd name="connsiteY600" fmla="*/ 298285 h 448122"/>
              <a:gd name="connsiteX601" fmla="*/ 201344 w 447236"/>
              <a:gd name="connsiteY601" fmla="*/ 297872 h 448122"/>
              <a:gd name="connsiteX602" fmla="*/ 195819 w 447236"/>
              <a:gd name="connsiteY602" fmla="*/ 305203 h 448122"/>
              <a:gd name="connsiteX603" fmla="*/ 195819 w 447236"/>
              <a:gd name="connsiteY603" fmla="*/ 305509 h 448122"/>
              <a:gd name="connsiteX604" fmla="*/ 195903 w 447236"/>
              <a:gd name="connsiteY604" fmla="*/ 305796 h 448122"/>
              <a:gd name="connsiteX605" fmla="*/ 200260 w 447236"/>
              <a:gd name="connsiteY605" fmla="*/ 312074 h 448122"/>
              <a:gd name="connsiteX606" fmla="*/ 201036 w 447236"/>
              <a:gd name="connsiteY606" fmla="*/ 313145 h 448122"/>
              <a:gd name="connsiteX607" fmla="*/ 206549 w 447236"/>
              <a:gd name="connsiteY607" fmla="*/ 305201 h 448122"/>
              <a:gd name="connsiteX608" fmla="*/ 187199 w 447236"/>
              <a:gd name="connsiteY608" fmla="*/ 297544 h 448122"/>
              <a:gd name="connsiteX609" fmla="*/ 186903 w 447236"/>
              <a:gd name="connsiteY609" fmla="*/ 297838 h 448122"/>
              <a:gd name="connsiteX610" fmla="*/ 187345 w 447236"/>
              <a:gd name="connsiteY610" fmla="*/ 297544 h 448122"/>
              <a:gd name="connsiteX611" fmla="*/ 201360 w 447236"/>
              <a:gd name="connsiteY611" fmla="*/ 296625 h 448122"/>
              <a:gd name="connsiteX612" fmla="*/ 196797 w 447236"/>
              <a:gd name="connsiteY612" fmla="*/ 297693 h 448122"/>
              <a:gd name="connsiteX613" fmla="*/ 201617 w 447236"/>
              <a:gd name="connsiteY613" fmla="*/ 296625 h 448122"/>
              <a:gd name="connsiteX614" fmla="*/ 180534 w 447236"/>
              <a:gd name="connsiteY614" fmla="*/ 294020 h 448122"/>
              <a:gd name="connsiteX615" fmla="*/ 180498 w 447236"/>
              <a:gd name="connsiteY615" fmla="*/ 294197 h 448122"/>
              <a:gd name="connsiteX616" fmla="*/ 180190 w 447236"/>
              <a:gd name="connsiteY616" fmla="*/ 295727 h 448122"/>
              <a:gd name="connsiteX617" fmla="*/ 180236 w 447236"/>
              <a:gd name="connsiteY617" fmla="*/ 295788 h 448122"/>
              <a:gd name="connsiteX618" fmla="*/ 180534 w 447236"/>
              <a:gd name="connsiteY618" fmla="*/ 294300 h 448122"/>
              <a:gd name="connsiteX619" fmla="*/ 104306 w 447236"/>
              <a:gd name="connsiteY619" fmla="*/ 292692 h 448122"/>
              <a:gd name="connsiteX620" fmla="*/ 104613 w 447236"/>
              <a:gd name="connsiteY620" fmla="*/ 292692 h 448122"/>
              <a:gd name="connsiteX621" fmla="*/ 105227 w 447236"/>
              <a:gd name="connsiteY621" fmla="*/ 292692 h 448122"/>
              <a:gd name="connsiteX622" fmla="*/ 105534 w 447236"/>
              <a:gd name="connsiteY622" fmla="*/ 292692 h 448122"/>
              <a:gd name="connsiteX623" fmla="*/ 105534 w 447236"/>
              <a:gd name="connsiteY623" fmla="*/ 292999 h 448122"/>
              <a:gd name="connsiteX624" fmla="*/ 105534 w 447236"/>
              <a:gd name="connsiteY624" fmla="*/ 293305 h 448122"/>
              <a:gd name="connsiteX625" fmla="*/ 105227 w 447236"/>
              <a:gd name="connsiteY625" fmla="*/ 293612 h 448122"/>
              <a:gd name="connsiteX626" fmla="*/ 104920 w 447236"/>
              <a:gd name="connsiteY626" fmla="*/ 293612 h 448122"/>
              <a:gd name="connsiteX627" fmla="*/ 104306 w 447236"/>
              <a:gd name="connsiteY627" fmla="*/ 293612 h 448122"/>
              <a:gd name="connsiteX628" fmla="*/ 104306 w 447236"/>
              <a:gd name="connsiteY628" fmla="*/ 293305 h 448122"/>
              <a:gd name="connsiteX629" fmla="*/ 104306 w 447236"/>
              <a:gd name="connsiteY629" fmla="*/ 292999 h 448122"/>
              <a:gd name="connsiteX630" fmla="*/ 104306 w 447236"/>
              <a:gd name="connsiteY630" fmla="*/ 292692 h 448122"/>
              <a:gd name="connsiteX631" fmla="*/ 117812 w 447236"/>
              <a:gd name="connsiteY631" fmla="*/ 291159 h 448122"/>
              <a:gd name="connsiteX632" fmla="*/ 117812 w 447236"/>
              <a:gd name="connsiteY632" fmla="*/ 291772 h 448122"/>
              <a:gd name="connsiteX633" fmla="*/ 117812 w 447236"/>
              <a:gd name="connsiteY633" fmla="*/ 292692 h 448122"/>
              <a:gd name="connsiteX634" fmla="*/ 117198 w 447236"/>
              <a:gd name="connsiteY634" fmla="*/ 292692 h 448122"/>
              <a:gd name="connsiteX635" fmla="*/ 117505 w 447236"/>
              <a:gd name="connsiteY635" fmla="*/ 291772 h 448122"/>
              <a:gd name="connsiteX636" fmla="*/ 117812 w 447236"/>
              <a:gd name="connsiteY636" fmla="*/ 291159 h 448122"/>
              <a:gd name="connsiteX637" fmla="*/ 95098 w 447236"/>
              <a:gd name="connsiteY637" fmla="*/ 291159 h 448122"/>
              <a:gd name="connsiteX638" fmla="*/ 95405 w 447236"/>
              <a:gd name="connsiteY638" fmla="*/ 291159 h 448122"/>
              <a:gd name="connsiteX639" fmla="*/ 95405 w 447236"/>
              <a:gd name="connsiteY639" fmla="*/ 291772 h 448122"/>
              <a:gd name="connsiteX640" fmla="*/ 95405 w 447236"/>
              <a:gd name="connsiteY640" fmla="*/ 292692 h 448122"/>
              <a:gd name="connsiteX641" fmla="*/ 95098 w 447236"/>
              <a:gd name="connsiteY641" fmla="*/ 292692 h 448122"/>
              <a:gd name="connsiteX642" fmla="*/ 94791 w 447236"/>
              <a:gd name="connsiteY642" fmla="*/ 292692 h 448122"/>
              <a:gd name="connsiteX643" fmla="*/ 94484 w 447236"/>
              <a:gd name="connsiteY643" fmla="*/ 292692 h 448122"/>
              <a:gd name="connsiteX644" fmla="*/ 94791 w 447236"/>
              <a:gd name="connsiteY644" fmla="*/ 291772 h 448122"/>
              <a:gd name="connsiteX645" fmla="*/ 95098 w 447236"/>
              <a:gd name="connsiteY645" fmla="*/ 291159 h 448122"/>
              <a:gd name="connsiteX646" fmla="*/ 104613 w 447236"/>
              <a:gd name="connsiteY646" fmla="*/ 290546 h 448122"/>
              <a:gd name="connsiteX647" fmla="*/ 104920 w 447236"/>
              <a:gd name="connsiteY647" fmla="*/ 290546 h 448122"/>
              <a:gd name="connsiteX648" fmla="*/ 105534 w 447236"/>
              <a:gd name="connsiteY648" fmla="*/ 290546 h 448122"/>
              <a:gd name="connsiteX649" fmla="*/ 105841 w 447236"/>
              <a:gd name="connsiteY649" fmla="*/ 290852 h 448122"/>
              <a:gd name="connsiteX650" fmla="*/ 105841 w 447236"/>
              <a:gd name="connsiteY650" fmla="*/ 291466 h 448122"/>
              <a:gd name="connsiteX651" fmla="*/ 105227 w 447236"/>
              <a:gd name="connsiteY651" fmla="*/ 291466 h 448122"/>
              <a:gd name="connsiteX652" fmla="*/ 104613 w 447236"/>
              <a:gd name="connsiteY652" fmla="*/ 291466 h 448122"/>
              <a:gd name="connsiteX653" fmla="*/ 104613 w 447236"/>
              <a:gd name="connsiteY653" fmla="*/ 291159 h 448122"/>
              <a:gd name="connsiteX654" fmla="*/ 104613 w 447236"/>
              <a:gd name="connsiteY654" fmla="*/ 290852 h 448122"/>
              <a:gd name="connsiteX655" fmla="*/ 104613 w 447236"/>
              <a:gd name="connsiteY655" fmla="*/ 290546 h 448122"/>
              <a:gd name="connsiteX656" fmla="*/ 129476 w 447236"/>
              <a:gd name="connsiteY656" fmla="*/ 289626 h 448122"/>
              <a:gd name="connsiteX657" fmla="*/ 129476 w 447236"/>
              <a:gd name="connsiteY657" fmla="*/ 289932 h 448122"/>
              <a:gd name="connsiteX658" fmla="*/ 128555 w 447236"/>
              <a:gd name="connsiteY658" fmla="*/ 294532 h 448122"/>
              <a:gd name="connsiteX659" fmla="*/ 128862 w 447236"/>
              <a:gd name="connsiteY659" fmla="*/ 294532 h 448122"/>
              <a:gd name="connsiteX660" fmla="*/ 131624 w 447236"/>
              <a:gd name="connsiteY660" fmla="*/ 294532 h 448122"/>
              <a:gd name="connsiteX661" fmla="*/ 131931 w 447236"/>
              <a:gd name="connsiteY661" fmla="*/ 294532 h 448122"/>
              <a:gd name="connsiteX662" fmla="*/ 131931 w 447236"/>
              <a:gd name="connsiteY662" fmla="*/ 293918 h 448122"/>
              <a:gd name="connsiteX663" fmla="*/ 131931 w 447236"/>
              <a:gd name="connsiteY663" fmla="*/ 293612 h 448122"/>
              <a:gd name="connsiteX664" fmla="*/ 130090 w 447236"/>
              <a:gd name="connsiteY664" fmla="*/ 293612 h 448122"/>
              <a:gd name="connsiteX665" fmla="*/ 129783 w 447236"/>
              <a:gd name="connsiteY665" fmla="*/ 293612 h 448122"/>
              <a:gd name="connsiteX666" fmla="*/ 129783 w 447236"/>
              <a:gd name="connsiteY666" fmla="*/ 293305 h 448122"/>
              <a:gd name="connsiteX667" fmla="*/ 130090 w 447236"/>
              <a:gd name="connsiteY667" fmla="*/ 292692 h 448122"/>
              <a:gd name="connsiteX668" fmla="*/ 131624 w 447236"/>
              <a:gd name="connsiteY668" fmla="*/ 292692 h 448122"/>
              <a:gd name="connsiteX669" fmla="*/ 131931 w 447236"/>
              <a:gd name="connsiteY669" fmla="*/ 292385 h 448122"/>
              <a:gd name="connsiteX670" fmla="*/ 131931 w 447236"/>
              <a:gd name="connsiteY670" fmla="*/ 291772 h 448122"/>
              <a:gd name="connsiteX671" fmla="*/ 131624 w 447236"/>
              <a:gd name="connsiteY671" fmla="*/ 291466 h 448122"/>
              <a:gd name="connsiteX672" fmla="*/ 130397 w 447236"/>
              <a:gd name="connsiteY672" fmla="*/ 291466 h 448122"/>
              <a:gd name="connsiteX673" fmla="*/ 130397 w 447236"/>
              <a:gd name="connsiteY673" fmla="*/ 291159 h 448122"/>
              <a:gd name="connsiteX674" fmla="*/ 130397 w 447236"/>
              <a:gd name="connsiteY674" fmla="*/ 290852 h 448122"/>
              <a:gd name="connsiteX675" fmla="*/ 130397 w 447236"/>
              <a:gd name="connsiteY675" fmla="*/ 290546 h 448122"/>
              <a:gd name="connsiteX676" fmla="*/ 130703 w 447236"/>
              <a:gd name="connsiteY676" fmla="*/ 290546 h 448122"/>
              <a:gd name="connsiteX677" fmla="*/ 132238 w 447236"/>
              <a:gd name="connsiteY677" fmla="*/ 290546 h 448122"/>
              <a:gd name="connsiteX678" fmla="*/ 132545 w 447236"/>
              <a:gd name="connsiteY678" fmla="*/ 290546 h 448122"/>
              <a:gd name="connsiteX679" fmla="*/ 132545 w 447236"/>
              <a:gd name="connsiteY679" fmla="*/ 289932 h 448122"/>
              <a:gd name="connsiteX680" fmla="*/ 132238 w 447236"/>
              <a:gd name="connsiteY680" fmla="*/ 289626 h 448122"/>
              <a:gd name="connsiteX681" fmla="*/ 129783 w 447236"/>
              <a:gd name="connsiteY681" fmla="*/ 289626 h 448122"/>
              <a:gd name="connsiteX682" fmla="*/ 129476 w 447236"/>
              <a:gd name="connsiteY682" fmla="*/ 289626 h 448122"/>
              <a:gd name="connsiteX683" fmla="*/ 126099 w 447236"/>
              <a:gd name="connsiteY683" fmla="*/ 289626 h 448122"/>
              <a:gd name="connsiteX684" fmla="*/ 125485 w 447236"/>
              <a:gd name="connsiteY684" fmla="*/ 289932 h 448122"/>
              <a:gd name="connsiteX685" fmla="*/ 125178 w 447236"/>
              <a:gd name="connsiteY685" fmla="*/ 290546 h 448122"/>
              <a:gd name="connsiteX686" fmla="*/ 125178 w 447236"/>
              <a:gd name="connsiteY686" fmla="*/ 291159 h 448122"/>
              <a:gd name="connsiteX687" fmla="*/ 124565 w 447236"/>
              <a:gd name="connsiteY687" fmla="*/ 292999 h 448122"/>
              <a:gd name="connsiteX688" fmla="*/ 124565 w 447236"/>
              <a:gd name="connsiteY688" fmla="*/ 293612 h 448122"/>
              <a:gd name="connsiteX689" fmla="*/ 124872 w 447236"/>
              <a:gd name="connsiteY689" fmla="*/ 294225 h 448122"/>
              <a:gd name="connsiteX690" fmla="*/ 125485 w 447236"/>
              <a:gd name="connsiteY690" fmla="*/ 294532 h 448122"/>
              <a:gd name="connsiteX691" fmla="*/ 126099 w 447236"/>
              <a:gd name="connsiteY691" fmla="*/ 294532 h 448122"/>
              <a:gd name="connsiteX692" fmla="*/ 127020 w 447236"/>
              <a:gd name="connsiteY692" fmla="*/ 294532 h 448122"/>
              <a:gd name="connsiteX693" fmla="*/ 127941 w 447236"/>
              <a:gd name="connsiteY693" fmla="*/ 294225 h 448122"/>
              <a:gd name="connsiteX694" fmla="*/ 127941 w 447236"/>
              <a:gd name="connsiteY694" fmla="*/ 293918 h 448122"/>
              <a:gd name="connsiteX695" fmla="*/ 127327 w 447236"/>
              <a:gd name="connsiteY695" fmla="*/ 293305 h 448122"/>
              <a:gd name="connsiteX696" fmla="*/ 127020 w 447236"/>
              <a:gd name="connsiteY696" fmla="*/ 293305 h 448122"/>
              <a:gd name="connsiteX697" fmla="*/ 126713 w 447236"/>
              <a:gd name="connsiteY697" fmla="*/ 293612 h 448122"/>
              <a:gd name="connsiteX698" fmla="*/ 126406 w 447236"/>
              <a:gd name="connsiteY698" fmla="*/ 293612 h 448122"/>
              <a:gd name="connsiteX699" fmla="*/ 126099 w 447236"/>
              <a:gd name="connsiteY699" fmla="*/ 293612 h 448122"/>
              <a:gd name="connsiteX700" fmla="*/ 125792 w 447236"/>
              <a:gd name="connsiteY700" fmla="*/ 293305 h 448122"/>
              <a:gd name="connsiteX701" fmla="*/ 125792 w 447236"/>
              <a:gd name="connsiteY701" fmla="*/ 292999 h 448122"/>
              <a:gd name="connsiteX702" fmla="*/ 126099 w 447236"/>
              <a:gd name="connsiteY702" fmla="*/ 291159 h 448122"/>
              <a:gd name="connsiteX703" fmla="*/ 126406 w 447236"/>
              <a:gd name="connsiteY703" fmla="*/ 290852 h 448122"/>
              <a:gd name="connsiteX704" fmla="*/ 126406 w 447236"/>
              <a:gd name="connsiteY704" fmla="*/ 290546 h 448122"/>
              <a:gd name="connsiteX705" fmla="*/ 126713 w 447236"/>
              <a:gd name="connsiteY705" fmla="*/ 290546 h 448122"/>
              <a:gd name="connsiteX706" fmla="*/ 127020 w 447236"/>
              <a:gd name="connsiteY706" fmla="*/ 290546 h 448122"/>
              <a:gd name="connsiteX707" fmla="*/ 127634 w 447236"/>
              <a:gd name="connsiteY707" fmla="*/ 290852 h 448122"/>
              <a:gd name="connsiteX708" fmla="*/ 127941 w 447236"/>
              <a:gd name="connsiteY708" fmla="*/ 290852 h 448122"/>
              <a:gd name="connsiteX709" fmla="*/ 128248 w 447236"/>
              <a:gd name="connsiteY709" fmla="*/ 290546 h 448122"/>
              <a:gd name="connsiteX710" fmla="*/ 128248 w 447236"/>
              <a:gd name="connsiteY710" fmla="*/ 290239 h 448122"/>
              <a:gd name="connsiteX711" fmla="*/ 127634 w 447236"/>
              <a:gd name="connsiteY711" fmla="*/ 289626 h 448122"/>
              <a:gd name="connsiteX712" fmla="*/ 127020 w 447236"/>
              <a:gd name="connsiteY712" fmla="*/ 289626 h 448122"/>
              <a:gd name="connsiteX713" fmla="*/ 126099 w 447236"/>
              <a:gd name="connsiteY713" fmla="*/ 289626 h 448122"/>
              <a:gd name="connsiteX714" fmla="*/ 120881 w 447236"/>
              <a:gd name="connsiteY714" fmla="*/ 289626 h 448122"/>
              <a:gd name="connsiteX715" fmla="*/ 120574 w 447236"/>
              <a:gd name="connsiteY715" fmla="*/ 289932 h 448122"/>
              <a:gd name="connsiteX716" fmla="*/ 119653 w 447236"/>
              <a:gd name="connsiteY716" fmla="*/ 294532 h 448122"/>
              <a:gd name="connsiteX717" fmla="*/ 119960 w 447236"/>
              <a:gd name="connsiteY717" fmla="*/ 294532 h 448122"/>
              <a:gd name="connsiteX718" fmla="*/ 120574 w 447236"/>
              <a:gd name="connsiteY718" fmla="*/ 294532 h 448122"/>
              <a:gd name="connsiteX719" fmla="*/ 120881 w 447236"/>
              <a:gd name="connsiteY719" fmla="*/ 294532 h 448122"/>
              <a:gd name="connsiteX720" fmla="*/ 121495 w 447236"/>
              <a:gd name="connsiteY720" fmla="*/ 292079 h 448122"/>
              <a:gd name="connsiteX721" fmla="*/ 122416 w 447236"/>
              <a:gd name="connsiteY721" fmla="*/ 294532 h 448122"/>
              <a:gd name="connsiteX722" fmla="*/ 122723 w 447236"/>
              <a:gd name="connsiteY722" fmla="*/ 294532 h 448122"/>
              <a:gd name="connsiteX723" fmla="*/ 123337 w 447236"/>
              <a:gd name="connsiteY723" fmla="*/ 294532 h 448122"/>
              <a:gd name="connsiteX724" fmla="*/ 124258 w 447236"/>
              <a:gd name="connsiteY724" fmla="*/ 289932 h 448122"/>
              <a:gd name="connsiteX725" fmla="*/ 124258 w 447236"/>
              <a:gd name="connsiteY725" fmla="*/ 289626 h 448122"/>
              <a:gd name="connsiteX726" fmla="*/ 123337 w 447236"/>
              <a:gd name="connsiteY726" fmla="*/ 289626 h 448122"/>
              <a:gd name="connsiteX727" fmla="*/ 123337 w 447236"/>
              <a:gd name="connsiteY727" fmla="*/ 289932 h 448122"/>
              <a:gd name="connsiteX728" fmla="*/ 122723 w 447236"/>
              <a:gd name="connsiteY728" fmla="*/ 292385 h 448122"/>
              <a:gd name="connsiteX729" fmla="*/ 121802 w 447236"/>
              <a:gd name="connsiteY729" fmla="*/ 289932 h 448122"/>
              <a:gd name="connsiteX730" fmla="*/ 121495 w 447236"/>
              <a:gd name="connsiteY730" fmla="*/ 289626 h 448122"/>
              <a:gd name="connsiteX731" fmla="*/ 120881 w 447236"/>
              <a:gd name="connsiteY731" fmla="*/ 289626 h 448122"/>
              <a:gd name="connsiteX732" fmla="*/ 117198 w 447236"/>
              <a:gd name="connsiteY732" fmla="*/ 289626 h 448122"/>
              <a:gd name="connsiteX733" fmla="*/ 115356 w 447236"/>
              <a:gd name="connsiteY733" fmla="*/ 294532 h 448122"/>
              <a:gd name="connsiteX734" fmla="*/ 116277 w 447236"/>
              <a:gd name="connsiteY734" fmla="*/ 294532 h 448122"/>
              <a:gd name="connsiteX735" fmla="*/ 116584 w 447236"/>
              <a:gd name="connsiteY735" fmla="*/ 294532 h 448122"/>
              <a:gd name="connsiteX736" fmla="*/ 116584 w 447236"/>
              <a:gd name="connsiteY736" fmla="*/ 293918 h 448122"/>
              <a:gd name="connsiteX737" fmla="*/ 116891 w 447236"/>
              <a:gd name="connsiteY737" fmla="*/ 293612 h 448122"/>
              <a:gd name="connsiteX738" fmla="*/ 117812 w 447236"/>
              <a:gd name="connsiteY738" fmla="*/ 293612 h 448122"/>
              <a:gd name="connsiteX739" fmla="*/ 118119 w 447236"/>
              <a:gd name="connsiteY739" fmla="*/ 293918 h 448122"/>
              <a:gd name="connsiteX740" fmla="*/ 118119 w 447236"/>
              <a:gd name="connsiteY740" fmla="*/ 294532 h 448122"/>
              <a:gd name="connsiteX741" fmla="*/ 119040 w 447236"/>
              <a:gd name="connsiteY741" fmla="*/ 294532 h 448122"/>
              <a:gd name="connsiteX742" fmla="*/ 119040 w 447236"/>
              <a:gd name="connsiteY742" fmla="*/ 289626 h 448122"/>
              <a:gd name="connsiteX743" fmla="*/ 118733 w 447236"/>
              <a:gd name="connsiteY743" fmla="*/ 289626 h 448122"/>
              <a:gd name="connsiteX744" fmla="*/ 117505 w 447236"/>
              <a:gd name="connsiteY744" fmla="*/ 289626 h 448122"/>
              <a:gd name="connsiteX745" fmla="*/ 117198 w 447236"/>
              <a:gd name="connsiteY745" fmla="*/ 289626 h 448122"/>
              <a:gd name="connsiteX746" fmla="*/ 112901 w 447236"/>
              <a:gd name="connsiteY746" fmla="*/ 289626 h 448122"/>
              <a:gd name="connsiteX747" fmla="*/ 112901 w 447236"/>
              <a:gd name="connsiteY747" fmla="*/ 289932 h 448122"/>
              <a:gd name="connsiteX748" fmla="*/ 111980 w 447236"/>
              <a:gd name="connsiteY748" fmla="*/ 294532 h 448122"/>
              <a:gd name="connsiteX749" fmla="*/ 114742 w 447236"/>
              <a:gd name="connsiteY749" fmla="*/ 294532 h 448122"/>
              <a:gd name="connsiteX750" fmla="*/ 115049 w 447236"/>
              <a:gd name="connsiteY750" fmla="*/ 294532 h 448122"/>
              <a:gd name="connsiteX751" fmla="*/ 115356 w 447236"/>
              <a:gd name="connsiteY751" fmla="*/ 293918 h 448122"/>
              <a:gd name="connsiteX752" fmla="*/ 115049 w 447236"/>
              <a:gd name="connsiteY752" fmla="*/ 293612 h 448122"/>
              <a:gd name="connsiteX753" fmla="*/ 113515 w 447236"/>
              <a:gd name="connsiteY753" fmla="*/ 293612 h 448122"/>
              <a:gd name="connsiteX754" fmla="*/ 113208 w 447236"/>
              <a:gd name="connsiteY754" fmla="*/ 293612 h 448122"/>
              <a:gd name="connsiteX755" fmla="*/ 113208 w 447236"/>
              <a:gd name="connsiteY755" fmla="*/ 293305 h 448122"/>
              <a:gd name="connsiteX756" fmla="*/ 113821 w 447236"/>
              <a:gd name="connsiteY756" fmla="*/ 289932 h 448122"/>
              <a:gd name="connsiteX757" fmla="*/ 113821 w 447236"/>
              <a:gd name="connsiteY757" fmla="*/ 289626 h 448122"/>
              <a:gd name="connsiteX758" fmla="*/ 112901 w 447236"/>
              <a:gd name="connsiteY758" fmla="*/ 289626 h 448122"/>
              <a:gd name="connsiteX759" fmla="*/ 108296 w 447236"/>
              <a:gd name="connsiteY759" fmla="*/ 289626 h 448122"/>
              <a:gd name="connsiteX760" fmla="*/ 108296 w 447236"/>
              <a:gd name="connsiteY760" fmla="*/ 289932 h 448122"/>
              <a:gd name="connsiteX761" fmla="*/ 107683 w 447236"/>
              <a:gd name="connsiteY761" fmla="*/ 292999 h 448122"/>
              <a:gd name="connsiteX762" fmla="*/ 107683 w 447236"/>
              <a:gd name="connsiteY762" fmla="*/ 293612 h 448122"/>
              <a:gd name="connsiteX763" fmla="*/ 107989 w 447236"/>
              <a:gd name="connsiteY763" fmla="*/ 294225 h 448122"/>
              <a:gd name="connsiteX764" fmla="*/ 108296 w 447236"/>
              <a:gd name="connsiteY764" fmla="*/ 294532 h 448122"/>
              <a:gd name="connsiteX765" fmla="*/ 109217 w 447236"/>
              <a:gd name="connsiteY765" fmla="*/ 294532 h 448122"/>
              <a:gd name="connsiteX766" fmla="*/ 110138 w 447236"/>
              <a:gd name="connsiteY766" fmla="*/ 294532 h 448122"/>
              <a:gd name="connsiteX767" fmla="*/ 110445 w 447236"/>
              <a:gd name="connsiteY767" fmla="*/ 294225 h 448122"/>
              <a:gd name="connsiteX768" fmla="*/ 111059 w 447236"/>
              <a:gd name="connsiteY768" fmla="*/ 293612 h 448122"/>
              <a:gd name="connsiteX769" fmla="*/ 111059 w 447236"/>
              <a:gd name="connsiteY769" fmla="*/ 292999 h 448122"/>
              <a:gd name="connsiteX770" fmla="*/ 111673 w 447236"/>
              <a:gd name="connsiteY770" fmla="*/ 289932 h 448122"/>
              <a:gd name="connsiteX771" fmla="*/ 111673 w 447236"/>
              <a:gd name="connsiteY771" fmla="*/ 289626 h 448122"/>
              <a:gd name="connsiteX772" fmla="*/ 110752 w 447236"/>
              <a:gd name="connsiteY772" fmla="*/ 289626 h 448122"/>
              <a:gd name="connsiteX773" fmla="*/ 110445 w 447236"/>
              <a:gd name="connsiteY773" fmla="*/ 289932 h 448122"/>
              <a:gd name="connsiteX774" fmla="*/ 109831 w 447236"/>
              <a:gd name="connsiteY774" fmla="*/ 292999 h 448122"/>
              <a:gd name="connsiteX775" fmla="*/ 109831 w 447236"/>
              <a:gd name="connsiteY775" fmla="*/ 293612 h 448122"/>
              <a:gd name="connsiteX776" fmla="*/ 109217 w 447236"/>
              <a:gd name="connsiteY776" fmla="*/ 293612 h 448122"/>
              <a:gd name="connsiteX777" fmla="*/ 108910 w 447236"/>
              <a:gd name="connsiteY777" fmla="*/ 293612 h 448122"/>
              <a:gd name="connsiteX778" fmla="*/ 108603 w 447236"/>
              <a:gd name="connsiteY778" fmla="*/ 292999 h 448122"/>
              <a:gd name="connsiteX779" fmla="*/ 109217 w 447236"/>
              <a:gd name="connsiteY779" fmla="*/ 289932 h 448122"/>
              <a:gd name="connsiteX780" fmla="*/ 109217 w 447236"/>
              <a:gd name="connsiteY780" fmla="*/ 289626 h 448122"/>
              <a:gd name="connsiteX781" fmla="*/ 108296 w 447236"/>
              <a:gd name="connsiteY781" fmla="*/ 289626 h 448122"/>
              <a:gd name="connsiteX782" fmla="*/ 103692 w 447236"/>
              <a:gd name="connsiteY782" fmla="*/ 289626 h 448122"/>
              <a:gd name="connsiteX783" fmla="*/ 103692 w 447236"/>
              <a:gd name="connsiteY783" fmla="*/ 289932 h 448122"/>
              <a:gd name="connsiteX784" fmla="*/ 102771 w 447236"/>
              <a:gd name="connsiteY784" fmla="*/ 294532 h 448122"/>
              <a:gd name="connsiteX785" fmla="*/ 103078 w 447236"/>
              <a:gd name="connsiteY785" fmla="*/ 294532 h 448122"/>
              <a:gd name="connsiteX786" fmla="*/ 105227 w 447236"/>
              <a:gd name="connsiteY786" fmla="*/ 294532 h 448122"/>
              <a:gd name="connsiteX787" fmla="*/ 105841 w 447236"/>
              <a:gd name="connsiteY787" fmla="*/ 294532 h 448122"/>
              <a:gd name="connsiteX788" fmla="*/ 106148 w 447236"/>
              <a:gd name="connsiteY788" fmla="*/ 294225 h 448122"/>
              <a:gd name="connsiteX789" fmla="*/ 106762 w 447236"/>
              <a:gd name="connsiteY789" fmla="*/ 293612 h 448122"/>
              <a:gd name="connsiteX790" fmla="*/ 106762 w 447236"/>
              <a:gd name="connsiteY790" fmla="*/ 292999 h 448122"/>
              <a:gd name="connsiteX791" fmla="*/ 106762 w 447236"/>
              <a:gd name="connsiteY791" fmla="*/ 292385 h 448122"/>
              <a:gd name="connsiteX792" fmla="*/ 106148 w 447236"/>
              <a:gd name="connsiteY792" fmla="*/ 292079 h 448122"/>
              <a:gd name="connsiteX793" fmla="*/ 106762 w 447236"/>
              <a:gd name="connsiteY793" fmla="*/ 291772 h 448122"/>
              <a:gd name="connsiteX794" fmla="*/ 106762 w 447236"/>
              <a:gd name="connsiteY794" fmla="*/ 291466 h 448122"/>
              <a:gd name="connsiteX795" fmla="*/ 107069 w 447236"/>
              <a:gd name="connsiteY795" fmla="*/ 291159 h 448122"/>
              <a:gd name="connsiteX796" fmla="*/ 107069 w 447236"/>
              <a:gd name="connsiteY796" fmla="*/ 290852 h 448122"/>
              <a:gd name="connsiteX797" fmla="*/ 106762 w 447236"/>
              <a:gd name="connsiteY797" fmla="*/ 289932 h 448122"/>
              <a:gd name="connsiteX798" fmla="*/ 105534 w 447236"/>
              <a:gd name="connsiteY798" fmla="*/ 289626 h 448122"/>
              <a:gd name="connsiteX799" fmla="*/ 103999 w 447236"/>
              <a:gd name="connsiteY799" fmla="*/ 289626 h 448122"/>
              <a:gd name="connsiteX800" fmla="*/ 103692 w 447236"/>
              <a:gd name="connsiteY800" fmla="*/ 289626 h 448122"/>
              <a:gd name="connsiteX801" fmla="*/ 98167 w 447236"/>
              <a:gd name="connsiteY801" fmla="*/ 289626 h 448122"/>
              <a:gd name="connsiteX802" fmla="*/ 98167 w 447236"/>
              <a:gd name="connsiteY802" fmla="*/ 289932 h 448122"/>
              <a:gd name="connsiteX803" fmla="*/ 97553 w 447236"/>
              <a:gd name="connsiteY803" fmla="*/ 292079 h 448122"/>
              <a:gd name="connsiteX804" fmla="*/ 97246 w 447236"/>
              <a:gd name="connsiteY804" fmla="*/ 294532 h 448122"/>
              <a:gd name="connsiteX805" fmla="*/ 98167 w 447236"/>
              <a:gd name="connsiteY805" fmla="*/ 294532 h 448122"/>
              <a:gd name="connsiteX806" fmla="*/ 98474 w 447236"/>
              <a:gd name="connsiteY806" fmla="*/ 293612 h 448122"/>
              <a:gd name="connsiteX807" fmla="*/ 98781 w 447236"/>
              <a:gd name="connsiteY807" fmla="*/ 292385 h 448122"/>
              <a:gd name="connsiteX808" fmla="*/ 98781 w 447236"/>
              <a:gd name="connsiteY808" fmla="*/ 293305 h 448122"/>
              <a:gd name="connsiteX809" fmla="*/ 99088 w 447236"/>
              <a:gd name="connsiteY809" fmla="*/ 294225 h 448122"/>
              <a:gd name="connsiteX810" fmla="*/ 99088 w 447236"/>
              <a:gd name="connsiteY810" fmla="*/ 294532 h 448122"/>
              <a:gd name="connsiteX811" fmla="*/ 99395 w 447236"/>
              <a:gd name="connsiteY811" fmla="*/ 294532 h 448122"/>
              <a:gd name="connsiteX812" fmla="*/ 99702 w 447236"/>
              <a:gd name="connsiteY812" fmla="*/ 294532 h 448122"/>
              <a:gd name="connsiteX813" fmla="*/ 100009 w 447236"/>
              <a:gd name="connsiteY813" fmla="*/ 294225 h 448122"/>
              <a:gd name="connsiteX814" fmla="*/ 100623 w 447236"/>
              <a:gd name="connsiteY814" fmla="*/ 293305 h 448122"/>
              <a:gd name="connsiteX815" fmla="*/ 100930 w 447236"/>
              <a:gd name="connsiteY815" fmla="*/ 292385 h 448122"/>
              <a:gd name="connsiteX816" fmla="*/ 101237 w 447236"/>
              <a:gd name="connsiteY816" fmla="*/ 292385 h 448122"/>
              <a:gd name="connsiteX817" fmla="*/ 100930 w 447236"/>
              <a:gd name="connsiteY817" fmla="*/ 293305 h 448122"/>
              <a:gd name="connsiteX818" fmla="*/ 100623 w 447236"/>
              <a:gd name="connsiteY818" fmla="*/ 294532 h 448122"/>
              <a:gd name="connsiteX819" fmla="*/ 100930 w 447236"/>
              <a:gd name="connsiteY819" fmla="*/ 294532 h 448122"/>
              <a:gd name="connsiteX820" fmla="*/ 101544 w 447236"/>
              <a:gd name="connsiteY820" fmla="*/ 294532 h 448122"/>
              <a:gd name="connsiteX821" fmla="*/ 101851 w 447236"/>
              <a:gd name="connsiteY821" fmla="*/ 294532 h 448122"/>
              <a:gd name="connsiteX822" fmla="*/ 102771 w 447236"/>
              <a:gd name="connsiteY822" fmla="*/ 289932 h 448122"/>
              <a:gd name="connsiteX823" fmla="*/ 102771 w 447236"/>
              <a:gd name="connsiteY823" fmla="*/ 289626 h 448122"/>
              <a:gd name="connsiteX824" fmla="*/ 102464 w 447236"/>
              <a:gd name="connsiteY824" fmla="*/ 289626 h 448122"/>
              <a:gd name="connsiteX825" fmla="*/ 101851 w 447236"/>
              <a:gd name="connsiteY825" fmla="*/ 289626 h 448122"/>
              <a:gd name="connsiteX826" fmla="*/ 101544 w 447236"/>
              <a:gd name="connsiteY826" fmla="*/ 289626 h 448122"/>
              <a:gd name="connsiteX827" fmla="*/ 101544 w 447236"/>
              <a:gd name="connsiteY827" fmla="*/ 289932 h 448122"/>
              <a:gd name="connsiteX828" fmla="*/ 100623 w 447236"/>
              <a:gd name="connsiteY828" fmla="*/ 291466 h 448122"/>
              <a:gd name="connsiteX829" fmla="*/ 100316 w 447236"/>
              <a:gd name="connsiteY829" fmla="*/ 292079 h 448122"/>
              <a:gd name="connsiteX830" fmla="*/ 99702 w 447236"/>
              <a:gd name="connsiteY830" fmla="*/ 292692 h 448122"/>
              <a:gd name="connsiteX831" fmla="*/ 99395 w 447236"/>
              <a:gd name="connsiteY831" fmla="*/ 291466 h 448122"/>
              <a:gd name="connsiteX832" fmla="*/ 99088 w 447236"/>
              <a:gd name="connsiteY832" fmla="*/ 289932 h 448122"/>
              <a:gd name="connsiteX833" fmla="*/ 99088 w 447236"/>
              <a:gd name="connsiteY833" fmla="*/ 289626 h 448122"/>
              <a:gd name="connsiteX834" fmla="*/ 98781 w 447236"/>
              <a:gd name="connsiteY834" fmla="*/ 289626 h 448122"/>
              <a:gd name="connsiteX835" fmla="*/ 98167 w 447236"/>
              <a:gd name="connsiteY835" fmla="*/ 289626 h 448122"/>
              <a:gd name="connsiteX836" fmla="*/ 94791 w 447236"/>
              <a:gd name="connsiteY836" fmla="*/ 289626 h 448122"/>
              <a:gd name="connsiteX837" fmla="*/ 92642 w 447236"/>
              <a:gd name="connsiteY837" fmla="*/ 294532 h 448122"/>
              <a:gd name="connsiteX838" fmla="*/ 92949 w 447236"/>
              <a:gd name="connsiteY838" fmla="*/ 294532 h 448122"/>
              <a:gd name="connsiteX839" fmla="*/ 93563 w 447236"/>
              <a:gd name="connsiteY839" fmla="*/ 294532 h 448122"/>
              <a:gd name="connsiteX840" fmla="*/ 93870 w 447236"/>
              <a:gd name="connsiteY840" fmla="*/ 294532 h 448122"/>
              <a:gd name="connsiteX841" fmla="*/ 94177 w 447236"/>
              <a:gd name="connsiteY841" fmla="*/ 293918 h 448122"/>
              <a:gd name="connsiteX842" fmla="*/ 94177 w 447236"/>
              <a:gd name="connsiteY842" fmla="*/ 293612 h 448122"/>
              <a:gd name="connsiteX843" fmla="*/ 95098 w 447236"/>
              <a:gd name="connsiteY843" fmla="*/ 293612 h 448122"/>
              <a:gd name="connsiteX844" fmla="*/ 95405 w 447236"/>
              <a:gd name="connsiteY844" fmla="*/ 293612 h 448122"/>
              <a:gd name="connsiteX845" fmla="*/ 95405 w 447236"/>
              <a:gd name="connsiteY845" fmla="*/ 293918 h 448122"/>
              <a:gd name="connsiteX846" fmla="*/ 95405 w 447236"/>
              <a:gd name="connsiteY846" fmla="*/ 294532 h 448122"/>
              <a:gd name="connsiteX847" fmla="*/ 95712 w 447236"/>
              <a:gd name="connsiteY847" fmla="*/ 294532 h 448122"/>
              <a:gd name="connsiteX848" fmla="*/ 96326 w 447236"/>
              <a:gd name="connsiteY848" fmla="*/ 294532 h 448122"/>
              <a:gd name="connsiteX849" fmla="*/ 96632 w 447236"/>
              <a:gd name="connsiteY849" fmla="*/ 294532 h 448122"/>
              <a:gd name="connsiteX850" fmla="*/ 96326 w 447236"/>
              <a:gd name="connsiteY850" fmla="*/ 289626 h 448122"/>
              <a:gd name="connsiteX851" fmla="*/ 96019 w 447236"/>
              <a:gd name="connsiteY851" fmla="*/ 289626 h 448122"/>
              <a:gd name="connsiteX852" fmla="*/ 95098 w 447236"/>
              <a:gd name="connsiteY852" fmla="*/ 289626 h 448122"/>
              <a:gd name="connsiteX853" fmla="*/ 94791 w 447236"/>
              <a:gd name="connsiteY853" fmla="*/ 289626 h 448122"/>
              <a:gd name="connsiteX854" fmla="*/ 191034 w 447236"/>
              <a:gd name="connsiteY854" fmla="*/ 283383 h 448122"/>
              <a:gd name="connsiteX855" fmla="*/ 192828 w 447236"/>
              <a:gd name="connsiteY855" fmla="*/ 292905 h 448122"/>
              <a:gd name="connsiteX856" fmla="*/ 192432 w 447236"/>
              <a:gd name="connsiteY856" fmla="*/ 291723 h 448122"/>
              <a:gd name="connsiteX857" fmla="*/ 191466 w 447236"/>
              <a:gd name="connsiteY857" fmla="*/ 286111 h 448122"/>
              <a:gd name="connsiteX858" fmla="*/ 289502 w 447236"/>
              <a:gd name="connsiteY858" fmla="*/ 279549 h 448122"/>
              <a:gd name="connsiteX859" fmla="*/ 289196 w 447236"/>
              <a:gd name="connsiteY859" fmla="*/ 279855 h 448122"/>
              <a:gd name="connsiteX860" fmla="*/ 289502 w 447236"/>
              <a:gd name="connsiteY860" fmla="*/ 280162 h 448122"/>
              <a:gd name="connsiteX861" fmla="*/ 295301 w 447236"/>
              <a:gd name="connsiteY861" fmla="*/ 280162 h 448122"/>
              <a:gd name="connsiteX862" fmla="*/ 295911 w 447236"/>
              <a:gd name="connsiteY862" fmla="*/ 279855 h 448122"/>
              <a:gd name="connsiteX863" fmla="*/ 295301 w 447236"/>
              <a:gd name="connsiteY863" fmla="*/ 279549 h 448122"/>
              <a:gd name="connsiteX864" fmla="*/ 289502 w 447236"/>
              <a:gd name="connsiteY864" fmla="*/ 279549 h 448122"/>
              <a:gd name="connsiteX865" fmla="*/ 190141 w 447236"/>
              <a:gd name="connsiteY865" fmla="*/ 277736 h 448122"/>
              <a:gd name="connsiteX866" fmla="*/ 191034 w 447236"/>
              <a:gd name="connsiteY866" fmla="*/ 283383 h 448122"/>
              <a:gd name="connsiteX867" fmla="*/ 190585 w 447236"/>
              <a:gd name="connsiteY867" fmla="*/ 280999 h 448122"/>
              <a:gd name="connsiteX868" fmla="*/ 289502 w 447236"/>
              <a:gd name="connsiteY868" fmla="*/ 275870 h 448122"/>
              <a:gd name="connsiteX869" fmla="*/ 289196 w 447236"/>
              <a:gd name="connsiteY869" fmla="*/ 276177 h 448122"/>
              <a:gd name="connsiteX870" fmla="*/ 289502 w 447236"/>
              <a:gd name="connsiteY870" fmla="*/ 276790 h 448122"/>
              <a:gd name="connsiteX871" fmla="*/ 295301 w 447236"/>
              <a:gd name="connsiteY871" fmla="*/ 276790 h 448122"/>
              <a:gd name="connsiteX872" fmla="*/ 295911 w 447236"/>
              <a:gd name="connsiteY872" fmla="*/ 276177 h 448122"/>
              <a:gd name="connsiteX873" fmla="*/ 295301 w 447236"/>
              <a:gd name="connsiteY873" fmla="*/ 275870 h 448122"/>
              <a:gd name="connsiteX874" fmla="*/ 289502 w 447236"/>
              <a:gd name="connsiteY874" fmla="*/ 275870 h 448122"/>
              <a:gd name="connsiteX875" fmla="*/ 371594 w 447236"/>
              <a:gd name="connsiteY875" fmla="*/ 274689 h 448122"/>
              <a:gd name="connsiteX876" fmla="*/ 376166 w 447236"/>
              <a:gd name="connsiteY876" fmla="*/ 282575 h 448122"/>
              <a:gd name="connsiteX877" fmla="*/ 380738 w 447236"/>
              <a:gd name="connsiteY877" fmla="*/ 274689 h 448122"/>
              <a:gd name="connsiteX878" fmla="*/ 289502 w 447236"/>
              <a:gd name="connsiteY878" fmla="*/ 272498 h 448122"/>
              <a:gd name="connsiteX879" fmla="*/ 289196 w 447236"/>
              <a:gd name="connsiteY879" fmla="*/ 272804 h 448122"/>
              <a:gd name="connsiteX880" fmla="*/ 289502 w 447236"/>
              <a:gd name="connsiteY880" fmla="*/ 273111 h 448122"/>
              <a:gd name="connsiteX881" fmla="*/ 295301 w 447236"/>
              <a:gd name="connsiteY881" fmla="*/ 273111 h 448122"/>
              <a:gd name="connsiteX882" fmla="*/ 295911 w 447236"/>
              <a:gd name="connsiteY882" fmla="*/ 272804 h 448122"/>
              <a:gd name="connsiteX883" fmla="*/ 295301 w 447236"/>
              <a:gd name="connsiteY883" fmla="*/ 272498 h 448122"/>
              <a:gd name="connsiteX884" fmla="*/ 289502 w 447236"/>
              <a:gd name="connsiteY884" fmla="*/ 272498 h 448122"/>
              <a:gd name="connsiteX885" fmla="*/ 289502 w 447236"/>
              <a:gd name="connsiteY885" fmla="*/ 269126 h 448122"/>
              <a:gd name="connsiteX886" fmla="*/ 289196 w 447236"/>
              <a:gd name="connsiteY886" fmla="*/ 269432 h 448122"/>
              <a:gd name="connsiteX887" fmla="*/ 289502 w 447236"/>
              <a:gd name="connsiteY887" fmla="*/ 269739 h 448122"/>
              <a:gd name="connsiteX888" fmla="*/ 295301 w 447236"/>
              <a:gd name="connsiteY888" fmla="*/ 269739 h 448122"/>
              <a:gd name="connsiteX889" fmla="*/ 295911 w 447236"/>
              <a:gd name="connsiteY889" fmla="*/ 269432 h 448122"/>
              <a:gd name="connsiteX890" fmla="*/ 295301 w 447236"/>
              <a:gd name="connsiteY890" fmla="*/ 269126 h 448122"/>
              <a:gd name="connsiteX891" fmla="*/ 289502 w 447236"/>
              <a:gd name="connsiteY891" fmla="*/ 269126 h 448122"/>
              <a:gd name="connsiteX892" fmla="*/ 2454 w 447236"/>
              <a:gd name="connsiteY892" fmla="*/ 269052 h 448122"/>
              <a:gd name="connsiteX893" fmla="*/ 1227 w 447236"/>
              <a:gd name="connsiteY893" fmla="*/ 270278 h 448122"/>
              <a:gd name="connsiteX894" fmla="*/ 1227 w 447236"/>
              <a:gd name="connsiteY894" fmla="*/ 294794 h 448122"/>
              <a:gd name="connsiteX895" fmla="*/ 2454 w 447236"/>
              <a:gd name="connsiteY895" fmla="*/ 296326 h 448122"/>
              <a:gd name="connsiteX896" fmla="*/ 36512 w 447236"/>
              <a:gd name="connsiteY896" fmla="*/ 296326 h 448122"/>
              <a:gd name="connsiteX897" fmla="*/ 37739 w 447236"/>
              <a:gd name="connsiteY897" fmla="*/ 294794 h 448122"/>
              <a:gd name="connsiteX898" fmla="*/ 37739 w 447236"/>
              <a:gd name="connsiteY898" fmla="*/ 270278 h 448122"/>
              <a:gd name="connsiteX899" fmla="*/ 36512 w 447236"/>
              <a:gd name="connsiteY899" fmla="*/ 269052 h 448122"/>
              <a:gd name="connsiteX900" fmla="*/ 133830 w 447236"/>
              <a:gd name="connsiteY900" fmla="*/ 267309 h 448122"/>
              <a:gd name="connsiteX901" fmla="*/ 135988 w 447236"/>
              <a:gd name="connsiteY901" fmla="*/ 267309 h 448122"/>
              <a:gd name="connsiteX902" fmla="*/ 136605 w 447236"/>
              <a:gd name="connsiteY902" fmla="*/ 267919 h 448122"/>
              <a:gd name="connsiteX903" fmla="*/ 136605 w 447236"/>
              <a:gd name="connsiteY903" fmla="*/ 272193 h 448122"/>
              <a:gd name="connsiteX904" fmla="*/ 140922 w 447236"/>
              <a:gd name="connsiteY904" fmla="*/ 272193 h 448122"/>
              <a:gd name="connsiteX905" fmla="*/ 141847 w 447236"/>
              <a:gd name="connsiteY905" fmla="*/ 273109 h 448122"/>
              <a:gd name="connsiteX906" fmla="*/ 141847 w 447236"/>
              <a:gd name="connsiteY906" fmla="*/ 274941 h 448122"/>
              <a:gd name="connsiteX907" fmla="*/ 140922 w 447236"/>
              <a:gd name="connsiteY907" fmla="*/ 275857 h 448122"/>
              <a:gd name="connsiteX908" fmla="*/ 136605 w 447236"/>
              <a:gd name="connsiteY908" fmla="*/ 275857 h 448122"/>
              <a:gd name="connsiteX909" fmla="*/ 136605 w 447236"/>
              <a:gd name="connsiteY909" fmla="*/ 280130 h 448122"/>
              <a:gd name="connsiteX910" fmla="*/ 135988 w 447236"/>
              <a:gd name="connsiteY910" fmla="*/ 280741 h 448122"/>
              <a:gd name="connsiteX911" fmla="*/ 133830 w 447236"/>
              <a:gd name="connsiteY911" fmla="*/ 280741 h 448122"/>
              <a:gd name="connsiteX912" fmla="*/ 133213 w 447236"/>
              <a:gd name="connsiteY912" fmla="*/ 280130 h 448122"/>
              <a:gd name="connsiteX913" fmla="*/ 133213 w 447236"/>
              <a:gd name="connsiteY913" fmla="*/ 275857 h 448122"/>
              <a:gd name="connsiteX914" fmla="*/ 128588 w 447236"/>
              <a:gd name="connsiteY914" fmla="*/ 275857 h 448122"/>
              <a:gd name="connsiteX915" fmla="*/ 127972 w 447236"/>
              <a:gd name="connsiteY915" fmla="*/ 274941 h 448122"/>
              <a:gd name="connsiteX916" fmla="*/ 127972 w 447236"/>
              <a:gd name="connsiteY916" fmla="*/ 273109 h 448122"/>
              <a:gd name="connsiteX917" fmla="*/ 128588 w 447236"/>
              <a:gd name="connsiteY917" fmla="*/ 272193 h 448122"/>
              <a:gd name="connsiteX918" fmla="*/ 133213 w 447236"/>
              <a:gd name="connsiteY918" fmla="*/ 272193 h 448122"/>
              <a:gd name="connsiteX919" fmla="*/ 133213 w 447236"/>
              <a:gd name="connsiteY919" fmla="*/ 267919 h 448122"/>
              <a:gd name="connsiteX920" fmla="*/ 133830 w 447236"/>
              <a:gd name="connsiteY920" fmla="*/ 267309 h 448122"/>
              <a:gd name="connsiteX921" fmla="*/ 289502 w 447236"/>
              <a:gd name="connsiteY921" fmla="*/ 265447 h 448122"/>
              <a:gd name="connsiteX922" fmla="*/ 289196 w 447236"/>
              <a:gd name="connsiteY922" fmla="*/ 266060 h 448122"/>
              <a:gd name="connsiteX923" fmla="*/ 289502 w 447236"/>
              <a:gd name="connsiteY923" fmla="*/ 266367 h 448122"/>
              <a:gd name="connsiteX924" fmla="*/ 295301 w 447236"/>
              <a:gd name="connsiteY924" fmla="*/ 266367 h 448122"/>
              <a:gd name="connsiteX925" fmla="*/ 295911 w 447236"/>
              <a:gd name="connsiteY925" fmla="*/ 266060 h 448122"/>
              <a:gd name="connsiteX926" fmla="*/ 295301 w 447236"/>
              <a:gd name="connsiteY926" fmla="*/ 265447 h 448122"/>
              <a:gd name="connsiteX927" fmla="*/ 289502 w 447236"/>
              <a:gd name="connsiteY927" fmla="*/ 265447 h 448122"/>
              <a:gd name="connsiteX928" fmla="*/ 366202 w 447236"/>
              <a:gd name="connsiteY928" fmla="*/ 265390 h 448122"/>
              <a:gd name="connsiteX929" fmla="*/ 366203 w 447236"/>
              <a:gd name="connsiteY929" fmla="*/ 265390 h 448122"/>
              <a:gd name="connsiteX930" fmla="*/ 386128 w 447236"/>
              <a:gd name="connsiteY930" fmla="*/ 265390 h 448122"/>
              <a:gd name="connsiteX931" fmla="*/ 386117 w 447236"/>
              <a:gd name="connsiteY931" fmla="*/ 265410 h 448122"/>
              <a:gd name="connsiteX932" fmla="*/ 386129 w 447236"/>
              <a:gd name="connsiteY932" fmla="*/ 265390 h 448122"/>
              <a:gd name="connsiteX933" fmla="*/ 394099 w 447236"/>
              <a:gd name="connsiteY933" fmla="*/ 269670 h 448122"/>
              <a:gd name="connsiteX934" fmla="*/ 381431 w 447236"/>
              <a:gd name="connsiteY934" fmla="*/ 291656 h 448122"/>
              <a:gd name="connsiteX935" fmla="*/ 394099 w 447236"/>
              <a:gd name="connsiteY935" fmla="*/ 313508 h 448122"/>
              <a:gd name="connsiteX936" fmla="*/ 386129 w 447236"/>
              <a:gd name="connsiteY936" fmla="*/ 318084 h 448122"/>
              <a:gd name="connsiteX937" fmla="*/ 376166 w 447236"/>
              <a:gd name="connsiteY937" fmla="*/ 300793 h 448122"/>
              <a:gd name="connsiteX938" fmla="*/ 366203 w 447236"/>
              <a:gd name="connsiteY938" fmla="*/ 318084 h 448122"/>
              <a:gd name="connsiteX939" fmla="*/ 358232 w 447236"/>
              <a:gd name="connsiteY939" fmla="*/ 313508 h 448122"/>
              <a:gd name="connsiteX940" fmla="*/ 370901 w 447236"/>
              <a:gd name="connsiteY940" fmla="*/ 291656 h 448122"/>
              <a:gd name="connsiteX941" fmla="*/ 358232 w 447236"/>
              <a:gd name="connsiteY941" fmla="*/ 269670 h 448122"/>
              <a:gd name="connsiteX942" fmla="*/ 366202 w 447236"/>
              <a:gd name="connsiteY942" fmla="*/ 265390 h 448122"/>
              <a:gd name="connsiteX943" fmla="*/ 255242 w 447236"/>
              <a:gd name="connsiteY943" fmla="*/ 265156 h 448122"/>
              <a:gd name="connsiteX944" fmla="*/ 256863 w 447236"/>
              <a:gd name="connsiteY944" fmla="*/ 277787 h 448122"/>
              <a:gd name="connsiteX945" fmla="*/ 257817 w 447236"/>
              <a:gd name="connsiteY945" fmla="*/ 278581 h 448122"/>
              <a:gd name="connsiteX946" fmla="*/ 257817 w 447236"/>
              <a:gd name="connsiteY946" fmla="*/ 282866 h 448122"/>
              <a:gd name="connsiteX947" fmla="*/ 256936 w 447236"/>
              <a:gd name="connsiteY947" fmla="*/ 294959 h 448122"/>
              <a:gd name="connsiteX948" fmla="*/ 246556 w 447236"/>
              <a:gd name="connsiteY948" fmla="*/ 300804 h 448122"/>
              <a:gd name="connsiteX949" fmla="*/ 247394 w 447236"/>
              <a:gd name="connsiteY949" fmla="*/ 304703 h 448122"/>
              <a:gd name="connsiteX950" fmla="*/ 247702 w 447236"/>
              <a:gd name="connsiteY950" fmla="*/ 305317 h 448122"/>
              <a:gd name="connsiteX951" fmla="*/ 251699 w 447236"/>
              <a:gd name="connsiteY951" fmla="*/ 311142 h 448122"/>
              <a:gd name="connsiteX952" fmla="*/ 252929 w 447236"/>
              <a:gd name="connsiteY952" fmla="*/ 312062 h 448122"/>
              <a:gd name="connsiteX953" fmla="*/ 259694 w 447236"/>
              <a:gd name="connsiteY953" fmla="*/ 314208 h 448122"/>
              <a:gd name="connsiteX954" fmla="*/ 267075 w 447236"/>
              <a:gd name="connsiteY954" fmla="*/ 312982 h 448122"/>
              <a:gd name="connsiteX955" fmla="*/ 272917 w 447236"/>
              <a:gd name="connsiteY955" fmla="*/ 308383 h 448122"/>
              <a:gd name="connsiteX956" fmla="*/ 277837 w 447236"/>
              <a:gd name="connsiteY956" fmla="*/ 296119 h 448122"/>
              <a:gd name="connsiteX957" fmla="*/ 273840 w 447236"/>
              <a:gd name="connsiteY957" fmla="*/ 282321 h 448122"/>
              <a:gd name="connsiteX958" fmla="*/ 268920 w 447236"/>
              <a:gd name="connsiteY958" fmla="*/ 275883 h 448122"/>
              <a:gd name="connsiteX959" fmla="*/ 266578 w 447236"/>
              <a:gd name="connsiteY959" fmla="*/ 273771 h 448122"/>
              <a:gd name="connsiteX960" fmla="*/ 264553 w 447236"/>
              <a:gd name="connsiteY960" fmla="*/ 279826 h 448122"/>
              <a:gd name="connsiteX961" fmla="*/ 267936 w 447236"/>
              <a:gd name="connsiteY961" fmla="*/ 291471 h 448122"/>
              <a:gd name="connsiteX962" fmla="*/ 270830 w 447236"/>
              <a:gd name="connsiteY962" fmla="*/ 295509 h 448122"/>
              <a:gd name="connsiteX963" fmla="*/ 271949 w 447236"/>
              <a:gd name="connsiteY963" fmla="*/ 295509 h 448122"/>
              <a:gd name="connsiteX964" fmla="*/ 274680 w 447236"/>
              <a:gd name="connsiteY964" fmla="*/ 298842 h 448122"/>
              <a:gd name="connsiteX965" fmla="*/ 274376 w 447236"/>
              <a:gd name="connsiteY965" fmla="*/ 299751 h 448122"/>
              <a:gd name="connsiteX966" fmla="*/ 273770 w 447236"/>
              <a:gd name="connsiteY966" fmla="*/ 300660 h 448122"/>
              <a:gd name="connsiteX967" fmla="*/ 272556 w 447236"/>
              <a:gd name="connsiteY967" fmla="*/ 300357 h 448122"/>
              <a:gd name="connsiteX968" fmla="*/ 269826 w 447236"/>
              <a:gd name="connsiteY968" fmla="*/ 297327 h 448122"/>
              <a:gd name="connsiteX969" fmla="*/ 269826 w 447236"/>
              <a:gd name="connsiteY969" fmla="*/ 296115 h 448122"/>
              <a:gd name="connsiteX970" fmla="*/ 270080 w 447236"/>
              <a:gd name="connsiteY970" fmla="*/ 295945 h 448122"/>
              <a:gd name="connsiteX971" fmla="*/ 267013 w 447236"/>
              <a:gd name="connsiteY971" fmla="*/ 291778 h 448122"/>
              <a:gd name="connsiteX972" fmla="*/ 263323 w 447236"/>
              <a:gd name="connsiteY972" fmla="*/ 279826 h 448122"/>
              <a:gd name="connsiteX973" fmla="*/ 265779 w 447236"/>
              <a:gd name="connsiteY973" fmla="*/ 273049 h 448122"/>
              <a:gd name="connsiteX974" fmla="*/ 262462 w 447236"/>
              <a:gd name="connsiteY974" fmla="*/ 270057 h 448122"/>
              <a:gd name="connsiteX975" fmla="*/ 258464 w 447236"/>
              <a:gd name="connsiteY975" fmla="*/ 266991 h 448122"/>
              <a:gd name="connsiteX976" fmla="*/ 134694 w 447236"/>
              <a:gd name="connsiteY976" fmla="*/ 264484 h 448122"/>
              <a:gd name="connsiteX977" fmla="*/ 125178 w 447236"/>
              <a:gd name="connsiteY977" fmla="*/ 273989 h 448122"/>
              <a:gd name="connsiteX978" fmla="*/ 134694 w 447236"/>
              <a:gd name="connsiteY978" fmla="*/ 283800 h 448122"/>
              <a:gd name="connsiteX979" fmla="*/ 144516 w 447236"/>
              <a:gd name="connsiteY979" fmla="*/ 273989 h 448122"/>
              <a:gd name="connsiteX980" fmla="*/ 134694 w 447236"/>
              <a:gd name="connsiteY980" fmla="*/ 264484 h 448122"/>
              <a:gd name="connsiteX981" fmla="*/ 75146 w 447236"/>
              <a:gd name="connsiteY981" fmla="*/ 264484 h 448122"/>
              <a:gd name="connsiteX982" fmla="*/ 71770 w 447236"/>
              <a:gd name="connsiteY982" fmla="*/ 265403 h 448122"/>
              <a:gd name="connsiteX983" fmla="*/ 57036 w 447236"/>
              <a:gd name="connsiteY983" fmla="*/ 280121 h 448122"/>
              <a:gd name="connsiteX984" fmla="*/ 56423 w 447236"/>
              <a:gd name="connsiteY984" fmla="*/ 281347 h 448122"/>
              <a:gd name="connsiteX985" fmla="*/ 56423 w 447236"/>
              <a:gd name="connsiteY985" fmla="*/ 281961 h 448122"/>
              <a:gd name="connsiteX986" fmla="*/ 56423 w 447236"/>
              <a:gd name="connsiteY986" fmla="*/ 282267 h 448122"/>
              <a:gd name="connsiteX987" fmla="*/ 60413 w 447236"/>
              <a:gd name="connsiteY987" fmla="*/ 283494 h 448122"/>
              <a:gd name="connsiteX988" fmla="*/ 77295 w 447236"/>
              <a:gd name="connsiteY988" fmla="*/ 283494 h 448122"/>
              <a:gd name="connsiteX989" fmla="*/ 77295 w 447236"/>
              <a:gd name="connsiteY989" fmla="*/ 264484 h 448122"/>
              <a:gd name="connsiteX990" fmla="*/ 75146 w 447236"/>
              <a:gd name="connsiteY990" fmla="*/ 264484 h 448122"/>
              <a:gd name="connsiteX991" fmla="*/ 84969 w 447236"/>
              <a:gd name="connsiteY991" fmla="*/ 263870 h 448122"/>
              <a:gd name="connsiteX992" fmla="*/ 83434 w 447236"/>
              <a:gd name="connsiteY992" fmla="*/ 265403 h 448122"/>
              <a:gd name="connsiteX993" fmla="*/ 83434 w 447236"/>
              <a:gd name="connsiteY993" fmla="*/ 281961 h 448122"/>
              <a:gd name="connsiteX994" fmla="*/ 84969 w 447236"/>
              <a:gd name="connsiteY994" fmla="*/ 283494 h 448122"/>
              <a:gd name="connsiteX995" fmla="*/ 112594 w 447236"/>
              <a:gd name="connsiteY995" fmla="*/ 283494 h 448122"/>
              <a:gd name="connsiteX996" fmla="*/ 114128 w 447236"/>
              <a:gd name="connsiteY996" fmla="*/ 281961 h 448122"/>
              <a:gd name="connsiteX997" fmla="*/ 114128 w 447236"/>
              <a:gd name="connsiteY997" fmla="*/ 265403 h 448122"/>
              <a:gd name="connsiteX998" fmla="*/ 112594 w 447236"/>
              <a:gd name="connsiteY998" fmla="*/ 263870 h 448122"/>
              <a:gd name="connsiteX999" fmla="*/ 84969 w 447236"/>
              <a:gd name="connsiteY999" fmla="*/ 263870 h 448122"/>
              <a:gd name="connsiteX1000" fmla="*/ 245549 w 447236"/>
              <a:gd name="connsiteY1000" fmla="*/ 262392 h 448122"/>
              <a:gd name="connsiteX1001" fmla="*/ 237862 w 447236"/>
              <a:gd name="connsiteY1001" fmla="*/ 263006 h 448122"/>
              <a:gd name="connsiteX1002" fmla="*/ 236595 w 447236"/>
              <a:gd name="connsiteY1002" fmla="*/ 263848 h 448122"/>
              <a:gd name="connsiteX1003" fmla="*/ 236421 w 447236"/>
              <a:gd name="connsiteY1003" fmla="*/ 264568 h 448122"/>
              <a:gd name="connsiteX1004" fmla="*/ 234660 w 447236"/>
              <a:gd name="connsiteY1004" fmla="*/ 278095 h 448122"/>
              <a:gd name="connsiteX1005" fmla="*/ 235146 w 447236"/>
              <a:gd name="connsiteY1005" fmla="*/ 278581 h 448122"/>
              <a:gd name="connsiteX1006" fmla="*/ 235146 w 447236"/>
              <a:gd name="connsiteY1006" fmla="*/ 283173 h 448122"/>
              <a:gd name="connsiteX1007" fmla="*/ 235836 w 447236"/>
              <a:gd name="connsiteY1007" fmla="*/ 293122 h 448122"/>
              <a:gd name="connsiteX1008" fmla="*/ 244951 w 447236"/>
              <a:gd name="connsiteY1008" fmla="*/ 298298 h 448122"/>
              <a:gd name="connsiteX1009" fmla="*/ 253947 w 447236"/>
              <a:gd name="connsiteY1009" fmla="*/ 293122 h 448122"/>
              <a:gd name="connsiteX1010" fmla="*/ 254751 w 447236"/>
              <a:gd name="connsiteY1010" fmla="*/ 283173 h 448122"/>
              <a:gd name="connsiteX1011" fmla="*/ 254445 w 447236"/>
              <a:gd name="connsiteY1011" fmla="*/ 278581 h 448122"/>
              <a:gd name="connsiteX1012" fmla="*/ 255583 w 447236"/>
              <a:gd name="connsiteY1012" fmla="*/ 277444 h 448122"/>
              <a:gd name="connsiteX1013" fmla="*/ 253895 w 447236"/>
              <a:gd name="connsiteY1013" fmla="*/ 264568 h 448122"/>
              <a:gd name="connsiteX1014" fmla="*/ 253868 w 447236"/>
              <a:gd name="connsiteY1014" fmla="*/ 264466 h 448122"/>
              <a:gd name="connsiteX1015" fmla="*/ 289502 w 447236"/>
              <a:gd name="connsiteY1015" fmla="*/ 262075 h 448122"/>
              <a:gd name="connsiteX1016" fmla="*/ 289196 w 447236"/>
              <a:gd name="connsiteY1016" fmla="*/ 262381 h 448122"/>
              <a:gd name="connsiteX1017" fmla="*/ 289502 w 447236"/>
              <a:gd name="connsiteY1017" fmla="*/ 262688 h 448122"/>
              <a:gd name="connsiteX1018" fmla="*/ 295301 w 447236"/>
              <a:gd name="connsiteY1018" fmla="*/ 262688 h 448122"/>
              <a:gd name="connsiteX1019" fmla="*/ 295911 w 447236"/>
              <a:gd name="connsiteY1019" fmla="*/ 262381 h 448122"/>
              <a:gd name="connsiteX1020" fmla="*/ 295301 w 447236"/>
              <a:gd name="connsiteY1020" fmla="*/ 262075 h 448122"/>
              <a:gd name="connsiteX1021" fmla="*/ 289502 w 447236"/>
              <a:gd name="connsiteY1021" fmla="*/ 262075 h 448122"/>
              <a:gd name="connsiteX1022" fmla="*/ 187888 w 447236"/>
              <a:gd name="connsiteY1022" fmla="*/ 261809 h 448122"/>
              <a:gd name="connsiteX1023" fmla="*/ 186980 w 447236"/>
              <a:gd name="connsiteY1023" fmla="*/ 262458 h 448122"/>
              <a:gd name="connsiteX1024" fmla="*/ 187958 w 447236"/>
              <a:gd name="connsiteY1024" fmla="*/ 261809 h 448122"/>
              <a:gd name="connsiteX1025" fmla="*/ 156502 w 447236"/>
              <a:gd name="connsiteY1025" fmla="*/ 260519 h 448122"/>
              <a:gd name="connsiteX1026" fmla="*/ 156502 w 447236"/>
              <a:gd name="connsiteY1026" fmla="*/ 267870 h 448122"/>
              <a:gd name="connsiteX1027" fmla="*/ 157421 w 447236"/>
              <a:gd name="connsiteY1027" fmla="*/ 280734 h 448122"/>
              <a:gd name="connsiteX1028" fmla="*/ 157727 w 447236"/>
              <a:gd name="connsiteY1028" fmla="*/ 284104 h 448122"/>
              <a:gd name="connsiteX1029" fmla="*/ 158645 w 447236"/>
              <a:gd name="connsiteY1029" fmla="*/ 294211 h 448122"/>
              <a:gd name="connsiteX1030" fmla="*/ 158952 w 447236"/>
              <a:gd name="connsiteY1030" fmla="*/ 296662 h 448122"/>
              <a:gd name="connsiteX1031" fmla="*/ 159564 w 447236"/>
              <a:gd name="connsiteY1031" fmla="*/ 300950 h 448122"/>
              <a:gd name="connsiteX1032" fmla="*/ 160176 w 447236"/>
              <a:gd name="connsiteY1032" fmla="*/ 296662 h 448122"/>
              <a:gd name="connsiteX1033" fmla="*/ 160176 w 447236"/>
              <a:gd name="connsiteY1033" fmla="*/ 294211 h 448122"/>
              <a:gd name="connsiteX1034" fmla="*/ 161401 w 447236"/>
              <a:gd name="connsiteY1034" fmla="*/ 284104 h 448122"/>
              <a:gd name="connsiteX1035" fmla="*/ 161707 w 447236"/>
              <a:gd name="connsiteY1035" fmla="*/ 280734 h 448122"/>
              <a:gd name="connsiteX1036" fmla="*/ 162319 w 447236"/>
              <a:gd name="connsiteY1036" fmla="*/ 267870 h 448122"/>
              <a:gd name="connsiteX1037" fmla="*/ 162625 w 447236"/>
              <a:gd name="connsiteY1037" fmla="*/ 260519 h 448122"/>
              <a:gd name="connsiteX1038" fmla="*/ 162319 w 447236"/>
              <a:gd name="connsiteY1038" fmla="*/ 289004 h 448122"/>
              <a:gd name="connsiteX1039" fmla="*/ 161707 w 447236"/>
              <a:gd name="connsiteY1039" fmla="*/ 295436 h 448122"/>
              <a:gd name="connsiteX1040" fmla="*/ 161401 w 447236"/>
              <a:gd name="connsiteY1040" fmla="*/ 296968 h 448122"/>
              <a:gd name="connsiteX1041" fmla="*/ 161095 w 447236"/>
              <a:gd name="connsiteY1041" fmla="*/ 297581 h 448122"/>
              <a:gd name="connsiteX1042" fmla="*/ 160176 w 447236"/>
              <a:gd name="connsiteY1042" fmla="*/ 308301 h 448122"/>
              <a:gd name="connsiteX1043" fmla="*/ 159564 w 447236"/>
              <a:gd name="connsiteY1043" fmla="*/ 313508 h 448122"/>
              <a:gd name="connsiteX1044" fmla="*/ 158952 w 447236"/>
              <a:gd name="connsiteY1044" fmla="*/ 308301 h 448122"/>
              <a:gd name="connsiteX1045" fmla="*/ 158033 w 447236"/>
              <a:gd name="connsiteY1045" fmla="*/ 297581 h 448122"/>
              <a:gd name="connsiteX1046" fmla="*/ 157421 w 447236"/>
              <a:gd name="connsiteY1046" fmla="*/ 296968 h 448122"/>
              <a:gd name="connsiteX1047" fmla="*/ 157421 w 447236"/>
              <a:gd name="connsiteY1047" fmla="*/ 295436 h 448122"/>
              <a:gd name="connsiteX1048" fmla="*/ 156808 w 447236"/>
              <a:gd name="connsiteY1048" fmla="*/ 289004 h 448122"/>
              <a:gd name="connsiteX1049" fmla="*/ 156502 w 447236"/>
              <a:gd name="connsiteY1049" fmla="*/ 260519 h 448122"/>
              <a:gd name="connsiteX1050" fmla="*/ 289502 w 447236"/>
              <a:gd name="connsiteY1050" fmla="*/ 258396 h 448122"/>
              <a:gd name="connsiteX1051" fmla="*/ 289196 w 447236"/>
              <a:gd name="connsiteY1051" fmla="*/ 258703 h 448122"/>
              <a:gd name="connsiteX1052" fmla="*/ 289502 w 447236"/>
              <a:gd name="connsiteY1052" fmla="*/ 259316 h 448122"/>
              <a:gd name="connsiteX1053" fmla="*/ 295301 w 447236"/>
              <a:gd name="connsiteY1053" fmla="*/ 259316 h 448122"/>
              <a:gd name="connsiteX1054" fmla="*/ 295911 w 447236"/>
              <a:gd name="connsiteY1054" fmla="*/ 258703 h 448122"/>
              <a:gd name="connsiteX1055" fmla="*/ 295301 w 447236"/>
              <a:gd name="connsiteY1055" fmla="*/ 258396 h 448122"/>
              <a:gd name="connsiteX1056" fmla="*/ 289502 w 447236"/>
              <a:gd name="connsiteY1056" fmla="*/ 258396 h 448122"/>
              <a:gd name="connsiteX1057" fmla="*/ 289502 w 447236"/>
              <a:gd name="connsiteY1057" fmla="*/ 255024 h 448122"/>
              <a:gd name="connsiteX1058" fmla="*/ 289196 w 447236"/>
              <a:gd name="connsiteY1058" fmla="*/ 255330 h 448122"/>
              <a:gd name="connsiteX1059" fmla="*/ 289502 w 447236"/>
              <a:gd name="connsiteY1059" fmla="*/ 255637 h 448122"/>
              <a:gd name="connsiteX1060" fmla="*/ 295301 w 447236"/>
              <a:gd name="connsiteY1060" fmla="*/ 255637 h 448122"/>
              <a:gd name="connsiteX1061" fmla="*/ 295911 w 447236"/>
              <a:gd name="connsiteY1061" fmla="*/ 255330 h 448122"/>
              <a:gd name="connsiteX1062" fmla="*/ 295301 w 447236"/>
              <a:gd name="connsiteY1062" fmla="*/ 255024 h 448122"/>
              <a:gd name="connsiteX1063" fmla="*/ 289502 w 447236"/>
              <a:gd name="connsiteY1063" fmla="*/ 255024 h 448122"/>
              <a:gd name="connsiteX1064" fmla="*/ 84355 w 447236"/>
              <a:gd name="connsiteY1064" fmla="*/ 253139 h 448122"/>
              <a:gd name="connsiteX1065" fmla="*/ 88038 w 447236"/>
              <a:gd name="connsiteY1065" fmla="*/ 253139 h 448122"/>
              <a:gd name="connsiteX1066" fmla="*/ 91721 w 447236"/>
              <a:gd name="connsiteY1066" fmla="*/ 256818 h 448122"/>
              <a:gd name="connsiteX1067" fmla="*/ 91721 w 447236"/>
              <a:gd name="connsiteY1067" fmla="*/ 259271 h 448122"/>
              <a:gd name="connsiteX1068" fmla="*/ 146665 w 447236"/>
              <a:gd name="connsiteY1068" fmla="*/ 259271 h 448122"/>
              <a:gd name="connsiteX1069" fmla="*/ 151883 w 447236"/>
              <a:gd name="connsiteY1069" fmla="*/ 264484 h 448122"/>
              <a:gd name="connsiteX1070" fmla="*/ 151883 w 447236"/>
              <a:gd name="connsiteY1070" fmla="*/ 302197 h 448122"/>
              <a:gd name="connsiteX1071" fmla="*/ 146665 w 447236"/>
              <a:gd name="connsiteY1071" fmla="*/ 307409 h 448122"/>
              <a:gd name="connsiteX1072" fmla="*/ 139298 w 447236"/>
              <a:gd name="connsiteY1072" fmla="*/ 307409 h 448122"/>
              <a:gd name="connsiteX1073" fmla="*/ 130397 w 447236"/>
              <a:gd name="connsiteY1073" fmla="*/ 316608 h 448122"/>
              <a:gd name="connsiteX1074" fmla="*/ 121495 w 447236"/>
              <a:gd name="connsiteY1074" fmla="*/ 307409 h 448122"/>
              <a:gd name="connsiteX1075" fmla="*/ 80364 w 447236"/>
              <a:gd name="connsiteY1075" fmla="*/ 307409 h 448122"/>
              <a:gd name="connsiteX1076" fmla="*/ 72691 w 447236"/>
              <a:gd name="connsiteY1076" fmla="*/ 307409 h 448122"/>
              <a:gd name="connsiteX1077" fmla="*/ 63789 w 447236"/>
              <a:gd name="connsiteY1077" fmla="*/ 316608 h 448122"/>
              <a:gd name="connsiteX1078" fmla="*/ 54581 w 447236"/>
              <a:gd name="connsiteY1078" fmla="*/ 307409 h 448122"/>
              <a:gd name="connsiteX1079" fmla="*/ 50898 w 447236"/>
              <a:gd name="connsiteY1079" fmla="*/ 307409 h 448122"/>
              <a:gd name="connsiteX1080" fmla="*/ 43838 w 447236"/>
              <a:gd name="connsiteY1080" fmla="*/ 302197 h 448122"/>
              <a:gd name="connsiteX1081" fmla="*/ 43838 w 447236"/>
              <a:gd name="connsiteY1081" fmla="*/ 301277 h 448122"/>
              <a:gd name="connsiteX1082" fmla="*/ 43838 w 447236"/>
              <a:gd name="connsiteY1082" fmla="*/ 291466 h 448122"/>
              <a:gd name="connsiteX1083" fmla="*/ 45372 w 447236"/>
              <a:gd name="connsiteY1083" fmla="*/ 288399 h 448122"/>
              <a:gd name="connsiteX1084" fmla="*/ 70849 w 447236"/>
              <a:gd name="connsiteY1084" fmla="*/ 261417 h 448122"/>
              <a:gd name="connsiteX1085" fmla="*/ 76374 w 447236"/>
              <a:gd name="connsiteY1085" fmla="*/ 259271 h 448122"/>
              <a:gd name="connsiteX1086" fmla="*/ 80364 w 447236"/>
              <a:gd name="connsiteY1086" fmla="*/ 259271 h 448122"/>
              <a:gd name="connsiteX1087" fmla="*/ 80671 w 447236"/>
              <a:gd name="connsiteY1087" fmla="*/ 259271 h 448122"/>
              <a:gd name="connsiteX1088" fmla="*/ 80671 w 447236"/>
              <a:gd name="connsiteY1088" fmla="*/ 256818 h 448122"/>
              <a:gd name="connsiteX1089" fmla="*/ 84355 w 447236"/>
              <a:gd name="connsiteY1089" fmla="*/ 253139 h 448122"/>
              <a:gd name="connsiteX1090" fmla="*/ 337952 w 447236"/>
              <a:gd name="connsiteY1090" fmla="*/ 252548 h 448122"/>
              <a:gd name="connsiteX1091" fmla="*/ 340407 w 447236"/>
              <a:gd name="connsiteY1091" fmla="*/ 252548 h 448122"/>
              <a:gd name="connsiteX1092" fmla="*/ 341021 w 447236"/>
              <a:gd name="connsiteY1092" fmla="*/ 253773 h 448122"/>
              <a:gd name="connsiteX1093" fmla="*/ 342555 w 447236"/>
              <a:gd name="connsiteY1093" fmla="*/ 275213 h 448122"/>
              <a:gd name="connsiteX1094" fmla="*/ 347466 w 447236"/>
              <a:gd name="connsiteY1094" fmla="*/ 281952 h 448122"/>
              <a:gd name="connsiteX1095" fmla="*/ 358822 w 447236"/>
              <a:gd name="connsiteY1095" fmla="*/ 299410 h 448122"/>
              <a:gd name="connsiteX1096" fmla="*/ 348387 w 447236"/>
              <a:gd name="connsiteY1096" fmla="*/ 316869 h 448122"/>
              <a:gd name="connsiteX1097" fmla="*/ 344090 w 447236"/>
              <a:gd name="connsiteY1097" fmla="*/ 317788 h 448122"/>
              <a:gd name="connsiteX1098" fmla="*/ 335189 w 447236"/>
              <a:gd name="connsiteY1098" fmla="*/ 317788 h 448122"/>
              <a:gd name="connsiteX1099" fmla="*/ 330892 w 447236"/>
              <a:gd name="connsiteY1099" fmla="*/ 316869 h 448122"/>
              <a:gd name="connsiteX1100" fmla="*/ 320150 w 447236"/>
              <a:gd name="connsiteY1100" fmla="*/ 299410 h 448122"/>
              <a:gd name="connsiteX1101" fmla="*/ 331199 w 447236"/>
              <a:gd name="connsiteY1101" fmla="*/ 282258 h 448122"/>
              <a:gd name="connsiteX1102" fmla="*/ 335803 w 447236"/>
              <a:gd name="connsiteY1102" fmla="*/ 275520 h 448122"/>
              <a:gd name="connsiteX1103" fmla="*/ 337338 w 447236"/>
              <a:gd name="connsiteY1103" fmla="*/ 253773 h 448122"/>
              <a:gd name="connsiteX1104" fmla="*/ 337952 w 447236"/>
              <a:gd name="connsiteY1104" fmla="*/ 252548 h 448122"/>
              <a:gd name="connsiteX1105" fmla="*/ 289502 w 447236"/>
              <a:gd name="connsiteY1105" fmla="*/ 251039 h 448122"/>
              <a:gd name="connsiteX1106" fmla="*/ 289196 w 447236"/>
              <a:gd name="connsiteY1106" fmla="*/ 251652 h 448122"/>
              <a:gd name="connsiteX1107" fmla="*/ 289502 w 447236"/>
              <a:gd name="connsiteY1107" fmla="*/ 251958 h 448122"/>
              <a:gd name="connsiteX1108" fmla="*/ 295301 w 447236"/>
              <a:gd name="connsiteY1108" fmla="*/ 251958 h 448122"/>
              <a:gd name="connsiteX1109" fmla="*/ 295911 w 447236"/>
              <a:gd name="connsiteY1109" fmla="*/ 251652 h 448122"/>
              <a:gd name="connsiteX1110" fmla="*/ 295301 w 447236"/>
              <a:gd name="connsiteY1110" fmla="*/ 251039 h 448122"/>
              <a:gd name="connsiteX1111" fmla="*/ 289502 w 447236"/>
              <a:gd name="connsiteY1111" fmla="*/ 251039 h 448122"/>
              <a:gd name="connsiteX1112" fmla="*/ 187885 w 447236"/>
              <a:gd name="connsiteY1112" fmla="*/ 250936 h 448122"/>
              <a:gd name="connsiteX1113" fmla="*/ 187885 w 447236"/>
              <a:gd name="connsiteY1113" fmla="*/ 261504 h 448122"/>
              <a:gd name="connsiteX1114" fmla="*/ 187888 w 447236"/>
              <a:gd name="connsiteY1114" fmla="*/ 261503 h 448122"/>
              <a:gd name="connsiteX1115" fmla="*/ 187888 w 447236"/>
              <a:gd name="connsiteY1115" fmla="*/ 251081 h 448122"/>
              <a:gd name="connsiteX1116" fmla="*/ 185683 w 447236"/>
              <a:gd name="connsiteY1116" fmla="*/ 250402 h 448122"/>
              <a:gd name="connsiteX1117" fmla="*/ 185684 w 447236"/>
              <a:gd name="connsiteY1117" fmla="*/ 250433 h 448122"/>
              <a:gd name="connsiteX1118" fmla="*/ 185684 w 447236"/>
              <a:gd name="connsiteY1118" fmla="*/ 250433 h 448122"/>
              <a:gd name="connsiteX1119" fmla="*/ 351931 w 447236"/>
              <a:gd name="connsiteY1119" fmla="*/ 248299 h 448122"/>
              <a:gd name="connsiteX1120" fmla="*/ 352344 w 447236"/>
              <a:gd name="connsiteY1120" fmla="*/ 249826 h 448122"/>
              <a:gd name="connsiteX1121" fmla="*/ 360938 w 447236"/>
              <a:gd name="connsiteY1121" fmla="*/ 257804 h 448122"/>
              <a:gd name="connsiteX1122" fmla="*/ 381196 w 447236"/>
              <a:gd name="connsiteY1122" fmla="*/ 257804 h 448122"/>
              <a:gd name="connsiteX1123" fmla="*/ 389790 w 447236"/>
              <a:gd name="connsiteY1123" fmla="*/ 249826 h 448122"/>
              <a:gd name="connsiteX1124" fmla="*/ 389800 w 447236"/>
              <a:gd name="connsiteY1124" fmla="*/ 249791 h 448122"/>
              <a:gd name="connsiteX1125" fmla="*/ 381264 w 447236"/>
              <a:gd name="connsiteY1125" fmla="*/ 257714 h 448122"/>
              <a:gd name="connsiteX1126" fmla="*/ 361020 w 447236"/>
              <a:gd name="connsiteY1126" fmla="*/ 257714 h 448122"/>
              <a:gd name="connsiteX1127" fmla="*/ 352432 w 447236"/>
              <a:gd name="connsiteY1127" fmla="*/ 249743 h 448122"/>
              <a:gd name="connsiteX1128" fmla="*/ 289502 w 447236"/>
              <a:gd name="connsiteY1128" fmla="*/ 247360 h 448122"/>
              <a:gd name="connsiteX1129" fmla="*/ 289196 w 447236"/>
              <a:gd name="connsiteY1129" fmla="*/ 247973 h 448122"/>
              <a:gd name="connsiteX1130" fmla="*/ 289502 w 447236"/>
              <a:gd name="connsiteY1130" fmla="*/ 248279 h 448122"/>
              <a:gd name="connsiteX1131" fmla="*/ 295301 w 447236"/>
              <a:gd name="connsiteY1131" fmla="*/ 248279 h 448122"/>
              <a:gd name="connsiteX1132" fmla="*/ 295911 w 447236"/>
              <a:gd name="connsiteY1132" fmla="*/ 247973 h 448122"/>
              <a:gd name="connsiteX1133" fmla="*/ 295301 w 447236"/>
              <a:gd name="connsiteY1133" fmla="*/ 247360 h 448122"/>
              <a:gd name="connsiteX1134" fmla="*/ 289502 w 447236"/>
              <a:gd name="connsiteY1134" fmla="*/ 247360 h 448122"/>
              <a:gd name="connsiteX1135" fmla="*/ 289502 w 447236"/>
              <a:gd name="connsiteY1135" fmla="*/ 243988 h 448122"/>
              <a:gd name="connsiteX1136" fmla="*/ 289196 w 447236"/>
              <a:gd name="connsiteY1136" fmla="*/ 244601 h 448122"/>
              <a:gd name="connsiteX1137" fmla="*/ 289502 w 447236"/>
              <a:gd name="connsiteY1137" fmla="*/ 244907 h 448122"/>
              <a:gd name="connsiteX1138" fmla="*/ 295301 w 447236"/>
              <a:gd name="connsiteY1138" fmla="*/ 244907 h 448122"/>
              <a:gd name="connsiteX1139" fmla="*/ 295911 w 447236"/>
              <a:gd name="connsiteY1139" fmla="*/ 244601 h 448122"/>
              <a:gd name="connsiteX1140" fmla="*/ 295301 w 447236"/>
              <a:gd name="connsiteY1140" fmla="*/ 243988 h 448122"/>
              <a:gd name="connsiteX1141" fmla="*/ 289502 w 447236"/>
              <a:gd name="connsiteY1141" fmla="*/ 243988 h 448122"/>
              <a:gd name="connsiteX1142" fmla="*/ 245054 w 447236"/>
              <a:gd name="connsiteY1142" fmla="*/ 240858 h 448122"/>
              <a:gd name="connsiteX1143" fmla="*/ 241012 w 447236"/>
              <a:gd name="connsiteY1143" fmla="*/ 245557 h 448122"/>
              <a:gd name="connsiteX1144" fmla="*/ 237393 w 447236"/>
              <a:gd name="connsiteY1144" fmla="*/ 260542 h 448122"/>
              <a:gd name="connsiteX1145" fmla="*/ 245857 w 447236"/>
              <a:gd name="connsiteY1145" fmla="*/ 259939 h 448122"/>
              <a:gd name="connsiteX1146" fmla="*/ 253201 w 447236"/>
              <a:gd name="connsiteY1146" fmla="*/ 261892 h 448122"/>
              <a:gd name="connsiteX1147" fmla="*/ 248963 w 447236"/>
              <a:gd name="connsiteY1147" fmla="*/ 245557 h 448122"/>
              <a:gd name="connsiteX1148" fmla="*/ 289502 w 447236"/>
              <a:gd name="connsiteY1148" fmla="*/ 240309 h 448122"/>
              <a:gd name="connsiteX1149" fmla="*/ 289196 w 447236"/>
              <a:gd name="connsiteY1149" fmla="*/ 240615 h 448122"/>
              <a:gd name="connsiteX1150" fmla="*/ 289502 w 447236"/>
              <a:gd name="connsiteY1150" fmla="*/ 240922 h 448122"/>
              <a:gd name="connsiteX1151" fmla="*/ 295301 w 447236"/>
              <a:gd name="connsiteY1151" fmla="*/ 240922 h 448122"/>
              <a:gd name="connsiteX1152" fmla="*/ 295911 w 447236"/>
              <a:gd name="connsiteY1152" fmla="*/ 240615 h 448122"/>
              <a:gd name="connsiteX1153" fmla="*/ 295301 w 447236"/>
              <a:gd name="connsiteY1153" fmla="*/ 240309 h 448122"/>
              <a:gd name="connsiteX1154" fmla="*/ 289502 w 447236"/>
              <a:gd name="connsiteY1154" fmla="*/ 240309 h 448122"/>
              <a:gd name="connsiteX1155" fmla="*/ 205020 w 447236"/>
              <a:gd name="connsiteY1155" fmla="*/ 238723 h 448122"/>
              <a:gd name="connsiteX1156" fmla="*/ 204103 w 447236"/>
              <a:gd name="connsiteY1156" fmla="*/ 239395 h 448122"/>
              <a:gd name="connsiteX1157" fmla="*/ 202262 w 447236"/>
              <a:gd name="connsiteY1157" fmla="*/ 247053 h 448122"/>
              <a:gd name="connsiteX1158" fmla="*/ 204103 w 447236"/>
              <a:gd name="connsiteY1158" fmla="*/ 250729 h 448122"/>
              <a:gd name="connsiteX1159" fmla="*/ 205040 w 447236"/>
              <a:gd name="connsiteY1159" fmla="*/ 251633 h 448122"/>
              <a:gd name="connsiteX1160" fmla="*/ 205040 w 447236"/>
              <a:gd name="connsiteY1160" fmla="*/ 248268 h 448122"/>
              <a:gd name="connsiteX1161" fmla="*/ 205020 w 447236"/>
              <a:gd name="connsiteY1161" fmla="*/ 248268 h 448122"/>
              <a:gd name="connsiteX1162" fmla="*/ 11966 w 447236"/>
              <a:gd name="connsiteY1162" fmla="*/ 236875 h 448122"/>
              <a:gd name="connsiteX1163" fmla="*/ 27307 w 447236"/>
              <a:gd name="connsiteY1163" fmla="*/ 236875 h 448122"/>
              <a:gd name="connsiteX1164" fmla="*/ 29762 w 447236"/>
              <a:gd name="connsiteY1164" fmla="*/ 244843 h 448122"/>
              <a:gd name="connsiteX1165" fmla="*/ 38967 w 447236"/>
              <a:gd name="connsiteY1165" fmla="*/ 270891 h 448122"/>
              <a:gd name="connsiteX1166" fmla="*/ 38660 w 447236"/>
              <a:gd name="connsiteY1166" fmla="*/ 314407 h 448122"/>
              <a:gd name="connsiteX1167" fmla="*/ 34978 w 447236"/>
              <a:gd name="connsiteY1167" fmla="*/ 318084 h 448122"/>
              <a:gd name="connsiteX1168" fmla="*/ 3988 w 447236"/>
              <a:gd name="connsiteY1168" fmla="*/ 318084 h 448122"/>
              <a:gd name="connsiteX1169" fmla="*/ 307 w 447236"/>
              <a:gd name="connsiteY1169" fmla="*/ 314407 h 448122"/>
              <a:gd name="connsiteX1170" fmla="*/ 0 w 447236"/>
              <a:gd name="connsiteY1170" fmla="*/ 270891 h 448122"/>
              <a:gd name="connsiteX1171" fmla="*/ 9205 w 447236"/>
              <a:gd name="connsiteY1171" fmla="*/ 244843 h 448122"/>
              <a:gd name="connsiteX1172" fmla="*/ 11966 w 447236"/>
              <a:gd name="connsiteY1172" fmla="*/ 236875 h 448122"/>
              <a:gd name="connsiteX1173" fmla="*/ 184543 w 447236"/>
              <a:gd name="connsiteY1173" fmla="*/ 231534 h 448122"/>
              <a:gd name="connsiteX1174" fmla="*/ 185354 w 447236"/>
              <a:gd name="connsiteY1174" fmla="*/ 239304 h 448122"/>
              <a:gd name="connsiteX1175" fmla="*/ 185094 w 447236"/>
              <a:gd name="connsiteY1175" fmla="*/ 233901 h 448122"/>
              <a:gd name="connsiteX1176" fmla="*/ 184799 w 447236"/>
              <a:gd name="connsiteY1176" fmla="*/ 232064 h 448122"/>
              <a:gd name="connsiteX1177" fmla="*/ 186969 w 447236"/>
              <a:gd name="connsiteY1177" fmla="*/ 230851 h 448122"/>
              <a:gd name="connsiteX1178" fmla="*/ 187275 w 447236"/>
              <a:gd name="connsiteY1178" fmla="*/ 231157 h 448122"/>
              <a:gd name="connsiteX1179" fmla="*/ 187270 w 447236"/>
              <a:gd name="connsiteY1179" fmla="*/ 231157 h 448122"/>
              <a:gd name="connsiteX1180" fmla="*/ 187307 w 447236"/>
              <a:gd name="connsiteY1180" fmla="*/ 231287 h 448122"/>
              <a:gd name="connsiteX1181" fmla="*/ 187275 w 447236"/>
              <a:gd name="connsiteY1181" fmla="*/ 231157 h 448122"/>
              <a:gd name="connsiteX1182" fmla="*/ 187888 w 447236"/>
              <a:gd name="connsiteY1182" fmla="*/ 232077 h 448122"/>
              <a:gd name="connsiteX1183" fmla="*/ 187888 w 447236"/>
              <a:gd name="connsiteY1183" fmla="*/ 233303 h 448122"/>
              <a:gd name="connsiteX1184" fmla="*/ 188194 w 447236"/>
              <a:gd name="connsiteY1184" fmla="*/ 251081 h 448122"/>
              <a:gd name="connsiteX1185" fmla="*/ 188194 w 447236"/>
              <a:gd name="connsiteY1185" fmla="*/ 261809 h 448122"/>
              <a:gd name="connsiteX1186" fmla="*/ 188135 w 447236"/>
              <a:gd name="connsiteY1186" fmla="*/ 261809 h 448122"/>
              <a:gd name="connsiteX1187" fmla="*/ 189007 w 447236"/>
              <a:gd name="connsiteY1187" fmla="*/ 269397 h 448122"/>
              <a:gd name="connsiteX1188" fmla="*/ 190141 w 447236"/>
              <a:gd name="connsiteY1188" fmla="*/ 277736 h 448122"/>
              <a:gd name="connsiteX1189" fmla="*/ 188895 w 447236"/>
              <a:gd name="connsiteY1189" fmla="*/ 269852 h 448122"/>
              <a:gd name="connsiteX1190" fmla="*/ 187840 w 447236"/>
              <a:gd name="connsiteY1190" fmla="*/ 262193 h 448122"/>
              <a:gd name="connsiteX1191" fmla="*/ 188122 w 447236"/>
              <a:gd name="connsiteY1191" fmla="*/ 262006 h 448122"/>
              <a:gd name="connsiteX1192" fmla="*/ 187815 w 447236"/>
              <a:gd name="connsiteY1192" fmla="*/ 262006 h 448122"/>
              <a:gd name="connsiteX1193" fmla="*/ 187840 w 447236"/>
              <a:gd name="connsiteY1193" fmla="*/ 262193 h 448122"/>
              <a:gd name="connsiteX1194" fmla="*/ 187839 w 447236"/>
              <a:gd name="connsiteY1194" fmla="*/ 262194 h 448122"/>
              <a:gd name="connsiteX1195" fmla="*/ 188824 w 447236"/>
              <a:gd name="connsiteY1195" fmla="*/ 269402 h 448122"/>
              <a:gd name="connsiteX1196" fmla="*/ 188895 w 447236"/>
              <a:gd name="connsiteY1196" fmla="*/ 269852 h 448122"/>
              <a:gd name="connsiteX1197" fmla="*/ 190008 w 447236"/>
              <a:gd name="connsiteY1197" fmla="*/ 277937 h 448122"/>
              <a:gd name="connsiteX1198" fmla="*/ 190585 w 447236"/>
              <a:gd name="connsiteY1198" fmla="*/ 280999 h 448122"/>
              <a:gd name="connsiteX1199" fmla="*/ 190585 w 447236"/>
              <a:gd name="connsiteY1199" fmla="*/ 281001 h 448122"/>
              <a:gd name="connsiteX1200" fmla="*/ 191466 w 447236"/>
              <a:gd name="connsiteY1200" fmla="*/ 286111 h 448122"/>
              <a:gd name="connsiteX1201" fmla="*/ 192347 w 447236"/>
              <a:gd name="connsiteY1201" fmla="*/ 291685 h 448122"/>
              <a:gd name="connsiteX1202" fmla="*/ 192846 w 447236"/>
              <a:gd name="connsiteY1202" fmla="*/ 293001 h 448122"/>
              <a:gd name="connsiteX1203" fmla="*/ 192828 w 447236"/>
              <a:gd name="connsiteY1203" fmla="*/ 292905 h 448122"/>
              <a:gd name="connsiteX1204" fmla="*/ 192967 w 447236"/>
              <a:gd name="connsiteY1204" fmla="*/ 293318 h 448122"/>
              <a:gd name="connsiteX1205" fmla="*/ 194444 w 447236"/>
              <a:gd name="connsiteY1205" fmla="*/ 297210 h 448122"/>
              <a:gd name="connsiteX1206" fmla="*/ 194587 w 447236"/>
              <a:gd name="connsiteY1206" fmla="*/ 297544 h 448122"/>
              <a:gd name="connsiteX1207" fmla="*/ 194548 w 447236"/>
              <a:gd name="connsiteY1207" fmla="*/ 297485 h 448122"/>
              <a:gd name="connsiteX1208" fmla="*/ 194569 w 447236"/>
              <a:gd name="connsiteY1208" fmla="*/ 297540 h 448122"/>
              <a:gd name="connsiteX1209" fmla="*/ 194587 w 447236"/>
              <a:gd name="connsiteY1209" fmla="*/ 297544 h 448122"/>
              <a:gd name="connsiteX1210" fmla="*/ 195686 w 447236"/>
              <a:gd name="connsiteY1210" fmla="*/ 297763 h 448122"/>
              <a:gd name="connsiteX1211" fmla="*/ 196127 w 447236"/>
              <a:gd name="connsiteY1211" fmla="*/ 297544 h 448122"/>
              <a:gd name="connsiteX1212" fmla="*/ 201360 w 447236"/>
              <a:gd name="connsiteY1212" fmla="*/ 296319 h 448122"/>
              <a:gd name="connsiteX1213" fmla="*/ 201668 w 447236"/>
              <a:gd name="connsiteY1213" fmla="*/ 296319 h 448122"/>
              <a:gd name="connsiteX1214" fmla="*/ 206286 w 447236"/>
              <a:gd name="connsiteY1214" fmla="*/ 299382 h 448122"/>
              <a:gd name="connsiteX1215" fmla="*/ 201668 w 447236"/>
              <a:gd name="connsiteY1215" fmla="*/ 296625 h 448122"/>
              <a:gd name="connsiteX1216" fmla="*/ 201641 w 447236"/>
              <a:gd name="connsiteY1216" fmla="*/ 296625 h 448122"/>
              <a:gd name="connsiteX1217" fmla="*/ 206242 w 447236"/>
              <a:gd name="connsiteY1217" fmla="*/ 299379 h 448122"/>
              <a:gd name="connsiteX1218" fmla="*/ 207154 w 447236"/>
              <a:gd name="connsiteY1218" fmla="*/ 305898 h 448122"/>
              <a:gd name="connsiteX1219" fmla="*/ 207825 w 447236"/>
              <a:gd name="connsiteY1219" fmla="*/ 304897 h 448122"/>
              <a:gd name="connsiteX1220" fmla="*/ 207164 w 447236"/>
              <a:gd name="connsiteY1220" fmla="*/ 305970 h 448122"/>
              <a:gd name="connsiteX1221" fmla="*/ 207432 w 447236"/>
              <a:gd name="connsiteY1221" fmla="*/ 307882 h 448122"/>
              <a:gd name="connsiteX1222" fmla="*/ 202676 w 447236"/>
              <a:gd name="connsiteY1222" fmla="*/ 313257 h 448122"/>
              <a:gd name="connsiteX1223" fmla="*/ 201976 w 447236"/>
              <a:gd name="connsiteY1223" fmla="*/ 314394 h 448122"/>
              <a:gd name="connsiteX1224" fmla="*/ 200745 w 447236"/>
              <a:gd name="connsiteY1224" fmla="*/ 314394 h 448122"/>
              <a:gd name="connsiteX1225" fmla="*/ 199821 w 447236"/>
              <a:gd name="connsiteY1225" fmla="*/ 314394 h 448122"/>
              <a:gd name="connsiteX1226" fmla="*/ 196025 w 447236"/>
              <a:gd name="connsiteY1226" fmla="*/ 311197 h 448122"/>
              <a:gd name="connsiteX1227" fmla="*/ 195798 w 447236"/>
              <a:gd name="connsiteY1227" fmla="*/ 311023 h 448122"/>
              <a:gd name="connsiteX1228" fmla="*/ 195695 w 447236"/>
              <a:gd name="connsiteY1228" fmla="*/ 310594 h 448122"/>
              <a:gd name="connsiteX1229" fmla="*/ 193972 w 447236"/>
              <a:gd name="connsiteY1229" fmla="*/ 304590 h 448122"/>
              <a:gd name="connsiteX1230" fmla="*/ 193972 w 447236"/>
              <a:gd name="connsiteY1230" fmla="*/ 302562 h 448122"/>
              <a:gd name="connsiteX1231" fmla="*/ 193955 w 447236"/>
              <a:gd name="connsiteY1231" fmla="*/ 302443 h 448122"/>
              <a:gd name="connsiteX1232" fmla="*/ 193647 w 447236"/>
              <a:gd name="connsiteY1232" fmla="*/ 301524 h 448122"/>
              <a:gd name="connsiteX1233" fmla="*/ 192114 w 447236"/>
              <a:gd name="connsiteY1233" fmla="*/ 299689 h 448122"/>
              <a:gd name="connsiteX1234" fmla="*/ 190893 w 447236"/>
              <a:gd name="connsiteY1234" fmla="*/ 299689 h 448122"/>
              <a:gd name="connsiteX1235" fmla="*/ 188738 w 447236"/>
              <a:gd name="connsiteY1235" fmla="*/ 299995 h 448122"/>
              <a:gd name="connsiteX1236" fmla="*/ 188122 w 447236"/>
              <a:gd name="connsiteY1236" fmla="*/ 299995 h 448122"/>
              <a:gd name="connsiteX1237" fmla="*/ 187199 w 447236"/>
              <a:gd name="connsiteY1237" fmla="*/ 299689 h 448122"/>
              <a:gd name="connsiteX1238" fmla="*/ 186891 w 447236"/>
              <a:gd name="connsiteY1238" fmla="*/ 297850 h 448122"/>
              <a:gd name="connsiteX1239" fmla="*/ 187199 w 447236"/>
              <a:gd name="connsiteY1239" fmla="*/ 299382 h 448122"/>
              <a:gd name="connsiteX1240" fmla="*/ 188122 w 447236"/>
              <a:gd name="connsiteY1240" fmla="*/ 299689 h 448122"/>
              <a:gd name="connsiteX1241" fmla="*/ 188738 w 447236"/>
              <a:gd name="connsiteY1241" fmla="*/ 299689 h 448122"/>
              <a:gd name="connsiteX1242" fmla="*/ 188761 w 447236"/>
              <a:gd name="connsiteY1242" fmla="*/ 299685 h 448122"/>
              <a:gd name="connsiteX1243" fmla="*/ 188733 w 447236"/>
              <a:gd name="connsiteY1243" fmla="*/ 299685 h 448122"/>
              <a:gd name="connsiteX1244" fmla="*/ 186892 w 447236"/>
              <a:gd name="connsiteY1244" fmla="*/ 297849 h 448122"/>
              <a:gd name="connsiteX1245" fmla="*/ 186891 w 447236"/>
              <a:gd name="connsiteY1245" fmla="*/ 297850 h 448122"/>
              <a:gd name="connsiteX1246" fmla="*/ 186892 w 447236"/>
              <a:gd name="connsiteY1246" fmla="*/ 297849 h 448122"/>
              <a:gd name="connsiteX1247" fmla="*/ 186890 w 447236"/>
              <a:gd name="connsiteY1247" fmla="*/ 297847 h 448122"/>
              <a:gd name="connsiteX1248" fmla="*/ 186894 w 447236"/>
              <a:gd name="connsiteY1248" fmla="*/ 297844 h 448122"/>
              <a:gd name="connsiteX1249" fmla="*/ 187199 w 447236"/>
              <a:gd name="connsiteY1249" fmla="*/ 297238 h 448122"/>
              <a:gd name="connsiteX1250" fmla="*/ 187806 w 447236"/>
              <a:gd name="connsiteY1250" fmla="*/ 297238 h 448122"/>
              <a:gd name="connsiteX1251" fmla="*/ 187811 w 447236"/>
              <a:gd name="connsiteY1251" fmla="*/ 297234 h 448122"/>
              <a:gd name="connsiteX1252" fmla="*/ 187862 w 447236"/>
              <a:gd name="connsiteY1252" fmla="*/ 297228 h 448122"/>
              <a:gd name="connsiteX1253" fmla="*/ 189354 w 447236"/>
              <a:gd name="connsiteY1253" fmla="*/ 296931 h 448122"/>
              <a:gd name="connsiteX1254" fmla="*/ 190585 w 447236"/>
              <a:gd name="connsiteY1254" fmla="*/ 296625 h 448122"/>
              <a:gd name="connsiteX1255" fmla="*/ 191201 w 447236"/>
              <a:gd name="connsiteY1255" fmla="*/ 295400 h 448122"/>
              <a:gd name="connsiteX1256" fmla="*/ 191201 w 447236"/>
              <a:gd name="connsiteY1256" fmla="*/ 294787 h 448122"/>
              <a:gd name="connsiteX1257" fmla="*/ 189694 w 447236"/>
              <a:gd name="connsiteY1257" fmla="*/ 284887 h 448122"/>
              <a:gd name="connsiteX1258" fmla="*/ 189654 w 447236"/>
              <a:gd name="connsiteY1258" fmla="*/ 284670 h 448122"/>
              <a:gd name="connsiteX1259" fmla="*/ 186993 w 447236"/>
              <a:gd name="connsiteY1259" fmla="*/ 267539 h 448122"/>
              <a:gd name="connsiteX1260" fmla="*/ 186318 w 447236"/>
              <a:gd name="connsiteY1260" fmla="*/ 263203 h 448122"/>
              <a:gd name="connsiteX1261" fmla="*/ 186320 w 447236"/>
              <a:gd name="connsiteY1261" fmla="*/ 263202 h 448122"/>
              <a:gd name="connsiteX1262" fmla="*/ 186296 w 447236"/>
              <a:gd name="connsiteY1262" fmla="*/ 263046 h 448122"/>
              <a:gd name="connsiteX1263" fmla="*/ 186281 w 447236"/>
              <a:gd name="connsiteY1263" fmla="*/ 262957 h 448122"/>
              <a:gd name="connsiteX1264" fmla="*/ 186280 w 447236"/>
              <a:gd name="connsiteY1264" fmla="*/ 262958 h 448122"/>
              <a:gd name="connsiteX1265" fmla="*/ 186318 w 447236"/>
              <a:gd name="connsiteY1265" fmla="*/ 263203 h 448122"/>
              <a:gd name="connsiteX1266" fmla="*/ 186275 w 447236"/>
              <a:gd name="connsiteY1266" fmla="*/ 263232 h 448122"/>
              <a:gd name="connsiteX1267" fmla="*/ 186275 w 447236"/>
              <a:gd name="connsiteY1267" fmla="*/ 262961 h 448122"/>
              <a:gd name="connsiteX1268" fmla="*/ 185743 w 447236"/>
              <a:gd name="connsiteY1268" fmla="*/ 263342 h 448122"/>
              <a:gd name="connsiteX1269" fmla="*/ 184211 w 447236"/>
              <a:gd name="connsiteY1269" fmla="*/ 275296 h 448122"/>
              <a:gd name="connsiteX1270" fmla="*/ 182985 w 447236"/>
              <a:gd name="connsiteY1270" fmla="*/ 281733 h 448122"/>
              <a:gd name="connsiteX1271" fmla="*/ 181147 w 447236"/>
              <a:gd name="connsiteY1271" fmla="*/ 291235 h 448122"/>
              <a:gd name="connsiteX1272" fmla="*/ 181398 w 447236"/>
              <a:gd name="connsiteY1272" fmla="*/ 289676 h 448122"/>
              <a:gd name="connsiteX1273" fmla="*/ 181114 w 447236"/>
              <a:gd name="connsiteY1273" fmla="*/ 291136 h 448122"/>
              <a:gd name="connsiteX1274" fmla="*/ 180590 w 447236"/>
              <a:gd name="connsiteY1274" fmla="*/ 293741 h 448122"/>
              <a:gd name="connsiteX1275" fmla="*/ 181147 w 447236"/>
              <a:gd name="connsiteY1275" fmla="*/ 291235 h 448122"/>
              <a:gd name="connsiteX1276" fmla="*/ 180840 w 447236"/>
              <a:gd name="connsiteY1276" fmla="*/ 294300 h 448122"/>
              <a:gd name="connsiteX1277" fmla="*/ 180534 w 447236"/>
              <a:gd name="connsiteY1277" fmla="*/ 295833 h 448122"/>
              <a:gd name="connsiteX1278" fmla="*/ 180534 w 447236"/>
              <a:gd name="connsiteY1278" fmla="*/ 296182 h 448122"/>
              <a:gd name="connsiteX1279" fmla="*/ 181114 w 447236"/>
              <a:gd name="connsiteY1279" fmla="*/ 296951 h 448122"/>
              <a:gd name="connsiteX1280" fmla="*/ 181729 w 447236"/>
              <a:gd name="connsiteY1280" fmla="*/ 296951 h 448122"/>
              <a:gd name="connsiteX1281" fmla="*/ 183884 w 447236"/>
              <a:gd name="connsiteY1281" fmla="*/ 297257 h 448122"/>
              <a:gd name="connsiteX1282" fmla="*/ 184500 w 447236"/>
              <a:gd name="connsiteY1282" fmla="*/ 297257 h 448122"/>
              <a:gd name="connsiteX1283" fmla="*/ 184500 w 447236"/>
              <a:gd name="connsiteY1283" fmla="*/ 297365 h 448122"/>
              <a:gd name="connsiteX1284" fmla="*/ 184517 w 447236"/>
              <a:gd name="connsiteY1284" fmla="*/ 297365 h 448122"/>
              <a:gd name="connsiteX1285" fmla="*/ 185130 w 447236"/>
              <a:gd name="connsiteY1285" fmla="*/ 297672 h 448122"/>
              <a:gd name="connsiteX1286" fmla="*/ 185130 w 447236"/>
              <a:gd name="connsiteY1286" fmla="*/ 298285 h 448122"/>
              <a:gd name="connsiteX1287" fmla="*/ 185130 w 447236"/>
              <a:gd name="connsiteY1287" fmla="*/ 299204 h 448122"/>
              <a:gd name="connsiteX1288" fmla="*/ 184824 w 447236"/>
              <a:gd name="connsiteY1288" fmla="*/ 299511 h 448122"/>
              <a:gd name="connsiteX1289" fmla="*/ 184517 w 447236"/>
              <a:gd name="connsiteY1289" fmla="*/ 299511 h 448122"/>
              <a:gd name="connsiteX1290" fmla="*/ 184824 w 447236"/>
              <a:gd name="connsiteY1290" fmla="*/ 299204 h 448122"/>
              <a:gd name="connsiteX1291" fmla="*/ 184824 w 447236"/>
              <a:gd name="connsiteY1291" fmla="*/ 298285 h 448122"/>
              <a:gd name="connsiteX1292" fmla="*/ 184824 w 447236"/>
              <a:gd name="connsiteY1292" fmla="*/ 297672 h 448122"/>
              <a:gd name="connsiteX1293" fmla="*/ 184517 w 447236"/>
              <a:gd name="connsiteY1293" fmla="*/ 297672 h 448122"/>
              <a:gd name="connsiteX1294" fmla="*/ 184500 w 447236"/>
              <a:gd name="connsiteY1294" fmla="*/ 297672 h 448122"/>
              <a:gd name="connsiteX1295" fmla="*/ 184500 w 447236"/>
              <a:gd name="connsiteY1295" fmla="*/ 299399 h 448122"/>
              <a:gd name="connsiteX1296" fmla="*/ 184316 w 447236"/>
              <a:gd name="connsiteY1296" fmla="*/ 299486 h 448122"/>
              <a:gd name="connsiteX1297" fmla="*/ 184517 w 447236"/>
              <a:gd name="connsiteY1297" fmla="*/ 299511 h 448122"/>
              <a:gd name="connsiteX1298" fmla="*/ 184263 w 447236"/>
              <a:gd name="connsiteY1298" fmla="*/ 299511 h 448122"/>
              <a:gd name="connsiteX1299" fmla="*/ 178575 w 447236"/>
              <a:gd name="connsiteY1299" fmla="*/ 302204 h 448122"/>
              <a:gd name="connsiteX1300" fmla="*/ 178389 w 447236"/>
              <a:gd name="connsiteY1300" fmla="*/ 302576 h 448122"/>
              <a:gd name="connsiteX1301" fmla="*/ 178389 w 447236"/>
              <a:gd name="connsiteY1301" fmla="*/ 304109 h 448122"/>
              <a:gd name="connsiteX1302" fmla="*/ 175018 w 447236"/>
              <a:gd name="connsiteY1302" fmla="*/ 312998 h 448122"/>
              <a:gd name="connsiteX1303" fmla="*/ 171630 w 447236"/>
              <a:gd name="connsiteY1303" fmla="*/ 314450 h 448122"/>
              <a:gd name="connsiteX1304" fmla="*/ 174986 w 447236"/>
              <a:gd name="connsiteY1304" fmla="*/ 318380 h 448122"/>
              <a:gd name="connsiteX1305" fmla="*/ 174986 w 447236"/>
              <a:gd name="connsiteY1305" fmla="*/ 337389 h 448122"/>
              <a:gd name="connsiteX1306" fmla="*/ 175605 w 447236"/>
              <a:gd name="connsiteY1306" fmla="*/ 337389 h 448122"/>
              <a:gd name="connsiteX1307" fmla="*/ 176533 w 447236"/>
              <a:gd name="connsiteY1307" fmla="*/ 338309 h 448122"/>
              <a:gd name="connsiteX1308" fmla="*/ 176533 w 447236"/>
              <a:gd name="connsiteY1308" fmla="*/ 338922 h 448122"/>
              <a:gd name="connsiteX1309" fmla="*/ 175605 w 447236"/>
              <a:gd name="connsiteY1309" fmla="*/ 339842 h 448122"/>
              <a:gd name="connsiteX1310" fmla="*/ 174057 w 447236"/>
              <a:gd name="connsiteY1310" fmla="*/ 339842 h 448122"/>
              <a:gd name="connsiteX1311" fmla="*/ 174367 w 447236"/>
              <a:gd name="connsiteY1311" fmla="*/ 377247 h 448122"/>
              <a:gd name="connsiteX1312" fmla="*/ 172510 w 447236"/>
              <a:gd name="connsiteY1312" fmla="*/ 393804 h 448122"/>
              <a:gd name="connsiteX1313" fmla="*/ 170963 w 447236"/>
              <a:gd name="connsiteY1313" fmla="*/ 393804 h 448122"/>
              <a:gd name="connsiteX1314" fmla="*/ 169106 w 447236"/>
              <a:gd name="connsiteY1314" fmla="*/ 377247 h 448122"/>
              <a:gd name="connsiteX1315" fmla="*/ 169415 w 447236"/>
              <a:gd name="connsiteY1315" fmla="*/ 339842 h 448122"/>
              <a:gd name="connsiteX1316" fmla="*/ 167868 w 447236"/>
              <a:gd name="connsiteY1316" fmla="*/ 339842 h 448122"/>
              <a:gd name="connsiteX1317" fmla="*/ 166939 w 447236"/>
              <a:gd name="connsiteY1317" fmla="*/ 338922 h 448122"/>
              <a:gd name="connsiteX1318" fmla="*/ 166939 w 447236"/>
              <a:gd name="connsiteY1318" fmla="*/ 338309 h 448122"/>
              <a:gd name="connsiteX1319" fmla="*/ 167868 w 447236"/>
              <a:gd name="connsiteY1319" fmla="*/ 337389 h 448122"/>
              <a:gd name="connsiteX1320" fmla="*/ 168487 w 447236"/>
              <a:gd name="connsiteY1320" fmla="*/ 337389 h 448122"/>
              <a:gd name="connsiteX1321" fmla="*/ 168487 w 447236"/>
              <a:gd name="connsiteY1321" fmla="*/ 318380 h 448122"/>
              <a:gd name="connsiteX1322" fmla="*/ 171492 w 447236"/>
              <a:gd name="connsiteY1322" fmla="*/ 314509 h 448122"/>
              <a:gd name="connsiteX1323" fmla="*/ 170728 w 447236"/>
              <a:gd name="connsiteY1323" fmla="*/ 314837 h 448122"/>
              <a:gd name="connsiteX1324" fmla="*/ 170422 w 447236"/>
              <a:gd name="connsiteY1324" fmla="*/ 314837 h 448122"/>
              <a:gd name="connsiteX1325" fmla="*/ 167664 w 447236"/>
              <a:gd name="connsiteY1325" fmla="*/ 313917 h 448122"/>
              <a:gd name="connsiteX1326" fmla="*/ 165941 w 447236"/>
              <a:gd name="connsiteY1326" fmla="*/ 310327 h 448122"/>
              <a:gd name="connsiteX1327" fmla="*/ 164107 w 447236"/>
              <a:gd name="connsiteY1327" fmla="*/ 306782 h 448122"/>
              <a:gd name="connsiteX1328" fmla="*/ 164162 w 447236"/>
              <a:gd name="connsiteY1328" fmla="*/ 306621 h 448122"/>
              <a:gd name="connsiteX1329" fmla="*/ 163987 w 447236"/>
              <a:gd name="connsiteY1329" fmla="*/ 306254 h 448122"/>
              <a:gd name="connsiteX1330" fmla="*/ 165883 w 447236"/>
              <a:gd name="connsiteY1330" fmla="*/ 301617 h 448122"/>
              <a:gd name="connsiteX1331" fmla="*/ 166647 w 447236"/>
              <a:gd name="connsiteY1331" fmla="*/ 299399 h 448122"/>
              <a:gd name="connsiteX1332" fmla="*/ 167414 w 447236"/>
              <a:gd name="connsiteY1332" fmla="*/ 299254 h 448122"/>
              <a:gd name="connsiteX1333" fmla="*/ 170728 w 447236"/>
              <a:gd name="connsiteY1333" fmla="*/ 297978 h 448122"/>
              <a:gd name="connsiteX1334" fmla="*/ 172788 w 447236"/>
              <a:gd name="connsiteY1334" fmla="*/ 298236 h 448122"/>
              <a:gd name="connsiteX1335" fmla="*/ 173111 w 447236"/>
              <a:gd name="connsiteY1335" fmla="*/ 298175 h 448122"/>
              <a:gd name="connsiteX1336" fmla="*/ 176189 w 447236"/>
              <a:gd name="connsiteY1336" fmla="*/ 298787 h 448122"/>
              <a:gd name="connsiteX1337" fmla="*/ 177981 w 447236"/>
              <a:gd name="connsiteY1337" fmla="*/ 297005 h 448122"/>
              <a:gd name="connsiteX1338" fmla="*/ 178082 w 447236"/>
              <a:gd name="connsiteY1338" fmla="*/ 296752 h 448122"/>
              <a:gd name="connsiteX1339" fmla="*/ 180534 w 447236"/>
              <a:gd name="connsiteY1339" fmla="*/ 285411 h 448122"/>
              <a:gd name="connsiteX1340" fmla="*/ 183861 w 447236"/>
              <a:gd name="connsiteY1340" fmla="*/ 265440 h 448122"/>
              <a:gd name="connsiteX1341" fmla="*/ 184192 w 447236"/>
              <a:gd name="connsiteY1341" fmla="*/ 263289 h 448122"/>
              <a:gd name="connsiteX1342" fmla="*/ 184208 w 447236"/>
              <a:gd name="connsiteY1342" fmla="*/ 262977 h 448122"/>
              <a:gd name="connsiteX1343" fmla="*/ 184208 w 447236"/>
              <a:gd name="connsiteY1343" fmla="*/ 244010 h 448122"/>
              <a:gd name="connsiteX1344" fmla="*/ 184208 w 447236"/>
              <a:gd name="connsiteY1344" fmla="*/ 243997 h 448122"/>
              <a:gd name="connsiteX1345" fmla="*/ 183913 w 447236"/>
              <a:gd name="connsiteY1345" fmla="*/ 236350 h 448122"/>
              <a:gd name="connsiteX1346" fmla="*/ 184208 w 447236"/>
              <a:gd name="connsiteY1346" fmla="*/ 232064 h 448122"/>
              <a:gd name="connsiteX1347" fmla="*/ 184208 w 447236"/>
              <a:gd name="connsiteY1347" fmla="*/ 231452 h 448122"/>
              <a:gd name="connsiteX1348" fmla="*/ 184504 w 447236"/>
              <a:gd name="connsiteY1348" fmla="*/ 231146 h 448122"/>
              <a:gd name="connsiteX1349" fmla="*/ 184799 w 447236"/>
              <a:gd name="connsiteY1349" fmla="*/ 231146 h 448122"/>
              <a:gd name="connsiteX1350" fmla="*/ 185094 w 447236"/>
              <a:gd name="connsiteY1350" fmla="*/ 232370 h 448122"/>
              <a:gd name="connsiteX1351" fmla="*/ 185647 w 447236"/>
              <a:gd name="connsiteY1351" fmla="*/ 242205 h 448122"/>
              <a:gd name="connsiteX1352" fmla="*/ 185971 w 447236"/>
              <a:gd name="connsiteY1352" fmla="*/ 250240 h 448122"/>
              <a:gd name="connsiteX1353" fmla="*/ 186355 w 447236"/>
              <a:gd name="connsiteY1353" fmla="*/ 249856 h 448122"/>
              <a:gd name="connsiteX1354" fmla="*/ 186356 w 447236"/>
              <a:gd name="connsiteY1354" fmla="*/ 249819 h 448122"/>
              <a:gd name="connsiteX1355" fmla="*/ 186356 w 447236"/>
              <a:gd name="connsiteY1355" fmla="*/ 240046 h 448122"/>
              <a:gd name="connsiteX1356" fmla="*/ 186654 w 447236"/>
              <a:gd name="connsiteY1356" fmla="*/ 234673 h 448122"/>
              <a:gd name="connsiteX1357" fmla="*/ 186654 w 447236"/>
              <a:gd name="connsiteY1357" fmla="*/ 231463 h 448122"/>
              <a:gd name="connsiteX1358" fmla="*/ 186672 w 447236"/>
              <a:gd name="connsiteY1358" fmla="*/ 231454 h 448122"/>
              <a:gd name="connsiteX1359" fmla="*/ 186969 w 447236"/>
              <a:gd name="connsiteY1359" fmla="*/ 231157 h 448122"/>
              <a:gd name="connsiteX1360" fmla="*/ 186969 w 447236"/>
              <a:gd name="connsiteY1360" fmla="*/ 231307 h 448122"/>
              <a:gd name="connsiteX1361" fmla="*/ 187269 w 447236"/>
              <a:gd name="connsiteY1361" fmla="*/ 231157 h 448122"/>
              <a:gd name="connsiteX1362" fmla="*/ 186969 w 447236"/>
              <a:gd name="connsiteY1362" fmla="*/ 231157 h 448122"/>
              <a:gd name="connsiteX1363" fmla="*/ 186969 w 447236"/>
              <a:gd name="connsiteY1363" fmla="*/ 230851 h 448122"/>
              <a:gd name="connsiteX1364" fmla="*/ 133540 w 447236"/>
              <a:gd name="connsiteY1364" fmla="*/ 228046 h 448122"/>
              <a:gd name="connsiteX1365" fmla="*/ 135687 w 447236"/>
              <a:gd name="connsiteY1365" fmla="*/ 228046 h 448122"/>
              <a:gd name="connsiteX1366" fmla="*/ 136608 w 447236"/>
              <a:gd name="connsiteY1366" fmla="*/ 228966 h 448122"/>
              <a:gd name="connsiteX1367" fmla="*/ 136608 w 447236"/>
              <a:gd name="connsiteY1367" fmla="*/ 233875 h 448122"/>
              <a:gd name="connsiteX1368" fmla="*/ 141516 w 447236"/>
              <a:gd name="connsiteY1368" fmla="*/ 233875 h 448122"/>
              <a:gd name="connsiteX1369" fmla="*/ 142437 w 447236"/>
              <a:gd name="connsiteY1369" fmla="*/ 234488 h 448122"/>
              <a:gd name="connsiteX1370" fmla="*/ 142437 w 447236"/>
              <a:gd name="connsiteY1370" fmla="*/ 236943 h 448122"/>
              <a:gd name="connsiteX1371" fmla="*/ 141516 w 447236"/>
              <a:gd name="connsiteY1371" fmla="*/ 237863 h 448122"/>
              <a:gd name="connsiteX1372" fmla="*/ 136608 w 447236"/>
              <a:gd name="connsiteY1372" fmla="*/ 237863 h 448122"/>
              <a:gd name="connsiteX1373" fmla="*/ 136608 w 447236"/>
              <a:gd name="connsiteY1373" fmla="*/ 242772 h 448122"/>
              <a:gd name="connsiteX1374" fmla="*/ 135687 w 447236"/>
              <a:gd name="connsiteY1374" fmla="*/ 243692 h 448122"/>
              <a:gd name="connsiteX1375" fmla="*/ 133540 w 447236"/>
              <a:gd name="connsiteY1375" fmla="*/ 243692 h 448122"/>
              <a:gd name="connsiteX1376" fmla="*/ 132620 w 447236"/>
              <a:gd name="connsiteY1376" fmla="*/ 242772 h 448122"/>
              <a:gd name="connsiteX1377" fmla="*/ 132620 w 447236"/>
              <a:gd name="connsiteY1377" fmla="*/ 237863 h 448122"/>
              <a:gd name="connsiteX1378" fmla="*/ 127711 w 447236"/>
              <a:gd name="connsiteY1378" fmla="*/ 237863 h 448122"/>
              <a:gd name="connsiteX1379" fmla="*/ 126791 w 447236"/>
              <a:gd name="connsiteY1379" fmla="*/ 236943 h 448122"/>
              <a:gd name="connsiteX1380" fmla="*/ 126791 w 447236"/>
              <a:gd name="connsiteY1380" fmla="*/ 234488 h 448122"/>
              <a:gd name="connsiteX1381" fmla="*/ 127711 w 447236"/>
              <a:gd name="connsiteY1381" fmla="*/ 233875 h 448122"/>
              <a:gd name="connsiteX1382" fmla="*/ 132620 w 447236"/>
              <a:gd name="connsiteY1382" fmla="*/ 233875 h 448122"/>
              <a:gd name="connsiteX1383" fmla="*/ 132620 w 447236"/>
              <a:gd name="connsiteY1383" fmla="*/ 228966 h 448122"/>
              <a:gd name="connsiteX1384" fmla="*/ 133540 w 447236"/>
              <a:gd name="connsiteY1384" fmla="*/ 228046 h 448122"/>
              <a:gd name="connsiteX1385" fmla="*/ 437421 w 447236"/>
              <a:gd name="connsiteY1385" fmla="*/ 225537 h 448122"/>
              <a:gd name="connsiteX1386" fmla="*/ 441037 w 447236"/>
              <a:gd name="connsiteY1386" fmla="*/ 229225 h 448122"/>
              <a:gd name="connsiteX1387" fmla="*/ 439832 w 447236"/>
              <a:gd name="connsiteY1387" fmla="*/ 231990 h 448122"/>
              <a:gd name="connsiteX1388" fmla="*/ 439832 w 447236"/>
              <a:gd name="connsiteY1388" fmla="*/ 236017 h 448122"/>
              <a:gd name="connsiteX1389" fmla="*/ 442929 w 447236"/>
              <a:gd name="connsiteY1389" fmla="*/ 236017 h 448122"/>
              <a:gd name="connsiteX1390" fmla="*/ 443546 w 447236"/>
              <a:gd name="connsiteY1390" fmla="*/ 236312 h 448122"/>
              <a:gd name="connsiteX1391" fmla="*/ 442929 w 447236"/>
              <a:gd name="connsiteY1391" fmla="*/ 236903 h 448122"/>
              <a:gd name="connsiteX1392" fmla="*/ 439832 w 447236"/>
              <a:gd name="connsiteY1392" fmla="*/ 236903 h 448122"/>
              <a:gd name="connsiteX1393" fmla="*/ 439832 w 447236"/>
              <a:gd name="connsiteY1393" fmla="*/ 239707 h 448122"/>
              <a:gd name="connsiteX1394" fmla="*/ 441170 w 447236"/>
              <a:gd name="connsiteY1394" fmla="*/ 239707 h 448122"/>
              <a:gd name="connsiteX1395" fmla="*/ 441479 w 447236"/>
              <a:gd name="connsiteY1395" fmla="*/ 240002 h 448122"/>
              <a:gd name="connsiteX1396" fmla="*/ 441170 w 447236"/>
              <a:gd name="connsiteY1396" fmla="*/ 240297 h 448122"/>
              <a:gd name="connsiteX1397" fmla="*/ 439832 w 447236"/>
              <a:gd name="connsiteY1397" fmla="*/ 240297 h 448122"/>
              <a:gd name="connsiteX1398" fmla="*/ 439832 w 447236"/>
              <a:gd name="connsiteY1398" fmla="*/ 243692 h 448122"/>
              <a:gd name="connsiteX1399" fmla="*/ 442929 w 447236"/>
              <a:gd name="connsiteY1399" fmla="*/ 243692 h 448122"/>
              <a:gd name="connsiteX1400" fmla="*/ 443546 w 447236"/>
              <a:gd name="connsiteY1400" fmla="*/ 244283 h 448122"/>
              <a:gd name="connsiteX1401" fmla="*/ 442929 w 447236"/>
              <a:gd name="connsiteY1401" fmla="*/ 244578 h 448122"/>
              <a:gd name="connsiteX1402" fmla="*/ 439832 w 447236"/>
              <a:gd name="connsiteY1402" fmla="*/ 244578 h 448122"/>
              <a:gd name="connsiteX1403" fmla="*/ 439832 w 447236"/>
              <a:gd name="connsiteY1403" fmla="*/ 247382 h 448122"/>
              <a:gd name="connsiteX1404" fmla="*/ 441170 w 447236"/>
              <a:gd name="connsiteY1404" fmla="*/ 247382 h 448122"/>
              <a:gd name="connsiteX1405" fmla="*/ 441479 w 447236"/>
              <a:gd name="connsiteY1405" fmla="*/ 247677 h 448122"/>
              <a:gd name="connsiteX1406" fmla="*/ 441170 w 447236"/>
              <a:gd name="connsiteY1406" fmla="*/ 247972 h 448122"/>
              <a:gd name="connsiteX1407" fmla="*/ 439832 w 447236"/>
              <a:gd name="connsiteY1407" fmla="*/ 247972 h 448122"/>
              <a:gd name="connsiteX1408" fmla="*/ 439832 w 447236"/>
              <a:gd name="connsiteY1408" fmla="*/ 251368 h 448122"/>
              <a:gd name="connsiteX1409" fmla="*/ 442929 w 447236"/>
              <a:gd name="connsiteY1409" fmla="*/ 251368 h 448122"/>
              <a:gd name="connsiteX1410" fmla="*/ 443546 w 447236"/>
              <a:gd name="connsiteY1410" fmla="*/ 251663 h 448122"/>
              <a:gd name="connsiteX1411" fmla="*/ 442929 w 447236"/>
              <a:gd name="connsiteY1411" fmla="*/ 251958 h 448122"/>
              <a:gd name="connsiteX1412" fmla="*/ 439832 w 447236"/>
              <a:gd name="connsiteY1412" fmla="*/ 251958 h 448122"/>
              <a:gd name="connsiteX1413" fmla="*/ 439832 w 447236"/>
              <a:gd name="connsiteY1413" fmla="*/ 255058 h 448122"/>
              <a:gd name="connsiteX1414" fmla="*/ 441170 w 447236"/>
              <a:gd name="connsiteY1414" fmla="*/ 255058 h 448122"/>
              <a:gd name="connsiteX1415" fmla="*/ 441479 w 447236"/>
              <a:gd name="connsiteY1415" fmla="*/ 255353 h 448122"/>
              <a:gd name="connsiteX1416" fmla="*/ 441170 w 447236"/>
              <a:gd name="connsiteY1416" fmla="*/ 255648 h 448122"/>
              <a:gd name="connsiteX1417" fmla="*/ 439832 w 447236"/>
              <a:gd name="connsiteY1417" fmla="*/ 255648 h 448122"/>
              <a:gd name="connsiteX1418" fmla="*/ 439832 w 447236"/>
              <a:gd name="connsiteY1418" fmla="*/ 259338 h 448122"/>
              <a:gd name="connsiteX1419" fmla="*/ 442929 w 447236"/>
              <a:gd name="connsiteY1419" fmla="*/ 259338 h 448122"/>
              <a:gd name="connsiteX1420" fmla="*/ 443546 w 447236"/>
              <a:gd name="connsiteY1420" fmla="*/ 259633 h 448122"/>
              <a:gd name="connsiteX1421" fmla="*/ 442929 w 447236"/>
              <a:gd name="connsiteY1421" fmla="*/ 259928 h 448122"/>
              <a:gd name="connsiteX1422" fmla="*/ 439832 w 447236"/>
              <a:gd name="connsiteY1422" fmla="*/ 259928 h 448122"/>
              <a:gd name="connsiteX1423" fmla="*/ 439832 w 447236"/>
              <a:gd name="connsiteY1423" fmla="*/ 263028 h 448122"/>
              <a:gd name="connsiteX1424" fmla="*/ 439856 w 447236"/>
              <a:gd name="connsiteY1424" fmla="*/ 263028 h 448122"/>
              <a:gd name="connsiteX1425" fmla="*/ 441170 w 447236"/>
              <a:gd name="connsiteY1425" fmla="*/ 263028 h 448122"/>
              <a:gd name="connsiteX1426" fmla="*/ 441479 w 447236"/>
              <a:gd name="connsiteY1426" fmla="*/ 263323 h 448122"/>
              <a:gd name="connsiteX1427" fmla="*/ 441170 w 447236"/>
              <a:gd name="connsiteY1427" fmla="*/ 263618 h 448122"/>
              <a:gd name="connsiteX1428" fmla="*/ 439856 w 447236"/>
              <a:gd name="connsiteY1428" fmla="*/ 263618 h 448122"/>
              <a:gd name="connsiteX1429" fmla="*/ 439856 w 447236"/>
              <a:gd name="connsiteY1429" fmla="*/ 266718 h 448122"/>
              <a:gd name="connsiteX1430" fmla="*/ 442929 w 447236"/>
              <a:gd name="connsiteY1430" fmla="*/ 266718 h 448122"/>
              <a:gd name="connsiteX1431" fmla="*/ 443546 w 447236"/>
              <a:gd name="connsiteY1431" fmla="*/ 267013 h 448122"/>
              <a:gd name="connsiteX1432" fmla="*/ 442929 w 447236"/>
              <a:gd name="connsiteY1432" fmla="*/ 267308 h 448122"/>
              <a:gd name="connsiteX1433" fmla="*/ 439856 w 447236"/>
              <a:gd name="connsiteY1433" fmla="*/ 267308 h 448122"/>
              <a:gd name="connsiteX1434" fmla="*/ 439856 w 447236"/>
              <a:gd name="connsiteY1434" fmla="*/ 269965 h 448122"/>
              <a:gd name="connsiteX1435" fmla="*/ 441170 w 447236"/>
              <a:gd name="connsiteY1435" fmla="*/ 269965 h 448122"/>
              <a:gd name="connsiteX1436" fmla="*/ 441479 w 447236"/>
              <a:gd name="connsiteY1436" fmla="*/ 270654 h 448122"/>
              <a:gd name="connsiteX1437" fmla="*/ 441170 w 447236"/>
              <a:gd name="connsiteY1437" fmla="*/ 270998 h 448122"/>
              <a:gd name="connsiteX1438" fmla="*/ 439856 w 447236"/>
              <a:gd name="connsiteY1438" fmla="*/ 270998 h 448122"/>
              <a:gd name="connsiteX1439" fmla="*/ 439856 w 447236"/>
              <a:gd name="connsiteY1439" fmla="*/ 274246 h 448122"/>
              <a:gd name="connsiteX1440" fmla="*/ 442929 w 447236"/>
              <a:gd name="connsiteY1440" fmla="*/ 274246 h 448122"/>
              <a:gd name="connsiteX1441" fmla="*/ 443546 w 447236"/>
              <a:gd name="connsiteY1441" fmla="*/ 274615 h 448122"/>
              <a:gd name="connsiteX1442" fmla="*/ 442929 w 447236"/>
              <a:gd name="connsiteY1442" fmla="*/ 274984 h 448122"/>
              <a:gd name="connsiteX1443" fmla="*/ 439856 w 447236"/>
              <a:gd name="connsiteY1443" fmla="*/ 274984 h 448122"/>
              <a:gd name="connsiteX1444" fmla="*/ 439856 w 447236"/>
              <a:gd name="connsiteY1444" fmla="*/ 277936 h 448122"/>
              <a:gd name="connsiteX1445" fmla="*/ 441170 w 447236"/>
              <a:gd name="connsiteY1445" fmla="*/ 277936 h 448122"/>
              <a:gd name="connsiteX1446" fmla="*/ 441479 w 447236"/>
              <a:gd name="connsiteY1446" fmla="*/ 278305 h 448122"/>
              <a:gd name="connsiteX1447" fmla="*/ 441170 w 447236"/>
              <a:gd name="connsiteY1447" fmla="*/ 278674 h 448122"/>
              <a:gd name="connsiteX1448" fmla="*/ 439856 w 447236"/>
              <a:gd name="connsiteY1448" fmla="*/ 278674 h 448122"/>
              <a:gd name="connsiteX1449" fmla="*/ 439856 w 447236"/>
              <a:gd name="connsiteY1449" fmla="*/ 281921 h 448122"/>
              <a:gd name="connsiteX1450" fmla="*/ 442929 w 447236"/>
              <a:gd name="connsiteY1450" fmla="*/ 281921 h 448122"/>
              <a:gd name="connsiteX1451" fmla="*/ 443546 w 447236"/>
              <a:gd name="connsiteY1451" fmla="*/ 282290 h 448122"/>
              <a:gd name="connsiteX1452" fmla="*/ 442929 w 447236"/>
              <a:gd name="connsiteY1452" fmla="*/ 282659 h 448122"/>
              <a:gd name="connsiteX1453" fmla="*/ 439856 w 447236"/>
              <a:gd name="connsiteY1453" fmla="*/ 282659 h 448122"/>
              <a:gd name="connsiteX1454" fmla="*/ 439856 w 447236"/>
              <a:gd name="connsiteY1454" fmla="*/ 285316 h 448122"/>
              <a:gd name="connsiteX1455" fmla="*/ 441170 w 447236"/>
              <a:gd name="connsiteY1455" fmla="*/ 285316 h 448122"/>
              <a:gd name="connsiteX1456" fmla="*/ 441479 w 447236"/>
              <a:gd name="connsiteY1456" fmla="*/ 285611 h 448122"/>
              <a:gd name="connsiteX1457" fmla="*/ 441170 w 447236"/>
              <a:gd name="connsiteY1457" fmla="*/ 286202 h 448122"/>
              <a:gd name="connsiteX1458" fmla="*/ 439856 w 447236"/>
              <a:gd name="connsiteY1458" fmla="*/ 286202 h 448122"/>
              <a:gd name="connsiteX1459" fmla="*/ 439856 w 447236"/>
              <a:gd name="connsiteY1459" fmla="*/ 289597 h 448122"/>
              <a:gd name="connsiteX1460" fmla="*/ 442929 w 447236"/>
              <a:gd name="connsiteY1460" fmla="*/ 289597 h 448122"/>
              <a:gd name="connsiteX1461" fmla="*/ 443546 w 447236"/>
              <a:gd name="connsiteY1461" fmla="*/ 289892 h 448122"/>
              <a:gd name="connsiteX1462" fmla="*/ 442929 w 447236"/>
              <a:gd name="connsiteY1462" fmla="*/ 290187 h 448122"/>
              <a:gd name="connsiteX1463" fmla="*/ 439856 w 447236"/>
              <a:gd name="connsiteY1463" fmla="*/ 290187 h 448122"/>
              <a:gd name="connsiteX1464" fmla="*/ 439856 w 447236"/>
              <a:gd name="connsiteY1464" fmla="*/ 292275 h 448122"/>
              <a:gd name="connsiteX1465" fmla="*/ 439856 w 447236"/>
              <a:gd name="connsiteY1465" fmla="*/ 293287 h 448122"/>
              <a:gd name="connsiteX1466" fmla="*/ 441170 w 447236"/>
              <a:gd name="connsiteY1466" fmla="*/ 293287 h 448122"/>
              <a:gd name="connsiteX1467" fmla="*/ 441479 w 447236"/>
              <a:gd name="connsiteY1467" fmla="*/ 293582 h 448122"/>
              <a:gd name="connsiteX1468" fmla="*/ 441170 w 447236"/>
              <a:gd name="connsiteY1468" fmla="*/ 293877 h 448122"/>
              <a:gd name="connsiteX1469" fmla="*/ 439856 w 447236"/>
              <a:gd name="connsiteY1469" fmla="*/ 293877 h 448122"/>
              <a:gd name="connsiteX1470" fmla="*/ 439856 w 447236"/>
              <a:gd name="connsiteY1470" fmla="*/ 296453 h 448122"/>
              <a:gd name="connsiteX1471" fmla="*/ 437416 w 447236"/>
              <a:gd name="connsiteY1471" fmla="*/ 298600 h 448122"/>
              <a:gd name="connsiteX1472" fmla="*/ 435280 w 447236"/>
              <a:gd name="connsiteY1472" fmla="*/ 296453 h 448122"/>
              <a:gd name="connsiteX1473" fmla="*/ 435280 w 447236"/>
              <a:gd name="connsiteY1473" fmla="*/ 293877 h 448122"/>
              <a:gd name="connsiteX1474" fmla="*/ 433058 w 447236"/>
              <a:gd name="connsiteY1474" fmla="*/ 293877 h 448122"/>
              <a:gd name="connsiteX1475" fmla="*/ 431899 w 447236"/>
              <a:gd name="connsiteY1475" fmla="*/ 293877 h 448122"/>
              <a:gd name="connsiteX1476" fmla="*/ 431590 w 447236"/>
              <a:gd name="connsiteY1476" fmla="*/ 293582 h 448122"/>
              <a:gd name="connsiteX1477" fmla="*/ 431899 w 447236"/>
              <a:gd name="connsiteY1477" fmla="*/ 293287 h 448122"/>
              <a:gd name="connsiteX1478" fmla="*/ 435280 w 447236"/>
              <a:gd name="connsiteY1478" fmla="*/ 293287 h 448122"/>
              <a:gd name="connsiteX1479" fmla="*/ 435280 w 447236"/>
              <a:gd name="connsiteY1479" fmla="*/ 290187 h 448122"/>
              <a:gd name="connsiteX1480" fmla="*/ 434827 w 447236"/>
              <a:gd name="connsiteY1480" fmla="*/ 290187 h 448122"/>
              <a:gd name="connsiteX1481" fmla="*/ 433670 w 447236"/>
              <a:gd name="connsiteY1481" fmla="*/ 290187 h 448122"/>
              <a:gd name="connsiteX1482" fmla="*/ 433361 w 447236"/>
              <a:gd name="connsiteY1482" fmla="*/ 289892 h 448122"/>
              <a:gd name="connsiteX1483" fmla="*/ 433670 w 447236"/>
              <a:gd name="connsiteY1483" fmla="*/ 289597 h 448122"/>
              <a:gd name="connsiteX1484" fmla="*/ 435280 w 447236"/>
              <a:gd name="connsiteY1484" fmla="*/ 289597 h 448122"/>
              <a:gd name="connsiteX1485" fmla="*/ 435280 w 447236"/>
              <a:gd name="connsiteY1485" fmla="*/ 286202 h 448122"/>
              <a:gd name="connsiteX1486" fmla="*/ 433058 w 447236"/>
              <a:gd name="connsiteY1486" fmla="*/ 286202 h 448122"/>
              <a:gd name="connsiteX1487" fmla="*/ 431899 w 447236"/>
              <a:gd name="connsiteY1487" fmla="*/ 286202 h 448122"/>
              <a:gd name="connsiteX1488" fmla="*/ 431590 w 447236"/>
              <a:gd name="connsiteY1488" fmla="*/ 285611 h 448122"/>
              <a:gd name="connsiteX1489" fmla="*/ 431899 w 447236"/>
              <a:gd name="connsiteY1489" fmla="*/ 285316 h 448122"/>
              <a:gd name="connsiteX1490" fmla="*/ 435280 w 447236"/>
              <a:gd name="connsiteY1490" fmla="*/ 285316 h 448122"/>
              <a:gd name="connsiteX1491" fmla="*/ 435280 w 447236"/>
              <a:gd name="connsiteY1491" fmla="*/ 282659 h 448122"/>
              <a:gd name="connsiteX1492" fmla="*/ 434827 w 447236"/>
              <a:gd name="connsiteY1492" fmla="*/ 282659 h 448122"/>
              <a:gd name="connsiteX1493" fmla="*/ 433670 w 447236"/>
              <a:gd name="connsiteY1493" fmla="*/ 282659 h 448122"/>
              <a:gd name="connsiteX1494" fmla="*/ 433361 w 447236"/>
              <a:gd name="connsiteY1494" fmla="*/ 282290 h 448122"/>
              <a:gd name="connsiteX1495" fmla="*/ 433670 w 447236"/>
              <a:gd name="connsiteY1495" fmla="*/ 281921 h 448122"/>
              <a:gd name="connsiteX1496" fmla="*/ 435280 w 447236"/>
              <a:gd name="connsiteY1496" fmla="*/ 281921 h 448122"/>
              <a:gd name="connsiteX1497" fmla="*/ 435280 w 447236"/>
              <a:gd name="connsiteY1497" fmla="*/ 278674 h 448122"/>
              <a:gd name="connsiteX1498" fmla="*/ 433058 w 447236"/>
              <a:gd name="connsiteY1498" fmla="*/ 278674 h 448122"/>
              <a:gd name="connsiteX1499" fmla="*/ 431899 w 447236"/>
              <a:gd name="connsiteY1499" fmla="*/ 278674 h 448122"/>
              <a:gd name="connsiteX1500" fmla="*/ 431590 w 447236"/>
              <a:gd name="connsiteY1500" fmla="*/ 278305 h 448122"/>
              <a:gd name="connsiteX1501" fmla="*/ 431899 w 447236"/>
              <a:gd name="connsiteY1501" fmla="*/ 277936 h 448122"/>
              <a:gd name="connsiteX1502" fmla="*/ 435280 w 447236"/>
              <a:gd name="connsiteY1502" fmla="*/ 277936 h 448122"/>
              <a:gd name="connsiteX1503" fmla="*/ 435280 w 447236"/>
              <a:gd name="connsiteY1503" fmla="*/ 274984 h 448122"/>
              <a:gd name="connsiteX1504" fmla="*/ 434827 w 447236"/>
              <a:gd name="connsiteY1504" fmla="*/ 274984 h 448122"/>
              <a:gd name="connsiteX1505" fmla="*/ 433670 w 447236"/>
              <a:gd name="connsiteY1505" fmla="*/ 274984 h 448122"/>
              <a:gd name="connsiteX1506" fmla="*/ 433361 w 447236"/>
              <a:gd name="connsiteY1506" fmla="*/ 274615 h 448122"/>
              <a:gd name="connsiteX1507" fmla="*/ 433670 w 447236"/>
              <a:gd name="connsiteY1507" fmla="*/ 274246 h 448122"/>
              <a:gd name="connsiteX1508" fmla="*/ 435280 w 447236"/>
              <a:gd name="connsiteY1508" fmla="*/ 274246 h 448122"/>
              <a:gd name="connsiteX1509" fmla="*/ 435280 w 447236"/>
              <a:gd name="connsiteY1509" fmla="*/ 270998 h 448122"/>
              <a:gd name="connsiteX1510" fmla="*/ 433058 w 447236"/>
              <a:gd name="connsiteY1510" fmla="*/ 270998 h 448122"/>
              <a:gd name="connsiteX1511" fmla="*/ 431899 w 447236"/>
              <a:gd name="connsiteY1511" fmla="*/ 270998 h 448122"/>
              <a:gd name="connsiteX1512" fmla="*/ 431590 w 447236"/>
              <a:gd name="connsiteY1512" fmla="*/ 270654 h 448122"/>
              <a:gd name="connsiteX1513" fmla="*/ 431899 w 447236"/>
              <a:gd name="connsiteY1513" fmla="*/ 269965 h 448122"/>
              <a:gd name="connsiteX1514" fmla="*/ 435280 w 447236"/>
              <a:gd name="connsiteY1514" fmla="*/ 269965 h 448122"/>
              <a:gd name="connsiteX1515" fmla="*/ 435280 w 447236"/>
              <a:gd name="connsiteY1515" fmla="*/ 267308 h 448122"/>
              <a:gd name="connsiteX1516" fmla="*/ 434827 w 447236"/>
              <a:gd name="connsiteY1516" fmla="*/ 267308 h 448122"/>
              <a:gd name="connsiteX1517" fmla="*/ 433670 w 447236"/>
              <a:gd name="connsiteY1517" fmla="*/ 267308 h 448122"/>
              <a:gd name="connsiteX1518" fmla="*/ 433361 w 447236"/>
              <a:gd name="connsiteY1518" fmla="*/ 267013 h 448122"/>
              <a:gd name="connsiteX1519" fmla="*/ 433670 w 447236"/>
              <a:gd name="connsiteY1519" fmla="*/ 266718 h 448122"/>
              <a:gd name="connsiteX1520" fmla="*/ 435280 w 447236"/>
              <a:gd name="connsiteY1520" fmla="*/ 266718 h 448122"/>
              <a:gd name="connsiteX1521" fmla="*/ 435280 w 447236"/>
              <a:gd name="connsiteY1521" fmla="*/ 263618 h 448122"/>
              <a:gd name="connsiteX1522" fmla="*/ 433058 w 447236"/>
              <a:gd name="connsiteY1522" fmla="*/ 263618 h 448122"/>
              <a:gd name="connsiteX1523" fmla="*/ 431899 w 447236"/>
              <a:gd name="connsiteY1523" fmla="*/ 263618 h 448122"/>
              <a:gd name="connsiteX1524" fmla="*/ 431590 w 447236"/>
              <a:gd name="connsiteY1524" fmla="*/ 263323 h 448122"/>
              <a:gd name="connsiteX1525" fmla="*/ 431899 w 447236"/>
              <a:gd name="connsiteY1525" fmla="*/ 263028 h 448122"/>
              <a:gd name="connsiteX1526" fmla="*/ 435280 w 447236"/>
              <a:gd name="connsiteY1526" fmla="*/ 263028 h 448122"/>
              <a:gd name="connsiteX1527" fmla="*/ 435311 w 447236"/>
              <a:gd name="connsiteY1527" fmla="*/ 263028 h 448122"/>
              <a:gd name="connsiteX1528" fmla="*/ 435311 w 447236"/>
              <a:gd name="connsiteY1528" fmla="*/ 259928 h 448122"/>
              <a:gd name="connsiteX1529" fmla="*/ 434827 w 447236"/>
              <a:gd name="connsiteY1529" fmla="*/ 259928 h 448122"/>
              <a:gd name="connsiteX1530" fmla="*/ 433670 w 447236"/>
              <a:gd name="connsiteY1530" fmla="*/ 259928 h 448122"/>
              <a:gd name="connsiteX1531" fmla="*/ 433361 w 447236"/>
              <a:gd name="connsiteY1531" fmla="*/ 259633 h 448122"/>
              <a:gd name="connsiteX1532" fmla="*/ 433670 w 447236"/>
              <a:gd name="connsiteY1532" fmla="*/ 259338 h 448122"/>
              <a:gd name="connsiteX1533" fmla="*/ 435311 w 447236"/>
              <a:gd name="connsiteY1533" fmla="*/ 259338 h 448122"/>
              <a:gd name="connsiteX1534" fmla="*/ 435311 w 447236"/>
              <a:gd name="connsiteY1534" fmla="*/ 255648 h 448122"/>
              <a:gd name="connsiteX1535" fmla="*/ 433058 w 447236"/>
              <a:gd name="connsiteY1535" fmla="*/ 255648 h 448122"/>
              <a:gd name="connsiteX1536" fmla="*/ 431899 w 447236"/>
              <a:gd name="connsiteY1536" fmla="*/ 255648 h 448122"/>
              <a:gd name="connsiteX1537" fmla="*/ 431590 w 447236"/>
              <a:gd name="connsiteY1537" fmla="*/ 255353 h 448122"/>
              <a:gd name="connsiteX1538" fmla="*/ 431899 w 447236"/>
              <a:gd name="connsiteY1538" fmla="*/ 255058 h 448122"/>
              <a:gd name="connsiteX1539" fmla="*/ 435311 w 447236"/>
              <a:gd name="connsiteY1539" fmla="*/ 255058 h 448122"/>
              <a:gd name="connsiteX1540" fmla="*/ 435311 w 447236"/>
              <a:gd name="connsiteY1540" fmla="*/ 251958 h 448122"/>
              <a:gd name="connsiteX1541" fmla="*/ 434827 w 447236"/>
              <a:gd name="connsiteY1541" fmla="*/ 251958 h 448122"/>
              <a:gd name="connsiteX1542" fmla="*/ 433670 w 447236"/>
              <a:gd name="connsiteY1542" fmla="*/ 251958 h 448122"/>
              <a:gd name="connsiteX1543" fmla="*/ 433361 w 447236"/>
              <a:gd name="connsiteY1543" fmla="*/ 251663 h 448122"/>
              <a:gd name="connsiteX1544" fmla="*/ 433670 w 447236"/>
              <a:gd name="connsiteY1544" fmla="*/ 251368 h 448122"/>
              <a:gd name="connsiteX1545" fmla="*/ 435311 w 447236"/>
              <a:gd name="connsiteY1545" fmla="*/ 251368 h 448122"/>
              <a:gd name="connsiteX1546" fmla="*/ 435311 w 447236"/>
              <a:gd name="connsiteY1546" fmla="*/ 247972 h 448122"/>
              <a:gd name="connsiteX1547" fmla="*/ 433058 w 447236"/>
              <a:gd name="connsiteY1547" fmla="*/ 247972 h 448122"/>
              <a:gd name="connsiteX1548" fmla="*/ 431899 w 447236"/>
              <a:gd name="connsiteY1548" fmla="*/ 247972 h 448122"/>
              <a:gd name="connsiteX1549" fmla="*/ 431590 w 447236"/>
              <a:gd name="connsiteY1549" fmla="*/ 247677 h 448122"/>
              <a:gd name="connsiteX1550" fmla="*/ 431899 w 447236"/>
              <a:gd name="connsiteY1550" fmla="*/ 247382 h 448122"/>
              <a:gd name="connsiteX1551" fmla="*/ 435311 w 447236"/>
              <a:gd name="connsiteY1551" fmla="*/ 247382 h 448122"/>
              <a:gd name="connsiteX1552" fmla="*/ 435311 w 447236"/>
              <a:gd name="connsiteY1552" fmla="*/ 245084 h 448122"/>
              <a:gd name="connsiteX1553" fmla="*/ 435311 w 447236"/>
              <a:gd name="connsiteY1553" fmla="*/ 244578 h 448122"/>
              <a:gd name="connsiteX1554" fmla="*/ 434827 w 447236"/>
              <a:gd name="connsiteY1554" fmla="*/ 244578 h 448122"/>
              <a:gd name="connsiteX1555" fmla="*/ 433670 w 447236"/>
              <a:gd name="connsiteY1555" fmla="*/ 244578 h 448122"/>
              <a:gd name="connsiteX1556" fmla="*/ 433361 w 447236"/>
              <a:gd name="connsiteY1556" fmla="*/ 244283 h 448122"/>
              <a:gd name="connsiteX1557" fmla="*/ 433670 w 447236"/>
              <a:gd name="connsiteY1557" fmla="*/ 243692 h 448122"/>
              <a:gd name="connsiteX1558" fmla="*/ 435311 w 447236"/>
              <a:gd name="connsiteY1558" fmla="*/ 243692 h 448122"/>
              <a:gd name="connsiteX1559" fmla="*/ 435311 w 447236"/>
              <a:gd name="connsiteY1559" fmla="*/ 240297 h 448122"/>
              <a:gd name="connsiteX1560" fmla="*/ 433058 w 447236"/>
              <a:gd name="connsiteY1560" fmla="*/ 240297 h 448122"/>
              <a:gd name="connsiteX1561" fmla="*/ 431899 w 447236"/>
              <a:gd name="connsiteY1561" fmla="*/ 240297 h 448122"/>
              <a:gd name="connsiteX1562" fmla="*/ 431590 w 447236"/>
              <a:gd name="connsiteY1562" fmla="*/ 240002 h 448122"/>
              <a:gd name="connsiteX1563" fmla="*/ 431899 w 447236"/>
              <a:gd name="connsiteY1563" fmla="*/ 239707 h 448122"/>
              <a:gd name="connsiteX1564" fmla="*/ 435311 w 447236"/>
              <a:gd name="connsiteY1564" fmla="*/ 239707 h 448122"/>
              <a:gd name="connsiteX1565" fmla="*/ 435311 w 447236"/>
              <a:gd name="connsiteY1565" fmla="*/ 236903 h 448122"/>
              <a:gd name="connsiteX1566" fmla="*/ 434827 w 447236"/>
              <a:gd name="connsiteY1566" fmla="*/ 236903 h 448122"/>
              <a:gd name="connsiteX1567" fmla="*/ 433670 w 447236"/>
              <a:gd name="connsiteY1567" fmla="*/ 236903 h 448122"/>
              <a:gd name="connsiteX1568" fmla="*/ 433361 w 447236"/>
              <a:gd name="connsiteY1568" fmla="*/ 236312 h 448122"/>
              <a:gd name="connsiteX1569" fmla="*/ 433670 w 447236"/>
              <a:gd name="connsiteY1569" fmla="*/ 236017 h 448122"/>
              <a:gd name="connsiteX1570" fmla="*/ 435311 w 447236"/>
              <a:gd name="connsiteY1570" fmla="*/ 236017 h 448122"/>
              <a:gd name="connsiteX1571" fmla="*/ 435311 w 447236"/>
              <a:gd name="connsiteY1571" fmla="*/ 235870 h 448122"/>
              <a:gd name="connsiteX1572" fmla="*/ 435311 w 447236"/>
              <a:gd name="connsiteY1572" fmla="*/ 231990 h 448122"/>
              <a:gd name="connsiteX1573" fmla="*/ 433804 w 447236"/>
              <a:gd name="connsiteY1573" fmla="*/ 229225 h 448122"/>
              <a:gd name="connsiteX1574" fmla="*/ 437421 w 447236"/>
              <a:gd name="connsiteY1574" fmla="*/ 225537 h 448122"/>
              <a:gd name="connsiteX1575" fmla="*/ 49373 w 447236"/>
              <a:gd name="connsiteY1575" fmla="*/ 225537 h 448122"/>
              <a:gd name="connsiteX1576" fmla="*/ 51513 w 447236"/>
              <a:gd name="connsiteY1576" fmla="*/ 227679 h 448122"/>
              <a:gd name="connsiteX1577" fmla="*/ 51513 w 447236"/>
              <a:gd name="connsiteY1577" fmla="*/ 238083 h 448122"/>
              <a:gd name="connsiteX1578" fmla="*/ 53826 w 447236"/>
              <a:gd name="connsiteY1578" fmla="*/ 238083 h 448122"/>
              <a:gd name="connsiteX1579" fmla="*/ 55288 w 447236"/>
              <a:gd name="connsiteY1579" fmla="*/ 238083 h 448122"/>
              <a:gd name="connsiteX1580" fmla="*/ 56827 w 447236"/>
              <a:gd name="connsiteY1580" fmla="*/ 239327 h 448122"/>
              <a:gd name="connsiteX1581" fmla="*/ 56827 w 447236"/>
              <a:gd name="connsiteY1581" fmla="*/ 245548 h 448122"/>
              <a:gd name="connsiteX1582" fmla="*/ 55288 w 447236"/>
              <a:gd name="connsiteY1582" fmla="*/ 246792 h 448122"/>
              <a:gd name="connsiteX1583" fmla="*/ 54053 w 447236"/>
              <a:gd name="connsiteY1583" fmla="*/ 246792 h 448122"/>
              <a:gd name="connsiteX1584" fmla="*/ 57123 w 447236"/>
              <a:gd name="connsiteY1584" fmla="*/ 249848 h 448122"/>
              <a:gd name="connsiteX1585" fmla="*/ 57123 w 447236"/>
              <a:gd name="connsiteY1585" fmla="*/ 269714 h 448122"/>
              <a:gd name="connsiteX1586" fmla="*/ 54053 w 447236"/>
              <a:gd name="connsiteY1586" fmla="*/ 272770 h 448122"/>
              <a:gd name="connsiteX1587" fmla="*/ 44842 w 447236"/>
              <a:gd name="connsiteY1587" fmla="*/ 272770 h 448122"/>
              <a:gd name="connsiteX1588" fmla="*/ 41772 w 447236"/>
              <a:gd name="connsiteY1588" fmla="*/ 269714 h 448122"/>
              <a:gd name="connsiteX1589" fmla="*/ 41772 w 447236"/>
              <a:gd name="connsiteY1589" fmla="*/ 249848 h 448122"/>
              <a:gd name="connsiteX1590" fmla="*/ 44842 w 447236"/>
              <a:gd name="connsiteY1590" fmla="*/ 246792 h 448122"/>
              <a:gd name="connsiteX1591" fmla="*/ 43593 w 447236"/>
              <a:gd name="connsiteY1591" fmla="*/ 246792 h 448122"/>
              <a:gd name="connsiteX1592" fmla="*/ 42362 w 447236"/>
              <a:gd name="connsiteY1592" fmla="*/ 245548 h 448122"/>
              <a:gd name="connsiteX1593" fmla="*/ 42362 w 447236"/>
              <a:gd name="connsiteY1593" fmla="*/ 239327 h 448122"/>
              <a:gd name="connsiteX1594" fmla="*/ 43593 w 447236"/>
              <a:gd name="connsiteY1594" fmla="*/ 238083 h 448122"/>
              <a:gd name="connsiteX1595" fmla="*/ 47233 w 447236"/>
              <a:gd name="connsiteY1595" fmla="*/ 238083 h 448122"/>
              <a:gd name="connsiteX1596" fmla="*/ 47233 w 447236"/>
              <a:gd name="connsiteY1596" fmla="*/ 227679 h 448122"/>
              <a:gd name="connsiteX1597" fmla="*/ 49373 w 447236"/>
              <a:gd name="connsiteY1597" fmla="*/ 225537 h 448122"/>
              <a:gd name="connsiteX1598" fmla="*/ 14421 w 447236"/>
              <a:gd name="connsiteY1598" fmla="*/ 225537 h 448122"/>
              <a:gd name="connsiteX1599" fmla="*/ 24853 w 447236"/>
              <a:gd name="connsiteY1599" fmla="*/ 225537 h 448122"/>
              <a:gd name="connsiteX1600" fmla="*/ 28535 w 447236"/>
              <a:gd name="connsiteY1600" fmla="*/ 228908 h 448122"/>
              <a:gd name="connsiteX1601" fmla="*/ 28535 w 447236"/>
              <a:gd name="connsiteY1601" fmla="*/ 235956 h 448122"/>
              <a:gd name="connsiteX1602" fmla="*/ 10739 w 447236"/>
              <a:gd name="connsiteY1602" fmla="*/ 235956 h 448122"/>
              <a:gd name="connsiteX1603" fmla="*/ 10739 w 447236"/>
              <a:gd name="connsiteY1603" fmla="*/ 229214 h 448122"/>
              <a:gd name="connsiteX1604" fmla="*/ 14421 w 447236"/>
              <a:gd name="connsiteY1604" fmla="*/ 225537 h 448122"/>
              <a:gd name="connsiteX1605" fmla="*/ 134460 w 447236"/>
              <a:gd name="connsiteY1605" fmla="*/ 225001 h 448122"/>
              <a:gd name="connsiteX1606" fmla="*/ 123723 w 447236"/>
              <a:gd name="connsiteY1606" fmla="*/ 235712 h 448122"/>
              <a:gd name="connsiteX1607" fmla="*/ 134460 w 447236"/>
              <a:gd name="connsiteY1607" fmla="*/ 246424 h 448122"/>
              <a:gd name="connsiteX1608" fmla="*/ 145504 w 447236"/>
              <a:gd name="connsiteY1608" fmla="*/ 235712 h 448122"/>
              <a:gd name="connsiteX1609" fmla="*/ 134460 w 447236"/>
              <a:gd name="connsiteY1609" fmla="*/ 225001 h 448122"/>
              <a:gd name="connsiteX1610" fmla="*/ 133846 w 447236"/>
              <a:gd name="connsiteY1610" fmla="*/ 223471 h 448122"/>
              <a:gd name="connsiteX1611" fmla="*/ 173728 w 447236"/>
              <a:gd name="connsiteY1611" fmla="*/ 239385 h 448122"/>
              <a:gd name="connsiteX1612" fmla="*/ 163297 w 447236"/>
              <a:gd name="connsiteY1612" fmla="*/ 256829 h 448122"/>
              <a:gd name="connsiteX1613" fmla="*/ 133846 w 447236"/>
              <a:gd name="connsiteY1613" fmla="*/ 248260 h 448122"/>
              <a:gd name="connsiteX1614" fmla="*/ 106236 w 447236"/>
              <a:gd name="connsiteY1614" fmla="*/ 255911 h 448122"/>
              <a:gd name="connsiteX1615" fmla="*/ 95499 w 447236"/>
              <a:gd name="connsiteY1615" fmla="*/ 237855 h 448122"/>
              <a:gd name="connsiteX1616" fmla="*/ 133846 w 447236"/>
              <a:gd name="connsiteY1616" fmla="*/ 223471 h 448122"/>
              <a:gd name="connsiteX1617" fmla="*/ 83458 w 447236"/>
              <a:gd name="connsiteY1617" fmla="*/ 219838 h 448122"/>
              <a:gd name="connsiteX1618" fmla="*/ 87799 w 447236"/>
              <a:gd name="connsiteY1618" fmla="*/ 221869 h 448122"/>
              <a:gd name="connsiteX1619" fmla="*/ 86877 w 447236"/>
              <a:gd name="connsiteY1619" fmla="*/ 228613 h 448122"/>
              <a:gd name="connsiteX1620" fmla="*/ 85033 w 447236"/>
              <a:gd name="connsiteY1620" fmla="*/ 231372 h 448122"/>
              <a:gd name="connsiteX1621" fmla="*/ 84418 w 447236"/>
              <a:gd name="connsiteY1621" fmla="*/ 241795 h 448122"/>
              <a:gd name="connsiteX1622" fmla="*/ 83189 w 447236"/>
              <a:gd name="connsiteY1622" fmla="*/ 248233 h 448122"/>
              <a:gd name="connsiteX1623" fmla="*/ 81345 w 447236"/>
              <a:gd name="connsiteY1623" fmla="*/ 252525 h 448122"/>
              <a:gd name="connsiteX1624" fmla="*/ 80423 w 447236"/>
              <a:gd name="connsiteY1624" fmla="*/ 252831 h 448122"/>
              <a:gd name="connsiteX1625" fmla="*/ 79501 w 447236"/>
              <a:gd name="connsiteY1625" fmla="*/ 243328 h 448122"/>
              <a:gd name="connsiteX1626" fmla="*/ 78271 w 447236"/>
              <a:gd name="connsiteY1626" fmla="*/ 238423 h 448122"/>
              <a:gd name="connsiteX1627" fmla="*/ 77349 w 447236"/>
              <a:gd name="connsiteY1627" fmla="*/ 237810 h 448122"/>
              <a:gd name="connsiteX1628" fmla="*/ 76120 w 447236"/>
              <a:gd name="connsiteY1628" fmla="*/ 238423 h 448122"/>
              <a:gd name="connsiteX1629" fmla="*/ 75198 w 447236"/>
              <a:gd name="connsiteY1629" fmla="*/ 243328 h 448122"/>
              <a:gd name="connsiteX1630" fmla="*/ 73969 w 447236"/>
              <a:gd name="connsiteY1630" fmla="*/ 252831 h 448122"/>
              <a:gd name="connsiteX1631" fmla="*/ 73047 w 447236"/>
              <a:gd name="connsiteY1631" fmla="*/ 252525 h 448122"/>
              <a:gd name="connsiteX1632" fmla="*/ 71510 w 447236"/>
              <a:gd name="connsiteY1632" fmla="*/ 248233 h 448122"/>
              <a:gd name="connsiteX1633" fmla="*/ 69973 w 447236"/>
              <a:gd name="connsiteY1633" fmla="*/ 241795 h 448122"/>
              <a:gd name="connsiteX1634" fmla="*/ 69359 w 447236"/>
              <a:gd name="connsiteY1634" fmla="*/ 231372 h 448122"/>
              <a:gd name="connsiteX1635" fmla="*/ 67514 w 447236"/>
              <a:gd name="connsiteY1635" fmla="*/ 228613 h 448122"/>
              <a:gd name="connsiteX1636" fmla="*/ 66900 w 447236"/>
              <a:gd name="connsiteY1636" fmla="*/ 221869 h 448122"/>
              <a:gd name="connsiteX1637" fmla="*/ 77964 w 447236"/>
              <a:gd name="connsiteY1637" fmla="*/ 221256 h 448122"/>
              <a:gd name="connsiteX1638" fmla="*/ 83458 w 447236"/>
              <a:gd name="connsiteY1638" fmla="*/ 219838 h 448122"/>
              <a:gd name="connsiteX1639" fmla="*/ 399708 w 447236"/>
              <a:gd name="connsiteY1639" fmla="*/ 215205 h 448122"/>
              <a:gd name="connsiteX1640" fmla="*/ 407089 w 447236"/>
              <a:gd name="connsiteY1640" fmla="*/ 228636 h 448122"/>
              <a:gd name="connsiteX1641" fmla="*/ 416831 w 447236"/>
              <a:gd name="connsiteY1641" fmla="*/ 228636 h 448122"/>
              <a:gd name="connsiteX1642" fmla="*/ 417716 w 447236"/>
              <a:gd name="connsiteY1642" fmla="*/ 238083 h 448122"/>
              <a:gd name="connsiteX1643" fmla="*/ 418371 w 447236"/>
              <a:gd name="connsiteY1643" fmla="*/ 238083 h 448122"/>
              <a:gd name="connsiteX1644" fmla="*/ 420904 w 447236"/>
              <a:gd name="connsiteY1644" fmla="*/ 238083 h 448122"/>
              <a:gd name="connsiteX1645" fmla="*/ 422439 w 447236"/>
              <a:gd name="connsiteY1645" fmla="*/ 239323 h 448122"/>
              <a:gd name="connsiteX1646" fmla="*/ 422439 w 447236"/>
              <a:gd name="connsiteY1646" fmla="*/ 239943 h 448122"/>
              <a:gd name="connsiteX1647" fmla="*/ 420904 w 447236"/>
              <a:gd name="connsiteY1647" fmla="*/ 241183 h 448122"/>
              <a:gd name="connsiteX1648" fmla="*/ 420223 w 447236"/>
              <a:gd name="connsiteY1648" fmla="*/ 241183 h 448122"/>
              <a:gd name="connsiteX1649" fmla="*/ 424210 w 447236"/>
              <a:gd name="connsiteY1649" fmla="*/ 250692 h 448122"/>
              <a:gd name="connsiteX1650" fmla="*/ 424210 w 447236"/>
              <a:gd name="connsiteY1650" fmla="*/ 314800 h 448122"/>
              <a:gd name="connsiteX1651" fmla="*/ 419610 w 447236"/>
              <a:gd name="connsiteY1651" fmla="*/ 319708 h 448122"/>
              <a:gd name="connsiteX1652" fmla="*/ 410409 w 447236"/>
              <a:gd name="connsiteY1652" fmla="*/ 319708 h 448122"/>
              <a:gd name="connsiteX1653" fmla="*/ 401209 w 447236"/>
              <a:gd name="connsiteY1653" fmla="*/ 319708 h 448122"/>
              <a:gd name="connsiteX1654" fmla="*/ 396608 w 447236"/>
              <a:gd name="connsiteY1654" fmla="*/ 314800 h 448122"/>
              <a:gd name="connsiteX1655" fmla="*/ 396608 w 447236"/>
              <a:gd name="connsiteY1655" fmla="*/ 250692 h 448122"/>
              <a:gd name="connsiteX1656" fmla="*/ 400595 w 447236"/>
              <a:gd name="connsiteY1656" fmla="*/ 241183 h 448122"/>
              <a:gd name="connsiteX1657" fmla="*/ 400641 w 447236"/>
              <a:gd name="connsiteY1657" fmla="*/ 241183 h 448122"/>
              <a:gd name="connsiteX1658" fmla="*/ 399413 w 447236"/>
              <a:gd name="connsiteY1658" fmla="*/ 239943 h 448122"/>
              <a:gd name="connsiteX1659" fmla="*/ 399413 w 447236"/>
              <a:gd name="connsiteY1659" fmla="*/ 239323 h 448122"/>
              <a:gd name="connsiteX1660" fmla="*/ 400641 w 447236"/>
              <a:gd name="connsiteY1660" fmla="*/ 238083 h 448122"/>
              <a:gd name="connsiteX1661" fmla="*/ 403694 w 447236"/>
              <a:gd name="connsiteY1661" fmla="*/ 238083 h 448122"/>
              <a:gd name="connsiteX1662" fmla="*/ 404284 w 447236"/>
              <a:gd name="connsiteY1662" fmla="*/ 229522 h 448122"/>
              <a:gd name="connsiteX1663" fmla="*/ 397494 w 447236"/>
              <a:gd name="connsiteY1663" fmla="*/ 216386 h 448122"/>
              <a:gd name="connsiteX1664" fmla="*/ 136532 w 447236"/>
              <a:gd name="connsiteY1664" fmla="*/ 213286 h 448122"/>
              <a:gd name="connsiteX1665" fmla="*/ 136975 w 447236"/>
              <a:gd name="connsiteY1665" fmla="*/ 213286 h 448122"/>
              <a:gd name="connsiteX1666" fmla="*/ 137270 w 447236"/>
              <a:gd name="connsiteY1666" fmla="*/ 213286 h 448122"/>
              <a:gd name="connsiteX1667" fmla="*/ 137270 w 447236"/>
              <a:gd name="connsiteY1667" fmla="*/ 213876 h 448122"/>
              <a:gd name="connsiteX1668" fmla="*/ 136532 w 447236"/>
              <a:gd name="connsiteY1668" fmla="*/ 213876 h 448122"/>
              <a:gd name="connsiteX1669" fmla="*/ 434047 w 447236"/>
              <a:gd name="connsiteY1669" fmla="*/ 212400 h 448122"/>
              <a:gd name="connsiteX1670" fmla="*/ 434047 w 447236"/>
              <a:gd name="connsiteY1670" fmla="*/ 214023 h 448122"/>
              <a:gd name="connsiteX1671" fmla="*/ 434047 w 447236"/>
              <a:gd name="connsiteY1671" fmla="*/ 216092 h 448122"/>
              <a:gd name="connsiteX1672" fmla="*/ 433433 w 447236"/>
              <a:gd name="connsiteY1672" fmla="*/ 217932 h 448122"/>
              <a:gd name="connsiteX1673" fmla="*/ 432206 w 447236"/>
              <a:gd name="connsiteY1673" fmla="*/ 219158 h 448122"/>
              <a:gd name="connsiteX1674" fmla="*/ 429446 w 447236"/>
              <a:gd name="connsiteY1674" fmla="*/ 221917 h 448122"/>
              <a:gd name="connsiteX1675" fmla="*/ 428525 w 447236"/>
              <a:gd name="connsiteY1675" fmla="*/ 225596 h 448122"/>
              <a:gd name="connsiteX1676" fmla="*/ 428525 w 447236"/>
              <a:gd name="connsiteY1676" fmla="*/ 298832 h 448122"/>
              <a:gd name="connsiteX1677" fmla="*/ 428525 w 447236"/>
              <a:gd name="connsiteY1677" fmla="*/ 299252 h 448122"/>
              <a:gd name="connsiteX1678" fmla="*/ 440799 w 447236"/>
              <a:gd name="connsiteY1678" fmla="*/ 306253 h 448122"/>
              <a:gd name="connsiteX1679" fmla="*/ 446316 w 447236"/>
              <a:gd name="connsiteY1679" fmla="*/ 304876 h 448122"/>
              <a:gd name="connsiteX1680" fmla="*/ 446316 w 447236"/>
              <a:gd name="connsiteY1680" fmla="*/ 281667 h 448122"/>
              <a:gd name="connsiteX1681" fmla="*/ 446316 w 447236"/>
              <a:gd name="connsiteY1681" fmla="*/ 225596 h 448122"/>
              <a:gd name="connsiteX1682" fmla="*/ 445396 w 447236"/>
              <a:gd name="connsiteY1682" fmla="*/ 221917 h 448122"/>
              <a:gd name="connsiteX1683" fmla="*/ 442635 w 447236"/>
              <a:gd name="connsiteY1683" fmla="*/ 219158 h 448122"/>
              <a:gd name="connsiteX1684" fmla="*/ 441408 w 447236"/>
              <a:gd name="connsiteY1684" fmla="*/ 217932 h 448122"/>
              <a:gd name="connsiteX1685" fmla="*/ 440795 w 447236"/>
              <a:gd name="connsiteY1685" fmla="*/ 216399 h 448122"/>
              <a:gd name="connsiteX1686" fmla="*/ 440795 w 447236"/>
              <a:gd name="connsiteY1686" fmla="*/ 212400 h 448122"/>
              <a:gd name="connsiteX1687" fmla="*/ 434764 w 447236"/>
              <a:gd name="connsiteY1687" fmla="*/ 212400 h 448122"/>
              <a:gd name="connsiteX1688" fmla="*/ 307625 w 447236"/>
              <a:gd name="connsiteY1688" fmla="*/ 212400 h 448122"/>
              <a:gd name="connsiteX1689" fmla="*/ 311595 w 447236"/>
              <a:gd name="connsiteY1689" fmla="*/ 214546 h 448122"/>
              <a:gd name="connsiteX1690" fmla="*/ 313427 w 447236"/>
              <a:gd name="connsiteY1690" fmla="*/ 236928 h 448122"/>
              <a:gd name="connsiteX1691" fmla="*/ 312816 w 447236"/>
              <a:gd name="connsiteY1691" fmla="*/ 236928 h 448122"/>
              <a:gd name="connsiteX1692" fmla="*/ 312816 w 447236"/>
              <a:gd name="connsiteY1692" fmla="*/ 246432 h 448122"/>
              <a:gd name="connsiteX1693" fmla="*/ 314038 w 447236"/>
              <a:gd name="connsiteY1693" fmla="*/ 246739 h 448122"/>
              <a:gd name="connsiteX1694" fmla="*/ 314343 w 447236"/>
              <a:gd name="connsiteY1694" fmla="*/ 247965 h 448122"/>
              <a:gd name="connsiteX1695" fmla="*/ 313427 w 447236"/>
              <a:gd name="connsiteY1695" fmla="*/ 279238 h 448122"/>
              <a:gd name="connsiteX1696" fmla="*/ 313733 w 447236"/>
              <a:gd name="connsiteY1696" fmla="*/ 282304 h 448122"/>
              <a:gd name="connsiteX1697" fmla="*/ 315259 w 447236"/>
              <a:gd name="connsiteY1697" fmla="*/ 308978 h 448122"/>
              <a:gd name="connsiteX1698" fmla="*/ 311290 w 447236"/>
              <a:gd name="connsiteY1698" fmla="*/ 311737 h 448122"/>
              <a:gd name="connsiteX1699" fmla="*/ 307014 w 447236"/>
              <a:gd name="connsiteY1699" fmla="*/ 308978 h 448122"/>
              <a:gd name="connsiteX1700" fmla="*/ 308541 w 447236"/>
              <a:gd name="connsiteY1700" fmla="*/ 281997 h 448122"/>
              <a:gd name="connsiteX1701" fmla="*/ 308541 w 447236"/>
              <a:gd name="connsiteY1701" fmla="*/ 279238 h 448122"/>
              <a:gd name="connsiteX1702" fmla="*/ 307930 w 447236"/>
              <a:gd name="connsiteY1702" fmla="*/ 247965 h 448122"/>
              <a:gd name="connsiteX1703" fmla="*/ 308236 w 447236"/>
              <a:gd name="connsiteY1703" fmla="*/ 246739 h 448122"/>
              <a:gd name="connsiteX1704" fmla="*/ 309457 w 447236"/>
              <a:gd name="connsiteY1704" fmla="*/ 246432 h 448122"/>
              <a:gd name="connsiteX1705" fmla="*/ 309457 w 447236"/>
              <a:gd name="connsiteY1705" fmla="*/ 236928 h 448122"/>
              <a:gd name="connsiteX1706" fmla="*/ 309152 w 447236"/>
              <a:gd name="connsiteY1706" fmla="*/ 236928 h 448122"/>
              <a:gd name="connsiteX1707" fmla="*/ 308236 w 447236"/>
              <a:gd name="connsiteY1707" fmla="*/ 231102 h 448122"/>
              <a:gd name="connsiteX1708" fmla="*/ 307320 w 447236"/>
              <a:gd name="connsiteY1708" fmla="*/ 221904 h 448122"/>
              <a:gd name="connsiteX1709" fmla="*/ 307320 w 447236"/>
              <a:gd name="connsiteY1709" fmla="*/ 215159 h 448122"/>
              <a:gd name="connsiteX1710" fmla="*/ 307625 w 447236"/>
              <a:gd name="connsiteY1710" fmla="*/ 212400 h 448122"/>
              <a:gd name="connsiteX1711" fmla="*/ 68707 w 447236"/>
              <a:gd name="connsiteY1711" fmla="*/ 212130 h 448122"/>
              <a:gd name="connsiteX1712" fmla="*/ 68400 w 447236"/>
              <a:gd name="connsiteY1712" fmla="*/ 212437 h 448122"/>
              <a:gd name="connsiteX1713" fmla="*/ 68707 w 447236"/>
              <a:gd name="connsiteY1713" fmla="*/ 212745 h 448122"/>
              <a:gd name="connsiteX1714" fmla="*/ 81921 w 447236"/>
              <a:gd name="connsiteY1714" fmla="*/ 212745 h 448122"/>
              <a:gd name="connsiteX1715" fmla="*/ 82228 w 447236"/>
              <a:gd name="connsiteY1715" fmla="*/ 212437 h 448122"/>
              <a:gd name="connsiteX1716" fmla="*/ 81921 w 447236"/>
              <a:gd name="connsiteY1716" fmla="*/ 212130 h 448122"/>
              <a:gd name="connsiteX1717" fmla="*/ 68707 w 447236"/>
              <a:gd name="connsiteY1717" fmla="*/ 212130 h 448122"/>
              <a:gd name="connsiteX1718" fmla="*/ 151905 w 447236"/>
              <a:gd name="connsiteY1718" fmla="*/ 212052 h 448122"/>
              <a:gd name="connsiteX1719" fmla="*/ 155056 w 447236"/>
              <a:gd name="connsiteY1719" fmla="*/ 215205 h 448122"/>
              <a:gd name="connsiteX1720" fmla="*/ 156679 w 447236"/>
              <a:gd name="connsiteY1720" fmla="*/ 213581 h 448122"/>
              <a:gd name="connsiteX1721" fmla="*/ 153462 w 447236"/>
              <a:gd name="connsiteY1721" fmla="*/ 213581 h 448122"/>
              <a:gd name="connsiteX1722" fmla="*/ 152843 w 447236"/>
              <a:gd name="connsiteY1722" fmla="*/ 212969 h 448122"/>
              <a:gd name="connsiteX1723" fmla="*/ 152843 w 447236"/>
              <a:gd name="connsiteY1723" fmla="*/ 212052 h 448122"/>
              <a:gd name="connsiteX1724" fmla="*/ 138746 w 447236"/>
              <a:gd name="connsiteY1724" fmla="*/ 211809 h 448122"/>
              <a:gd name="connsiteX1725" fmla="*/ 138451 w 447236"/>
              <a:gd name="connsiteY1725" fmla="*/ 213285 h 448122"/>
              <a:gd name="connsiteX1726" fmla="*/ 139927 w 447236"/>
              <a:gd name="connsiteY1726" fmla="*/ 213285 h 448122"/>
              <a:gd name="connsiteX1727" fmla="*/ 140222 w 447236"/>
              <a:gd name="connsiteY1727" fmla="*/ 211809 h 448122"/>
              <a:gd name="connsiteX1728" fmla="*/ 134170 w 447236"/>
              <a:gd name="connsiteY1728" fmla="*/ 211514 h 448122"/>
              <a:gd name="connsiteX1729" fmla="*/ 134170 w 447236"/>
              <a:gd name="connsiteY1729" fmla="*/ 211809 h 448122"/>
              <a:gd name="connsiteX1730" fmla="*/ 134170 w 447236"/>
              <a:gd name="connsiteY1730" fmla="*/ 213285 h 448122"/>
              <a:gd name="connsiteX1731" fmla="*/ 133580 w 447236"/>
              <a:gd name="connsiteY1731" fmla="*/ 213581 h 448122"/>
              <a:gd name="connsiteX1732" fmla="*/ 133580 w 447236"/>
              <a:gd name="connsiteY1732" fmla="*/ 213285 h 448122"/>
              <a:gd name="connsiteX1733" fmla="*/ 133580 w 447236"/>
              <a:gd name="connsiteY1733" fmla="*/ 211809 h 448122"/>
              <a:gd name="connsiteX1734" fmla="*/ 138451 w 447236"/>
              <a:gd name="connsiteY1734" fmla="*/ 211219 h 448122"/>
              <a:gd name="connsiteX1735" fmla="*/ 138746 w 447236"/>
              <a:gd name="connsiteY1735" fmla="*/ 211219 h 448122"/>
              <a:gd name="connsiteX1736" fmla="*/ 140665 w 447236"/>
              <a:gd name="connsiteY1736" fmla="*/ 211219 h 448122"/>
              <a:gd name="connsiteX1737" fmla="*/ 140665 w 447236"/>
              <a:gd name="connsiteY1737" fmla="*/ 211514 h 448122"/>
              <a:gd name="connsiteX1738" fmla="*/ 140961 w 447236"/>
              <a:gd name="connsiteY1738" fmla="*/ 211514 h 448122"/>
              <a:gd name="connsiteX1739" fmla="*/ 140961 w 447236"/>
              <a:gd name="connsiteY1739" fmla="*/ 211809 h 448122"/>
              <a:gd name="connsiteX1740" fmla="*/ 140665 w 447236"/>
              <a:gd name="connsiteY1740" fmla="*/ 213285 h 448122"/>
              <a:gd name="connsiteX1741" fmla="*/ 140222 w 447236"/>
              <a:gd name="connsiteY1741" fmla="*/ 213581 h 448122"/>
              <a:gd name="connsiteX1742" fmla="*/ 139927 w 447236"/>
              <a:gd name="connsiteY1742" fmla="*/ 213876 h 448122"/>
              <a:gd name="connsiteX1743" fmla="*/ 138451 w 447236"/>
              <a:gd name="connsiteY1743" fmla="*/ 213876 h 448122"/>
              <a:gd name="connsiteX1744" fmla="*/ 138156 w 447236"/>
              <a:gd name="connsiteY1744" fmla="*/ 213581 h 448122"/>
              <a:gd name="connsiteX1745" fmla="*/ 137861 w 447236"/>
              <a:gd name="connsiteY1745" fmla="*/ 213285 h 448122"/>
              <a:gd name="connsiteX1746" fmla="*/ 138156 w 447236"/>
              <a:gd name="connsiteY1746" fmla="*/ 211809 h 448122"/>
              <a:gd name="connsiteX1747" fmla="*/ 138451 w 447236"/>
              <a:gd name="connsiteY1747" fmla="*/ 211514 h 448122"/>
              <a:gd name="connsiteX1748" fmla="*/ 134170 w 447236"/>
              <a:gd name="connsiteY1748" fmla="*/ 211219 h 448122"/>
              <a:gd name="connsiteX1749" fmla="*/ 134465 w 447236"/>
              <a:gd name="connsiteY1749" fmla="*/ 211219 h 448122"/>
              <a:gd name="connsiteX1750" fmla="*/ 135941 w 447236"/>
              <a:gd name="connsiteY1750" fmla="*/ 211219 h 448122"/>
              <a:gd name="connsiteX1751" fmla="*/ 136237 w 447236"/>
              <a:gd name="connsiteY1751" fmla="*/ 211219 h 448122"/>
              <a:gd name="connsiteX1752" fmla="*/ 136237 w 447236"/>
              <a:gd name="connsiteY1752" fmla="*/ 211514 h 448122"/>
              <a:gd name="connsiteX1753" fmla="*/ 136532 w 447236"/>
              <a:gd name="connsiteY1753" fmla="*/ 211809 h 448122"/>
              <a:gd name="connsiteX1754" fmla="*/ 136237 w 447236"/>
              <a:gd name="connsiteY1754" fmla="*/ 213285 h 448122"/>
              <a:gd name="connsiteX1755" fmla="*/ 135941 w 447236"/>
              <a:gd name="connsiteY1755" fmla="*/ 213581 h 448122"/>
              <a:gd name="connsiteX1756" fmla="*/ 135646 w 447236"/>
              <a:gd name="connsiteY1756" fmla="*/ 213876 h 448122"/>
              <a:gd name="connsiteX1757" fmla="*/ 135351 w 447236"/>
              <a:gd name="connsiteY1757" fmla="*/ 213876 h 448122"/>
              <a:gd name="connsiteX1758" fmla="*/ 133875 w 447236"/>
              <a:gd name="connsiteY1758" fmla="*/ 213876 h 448122"/>
              <a:gd name="connsiteX1759" fmla="*/ 133875 w 447236"/>
              <a:gd name="connsiteY1759" fmla="*/ 213581 h 448122"/>
              <a:gd name="connsiteX1760" fmla="*/ 134170 w 447236"/>
              <a:gd name="connsiteY1760" fmla="*/ 213285 h 448122"/>
              <a:gd name="connsiteX1761" fmla="*/ 135646 w 447236"/>
              <a:gd name="connsiteY1761" fmla="*/ 213285 h 448122"/>
              <a:gd name="connsiteX1762" fmla="*/ 135941 w 447236"/>
              <a:gd name="connsiteY1762" fmla="*/ 211809 h 448122"/>
              <a:gd name="connsiteX1763" fmla="*/ 134465 w 447236"/>
              <a:gd name="connsiteY1763" fmla="*/ 211809 h 448122"/>
              <a:gd name="connsiteX1764" fmla="*/ 134170 w 447236"/>
              <a:gd name="connsiteY1764" fmla="*/ 211514 h 448122"/>
              <a:gd name="connsiteX1765" fmla="*/ 130481 w 447236"/>
              <a:gd name="connsiteY1765" fmla="*/ 211219 h 448122"/>
              <a:gd name="connsiteX1766" fmla="*/ 131071 w 447236"/>
              <a:gd name="connsiteY1766" fmla="*/ 211219 h 448122"/>
              <a:gd name="connsiteX1767" fmla="*/ 132547 w 447236"/>
              <a:gd name="connsiteY1767" fmla="*/ 211219 h 448122"/>
              <a:gd name="connsiteX1768" fmla="*/ 132990 w 447236"/>
              <a:gd name="connsiteY1768" fmla="*/ 211219 h 448122"/>
              <a:gd name="connsiteX1769" fmla="*/ 132990 w 447236"/>
              <a:gd name="connsiteY1769" fmla="*/ 211514 h 448122"/>
              <a:gd name="connsiteX1770" fmla="*/ 133286 w 447236"/>
              <a:gd name="connsiteY1770" fmla="*/ 211809 h 448122"/>
              <a:gd name="connsiteX1771" fmla="*/ 132990 w 447236"/>
              <a:gd name="connsiteY1771" fmla="*/ 213285 h 448122"/>
              <a:gd name="connsiteX1772" fmla="*/ 132547 w 447236"/>
              <a:gd name="connsiteY1772" fmla="*/ 213581 h 448122"/>
              <a:gd name="connsiteX1773" fmla="*/ 132252 w 447236"/>
              <a:gd name="connsiteY1773" fmla="*/ 213876 h 448122"/>
              <a:gd name="connsiteX1774" fmla="*/ 130481 w 447236"/>
              <a:gd name="connsiteY1774" fmla="*/ 213876 h 448122"/>
              <a:gd name="connsiteX1775" fmla="*/ 130186 w 447236"/>
              <a:gd name="connsiteY1775" fmla="*/ 213581 h 448122"/>
              <a:gd name="connsiteX1776" fmla="*/ 130481 w 447236"/>
              <a:gd name="connsiteY1776" fmla="*/ 213285 h 448122"/>
              <a:gd name="connsiteX1777" fmla="*/ 132252 w 447236"/>
              <a:gd name="connsiteY1777" fmla="*/ 213285 h 448122"/>
              <a:gd name="connsiteX1778" fmla="*/ 132547 w 447236"/>
              <a:gd name="connsiteY1778" fmla="*/ 211809 h 448122"/>
              <a:gd name="connsiteX1779" fmla="*/ 130776 w 447236"/>
              <a:gd name="connsiteY1779" fmla="*/ 211809 h 448122"/>
              <a:gd name="connsiteX1780" fmla="*/ 130481 w 447236"/>
              <a:gd name="connsiteY1780" fmla="*/ 211514 h 448122"/>
              <a:gd name="connsiteX1781" fmla="*/ 157492 w 447236"/>
              <a:gd name="connsiteY1781" fmla="*/ 210263 h 448122"/>
              <a:gd name="connsiteX1782" fmla="*/ 157492 w 447236"/>
              <a:gd name="connsiteY1782" fmla="*/ 212767 h 448122"/>
              <a:gd name="connsiteX1783" fmla="*/ 158743 w 447236"/>
              <a:gd name="connsiteY1783" fmla="*/ 211515 h 448122"/>
              <a:gd name="connsiteX1784" fmla="*/ 152843 w 447236"/>
              <a:gd name="connsiteY1784" fmla="*/ 210039 h 448122"/>
              <a:gd name="connsiteX1785" fmla="*/ 152053 w 447236"/>
              <a:gd name="connsiteY1785" fmla="*/ 210829 h 448122"/>
              <a:gd name="connsiteX1786" fmla="*/ 152843 w 447236"/>
              <a:gd name="connsiteY1786" fmla="*/ 210829 h 448122"/>
              <a:gd name="connsiteX1787" fmla="*/ 138746 w 447236"/>
              <a:gd name="connsiteY1787" fmla="*/ 209005 h 448122"/>
              <a:gd name="connsiteX1788" fmla="*/ 139042 w 447236"/>
              <a:gd name="connsiteY1788" fmla="*/ 209300 h 448122"/>
              <a:gd name="connsiteX1789" fmla="*/ 138746 w 447236"/>
              <a:gd name="connsiteY1789" fmla="*/ 210924 h 448122"/>
              <a:gd name="connsiteX1790" fmla="*/ 138451 w 447236"/>
              <a:gd name="connsiteY1790" fmla="*/ 211219 h 448122"/>
              <a:gd name="connsiteX1791" fmla="*/ 138156 w 447236"/>
              <a:gd name="connsiteY1791" fmla="*/ 210924 h 448122"/>
              <a:gd name="connsiteX1792" fmla="*/ 138451 w 447236"/>
              <a:gd name="connsiteY1792" fmla="*/ 209300 h 448122"/>
              <a:gd name="connsiteX1793" fmla="*/ 139337 w 447236"/>
              <a:gd name="connsiteY1793" fmla="*/ 208710 h 448122"/>
              <a:gd name="connsiteX1794" fmla="*/ 140961 w 447236"/>
              <a:gd name="connsiteY1794" fmla="*/ 208710 h 448122"/>
              <a:gd name="connsiteX1795" fmla="*/ 141256 w 447236"/>
              <a:gd name="connsiteY1795" fmla="*/ 209005 h 448122"/>
              <a:gd name="connsiteX1796" fmla="*/ 140961 w 447236"/>
              <a:gd name="connsiteY1796" fmla="*/ 209300 h 448122"/>
              <a:gd name="connsiteX1797" fmla="*/ 139042 w 447236"/>
              <a:gd name="connsiteY1797" fmla="*/ 209300 h 448122"/>
              <a:gd name="connsiteX1798" fmla="*/ 139042 w 447236"/>
              <a:gd name="connsiteY1798" fmla="*/ 209005 h 448122"/>
              <a:gd name="connsiteX1799" fmla="*/ 134761 w 447236"/>
              <a:gd name="connsiteY1799" fmla="*/ 208710 h 448122"/>
              <a:gd name="connsiteX1800" fmla="*/ 136532 w 447236"/>
              <a:gd name="connsiteY1800" fmla="*/ 208710 h 448122"/>
              <a:gd name="connsiteX1801" fmla="*/ 136975 w 447236"/>
              <a:gd name="connsiteY1801" fmla="*/ 209005 h 448122"/>
              <a:gd name="connsiteX1802" fmla="*/ 136532 w 447236"/>
              <a:gd name="connsiteY1802" fmla="*/ 209300 h 448122"/>
              <a:gd name="connsiteX1803" fmla="*/ 134761 w 447236"/>
              <a:gd name="connsiteY1803" fmla="*/ 209300 h 448122"/>
              <a:gd name="connsiteX1804" fmla="*/ 134465 w 447236"/>
              <a:gd name="connsiteY1804" fmla="*/ 210924 h 448122"/>
              <a:gd name="connsiteX1805" fmla="*/ 134170 w 447236"/>
              <a:gd name="connsiteY1805" fmla="*/ 211219 h 448122"/>
              <a:gd name="connsiteX1806" fmla="*/ 133875 w 447236"/>
              <a:gd name="connsiteY1806" fmla="*/ 210924 h 448122"/>
              <a:gd name="connsiteX1807" fmla="*/ 134170 w 447236"/>
              <a:gd name="connsiteY1807" fmla="*/ 209300 h 448122"/>
              <a:gd name="connsiteX1808" fmla="*/ 134465 w 447236"/>
              <a:gd name="connsiteY1808" fmla="*/ 209005 h 448122"/>
              <a:gd name="connsiteX1809" fmla="*/ 131367 w 447236"/>
              <a:gd name="connsiteY1809" fmla="*/ 208710 h 448122"/>
              <a:gd name="connsiteX1810" fmla="*/ 133286 w 447236"/>
              <a:gd name="connsiteY1810" fmla="*/ 208710 h 448122"/>
              <a:gd name="connsiteX1811" fmla="*/ 133286 w 447236"/>
              <a:gd name="connsiteY1811" fmla="*/ 209005 h 448122"/>
              <a:gd name="connsiteX1812" fmla="*/ 133581 w 447236"/>
              <a:gd name="connsiteY1812" fmla="*/ 209005 h 448122"/>
              <a:gd name="connsiteX1813" fmla="*/ 133581 w 447236"/>
              <a:gd name="connsiteY1813" fmla="*/ 209300 h 448122"/>
              <a:gd name="connsiteX1814" fmla="*/ 133286 w 447236"/>
              <a:gd name="connsiteY1814" fmla="*/ 210924 h 448122"/>
              <a:gd name="connsiteX1815" fmla="*/ 132990 w 447236"/>
              <a:gd name="connsiteY1815" fmla="*/ 211219 h 448122"/>
              <a:gd name="connsiteX1816" fmla="*/ 132547 w 447236"/>
              <a:gd name="connsiteY1816" fmla="*/ 210924 h 448122"/>
              <a:gd name="connsiteX1817" fmla="*/ 132990 w 447236"/>
              <a:gd name="connsiteY1817" fmla="*/ 209300 h 448122"/>
              <a:gd name="connsiteX1818" fmla="*/ 131367 w 447236"/>
              <a:gd name="connsiteY1818" fmla="*/ 209300 h 448122"/>
              <a:gd name="connsiteX1819" fmla="*/ 131071 w 447236"/>
              <a:gd name="connsiteY1819" fmla="*/ 209005 h 448122"/>
              <a:gd name="connsiteX1820" fmla="*/ 155056 w 447236"/>
              <a:gd name="connsiteY1820" fmla="*/ 207825 h 448122"/>
              <a:gd name="connsiteX1821" fmla="*/ 153581 w 447236"/>
              <a:gd name="connsiteY1821" fmla="*/ 209301 h 448122"/>
              <a:gd name="connsiteX1822" fmla="*/ 156531 w 447236"/>
              <a:gd name="connsiteY1822" fmla="*/ 209301 h 448122"/>
              <a:gd name="connsiteX1823" fmla="*/ 128629 w 447236"/>
              <a:gd name="connsiteY1823" fmla="*/ 207825 h 448122"/>
              <a:gd name="connsiteX1824" fmla="*/ 127400 w 447236"/>
              <a:gd name="connsiteY1824" fmla="*/ 208747 h 448122"/>
              <a:gd name="connsiteX1825" fmla="*/ 127400 w 447236"/>
              <a:gd name="connsiteY1825" fmla="*/ 214282 h 448122"/>
              <a:gd name="connsiteX1826" fmla="*/ 128629 w 447236"/>
              <a:gd name="connsiteY1826" fmla="*/ 215205 h 448122"/>
              <a:gd name="connsiteX1827" fmla="*/ 142764 w 447236"/>
              <a:gd name="connsiteY1827" fmla="*/ 215205 h 448122"/>
              <a:gd name="connsiteX1828" fmla="*/ 143993 w 447236"/>
              <a:gd name="connsiteY1828" fmla="*/ 214282 h 448122"/>
              <a:gd name="connsiteX1829" fmla="*/ 143993 w 447236"/>
              <a:gd name="connsiteY1829" fmla="*/ 208747 h 448122"/>
              <a:gd name="connsiteX1830" fmla="*/ 142764 w 447236"/>
              <a:gd name="connsiteY1830" fmla="*/ 207825 h 448122"/>
              <a:gd name="connsiteX1831" fmla="*/ 128629 w 447236"/>
              <a:gd name="connsiteY1831" fmla="*/ 207825 h 448122"/>
              <a:gd name="connsiteX1832" fmla="*/ 191847 w 447236"/>
              <a:gd name="connsiteY1832" fmla="*/ 205020 h 448122"/>
              <a:gd name="connsiteX1833" fmla="*/ 192462 w 447236"/>
              <a:gd name="connsiteY1833" fmla="*/ 205325 h 448122"/>
              <a:gd name="connsiteX1834" fmla="*/ 192154 w 447236"/>
              <a:gd name="connsiteY1834" fmla="*/ 206240 h 448122"/>
              <a:gd name="connsiteX1835" fmla="*/ 191847 w 447236"/>
              <a:gd name="connsiteY1835" fmla="*/ 207155 h 448122"/>
              <a:gd name="connsiteX1836" fmla="*/ 191539 w 447236"/>
              <a:gd name="connsiteY1836" fmla="*/ 208681 h 448122"/>
              <a:gd name="connsiteX1837" fmla="*/ 190617 w 447236"/>
              <a:gd name="connsiteY1837" fmla="*/ 209291 h 448122"/>
              <a:gd name="connsiteX1838" fmla="*/ 190002 w 447236"/>
              <a:gd name="connsiteY1838" fmla="*/ 209596 h 448122"/>
              <a:gd name="connsiteX1839" fmla="*/ 189387 w 447236"/>
              <a:gd name="connsiteY1839" fmla="*/ 209291 h 448122"/>
              <a:gd name="connsiteX1840" fmla="*/ 189694 w 447236"/>
              <a:gd name="connsiteY1840" fmla="*/ 208376 h 448122"/>
              <a:gd name="connsiteX1841" fmla="*/ 190002 w 447236"/>
              <a:gd name="connsiteY1841" fmla="*/ 208071 h 448122"/>
              <a:gd name="connsiteX1842" fmla="*/ 190309 w 447236"/>
              <a:gd name="connsiteY1842" fmla="*/ 208071 h 448122"/>
              <a:gd name="connsiteX1843" fmla="*/ 190617 w 447236"/>
              <a:gd name="connsiteY1843" fmla="*/ 207155 h 448122"/>
              <a:gd name="connsiteX1844" fmla="*/ 191847 w 447236"/>
              <a:gd name="connsiteY1844" fmla="*/ 205020 h 448122"/>
              <a:gd name="connsiteX1845" fmla="*/ 49064 w 447236"/>
              <a:gd name="connsiteY1845" fmla="*/ 204421 h 448122"/>
              <a:gd name="connsiteX1846" fmla="*/ 49371 w 447236"/>
              <a:gd name="connsiteY1846" fmla="*/ 204421 h 448122"/>
              <a:gd name="connsiteX1847" fmla="*/ 49678 w 447236"/>
              <a:gd name="connsiteY1847" fmla="*/ 205953 h 448122"/>
              <a:gd name="connsiteX1848" fmla="*/ 49984 w 447236"/>
              <a:gd name="connsiteY1848" fmla="*/ 207484 h 448122"/>
              <a:gd name="connsiteX1849" fmla="*/ 49678 w 447236"/>
              <a:gd name="connsiteY1849" fmla="*/ 207484 h 448122"/>
              <a:gd name="connsiteX1850" fmla="*/ 48758 w 447236"/>
              <a:gd name="connsiteY1850" fmla="*/ 207484 h 448122"/>
              <a:gd name="connsiteX1851" fmla="*/ 49064 w 447236"/>
              <a:gd name="connsiteY1851" fmla="*/ 205953 h 448122"/>
              <a:gd name="connsiteX1852" fmla="*/ 49064 w 447236"/>
              <a:gd name="connsiteY1852" fmla="*/ 204421 h 448122"/>
              <a:gd name="connsiteX1853" fmla="*/ 115108 w 447236"/>
              <a:gd name="connsiteY1853" fmla="*/ 204135 h 448122"/>
              <a:gd name="connsiteX1854" fmla="*/ 164582 w 447236"/>
              <a:gd name="connsiteY1854" fmla="*/ 204135 h 448122"/>
              <a:gd name="connsiteX1855" fmla="*/ 169806 w 447236"/>
              <a:gd name="connsiteY1855" fmla="*/ 206287 h 448122"/>
              <a:gd name="connsiteX1856" fmla="*/ 171957 w 447236"/>
              <a:gd name="connsiteY1856" fmla="*/ 211515 h 448122"/>
              <a:gd name="connsiteX1857" fmla="*/ 169806 w 447236"/>
              <a:gd name="connsiteY1857" fmla="*/ 216742 h 448122"/>
              <a:gd name="connsiteX1858" fmla="*/ 164582 w 447236"/>
              <a:gd name="connsiteY1858" fmla="*/ 218895 h 448122"/>
              <a:gd name="connsiteX1859" fmla="*/ 114801 w 447236"/>
              <a:gd name="connsiteY1859" fmla="*/ 218587 h 448122"/>
              <a:gd name="connsiteX1860" fmla="*/ 90832 w 447236"/>
              <a:gd name="connsiteY1860" fmla="*/ 214282 h 448122"/>
              <a:gd name="connsiteX1861" fmla="*/ 80692 w 447236"/>
              <a:gd name="connsiteY1861" fmla="*/ 213667 h 448122"/>
              <a:gd name="connsiteX1862" fmla="*/ 70244 w 447236"/>
              <a:gd name="connsiteY1862" fmla="*/ 213360 h 448122"/>
              <a:gd name="connsiteX1863" fmla="*/ 67478 w 447236"/>
              <a:gd name="connsiteY1863" fmla="*/ 213052 h 448122"/>
              <a:gd name="connsiteX1864" fmla="*/ 66864 w 447236"/>
              <a:gd name="connsiteY1864" fmla="*/ 212130 h 448122"/>
              <a:gd name="connsiteX1865" fmla="*/ 67478 w 447236"/>
              <a:gd name="connsiteY1865" fmla="*/ 211515 h 448122"/>
              <a:gd name="connsiteX1866" fmla="*/ 70244 w 447236"/>
              <a:gd name="connsiteY1866" fmla="*/ 210900 h 448122"/>
              <a:gd name="connsiteX1867" fmla="*/ 80692 w 447236"/>
              <a:gd name="connsiteY1867" fmla="*/ 210285 h 448122"/>
              <a:gd name="connsiteX1868" fmla="*/ 90832 w 447236"/>
              <a:gd name="connsiteY1868" fmla="*/ 209362 h 448122"/>
              <a:gd name="connsiteX1869" fmla="*/ 115108 w 447236"/>
              <a:gd name="connsiteY1869" fmla="*/ 204135 h 448122"/>
              <a:gd name="connsiteX1870" fmla="*/ 31274 w 447236"/>
              <a:gd name="connsiteY1870" fmla="*/ 203809 h 448122"/>
              <a:gd name="connsiteX1871" fmla="*/ 31581 w 447236"/>
              <a:gd name="connsiteY1871" fmla="*/ 203809 h 448122"/>
              <a:gd name="connsiteX1872" fmla="*/ 32501 w 447236"/>
              <a:gd name="connsiteY1872" fmla="*/ 203809 h 448122"/>
              <a:gd name="connsiteX1873" fmla="*/ 33115 w 447236"/>
              <a:gd name="connsiteY1873" fmla="*/ 204115 h 448122"/>
              <a:gd name="connsiteX1874" fmla="*/ 33115 w 447236"/>
              <a:gd name="connsiteY1874" fmla="*/ 204728 h 448122"/>
              <a:gd name="connsiteX1875" fmla="*/ 33115 w 447236"/>
              <a:gd name="connsiteY1875" fmla="*/ 205340 h 448122"/>
              <a:gd name="connsiteX1876" fmla="*/ 32501 w 447236"/>
              <a:gd name="connsiteY1876" fmla="*/ 205340 h 448122"/>
              <a:gd name="connsiteX1877" fmla="*/ 31581 w 447236"/>
              <a:gd name="connsiteY1877" fmla="*/ 205340 h 448122"/>
              <a:gd name="connsiteX1878" fmla="*/ 31274 w 447236"/>
              <a:gd name="connsiteY1878" fmla="*/ 205340 h 448122"/>
              <a:gd name="connsiteX1879" fmla="*/ 31274 w 447236"/>
              <a:gd name="connsiteY1879" fmla="*/ 205034 h 448122"/>
              <a:gd name="connsiteX1880" fmla="*/ 31274 w 447236"/>
              <a:gd name="connsiteY1880" fmla="*/ 204115 h 448122"/>
              <a:gd name="connsiteX1881" fmla="*/ 31274 w 447236"/>
              <a:gd name="connsiteY1881" fmla="*/ 203809 h 448122"/>
              <a:gd name="connsiteX1882" fmla="*/ 16858 w 447236"/>
              <a:gd name="connsiteY1882" fmla="*/ 203503 h 448122"/>
              <a:gd name="connsiteX1883" fmla="*/ 17471 w 447236"/>
              <a:gd name="connsiteY1883" fmla="*/ 203809 h 448122"/>
              <a:gd name="connsiteX1884" fmla="*/ 17778 w 447236"/>
              <a:gd name="connsiteY1884" fmla="*/ 204728 h 448122"/>
              <a:gd name="connsiteX1885" fmla="*/ 17778 w 447236"/>
              <a:gd name="connsiteY1885" fmla="*/ 208097 h 448122"/>
              <a:gd name="connsiteX1886" fmla="*/ 17471 w 447236"/>
              <a:gd name="connsiteY1886" fmla="*/ 208709 h 448122"/>
              <a:gd name="connsiteX1887" fmla="*/ 16858 w 447236"/>
              <a:gd name="connsiteY1887" fmla="*/ 209016 h 448122"/>
              <a:gd name="connsiteX1888" fmla="*/ 15938 w 447236"/>
              <a:gd name="connsiteY1888" fmla="*/ 208709 h 448122"/>
              <a:gd name="connsiteX1889" fmla="*/ 15631 w 447236"/>
              <a:gd name="connsiteY1889" fmla="*/ 208097 h 448122"/>
              <a:gd name="connsiteX1890" fmla="*/ 15631 w 447236"/>
              <a:gd name="connsiteY1890" fmla="*/ 204728 h 448122"/>
              <a:gd name="connsiteX1891" fmla="*/ 15938 w 447236"/>
              <a:gd name="connsiteY1891" fmla="*/ 203809 h 448122"/>
              <a:gd name="connsiteX1892" fmla="*/ 16858 w 447236"/>
              <a:gd name="connsiteY1892" fmla="*/ 203503 h 448122"/>
              <a:gd name="connsiteX1893" fmla="*/ 53972 w 447236"/>
              <a:gd name="connsiteY1893" fmla="*/ 201971 h 448122"/>
              <a:gd name="connsiteX1894" fmla="*/ 53972 w 447236"/>
              <a:gd name="connsiteY1894" fmla="*/ 202277 h 448122"/>
              <a:gd name="connsiteX1895" fmla="*/ 53972 w 447236"/>
              <a:gd name="connsiteY1895" fmla="*/ 210547 h 448122"/>
              <a:gd name="connsiteX1896" fmla="*/ 54279 w 447236"/>
              <a:gd name="connsiteY1896" fmla="*/ 210853 h 448122"/>
              <a:gd name="connsiteX1897" fmla="*/ 59186 w 447236"/>
              <a:gd name="connsiteY1897" fmla="*/ 210853 h 448122"/>
              <a:gd name="connsiteX1898" fmla="*/ 59493 w 447236"/>
              <a:gd name="connsiteY1898" fmla="*/ 210547 h 448122"/>
              <a:gd name="connsiteX1899" fmla="*/ 59493 w 447236"/>
              <a:gd name="connsiteY1899" fmla="*/ 209322 h 448122"/>
              <a:gd name="connsiteX1900" fmla="*/ 59493 w 447236"/>
              <a:gd name="connsiteY1900" fmla="*/ 209016 h 448122"/>
              <a:gd name="connsiteX1901" fmla="*/ 59186 w 447236"/>
              <a:gd name="connsiteY1901" fmla="*/ 209016 h 448122"/>
              <a:gd name="connsiteX1902" fmla="*/ 56119 w 447236"/>
              <a:gd name="connsiteY1902" fmla="*/ 209016 h 448122"/>
              <a:gd name="connsiteX1903" fmla="*/ 55812 w 447236"/>
              <a:gd name="connsiteY1903" fmla="*/ 209016 h 448122"/>
              <a:gd name="connsiteX1904" fmla="*/ 55812 w 447236"/>
              <a:gd name="connsiteY1904" fmla="*/ 208709 h 448122"/>
              <a:gd name="connsiteX1905" fmla="*/ 55812 w 447236"/>
              <a:gd name="connsiteY1905" fmla="*/ 202277 h 448122"/>
              <a:gd name="connsiteX1906" fmla="*/ 55812 w 447236"/>
              <a:gd name="connsiteY1906" fmla="*/ 201971 h 448122"/>
              <a:gd name="connsiteX1907" fmla="*/ 55506 w 447236"/>
              <a:gd name="connsiteY1907" fmla="*/ 201971 h 448122"/>
              <a:gd name="connsiteX1908" fmla="*/ 54279 w 447236"/>
              <a:gd name="connsiteY1908" fmla="*/ 201971 h 448122"/>
              <a:gd name="connsiteX1909" fmla="*/ 53972 w 447236"/>
              <a:gd name="connsiteY1909" fmla="*/ 201971 h 448122"/>
              <a:gd name="connsiteX1910" fmla="*/ 48144 w 447236"/>
              <a:gd name="connsiteY1910" fmla="*/ 201971 h 448122"/>
              <a:gd name="connsiteX1911" fmla="*/ 47837 w 447236"/>
              <a:gd name="connsiteY1911" fmla="*/ 202277 h 448122"/>
              <a:gd name="connsiteX1912" fmla="*/ 45690 w 447236"/>
              <a:gd name="connsiteY1912" fmla="*/ 210547 h 448122"/>
              <a:gd name="connsiteX1913" fmla="*/ 45690 w 447236"/>
              <a:gd name="connsiteY1913" fmla="*/ 210853 h 448122"/>
              <a:gd name="connsiteX1914" fmla="*/ 45997 w 447236"/>
              <a:gd name="connsiteY1914" fmla="*/ 210853 h 448122"/>
              <a:gd name="connsiteX1915" fmla="*/ 47531 w 447236"/>
              <a:gd name="connsiteY1915" fmla="*/ 210853 h 448122"/>
              <a:gd name="connsiteX1916" fmla="*/ 47837 w 447236"/>
              <a:gd name="connsiteY1916" fmla="*/ 210853 h 448122"/>
              <a:gd name="connsiteX1917" fmla="*/ 47837 w 447236"/>
              <a:gd name="connsiteY1917" fmla="*/ 210547 h 448122"/>
              <a:gd name="connsiteX1918" fmla="*/ 48144 w 447236"/>
              <a:gd name="connsiteY1918" fmla="*/ 209628 h 448122"/>
              <a:gd name="connsiteX1919" fmla="*/ 48144 w 447236"/>
              <a:gd name="connsiteY1919" fmla="*/ 209322 h 448122"/>
              <a:gd name="connsiteX1920" fmla="*/ 48451 w 447236"/>
              <a:gd name="connsiteY1920" fmla="*/ 209322 h 448122"/>
              <a:gd name="connsiteX1921" fmla="*/ 50291 w 447236"/>
              <a:gd name="connsiteY1921" fmla="*/ 209322 h 448122"/>
              <a:gd name="connsiteX1922" fmla="*/ 50291 w 447236"/>
              <a:gd name="connsiteY1922" fmla="*/ 209628 h 448122"/>
              <a:gd name="connsiteX1923" fmla="*/ 50598 w 447236"/>
              <a:gd name="connsiteY1923" fmla="*/ 210547 h 448122"/>
              <a:gd name="connsiteX1924" fmla="*/ 50905 w 447236"/>
              <a:gd name="connsiteY1924" fmla="*/ 210853 h 448122"/>
              <a:gd name="connsiteX1925" fmla="*/ 52438 w 447236"/>
              <a:gd name="connsiteY1925" fmla="*/ 210853 h 448122"/>
              <a:gd name="connsiteX1926" fmla="*/ 52745 w 447236"/>
              <a:gd name="connsiteY1926" fmla="*/ 210547 h 448122"/>
              <a:gd name="connsiteX1927" fmla="*/ 50598 w 447236"/>
              <a:gd name="connsiteY1927" fmla="*/ 202277 h 448122"/>
              <a:gd name="connsiteX1928" fmla="*/ 50598 w 447236"/>
              <a:gd name="connsiteY1928" fmla="*/ 201971 h 448122"/>
              <a:gd name="connsiteX1929" fmla="*/ 50291 w 447236"/>
              <a:gd name="connsiteY1929" fmla="*/ 201971 h 448122"/>
              <a:gd name="connsiteX1930" fmla="*/ 48144 w 447236"/>
              <a:gd name="connsiteY1930" fmla="*/ 201971 h 448122"/>
              <a:gd name="connsiteX1931" fmla="*/ 39863 w 447236"/>
              <a:gd name="connsiteY1931" fmla="*/ 201971 h 448122"/>
              <a:gd name="connsiteX1932" fmla="*/ 39863 w 447236"/>
              <a:gd name="connsiteY1932" fmla="*/ 202277 h 448122"/>
              <a:gd name="connsiteX1933" fmla="*/ 39863 w 447236"/>
              <a:gd name="connsiteY1933" fmla="*/ 203503 h 448122"/>
              <a:gd name="connsiteX1934" fmla="*/ 39863 w 447236"/>
              <a:gd name="connsiteY1934" fmla="*/ 203809 h 448122"/>
              <a:gd name="connsiteX1935" fmla="*/ 40169 w 447236"/>
              <a:gd name="connsiteY1935" fmla="*/ 203809 h 448122"/>
              <a:gd name="connsiteX1936" fmla="*/ 41396 w 447236"/>
              <a:gd name="connsiteY1936" fmla="*/ 203809 h 448122"/>
              <a:gd name="connsiteX1937" fmla="*/ 41703 w 447236"/>
              <a:gd name="connsiteY1937" fmla="*/ 203809 h 448122"/>
              <a:gd name="connsiteX1938" fmla="*/ 41703 w 447236"/>
              <a:gd name="connsiteY1938" fmla="*/ 204115 h 448122"/>
              <a:gd name="connsiteX1939" fmla="*/ 41703 w 447236"/>
              <a:gd name="connsiteY1939" fmla="*/ 210547 h 448122"/>
              <a:gd name="connsiteX1940" fmla="*/ 42010 w 447236"/>
              <a:gd name="connsiteY1940" fmla="*/ 210853 h 448122"/>
              <a:gd name="connsiteX1941" fmla="*/ 43543 w 447236"/>
              <a:gd name="connsiteY1941" fmla="*/ 210853 h 448122"/>
              <a:gd name="connsiteX1942" fmla="*/ 43850 w 447236"/>
              <a:gd name="connsiteY1942" fmla="*/ 210547 h 448122"/>
              <a:gd name="connsiteX1943" fmla="*/ 43850 w 447236"/>
              <a:gd name="connsiteY1943" fmla="*/ 204115 h 448122"/>
              <a:gd name="connsiteX1944" fmla="*/ 43850 w 447236"/>
              <a:gd name="connsiteY1944" fmla="*/ 203809 h 448122"/>
              <a:gd name="connsiteX1945" fmla="*/ 44157 w 447236"/>
              <a:gd name="connsiteY1945" fmla="*/ 203809 h 448122"/>
              <a:gd name="connsiteX1946" fmla="*/ 45690 w 447236"/>
              <a:gd name="connsiteY1946" fmla="*/ 203809 h 448122"/>
              <a:gd name="connsiteX1947" fmla="*/ 45997 w 447236"/>
              <a:gd name="connsiteY1947" fmla="*/ 203809 h 448122"/>
              <a:gd name="connsiteX1948" fmla="*/ 45997 w 447236"/>
              <a:gd name="connsiteY1948" fmla="*/ 203503 h 448122"/>
              <a:gd name="connsiteX1949" fmla="*/ 45997 w 447236"/>
              <a:gd name="connsiteY1949" fmla="*/ 202277 h 448122"/>
              <a:gd name="connsiteX1950" fmla="*/ 45690 w 447236"/>
              <a:gd name="connsiteY1950" fmla="*/ 201971 h 448122"/>
              <a:gd name="connsiteX1951" fmla="*/ 40169 w 447236"/>
              <a:gd name="connsiteY1951" fmla="*/ 201971 h 448122"/>
              <a:gd name="connsiteX1952" fmla="*/ 39863 w 447236"/>
              <a:gd name="connsiteY1952" fmla="*/ 201971 h 448122"/>
              <a:gd name="connsiteX1953" fmla="*/ 36795 w 447236"/>
              <a:gd name="connsiteY1953" fmla="*/ 201971 h 448122"/>
              <a:gd name="connsiteX1954" fmla="*/ 36489 w 447236"/>
              <a:gd name="connsiteY1954" fmla="*/ 202277 h 448122"/>
              <a:gd name="connsiteX1955" fmla="*/ 36489 w 447236"/>
              <a:gd name="connsiteY1955" fmla="*/ 210547 h 448122"/>
              <a:gd name="connsiteX1956" fmla="*/ 36795 w 447236"/>
              <a:gd name="connsiteY1956" fmla="*/ 210853 h 448122"/>
              <a:gd name="connsiteX1957" fmla="*/ 38329 w 447236"/>
              <a:gd name="connsiteY1957" fmla="*/ 210853 h 448122"/>
              <a:gd name="connsiteX1958" fmla="*/ 38636 w 447236"/>
              <a:gd name="connsiteY1958" fmla="*/ 210547 h 448122"/>
              <a:gd name="connsiteX1959" fmla="*/ 38636 w 447236"/>
              <a:gd name="connsiteY1959" fmla="*/ 202277 h 448122"/>
              <a:gd name="connsiteX1960" fmla="*/ 38636 w 447236"/>
              <a:gd name="connsiteY1960" fmla="*/ 201971 h 448122"/>
              <a:gd name="connsiteX1961" fmla="*/ 38329 w 447236"/>
              <a:gd name="connsiteY1961" fmla="*/ 201971 h 448122"/>
              <a:gd name="connsiteX1962" fmla="*/ 36795 w 447236"/>
              <a:gd name="connsiteY1962" fmla="*/ 201971 h 448122"/>
              <a:gd name="connsiteX1963" fmla="*/ 29434 w 447236"/>
              <a:gd name="connsiteY1963" fmla="*/ 201971 h 448122"/>
              <a:gd name="connsiteX1964" fmla="*/ 29127 w 447236"/>
              <a:gd name="connsiteY1964" fmla="*/ 202277 h 448122"/>
              <a:gd name="connsiteX1965" fmla="*/ 29127 w 447236"/>
              <a:gd name="connsiteY1965" fmla="*/ 210547 h 448122"/>
              <a:gd name="connsiteX1966" fmla="*/ 29434 w 447236"/>
              <a:gd name="connsiteY1966" fmla="*/ 210853 h 448122"/>
              <a:gd name="connsiteX1967" fmla="*/ 30967 w 447236"/>
              <a:gd name="connsiteY1967" fmla="*/ 210853 h 448122"/>
              <a:gd name="connsiteX1968" fmla="*/ 31274 w 447236"/>
              <a:gd name="connsiteY1968" fmla="*/ 210547 h 448122"/>
              <a:gd name="connsiteX1969" fmla="*/ 31274 w 447236"/>
              <a:gd name="connsiteY1969" fmla="*/ 207484 h 448122"/>
              <a:gd name="connsiteX1970" fmla="*/ 31274 w 447236"/>
              <a:gd name="connsiteY1970" fmla="*/ 207178 h 448122"/>
              <a:gd name="connsiteX1971" fmla="*/ 31581 w 447236"/>
              <a:gd name="connsiteY1971" fmla="*/ 207178 h 448122"/>
              <a:gd name="connsiteX1972" fmla="*/ 32501 w 447236"/>
              <a:gd name="connsiteY1972" fmla="*/ 207178 h 448122"/>
              <a:gd name="connsiteX1973" fmla="*/ 33421 w 447236"/>
              <a:gd name="connsiteY1973" fmla="*/ 207178 h 448122"/>
              <a:gd name="connsiteX1974" fmla="*/ 34341 w 447236"/>
              <a:gd name="connsiteY1974" fmla="*/ 206565 h 448122"/>
              <a:gd name="connsiteX1975" fmla="*/ 34955 w 447236"/>
              <a:gd name="connsiteY1975" fmla="*/ 205647 h 448122"/>
              <a:gd name="connsiteX1976" fmla="*/ 35262 w 447236"/>
              <a:gd name="connsiteY1976" fmla="*/ 204728 h 448122"/>
              <a:gd name="connsiteX1977" fmla="*/ 34955 w 447236"/>
              <a:gd name="connsiteY1977" fmla="*/ 203503 h 448122"/>
              <a:gd name="connsiteX1978" fmla="*/ 34341 w 447236"/>
              <a:gd name="connsiteY1978" fmla="*/ 202584 h 448122"/>
              <a:gd name="connsiteX1979" fmla="*/ 33421 w 447236"/>
              <a:gd name="connsiteY1979" fmla="*/ 202277 h 448122"/>
              <a:gd name="connsiteX1980" fmla="*/ 32501 w 447236"/>
              <a:gd name="connsiteY1980" fmla="*/ 201971 h 448122"/>
              <a:gd name="connsiteX1981" fmla="*/ 29434 w 447236"/>
              <a:gd name="connsiteY1981" fmla="*/ 201971 h 448122"/>
              <a:gd name="connsiteX1982" fmla="*/ 23299 w 447236"/>
              <a:gd name="connsiteY1982" fmla="*/ 201971 h 448122"/>
              <a:gd name="connsiteX1983" fmla="*/ 22379 w 447236"/>
              <a:gd name="connsiteY1983" fmla="*/ 202584 h 448122"/>
              <a:gd name="connsiteX1984" fmla="*/ 21766 w 447236"/>
              <a:gd name="connsiteY1984" fmla="*/ 203503 h 448122"/>
              <a:gd name="connsiteX1985" fmla="*/ 21459 w 447236"/>
              <a:gd name="connsiteY1985" fmla="*/ 204421 h 448122"/>
              <a:gd name="connsiteX1986" fmla="*/ 21766 w 447236"/>
              <a:gd name="connsiteY1986" fmla="*/ 205340 h 448122"/>
              <a:gd name="connsiteX1987" fmla="*/ 22072 w 447236"/>
              <a:gd name="connsiteY1987" fmla="*/ 206259 h 448122"/>
              <a:gd name="connsiteX1988" fmla="*/ 22686 w 447236"/>
              <a:gd name="connsiteY1988" fmla="*/ 206565 h 448122"/>
              <a:gd name="connsiteX1989" fmla="*/ 23606 w 447236"/>
              <a:gd name="connsiteY1989" fmla="*/ 206872 h 448122"/>
              <a:gd name="connsiteX1990" fmla="*/ 25140 w 447236"/>
              <a:gd name="connsiteY1990" fmla="*/ 207484 h 448122"/>
              <a:gd name="connsiteX1991" fmla="*/ 25753 w 447236"/>
              <a:gd name="connsiteY1991" fmla="*/ 208403 h 448122"/>
              <a:gd name="connsiteX1992" fmla="*/ 25753 w 447236"/>
              <a:gd name="connsiteY1992" fmla="*/ 208709 h 448122"/>
              <a:gd name="connsiteX1993" fmla="*/ 25446 w 447236"/>
              <a:gd name="connsiteY1993" fmla="*/ 208709 h 448122"/>
              <a:gd name="connsiteX1994" fmla="*/ 25140 w 447236"/>
              <a:gd name="connsiteY1994" fmla="*/ 209016 h 448122"/>
              <a:gd name="connsiteX1995" fmla="*/ 24526 w 447236"/>
              <a:gd name="connsiteY1995" fmla="*/ 209016 h 448122"/>
              <a:gd name="connsiteX1996" fmla="*/ 24219 w 447236"/>
              <a:gd name="connsiteY1996" fmla="*/ 209016 h 448122"/>
              <a:gd name="connsiteX1997" fmla="*/ 23606 w 447236"/>
              <a:gd name="connsiteY1997" fmla="*/ 209016 h 448122"/>
              <a:gd name="connsiteX1998" fmla="*/ 22993 w 447236"/>
              <a:gd name="connsiteY1998" fmla="*/ 208709 h 448122"/>
              <a:gd name="connsiteX1999" fmla="*/ 22686 w 447236"/>
              <a:gd name="connsiteY1999" fmla="*/ 208403 h 448122"/>
              <a:gd name="connsiteX2000" fmla="*/ 22379 w 447236"/>
              <a:gd name="connsiteY2000" fmla="*/ 208097 h 448122"/>
              <a:gd name="connsiteX2001" fmla="*/ 22072 w 447236"/>
              <a:gd name="connsiteY2001" fmla="*/ 208403 h 448122"/>
              <a:gd name="connsiteX2002" fmla="*/ 21459 w 447236"/>
              <a:gd name="connsiteY2002" fmla="*/ 209322 h 448122"/>
              <a:gd name="connsiteX2003" fmla="*/ 21459 w 447236"/>
              <a:gd name="connsiteY2003" fmla="*/ 209628 h 448122"/>
              <a:gd name="connsiteX2004" fmla="*/ 21459 w 447236"/>
              <a:gd name="connsiteY2004" fmla="*/ 209935 h 448122"/>
              <a:gd name="connsiteX2005" fmla="*/ 22993 w 447236"/>
              <a:gd name="connsiteY2005" fmla="*/ 210547 h 448122"/>
              <a:gd name="connsiteX2006" fmla="*/ 24526 w 447236"/>
              <a:gd name="connsiteY2006" fmla="*/ 210853 h 448122"/>
              <a:gd name="connsiteX2007" fmla="*/ 25753 w 447236"/>
              <a:gd name="connsiteY2007" fmla="*/ 210853 h 448122"/>
              <a:gd name="connsiteX2008" fmla="*/ 26980 w 447236"/>
              <a:gd name="connsiteY2008" fmla="*/ 210241 h 448122"/>
              <a:gd name="connsiteX2009" fmla="*/ 27593 w 447236"/>
              <a:gd name="connsiteY2009" fmla="*/ 209322 h 448122"/>
              <a:gd name="connsiteX2010" fmla="*/ 27900 w 447236"/>
              <a:gd name="connsiteY2010" fmla="*/ 208097 h 448122"/>
              <a:gd name="connsiteX2011" fmla="*/ 27593 w 447236"/>
              <a:gd name="connsiteY2011" fmla="*/ 207178 h 448122"/>
              <a:gd name="connsiteX2012" fmla="*/ 26673 w 447236"/>
              <a:gd name="connsiteY2012" fmla="*/ 206259 h 448122"/>
              <a:gd name="connsiteX2013" fmla="*/ 25753 w 447236"/>
              <a:gd name="connsiteY2013" fmla="*/ 205647 h 448122"/>
              <a:gd name="connsiteX2014" fmla="*/ 24833 w 447236"/>
              <a:gd name="connsiteY2014" fmla="*/ 205340 h 448122"/>
              <a:gd name="connsiteX2015" fmla="*/ 24526 w 447236"/>
              <a:gd name="connsiteY2015" fmla="*/ 205340 h 448122"/>
              <a:gd name="connsiteX2016" fmla="*/ 24219 w 447236"/>
              <a:gd name="connsiteY2016" fmla="*/ 205034 h 448122"/>
              <a:gd name="connsiteX2017" fmla="*/ 23913 w 447236"/>
              <a:gd name="connsiteY2017" fmla="*/ 204728 h 448122"/>
              <a:gd name="connsiteX2018" fmla="*/ 23606 w 447236"/>
              <a:gd name="connsiteY2018" fmla="*/ 204421 h 448122"/>
              <a:gd name="connsiteX2019" fmla="*/ 23913 w 447236"/>
              <a:gd name="connsiteY2019" fmla="*/ 203809 h 448122"/>
              <a:gd name="connsiteX2020" fmla="*/ 24526 w 447236"/>
              <a:gd name="connsiteY2020" fmla="*/ 203503 h 448122"/>
              <a:gd name="connsiteX2021" fmla="*/ 25446 w 447236"/>
              <a:gd name="connsiteY2021" fmla="*/ 203809 h 448122"/>
              <a:gd name="connsiteX2022" fmla="*/ 26367 w 447236"/>
              <a:gd name="connsiteY2022" fmla="*/ 204115 h 448122"/>
              <a:gd name="connsiteX2023" fmla="*/ 26673 w 447236"/>
              <a:gd name="connsiteY2023" fmla="*/ 203809 h 448122"/>
              <a:gd name="connsiteX2024" fmla="*/ 27287 w 447236"/>
              <a:gd name="connsiteY2024" fmla="*/ 203196 h 448122"/>
              <a:gd name="connsiteX2025" fmla="*/ 27287 w 447236"/>
              <a:gd name="connsiteY2025" fmla="*/ 202584 h 448122"/>
              <a:gd name="connsiteX2026" fmla="*/ 26980 w 447236"/>
              <a:gd name="connsiteY2026" fmla="*/ 202584 h 448122"/>
              <a:gd name="connsiteX2027" fmla="*/ 26060 w 447236"/>
              <a:gd name="connsiteY2027" fmla="*/ 201971 h 448122"/>
              <a:gd name="connsiteX2028" fmla="*/ 24526 w 447236"/>
              <a:gd name="connsiteY2028" fmla="*/ 201971 h 448122"/>
              <a:gd name="connsiteX2029" fmla="*/ 23299 w 447236"/>
              <a:gd name="connsiteY2029" fmla="*/ 201971 h 448122"/>
              <a:gd name="connsiteX2030" fmla="*/ 15631 w 447236"/>
              <a:gd name="connsiteY2030" fmla="*/ 201971 h 448122"/>
              <a:gd name="connsiteX2031" fmla="*/ 14404 w 447236"/>
              <a:gd name="connsiteY2031" fmla="*/ 202584 h 448122"/>
              <a:gd name="connsiteX2032" fmla="*/ 13791 w 447236"/>
              <a:gd name="connsiteY2032" fmla="*/ 203503 h 448122"/>
              <a:gd name="connsiteX2033" fmla="*/ 13484 w 447236"/>
              <a:gd name="connsiteY2033" fmla="*/ 204728 h 448122"/>
              <a:gd name="connsiteX2034" fmla="*/ 13484 w 447236"/>
              <a:gd name="connsiteY2034" fmla="*/ 208097 h 448122"/>
              <a:gd name="connsiteX2035" fmla="*/ 13791 w 447236"/>
              <a:gd name="connsiteY2035" fmla="*/ 209322 h 448122"/>
              <a:gd name="connsiteX2036" fmla="*/ 14404 w 447236"/>
              <a:gd name="connsiteY2036" fmla="*/ 210241 h 448122"/>
              <a:gd name="connsiteX2037" fmla="*/ 15631 w 447236"/>
              <a:gd name="connsiteY2037" fmla="*/ 210853 h 448122"/>
              <a:gd name="connsiteX2038" fmla="*/ 16858 w 447236"/>
              <a:gd name="connsiteY2038" fmla="*/ 210853 h 448122"/>
              <a:gd name="connsiteX2039" fmla="*/ 18085 w 447236"/>
              <a:gd name="connsiteY2039" fmla="*/ 210853 h 448122"/>
              <a:gd name="connsiteX2040" fmla="*/ 19005 w 447236"/>
              <a:gd name="connsiteY2040" fmla="*/ 210241 h 448122"/>
              <a:gd name="connsiteX2041" fmla="*/ 19619 w 447236"/>
              <a:gd name="connsiteY2041" fmla="*/ 209322 h 448122"/>
              <a:gd name="connsiteX2042" fmla="*/ 19925 w 447236"/>
              <a:gd name="connsiteY2042" fmla="*/ 208097 h 448122"/>
              <a:gd name="connsiteX2043" fmla="*/ 19925 w 447236"/>
              <a:gd name="connsiteY2043" fmla="*/ 204728 h 448122"/>
              <a:gd name="connsiteX2044" fmla="*/ 19619 w 447236"/>
              <a:gd name="connsiteY2044" fmla="*/ 203503 h 448122"/>
              <a:gd name="connsiteX2045" fmla="*/ 19005 w 447236"/>
              <a:gd name="connsiteY2045" fmla="*/ 202584 h 448122"/>
              <a:gd name="connsiteX2046" fmla="*/ 18085 w 447236"/>
              <a:gd name="connsiteY2046" fmla="*/ 201971 h 448122"/>
              <a:gd name="connsiteX2047" fmla="*/ 16858 w 447236"/>
              <a:gd name="connsiteY2047" fmla="*/ 201971 h 448122"/>
              <a:gd name="connsiteX2048" fmla="*/ 15631 w 447236"/>
              <a:gd name="connsiteY2048" fmla="*/ 201971 h 448122"/>
              <a:gd name="connsiteX2049" fmla="*/ 5509 w 447236"/>
              <a:gd name="connsiteY2049" fmla="*/ 201971 h 448122"/>
              <a:gd name="connsiteX2050" fmla="*/ 5202 w 447236"/>
              <a:gd name="connsiteY2050" fmla="*/ 202277 h 448122"/>
              <a:gd name="connsiteX2051" fmla="*/ 5202 w 447236"/>
              <a:gd name="connsiteY2051" fmla="*/ 210547 h 448122"/>
              <a:gd name="connsiteX2052" fmla="*/ 5509 w 447236"/>
              <a:gd name="connsiteY2052" fmla="*/ 210853 h 448122"/>
              <a:gd name="connsiteX2053" fmla="*/ 7043 w 447236"/>
              <a:gd name="connsiteY2053" fmla="*/ 210853 h 448122"/>
              <a:gd name="connsiteX2054" fmla="*/ 7349 w 447236"/>
              <a:gd name="connsiteY2054" fmla="*/ 210547 h 448122"/>
              <a:gd name="connsiteX2055" fmla="*/ 7349 w 447236"/>
              <a:gd name="connsiteY2055" fmla="*/ 207484 h 448122"/>
              <a:gd name="connsiteX2056" fmla="*/ 7349 w 447236"/>
              <a:gd name="connsiteY2056" fmla="*/ 207178 h 448122"/>
              <a:gd name="connsiteX2057" fmla="*/ 7656 w 447236"/>
              <a:gd name="connsiteY2057" fmla="*/ 207178 h 448122"/>
              <a:gd name="connsiteX2058" fmla="*/ 9497 w 447236"/>
              <a:gd name="connsiteY2058" fmla="*/ 207178 h 448122"/>
              <a:gd name="connsiteX2059" fmla="*/ 9803 w 447236"/>
              <a:gd name="connsiteY2059" fmla="*/ 207178 h 448122"/>
              <a:gd name="connsiteX2060" fmla="*/ 9803 w 447236"/>
              <a:gd name="connsiteY2060" fmla="*/ 207484 h 448122"/>
              <a:gd name="connsiteX2061" fmla="*/ 9803 w 447236"/>
              <a:gd name="connsiteY2061" fmla="*/ 210547 h 448122"/>
              <a:gd name="connsiteX2062" fmla="*/ 10110 w 447236"/>
              <a:gd name="connsiteY2062" fmla="*/ 210853 h 448122"/>
              <a:gd name="connsiteX2063" fmla="*/ 11644 w 447236"/>
              <a:gd name="connsiteY2063" fmla="*/ 210853 h 448122"/>
              <a:gd name="connsiteX2064" fmla="*/ 11950 w 447236"/>
              <a:gd name="connsiteY2064" fmla="*/ 210547 h 448122"/>
              <a:gd name="connsiteX2065" fmla="*/ 11950 w 447236"/>
              <a:gd name="connsiteY2065" fmla="*/ 202277 h 448122"/>
              <a:gd name="connsiteX2066" fmla="*/ 11644 w 447236"/>
              <a:gd name="connsiteY2066" fmla="*/ 201971 h 448122"/>
              <a:gd name="connsiteX2067" fmla="*/ 10110 w 447236"/>
              <a:gd name="connsiteY2067" fmla="*/ 201971 h 448122"/>
              <a:gd name="connsiteX2068" fmla="*/ 9803 w 447236"/>
              <a:gd name="connsiteY2068" fmla="*/ 201971 h 448122"/>
              <a:gd name="connsiteX2069" fmla="*/ 9803 w 447236"/>
              <a:gd name="connsiteY2069" fmla="*/ 202277 h 448122"/>
              <a:gd name="connsiteX2070" fmla="*/ 9803 w 447236"/>
              <a:gd name="connsiteY2070" fmla="*/ 205034 h 448122"/>
              <a:gd name="connsiteX2071" fmla="*/ 9803 w 447236"/>
              <a:gd name="connsiteY2071" fmla="*/ 205340 h 448122"/>
              <a:gd name="connsiteX2072" fmla="*/ 9497 w 447236"/>
              <a:gd name="connsiteY2072" fmla="*/ 205340 h 448122"/>
              <a:gd name="connsiteX2073" fmla="*/ 7656 w 447236"/>
              <a:gd name="connsiteY2073" fmla="*/ 205340 h 448122"/>
              <a:gd name="connsiteX2074" fmla="*/ 7349 w 447236"/>
              <a:gd name="connsiteY2074" fmla="*/ 205340 h 448122"/>
              <a:gd name="connsiteX2075" fmla="*/ 7349 w 447236"/>
              <a:gd name="connsiteY2075" fmla="*/ 205034 h 448122"/>
              <a:gd name="connsiteX2076" fmla="*/ 7349 w 447236"/>
              <a:gd name="connsiteY2076" fmla="*/ 202277 h 448122"/>
              <a:gd name="connsiteX2077" fmla="*/ 7349 w 447236"/>
              <a:gd name="connsiteY2077" fmla="*/ 201971 h 448122"/>
              <a:gd name="connsiteX2078" fmla="*/ 7043 w 447236"/>
              <a:gd name="connsiteY2078" fmla="*/ 201971 h 448122"/>
              <a:gd name="connsiteX2079" fmla="*/ 5509 w 447236"/>
              <a:gd name="connsiteY2079" fmla="*/ 201971 h 448122"/>
              <a:gd name="connsiteX2080" fmla="*/ 421101 w 447236"/>
              <a:gd name="connsiteY2080" fmla="*/ 200777 h 448122"/>
              <a:gd name="connsiteX2081" fmla="*/ 429081 w 447236"/>
              <a:gd name="connsiteY2081" fmla="*/ 206870 h 448122"/>
              <a:gd name="connsiteX2082" fmla="*/ 421101 w 447236"/>
              <a:gd name="connsiteY2082" fmla="*/ 212963 h 448122"/>
              <a:gd name="connsiteX2083" fmla="*/ 414348 w 447236"/>
              <a:gd name="connsiteY2083" fmla="*/ 211135 h 448122"/>
              <a:gd name="connsiteX2084" fmla="*/ 411586 w 447236"/>
              <a:gd name="connsiteY2084" fmla="*/ 206870 h 448122"/>
              <a:gd name="connsiteX2085" fmla="*/ 421101 w 447236"/>
              <a:gd name="connsiteY2085" fmla="*/ 200777 h 448122"/>
              <a:gd name="connsiteX2086" fmla="*/ 418339 w 447236"/>
              <a:gd name="connsiteY2086" fmla="*/ 199559 h 448122"/>
              <a:gd name="connsiteX2087" fmla="*/ 421101 w 447236"/>
              <a:gd name="connsiteY2087" fmla="*/ 199864 h 448122"/>
              <a:gd name="connsiteX2088" fmla="*/ 410665 w 447236"/>
              <a:gd name="connsiteY2088" fmla="*/ 206870 h 448122"/>
              <a:gd name="connsiteX2089" fmla="*/ 413735 w 447236"/>
              <a:gd name="connsiteY2089" fmla="*/ 211744 h 448122"/>
              <a:gd name="connsiteX2090" fmla="*/ 421101 w 447236"/>
              <a:gd name="connsiteY2090" fmla="*/ 213572 h 448122"/>
              <a:gd name="connsiteX2091" fmla="*/ 418339 w 447236"/>
              <a:gd name="connsiteY2091" fmla="*/ 213877 h 448122"/>
              <a:gd name="connsiteX2092" fmla="*/ 408210 w 447236"/>
              <a:gd name="connsiteY2092" fmla="*/ 209307 h 448122"/>
              <a:gd name="connsiteX2093" fmla="*/ 384269 w 447236"/>
              <a:gd name="connsiteY2093" fmla="*/ 209307 h 448122"/>
              <a:gd name="connsiteX2094" fmla="*/ 382734 w 447236"/>
              <a:gd name="connsiteY2094" fmla="*/ 207784 h 448122"/>
              <a:gd name="connsiteX2095" fmla="*/ 382734 w 447236"/>
              <a:gd name="connsiteY2095" fmla="*/ 205652 h 448122"/>
              <a:gd name="connsiteX2096" fmla="*/ 384269 w 447236"/>
              <a:gd name="connsiteY2096" fmla="*/ 204128 h 448122"/>
              <a:gd name="connsiteX2097" fmla="*/ 408210 w 447236"/>
              <a:gd name="connsiteY2097" fmla="*/ 204128 h 448122"/>
              <a:gd name="connsiteX2098" fmla="*/ 418339 w 447236"/>
              <a:gd name="connsiteY2098" fmla="*/ 199559 h 448122"/>
              <a:gd name="connsiteX2099" fmla="*/ 266736 w 447236"/>
              <a:gd name="connsiteY2099" fmla="*/ 198876 h 448122"/>
              <a:gd name="connsiteX2100" fmla="*/ 266430 w 447236"/>
              <a:gd name="connsiteY2100" fmla="*/ 199182 h 448122"/>
              <a:gd name="connsiteX2101" fmla="*/ 266736 w 447236"/>
              <a:gd name="connsiteY2101" fmla="*/ 199489 h 448122"/>
              <a:gd name="connsiteX2102" fmla="*/ 274080 w 447236"/>
              <a:gd name="connsiteY2102" fmla="*/ 199489 h 448122"/>
              <a:gd name="connsiteX2103" fmla="*/ 274386 w 447236"/>
              <a:gd name="connsiteY2103" fmla="*/ 199182 h 448122"/>
              <a:gd name="connsiteX2104" fmla="*/ 274080 w 447236"/>
              <a:gd name="connsiteY2104" fmla="*/ 198876 h 448122"/>
              <a:gd name="connsiteX2105" fmla="*/ 266736 w 447236"/>
              <a:gd name="connsiteY2105" fmla="*/ 198876 h 448122"/>
              <a:gd name="connsiteX2106" fmla="*/ 438409 w 447236"/>
              <a:gd name="connsiteY2106" fmla="*/ 198605 h 448122"/>
              <a:gd name="connsiteX2107" fmla="*/ 438102 w 447236"/>
              <a:gd name="connsiteY2107" fmla="*/ 199218 h 448122"/>
              <a:gd name="connsiteX2108" fmla="*/ 438102 w 447236"/>
              <a:gd name="connsiteY2108" fmla="*/ 210561 h 448122"/>
              <a:gd name="connsiteX2109" fmla="*/ 438409 w 447236"/>
              <a:gd name="connsiteY2109" fmla="*/ 210867 h 448122"/>
              <a:gd name="connsiteX2110" fmla="*/ 439023 w 447236"/>
              <a:gd name="connsiteY2110" fmla="*/ 210561 h 448122"/>
              <a:gd name="connsiteX2111" fmla="*/ 439023 w 447236"/>
              <a:gd name="connsiteY2111" fmla="*/ 199218 h 448122"/>
              <a:gd name="connsiteX2112" fmla="*/ 438409 w 447236"/>
              <a:gd name="connsiteY2112" fmla="*/ 198605 h 448122"/>
              <a:gd name="connsiteX2113" fmla="*/ 439383 w 447236"/>
              <a:gd name="connsiteY2113" fmla="*/ 197431 h 448122"/>
              <a:gd name="connsiteX2114" fmla="*/ 440447 w 447236"/>
              <a:gd name="connsiteY2114" fmla="*/ 198494 h 448122"/>
              <a:gd name="connsiteX2115" fmla="*/ 440181 w 447236"/>
              <a:gd name="connsiteY2115" fmla="*/ 197697 h 448122"/>
              <a:gd name="connsiteX2116" fmla="*/ 435791 w 447236"/>
              <a:gd name="connsiteY2116" fmla="*/ 197320 h 448122"/>
              <a:gd name="connsiteX2117" fmla="*/ 434660 w 447236"/>
              <a:gd name="connsiteY2117" fmla="*/ 197697 h 448122"/>
              <a:gd name="connsiteX2118" fmla="*/ 434196 w 447236"/>
              <a:gd name="connsiteY2118" fmla="*/ 199090 h 448122"/>
              <a:gd name="connsiteX2119" fmla="*/ 266736 w 447236"/>
              <a:gd name="connsiteY2119" fmla="*/ 196425 h 448122"/>
              <a:gd name="connsiteX2120" fmla="*/ 266430 w 447236"/>
              <a:gd name="connsiteY2120" fmla="*/ 196732 h 448122"/>
              <a:gd name="connsiteX2121" fmla="*/ 266736 w 447236"/>
              <a:gd name="connsiteY2121" fmla="*/ 197038 h 448122"/>
              <a:gd name="connsiteX2122" fmla="*/ 274080 w 447236"/>
              <a:gd name="connsiteY2122" fmla="*/ 197038 h 448122"/>
              <a:gd name="connsiteX2123" fmla="*/ 274386 w 447236"/>
              <a:gd name="connsiteY2123" fmla="*/ 196732 h 448122"/>
              <a:gd name="connsiteX2124" fmla="*/ 274080 w 447236"/>
              <a:gd name="connsiteY2124" fmla="*/ 196425 h 448122"/>
              <a:gd name="connsiteX2125" fmla="*/ 266736 w 447236"/>
              <a:gd name="connsiteY2125" fmla="*/ 196425 h 448122"/>
              <a:gd name="connsiteX2126" fmla="*/ 436501 w 447236"/>
              <a:gd name="connsiteY2126" fmla="*/ 196164 h 448122"/>
              <a:gd name="connsiteX2127" fmla="*/ 438341 w 447236"/>
              <a:gd name="connsiteY2127" fmla="*/ 196164 h 448122"/>
              <a:gd name="connsiteX2128" fmla="*/ 440795 w 447236"/>
              <a:gd name="connsiteY2128" fmla="*/ 197084 h 448122"/>
              <a:gd name="connsiteX2129" fmla="*/ 441715 w 447236"/>
              <a:gd name="connsiteY2129" fmla="*/ 199536 h 448122"/>
              <a:gd name="connsiteX2130" fmla="*/ 441715 w 447236"/>
              <a:gd name="connsiteY2130" fmla="*/ 216399 h 448122"/>
              <a:gd name="connsiteX2131" fmla="*/ 442022 w 447236"/>
              <a:gd name="connsiteY2131" fmla="*/ 217625 h 448122"/>
              <a:gd name="connsiteX2132" fmla="*/ 443249 w 447236"/>
              <a:gd name="connsiteY2132" fmla="*/ 218545 h 448122"/>
              <a:gd name="connsiteX2133" fmla="*/ 446316 w 447236"/>
              <a:gd name="connsiteY2133" fmla="*/ 221611 h 448122"/>
              <a:gd name="connsiteX2134" fmla="*/ 447236 w 447236"/>
              <a:gd name="connsiteY2134" fmla="*/ 225596 h 448122"/>
              <a:gd name="connsiteX2135" fmla="*/ 447236 w 447236"/>
              <a:gd name="connsiteY2135" fmla="*/ 309294 h 448122"/>
              <a:gd name="connsiteX2136" fmla="*/ 444476 w 447236"/>
              <a:gd name="connsiteY2136" fmla="*/ 316346 h 448122"/>
              <a:gd name="connsiteX2137" fmla="*/ 437421 w 447236"/>
              <a:gd name="connsiteY2137" fmla="*/ 319412 h 448122"/>
              <a:gd name="connsiteX2138" fmla="*/ 430366 w 447236"/>
              <a:gd name="connsiteY2138" fmla="*/ 316346 h 448122"/>
              <a:gd name="connsiteX2139" fmla="*/ 427605 w 447236"/>
              <a:gd name="connsiteY2139" fmla="*/ 309294 h 448122"/>
              <a:gd name="connsiteX2140" fmla="*/ 427605 w 447236"/>
              <a:gd name="connsiteY2140" fmla="*/ 225596 h 448122"/>
              <a:gd name="connsiteX2141" fmla="*/ 428832 w 447236"/>
              <a:gd name="connsiteY2141" fmla="*/ 221304 h 448122"/>
              <a:gd name="connsiteX2142" fmla="*/ 431900 w 447236"/>
              <a:gd name="connsiteY2142" fmla="*/ 218545 h 448122"/>
              <a:gd name="connsiteX2143" fmla="*/ 432820 w 447236"/>
              <a:gd name="connsiteY2143" fmla="*/ 217625 h 448122"/>
              <a:gd name="connsiteX2144" fmla="*/ 433126 w 447236"/>
              <a:gd name="connsiteY2144" fmla="*/ 216092 h 448122"/>
              <a:gd name="connsiteX2145" fmla="*/ 433126 w 447236"/>
              <a:gd name="connsiteY2145" fmla="*/ 199536 h 448122"/>
              <a:gd name="connsiteX2146" fmla="*/ 434047 w 447236"/>
              <a:gd name="connsiteY2146" fmla="*/ 197084 h 448122"/>
              <a:gd name="connsiteX2147" fmla="*/ 436501 w 447236"/>
              <a:gd name="connsiteY2147" fmla="*/ 196164 h 448122"/>
              <a:gd name="connsiteX2148" fmla="*/ 247684 w 447236"/>
              <a:gd name="connsiteY2148" fmla="*/ 194983 h 448122"/>
              <a:gd name="connsiteX2149" fmla="*/ 255353 w 447236"/>
              <a:gd name="connsiteY2149" fmla="*/ 217621 h 448122"/>
              <a:gd name="connsiteX2150" fmla="*/ 239707 w 447236"/>
              <a:gd name="connsiteY2150" fmla="*/ 217621 h 448122"/>
              <a:gd name="connsiteX2151" fmla="*/ 247684 w 447236"/>
              <a:gd name="connsiteY2151" fmla="*/ 194983 h 448122"/>
              <a:gd name="connsiteX2152" fmla="*/ 266736 w 447236"/>
              <a:gd name="connsiteY2152" fmla="*/ 194281 h 448122"/>
              <a:gd name="connsiteX2153" fmla="*/ 266430 w 447236"/>
              <a:gd name="connsiteY2153" fmla="*/ 194587 h 448122"/>
              <a:gd name="connsiteX2154" fmla="*/ 266736 w 447236"/>
              <a:gd name="connsiteY2154" fmla="*/ 194894 h 448122"/>
              <a:gd name="connsiteX2155" fmla="*/ 274080 w 447236"/>
              <a:gd name="connsiteY2155" fmla="*/ 194894 h 448122"/>
              <a:gd name="connsiteX2156" fmla="*/ 274386 w 447236"/>
              <a:gd name="connsiteY2156" fmla="*/ 194587 h 448122"/>
              <a:gd name="connsiteX2157" fmla="*/ 274080 w 447236"/>
              <a:gd name="connsiteY2157" fmla="*/ 194281 h 448122"/>
              <a:gd name="connsiteX2158" fmla="*/ 266736 w 447236"/>
              <a:gd name="connsiteY2158" fmla="*/ 194281 h 448122"/>
              <a:gd name="connsiteX2159" fmla="*/ 292844 w 447236"/>
              <a:gd name="connsiteY2159" fmla="*/ 193360 h 448122"/>
              <a:gd name="connsiteX2160" fmla="*/ 292844 w 447236"/>
              <a:gd name="connsiteY2160" fmla="*/ 220076 h 448122"/>
              <a:gd name="connsiteX2161" fmla="*/ 293775 w 447236"/>
              <a:gd name="connsiteY2161" fmla="*/ 220076 h 448122"/>
              <a:gd name="connsiteX2162" fmla="*/ 294385 w 447236"/>
              <a:gd name="connsiteY2162" fmla="*/ 220689 h 448122"/>
              <a:gd name="connsiteX2163" fmla="*/ 294385 w 447236"/>
              <a:gd name="connsiteY2163" fmla="*/ 226820 h 448122"/>
              <a:gd name="connsiteX2164" fmla="*/ 294690 w 447236"/>
              <a:gd name="connsiteY2164" fmla="*/ 226820 h 448122"/>
              <a:gd name="connsiteX2165" fmla="*/ 295606 w 447236"/>
              <a:gd name="connsiteY2165" fmla="*/ 227740 h 448122"/>
              <a:gd name="connsiteX2166" fmla="*/ 295606 w 447236"/>
              <a:gd name="connsiteY2166" fmla="*/ 232951 h 448122"/>
              <a:gd name="connsiteX2167" fmla="*/ 297132 w 447236"/>
              <a:gd name="connsiteY2167" fmla="*/ 232951 h 448122"/>
              <a:gd name="connsiteX2168" fmla="*/ 297437 w 447236"/>
              <a:gd name="connsiteY2168" fmla="*/ 232951 h 448122"/>
              <a:gd name="connsiteX2169" fmla="*/ 297743 w 447236"/>
              <a:gd name="connsiteY2169" fmla="*/ 232951 h 448122"/>
              <a:gd name="connsiteX2170" fmla="*/ 298048 w 447236"/>
              <a:gd name="connsiteY2170" fmla="*/ 232951 h 448122"/>
              <a:gd name="connsiteX2171" fmla="*/ 298048 w 447236"/>
              <a:gd name="connsiteY2171" fmla="*/ 233258 h 448122"/>
              <a:gd name="connsiteX2172" fmla="*/ 298353 w 447236"/>
              <a:gd name="connsiteY2172" fmla="*/ 233258 h 448122"/>
              <a:gd name="connsiteX2173" fmla="*/ 298353 w 447236"/>
              <a:gd name="connsiteY2173" fmla="*/ 233565 h 448122"/>
              <a:gd name="connsiteX2174" fmla="*/ 298353 w 447236"/>
              <a:gd name="connsiteY2174" fmla="*/ 234178 h 448122"/>
              <a:gd name="connsiteX2175" fmla="*/ 298353 w 447236"/>
              <a:gd name="connsiteY2175" fmla="*/ 253184 h 448122"/>
              <a:gd name="connsiteX2176" fmla="*/ 298353 w 447236"/>
              <a:gd name="connsiteY2176" fmla="*/ 284147 h 448122"/>
              <a:gd name="connsiteX2177" fmla="*/ 299879 w 447236"/>
              <a:gd name="connsiteY2177" fmla="*/ 284147 h 448122"/>
              <a:gd name="connsiteX2178" fmla="*/ 301405 w 447236"/>
              <a:gd name="connsiteY2178" fmla="*/ 285680 h 448122"/>
              <a:gd name="connsiteX2179" fmla="*/ 301405 w 447236"/>
              <a:gd name="connsiteY2179" fmla="*/ 285987 h 448122"/>
              <a:gd name="connsiteX2180" fmla="*/ 299879 w 447236"/>
              <a:gd name="connsiteY2180" fmla="*/ 287826 h 448122"/>
              <a:gd name="connsiteX2181" fmla="*/ 296827 w 447236"/>
              <a:gd name="connsiteY2181" fmla="*/ 287826 h 448122"/>
              <a:gd name="connsiteX2182" fmla="*/ 296827 w 447236"/>
              <a:gd name="connsiteY2182" fmla="*/ 290022 h 448122"/>
              <a:gd name="connsiteX2183" fmla="*/ 296827 w 447236"/>
              <a:gd name="connsiteY2183" fmla="*/ 307465 h 448122"/>
              <a:gd name="connsiteX2184" fmla="*/ 299574 w 447236"/>
              <a:gd name="connsiteY2184" fmla="*/ 307465 h 448122"/>
              <a:gd name="connsiteX2185" fmla="*/ 301405 w 447236"/>
              <a:gd name="connsiteY2185" fmla="*/ 309306 h 448122"/>
              <a:gd name="connsiteX2186" fmla="*/ 299574 w 447236"/>
              <a:gd name="connsiteY2186" fmla="*/ 311146 h 448122"/>
              <a:gd name="connsiteX2187" fmla="*/ 285229 w 447236"/>
              <a:gd name="connsiteY2187" fmla="*/ 311146 h 448122"/>
              <a:gd name="connsiteX2188" fmla="*/ 283397 w 447236"/>
              <a:gd name="connsiteY2188" fmla="*/ 309306 h 448122"/>
              <a:gd name="connsiteX2189" fmla="*/ 285229 w 447236"/>
              <a:gd name="connsiteY2189" fmla="*/ 307465 h 448122"/>
              <a:gd name="connsiteX2190" fmla="*/ 288281 w 447236"/>
              <a:gd name="connsiteY2190" fmla="*/ 307465 h 448122"/>
              <a:gd name="connsiteX2191" fmla="*/ 288281 w 447236"/>
              <a:gd name="connsiteY2191" fmla="*/ 304973 h 448122"/>
              <a:gd name="connsiteX2192" fmla="*/ 288281 w 447236"/>
              <a:gd name="connsiteY2192" fmla="*/ 287826 h 448122"/>
              <a:gd name="connsiteX2193" fmla="*/ 287060 w 447236"/>
              <a:gd name="connsiteY2193" fmla="*/ 287826 h 448122"/>
              <a:gd name="connsiteX2194" fmla="*/ 285229 w 447236"/>
              <a:gd name="connsiteY2194" fmla="*/ 287826 h 448122"/>
              <a:gd name="connsiteX2195" fmla="*/ 283397 w 447236"/>
              <a:gd name="connsiteY2195" fmla="*/ 285987 h 448122"/>
              <a:gd name="connsiteX2196" fmla="*/ 283397 w 447236"/>
              <a:gd name="connsiteY2196" fmla="*/ 285680 h 448122"/>
              <a:gd name="connsiteX2197" fmla="*/ 285229 w 447236"/>
              <a:gd name="connsiteY2197" fmla="*/ 284147 h 448122"/>
              <a:gd name="connsiteX2198" fmla="*/ 286449 w 447236"/>
              <a:gd name="connsiteY2198" fmla="*/ 284147 h 448122"/>
              <a:gd name="connsiteX2199" fmla="*/ 286449 w 447236"/>
              <a:gd name="connsiteY2199" fmla="*/ 253184 h 448122"/>
              <a:gd name="connsiteX2200" fmla="*/ 286449 w 447236"/>
              <a:gd name="connsiteY2200" fmla="*/ 234178 h 448122"/>
              <a:gd name="connsiteX2201" fmla="*/ 286449 w 447236"/>
              <a:gd name="connsiteY2201" fmla="*/ 233565 h 448122"/>
              <a:gd name="connsiteX2202" fmla="*/ 286755 w 447236"/>
              <a:gd name="connsiteY2202" fmla="*/ 233258 h 448122"/>
              <a:gd name="connsiteX2203" fmla="*/ 287060 w 447236"/>
              <a:gd name="connsiteY2203" fmla="*/ 233258 h 448122"/>
              <a:gd name="connsiteX2204" fmla="*/ 287060 w 447236"/>
              <a:gd name="connsiteY2204" fmla="*/ 232951 h 448122"/>
              <a:gd name="connsiteX2205" fmla="*/ 287670 w 447236"/>
              <a:gd name="connsiteY2205" fmla="*/ 232951 h 448122"/>
              <a:gd name="connsiteX2206" fmla="*/ 289196 w 447236"/>
              <a:gd name="connsiteY2206" fmla="*/ 232951 h 448122"/>
              <a:gd name="connsiteX2207" fmla="*/ 289196 w 447236"/>
              <a:gd name="connsiteY2207" fmla="*/ 227740 h 448122"/>
              <a:gd name="connsiteX2208" fmla="*/ 290112 w 447236"/>
              <a:gd name="connsiteY2208" fmla="*/ 226820 h 448122"/>
              <a:gd name="connsiteX2209" fmla="*/ 290417 w 447236"/>
              <a:gd name="connsiteY2209" fmla="*/ 226820 h 448122"/>
              <a:gd name="connsiteX2210" fmla="*/ 290417 w 447236"/>
              <a:gd name="connsiteY2210" fmla="*/ 220689 h 448122"/>
              <a:gd name="connsiteX2211" fmla="*/ 291333 w 447236"/>
              <a:gd name="connsiteY2211" fmla="*/ 220076 h 448122"/>
              <a:gd name="connsiteX2212" fmla="*/ 291958 w 447236"/>
              <a:gd name="connsiteY2212" fmla="*/ 220076 h 448122"/>
              <a:gd name="connsiteX2213" fmla="*/ 291958 w 447236"/>
              <a:gd name="connsiteY2213" fmla="*/ 194983 h 448122"/>
              <a:gd name="connsiteX2214" fmla="*/ 220318 w 447236"/>
              <a:gd name="connsiteY2214" fmla="*/ 191945 h 448122"/>
              <a:gd name="connsiteX2215" fmla="*/ 231888 w 447236"/>
              <a:gd name="connsiteY2215" fmla="*/ 201314 h 448122"/>
              <a:gd name="connsiteX2216" fmla="*/ 233065 w 447236"/>
              <a:gd name="connsiteY2216" fmla="*/ 210629 h 448122"/>
              <a:gd name="connsiteX2217" fmla="*/ 236064 w 447236"/>
              <a:gd name="connsiteY2217" fmla="*/ 210629 h 448122"/>
              <a:gd name="connsiteX2218" fmla="*/ 237003 w 447236"/>
              <a:gd name="connsiteY2218" fmla="*/ 210629 h 448122"/>
              <a:gd name="connsiteX2219" fmla="*/ 238230 w 447236"/>
              <a:gd name="connsiteY2219" fmla="*/ 211847 h 448122"/>
              <a:gd name="connsiteX2220" fmla="*/ 237003 w 447236"/>
              <a:gd name="connsiteY2220" fmla="*/ 213369 h 448122"/>
              <a:gd name="connsiteX2221" fmla="*/ 236390 w 447236"/>
              <a:gd name="connsiteY2221" fmla="*/ 213369 h 448122"/>
              <a:gd name="connsiteX2222" fmla="*/ 227531 w 447236"/>
              <a:gd name="connsiteY2222" fmla="*/ 221817 h 448122"/>
              <a:gd name="connsiteX2223" fmla="*/ 227046 w 447236"/>
              <a:gd name="connsiteY2223" fmla="*/ 221898 h 448122"/>
              <a:gd name="connsiteX2224" fmla="*/ 223128 w 447236"/>
              <a:gd name="connsiteY2224" fmla="*/ 228060 h 448122"/>
              <a:gd name="connsiteX2225" fmla="*/ 211468 w 447236"/>
              <a:gd name="connsiteY2225" fmla="*/ 234493 h 448122"/>
              <a:gd name="connsiteX2226" fmla="*/ 208712 w 447236"/>
              <a:gd name="connsiteY2226" fmla="*/ 236022 h 448122"/>
              <a:gd name="connsiteX2227" fmla="*/ 208712 w 447236"/>
              <a:gd name="connsiteY2227" fmla="*/ 244141 h 448122"/>
              <a:gd name="connsiteX2228" fmla="*/ 208712 w 447236"/>
              <a:gd name="connsiteY2228" fmla="*/ 253316 h 448122"/>
              <a:gd name="connsiteX2229" fmla="*/ 208712 w 447236"/>
              <a:gd name="connsiteY2229" fmla="*/ 255181 h 448122"/>
              <a:gd name="connsiteX2230" fmla="*/ 213616 w 447236"/>
              <a:gd name="connsiteY2230" fmla="*/ 259918 h 448122"/>
              <a:gd name="connsiteX2231" fmla="*/ 212633 w 447236"/>
              <a:gd name="connsiteY2231" fmla="*/ 261941 h 448122"/>
              <a:gd name="connsiteX2232" fmla="*/ 212995 w 447236"/>
              <a:gd name="connsiteY2232" fmla="*/ 262380 h 448122"/>
              <a:gd name="connsiteX2233" fmla="*/ 221256 w 447236"/>
              <a:gd name="connsiteY2233" fmla="*/ 267888 h 448122"/>
              <a:gd name="connsiteX2234" fmla="*/ 221256 w 447236"/>
              <a:gd name="connsiteY2234" fmla="*/ 268194 h 448122"/>
              <a:gd name="connsiteX2235" fmla="*/ 209597 w 447236"/>
              <a:gd name="connsiteY2235" fmla="*/ 268194 h 448122"/>
              <a:gd name="connsiteX2236" fmla="*/ 208706 w 447236"/>
              <a:gd name="connsiteY2236" fmla="*/ 270027 h 448122"/>
              <a:gd name="connsiteX2237" fmla="*/ 206865 w 447236"/>
              <a:gd name="connsiteY2237" fmla="*/ 271252 h 448122"/>
              <a:gd name="connsiteX2238" fmla="*/ 201955 w 447236"/>
              <a:gd name="connsiteY2238" fmla="*/ 274928 h 448122"/>
              <a:gd name="connsiteX2239" fmla="*/ 201035 w 447236"/>
              <a:gd name="connsiteY2239" fmla="*/ 276460 h 448122"/>
              <a:gd name="connsiteX2240" fmla="*/ 201342 w 447236"/>
              <a:gd name="connsiteY2240" fmla="*/ 274316 h 448122"/>
              <a:gd name="connsiteX2241" fmla="*/ 203183 w 447236"/>
              <a:gd name="connsiteY2241" fmla="*/ 272784 h 448122"/>
              <a:gd name="connsiteX2242" fmla="*/ 205331 w 447236"/>
              <a:gd name="connsiteY2242" fmla="*/ 270946 h 448122"/>
              <a:gd name="connsiteX2243" fmla="*/ 208088 w 447236"/>
              <a:gd name="connsiteY2243" fmla="*/ 268194 h 448122"/>
              <a:gd name="connsiteX2244" fmla="*/ 204452 w 447236"/>
              <a:gd name="connsiteY2244" fmla="*/ 268194 h 448122"/>
              <a:gd name="connsiteX2245" fmla="*/ 192189 w 447236"/>
              <a:gd name="connsiteY2245" fmla="*/ 268194 h 448122"/>
              <a:gd name="connsiteX2246" fmla="*/ 191883 w 447236"/>
              <a:gd name="connsiteY2246" fmla="*/ 267888 h 448122"/>
              <a:gd name="connsiteX2247" fmla="*/ 200756 w 447236"/>
              <a:gd name="connsiteY2247" fmla="*/ 262380 h 448122"/>
              <a:gd name="connsiteX2248" fmla="*/ 205040 w 447236"/>
              <a:gd name="connsiteY2248" fmla="*/ 257179 h 448122"/>
              <a:gd name="connsiteX2249" fmla="*/ 205040 w 447236"/>
              <a:gd name="connsiteY2249" fmla="*/ 254737 h 448122"/>
              <a:gd name="connsiteX2250" fmla="*/ 201342 w 447236"/>
              <a:gd name="connsiteY2250" fmla="*/ 251954 h 448122"/>
              <a:gd name="connsiteX2251" fmla="*/ 197966 w 447236"/>
              <a:gd name="connsiteY2251" fmla="*/ 242151 h 448122"/>
              <a:gd name="connsiteX2252" fmla="*/ 205020 w 447236"/>
              <a:gd name="connsiteY2252" fmla="*/ 234006 h 448122"/>
              <a:gd name="connsiteX2253" fmla="*/ 205020 w 447236"/>
              <a:gd name="connsiteY2253" fmla="*/ 230851 h 448122"/>
              <a:gd name="connsiteX2254" fmla="*/ 205040 w 447236"/>
              <a:gd name="connsiteY2254" fmla="*/ 230851 h 448122"/>
              <a:gd name="connsiteX2255" fmla="*/ 205040 w 447236"/>
              <a:gd name="connsiteY2255" fmla="*/ 226275 h 448122"/>
              <a:gd name="connsiteX2256" fmla="*/ 208712 w 447236"/>
              <a:gd name="connsiteY2256" fmla="*/ 226275 h 448122"/>
              <a:gd name="connsiteX2257" fmla="*/ 208712 w 447236"/>
              <a:gd name="connsiteY2257" fmla="*/ 231824 h 448122"/>
              <a:gd name="connsiteX2258" fmla="*/ 215150 w 447236"/>
              <a:gd name="connsiteY2258" fmla="*/ 228060 h 448122"/>
              <a:gd name="connsiteX2259" fmla="*/ 219446 w 447236"/>
              <a:gd name="connsiteY2259" fmla="*/ 225304 h 448122"/>
              <a:gd name="connsiteX2260" fmla="*/ 221267 w 447236"/>
              <a:gd name="connsiteY2260" fmla="*/ 222859 h 448122"/>
              <a:gd name="connsiteX2261" fmla="*/ 206939 w 447236"/>
              <a:gd name="connsiteY2261" fmla="*/ 225242 h 448122"/>
              <a:gd name="connsiteX2262" fmla="*/ 177181 w 447236"/>
              <a:gd name="connsiteY2262" fmla="*/ 213369 h 448122"/>
              <a:gd name="connsiteX2263" fmla="*/ 176874 w 447236"/>
              <a:gd name="connsiteY2263" fmla="*/ 213369 h 448122"/>
              <a:gd name="connsiteX2264" fmla="*/ 175647 w 447236"/>
              <a:gd name="connsiteY2264" fmla="*/ 211847 h 448122"/>
              <a:gd name="connsiteX2265" fmla="*/ 176874 w 447236"/>
              <a:gd name="connsiteY2265" fmla="*/ 210629 h 448122"/>
              <a:gd name="connsiteX2266" fmla="*/ 211636 w 447236"/>
              <a:gd name="connsiteY2266" fmla="*/ 210629 h 448122"/>
              <a:gd name="connsiteX2267" fmla="*/ 228345 w 447236"/>
              <a:gd name="connsiteY2267" fmla="*/ 210629 h 448122"/>
              <a:gd name="connsiteX2268" fmla="*/ 228345 w 447236"/>
              <a:gd name="connsiteY2268" fmla="*/ 207537 h 448122"/>
              <a:gd name="connsiteX2269" fmla="*/ 215150 w 447236"/>
              <a:gd name="connsiteY2269" fmla="*/ 194977 h 448122"/>
              <a:gd name="connsiteX2270" fmla="*/ 211468 w 447236"/>
              <a:gd name="connsiteY2270" fmla="*/ 195284 h 448122"/>
              <a:gd name="connsiteX2271" fmla="*/ 204103 w 447236"/>
              <a:gd name="connsiteY2271" fmla="*/ 198347 h 448122"/>
              <a:gd name="connsiteX2272" fmla="*/ 193670 w 447236"/>
              <a:gd name="connsiteY2272" fmla="*/ 206618 h 448122"/>
              <a:gd name="connsiteX2273" fmla="*/ 198887 w 447236"/>
              <a:gd name="connsiteY2273" fmla="*/ 194365 h 448122"/>
              <a:gd name="connsiteX2274" fmla="*/ 203796 w 447236"/>
              <a:gd name="connsiteY2274" fmla="*/ 192527 h 448122"/>
              <a:gd name="connsiteX2275" fmla="*/ 220318 w 447236"/>
              <a:gd name="connsiteY2275" fmla="*/ 191945 h 448122"/>
              <a:gd name="connsiteX2276" fmla="*/ 263982 w 447236"/>
              <a:gd name="connsiteY2276" fmla="*/ 191830 h 448122"/>
              <a:gd name="connsiteX2277" fmla="*/ 263676 w 447236"/>
              <a:gd name="connsiteY2277" fmla="*/ 192137 h 448122"/>
              <a:gd name="connsiteX2278" fmla="*/ 263982 w 447236"/>
              <a:gd name="connsiteY2278" fmla="*/ 192443 h 448122"/>
              <a:gd name="connsiteX2279" fmla="*/ 276834 w 447236"/>
              <a:gd name="connsiteY2279" fmla="*/ 192443 h 448122"/>
              <a:gd name="connsiteX2280" fmla="*/ 277140 w 447236"/>
              <a:gd name="connsiteY2280" fmla="*/ 192137 h 448122"/>
              <a:gd name="connsiteX2281" fmla="*/ 276834 w 447236"/>
              <a:gd name="connsiteY2281" fmla="*/ 191830 h 448122"/>
              <a:gd name="connsiteX2282" fmla="*/ 263982 w 447236"/>
              <a:gd name="connsiteY2282" fmla="*/ 191830 h 448122"/>
              <a:gd name="connsiteX2283" fmla="*/ 107509 w 447236"/>
              <a:gd name="connsiteY2283" fmla="*/ 189745 h 448122"/>
              <a:gd name="connsiteX2284" fmla="*/ 106691 w 447236"/>
              <a:gd name="connsiteY2284" fmla="*/ 190811 h 448122"/>
              <a:gd name="connsiteX2285" fmla="*/ 107118 w 447236"/>
              <a:gd name="connsiteY2285" fmla="*/ 190622 h 448122"/>
              <a:gd name="connsiteX2286" fmla="*/ 266736 w 447236"/>
              <a:gd name="connsiteY2286" fmla="*/ 189379 h 448122"/>
              <a:gd name="connsiteX2287" fmla="*/ 266430 w 447236"/>
              <a:gd name="connsiteY2287" fmla="*/ 189686 h 448122"/>
              <a:gd name="connsiteX2288" fmla="*/ 266736 w 447236"/>
              <a:gd name="connsiteY2288" fmla="*/ 189992 h 448122"/>
              <a:gd name="connsiteX2289" fmla="*/ 274080 w 447236"/>
              <a:gd name="connsiteY2289" fmla="*/ 189992 h 448122"/>
              <a:gd name="connsiteX2290" fmla="*/ 274386 w 447236"/>
              <a:gd name="connsiteY2290" fmla="*/ 189686 h 448122"/>
              <a:gd name="connsiteX2291" fmla="*/ 274080 w 447236"/>
              <a:gd name="connsiteY2291" fmla="*/ 189379 h 448122"/>
              <a:gd name="connsiteX2292" fmla="*/ 266736 w 447236"/>
              <a:gd name="connsiteY2292" fmla="*/ 189379 h 448122"/>
              <a:gd name="connsiteX2293" fmla="*/ 77477 w 447236"/>
              <a:gd name="connsiteY2293" fmla="*/ 189257 h 448122"/>
              <a:gd name="connsiteX2294" fmla="*/ 76169 w 447236"/>
              <a:gd name="connsiteY2294" fmla="*/ 190961 h 448122"/>
              <a:gd name="connsiteX2295" fmla="*/ 77020 w 447236"/>
              <a:gd name="connsiteY2295" fmla="*/ 190622 h 448122"/>
              <a:gd name="connsiteX2296" fmla="*/ 92769 w 447236"/>
              <a:gd name="connsiteY2296" fmla="*/ 189067 h 448122"/>
              <a:gd name="connsiteX2297" fmla="*/ 91527 w 447236"/>
              <a:gd name="connsiteY2297" fmla="*/ 190865 h 448122"/>
              <a:gd name="connsiteX2298" fmla="*/ 92075 w 447236"/>
              <a:gd name="connsiteY2298" fmla="*/ 190622 h 448122"/>
              <a:gd name="connsiteX2299" fmla="*/ 123178 w 447236"/>
              <a:gd name="connsiteY2299" fmla="*/ 189063 h 448122"/>
              <a:gd name="connsiteX2300" fmla="*/ 121933 w 447236"/>
              <a:gd name="connsiteY2300" fmla="*/ 190865 h 448122"/>
              <a:gd name="connsiteX2301" fmla="*/ 122482 w 447236"/>
              <a:gd name="connsiteY2301" fmla="*/ 190622 h 448122"/>
              <a:gd name="connsiteX2302" fmla="*/ 115991 w 447236"/>
              <a:gd name="connsiteY2302" fmla="*/ 188699 h 448122"/>
              <a:gd name="connsiteX2303" fmla="*/ 116634 w 447236"/>
              <a:gd name="connsiteY2303" fmla="*/ 190622 h 448122"/>
              <a:gd name="connsiteX2304" fmla="*/ 119094 w 447236"/>
              <a:gd name="connsiteY2304" fmla="*/ 191603 h 448122"/>
              <a:gd name="connsiteX2305" fmla="*/ 85584 w 447236"/>
              <a:gd name="connsiteY2305" fmla="*/ 188697 h 448122"/>
              <a:gd name="connsiteX2306" fmla="*/ 86227 w 447236"/>
              <a:gd name="connsiteY2306" fmla="*/ 190622 h 448122"/>
              <a:gd name="connsiteX2307" fmla="*/ 88689 w 447236"/>
              <a:gd name="connsiteY2307" fmla="*/ 191603 h 448122"/>
              <a:gd name="connsiteX2308" fmla="*/ 70187 w 447236"/>
              <a:gd name="connsiteY2308" fmla="*/ 188414 h 448122"/>
              <a:gd name="connsiteX2309" fmla="*/ 71172 w 447236"/>
              <a:gd name="connsiteY2309" fmla="*/ 190622 h 448122"/>
              <a:gd name="connsiteX2310" fmla="*/ 73354 w 447236"/>
              <a:gd name="connsiteY2310" fmla="*/ 191589 h 448122"/>
              <a:gd name="connsiteX2311" fmla="*/ 100592 w 447236"/>
              <a:gd name="connsiteY2311" fmla="*/ 188412 h 448122"/>
              <a:gd name="connsiteX2312" fmla="*/ 101578 w 447236"/>
              <a:gd name="connsiteY2312" fmla="*/ 190622 h 448122"/>
              <a:gd name="connsiteX2313" fmla="*/ 103762 w 447236"/>
              <a:gd name="connsiteY2313" fmla="*/ 191589 h 448122"/>
              <a:gd name="connsiteX2314" fmla="*/ 301115 w 447236"/>
              <a:gd name="connsiteY2314" fmla="*/ 187013 h 448122"/>
              <a:gd name="connsiteX2315" fmla="*/ 305095 w 447236"/>
              <a:gd name="connsiteY2315" fmla="*/ 187013 h 448122"/>
              <a:gd name="connsiteX2316" fmla="*/ 309075 w 447236"/>
              <a:gd name="connsiteY2316" fmla="*/ 187013 h 448122"/>
              <a:gd name="connsiteX2317" fmla="*/ 309687 w 447236"/>
              <a:gd name="connsiteY2317" fmla="*/ 187320 h 448122"/>
              <a:gd name="connsiteX2318" fmla="*/ 311524 w 447236"/>
              <a:gd name="connsiteY2318" fmla="*/ 194377 h 448122"/>
              <a:gd name="connsiteX2319" fmla="*/ 312749 w 447236"/>
              <a:gd name="connsiteY2319" fmla="*/ 197753 h 448122"/>
              <a:gd name="connsiteX2320" fmla="*/ 308463 w 447236"/>
              <a:gd name="connsiteY2320" fmla="*/ 210334 h 448122"/>
              <a:gd name="connsiteX2321" fmla="*/ 305095 w 447236"/>
              <a:gd name="connsiteY2321" fmla="*/ 210334 h 448122"/>
              <a:gd name="connsiteX2322" fmla="*/ 304789 w 447236"/>
              <a:gd name="connsiteY2322" fmla="*/ 210334 h 448122"/>
              <a:gd name="connsiteX2323" fmla="*/ 301421 w 447236"/>
              <a:gd name="connsiteY2323" fmla="*/ 210334 h 448122"/>
              <a:gd name="connsiteX2324" fmla="*/ 297442 w 447236"/>
              <a:gd name="connsiteY2324" fmla="*/ 197753 h 448122"/>
              <a:gd name="connsiteX2325" fmla="*/ 298360 w 447236"/>
              <a:gd name="connsiteY2325" fmla="*/ 194377 h 448122"/>
              <a:gd name="connsiteX2326" fmla="*/ 300197 w 447236"/>
              <a:gd name="connsiteY2326" fmla="*/ 187320 h 448122"/>
              <a:gd name="connsiteX2327" fmla="*/ 301115 w 447236"/>
              <a:gd name="connsiteY2327" fmla="*/ 187013 h 448122"/>
              <a:gd name="connsiteX2328" fmla="*/ 266736 w 447236"/>
              <a:gd name="connsiteY2328" fmla="*/ 186929 h 448122"/>
              <a:gd name="connsiteX2329" fmla="*/ 266430 w 447236"/>
              <a:gd name="connsiteY2329" fmla="*/ 187235 h 448122"/>
              <a:gd name="connsiteX2330" fmla="*/ 266736 w 447236"/>
              <a:gd name="connsiteY2330" fmla="*/ 187541 h 448122"/>
              <a:gd name="connsiteX2331" fmla="*/ 274080 w 447236"/>
              <a:gd name="connsiteY2331" fmla="*/ 187541 h 448122"/>
              <a:gd name="connsiteX2332" fmla="*/ 274386 w 447236"/>
              <a:gd name="connsiteY2332" fmla="*/ 187235 h 448122"/>
              <a:gd name="connsiteX2333" fmla="*/ 274080 w 447236"/>
              <a:gd name="connsiteY2333" fmla="*/ 186929 h 448122"/>
              <a:gd name="connsiteX2334" fmla="*/ 266736 w 447236"/>
              <a:gd name="connsiteY2334" fmla="*/ 186929 h 448122"/>
              <a:gd name="connsiteX2335" fmla="*/ 266736 w 447236"/>
              <a:gd name="connsiteY2335" fmla="*/ 184784 h 448122"/>
              <a:gd name="connsiteX2336" fmla="*/ 266430 w 447236"/>
              <a:gd name="connsiteY2336" fmla="*/ 185091 h 448122"/>
              <a:gd name="connsiteX2337" fmla="*/ 266736 w 447236"/>
              <a:gd name="connsiteY2337" fmla="*/ 185397 h 448122"/>
              <a:gd name="connsiteX2338" fmla="*/ 274080 w 447236"/>
              <a:gd name="connsiteY2338" fmla="*/ 185397 h 448122"/>
              <a:gd name="connsiteX2339" fmla="*/ 274386 w 447236"/>
              <a:gd name="connsiteY2339" fmla="*/ 185091 h 448122"/>
              <a:gd name="connsiteX2340" fmla="*/ 274080 w 447236"/>
              <a:gd name="connsiteY2340" fmla="*/ 184784 h 448122"/>
              <a:gd name="connsiteX2341" fmla="*/ 266736 w 447236"/>
              <a:gd name="connsiteY2341" fmla="*/ 184784 h 448122"/>
              <a:gd name="connsiteX2342" fmla="*/ 340741 w 447236"/>
              <a:gd name="connsiteY2342" fmla="*/ 184417 h 448122"/>
              <a:gd name="connsiteX2343" fmla="*/ 344062 w 447236"/>
              <a:gd name="connsiteY2343" fmla="*/ 189473 h 448122"/>
              <a:gd name="connsiteX2344" fmla="*/ 341345 w 447236"/>
              <a:gd name="connsiteY2344" fmla="*/ 197133 h 448122"/>
              <a:gd name="connsiteX2345" fmla="*/ 341345 w 447236"/>
              <a:gd name="connsiteY2345" fmla="*/ 232981 h 448122"/>
              <a:gd name="connsiteX2346" fmla="*/ 344062 w 447236"/>
              <a:gd name="connsiteY2346" fmla="*/ 240335 h 448122"/>
              <a:gd name="connsiteX2347" fmla="*/ 337420 w 447236"/>
              <a:gd name="connsiteY2347" fmla="*/ 240335 h 448122"/>
              <a:gd name="connsiteX2348" fmla="*/ 340137 w 447236"/>
              <a:gd name="connsiteY2348" fmla="*/ 232981 h 448122"/>
              <a:gd name="connsiteX2349" fmla="*/ 340137 w 447236"/>
              <a:gd name="connsiteY2349" fmla="*/ 197133 h 448122"/>
              <a:gd name="connsiteX2350" fmla="*/ 337420 w 447236"/>
              <a:gd name="connsiteY2350" fmla="*/ 189473 h 448122"/>
              <a:gd name="connsiteX2351" fmla="*/ 340741 w 447236"/>
              <a:gd name="connsiteY2351" fmla="*/ 184417 h 448122"/>
              <a:gd name="connsiteX2352" fmla="*/ 263982 w 447236"/>
              <a:gd name="connsiteY2352" fmla="*/ 181721 h 448122"/>
              <a:gd name="connsiteX2353" fmla="*/ 263676 w 447236"/>
              <a:gd name="connsiteY2353" fmla="*/ 182027 h 448122"/>
              <a:gd name="connsiteX2354" fmla="*/ 263982 w 447236"/>
              <a:gd name="connsiteY2354" fmla="*/ 182334 h 448122"/>
              <a:gd name="connsiteX2355" fmla="*/ 276834 w 447236"/>
              <a:gd name="connsiteY2355" fmla="*/ 182334 h 448122"/>
              <a:gd name="connsiteX2356" fmla="*/ 277140 w 447236"/>
              <a:gd name="connsiteY2356" fmla="*/ 182027 h 448122"/>
              <a:gd name="connsiteX2357" fmla="*/ 276834 w 447236"/>
              <a:gd name="connsiteY2357" fmla="*/ 181721 h 448122"/>
              <a:gd name="connsiteX2358" fmla="*/ 263982 w 447236"/>
              <a:gd name="connsiteY2358" fmla="*/ 181721 h 448122"/>
              <a:gd name="connsiteX2359" fmla="*/ 136887 w 447236"/>
              <a:gd name="connsiteY2359" fmla="*/ 180801 h 448122"/>
              <a:gd name="connsiteX2360" fmla="*/ 135660 w 447236"/>
              <a:gd name="connsiteY2360" fmla="*/ 183557 h 448122"/>
              <a:gd name="connsiteX2361" fmla="*/ 158353 w 447236"/>
              <a:gd name="connsiteY2361" fmla="*/ 183557 h 448122"/>
              <a:gd name="connsiteX2362" fmla="*/ 157126 w 447236"/>
              <a:gd name="connsiteY2362" fmla="*/ 180801 h 448122"/>
              <a:gd name="connsiteX2363" fmla="*/ 136887 w 447236"/>
              <a:gd name="connsiteY2363" fmla="*/ 180801 h 448122"/>
              <a:gd name="connsiteX2364" fmla="*/ 367752 w 447236"/>
              <a:gd name="connsiteY2364" fmla="*/ 178747 h 448122"/>
              <a:gd name="connsiteX2365" fmla="*/ 368416 w 447236"/>
              <a:gd name="connsiteY2365" fmla="*/ 179358 h 448122"/>
              <a:gd name="connsiteX2366" fmla="*/ 368416 w 447236"/>
              <a:gd name="connsiteY2366" fmla="*/ 217251 h 448122"/>
              <a:gd name="connsiteX2367" fmla="*/ 367752 w 447236"/>
              <a:gd name="connsiteY2367" fmla="*/ 217862 h 448122"/>
              <a:gd name="connsiteX2368" fmla="*/ 367088 w 447236"/>
              <a:gd name="connsiteY2368" fmla="*/ 217251 h 448122"/>
              <a:gd name="connsiteX2369" fmla="*/ 367088 w 447236"/>
              <a:gd name="connsiteY2369" fmla="*/ 179358 h 448122"/>
              <a:gd name="connsiteX2370" fmla="*/ 367752 w 447236"/>
              <a:gd name="connsiteY2370" fmla="*/ 178747 h 448122"/>
              <a:gd name="connsiteX2371" fmla="*/ 405090 w 447236"/>
              <a:gd name="connsiteY2371" fmla="*/ 176936 h 448122"/>
              <a:gd name="connsiteX2372" fmla="*/ 390798 w 447236"/>
              <a:gd name="connsiteY2372" fmla="*/ 180281 h 448122"/>
              <a:gd name="connsiteX2373" fmla="*/ 390798 w 447236"/>
              <a:gd name="connsiteY2373" fmla="*/ 180893 h 448122"/>
              <a:gd name="connsiteX2374" fmla="*/ 397855 w 447236"/>
              <a:gd name="connsiteY2374" fmla="*/ 189157 h 448122"/>
              <a:gd name="connsiteX2375" fmla="*/ 407982 w 447236"/>
              <a:gd name="connsiteY2375" fmla="*/ 191248 h 448122"/>
              <a:gd name="connsiteX2376" fmla="*/ 406739 w 447236"/>
              <a:gd name="connsiteY2376" fmla="*/ 190738 h 448122"/>
              <a:gd name="connsiteX2377" fmla="*/ 403103 w 447236"/>
              <a:gd name="connsiteY2377" fmla="*/ 181773 h 448122"/>
              <a:gd name="connsiteX2378" fmla="*/ 425919 w 447236"/>
              <a:gd name="connsiteY2378" fmla="*/ 176898 h 448122"/>
              <a:gd name="connsiteX2379" fmla="*/ 427900 w 447236"/>
              <a:gd name="connsiteY2379" fmla="*/ 181773 h 448122"/>
              <a:gd name="connsiteX2380" fmla="*/ 424303 w 447236"/>
              <a:gd name="connsiteY2380" fmla="*/ 190738 h 448122"/>
              <a:gd name="connsiteX2381" fmla="*/ 422887 w 447236"/>
              <a:gd name="connsiteY2381" fmla="*/ 191336 h 448122"/>
              <a:gd name="connsiteX2382" fmla="*/ 433445 w 447236"/>
              <a:gd name="connsiteY2382" fmla="*/ 189157 h 448122"/>
              <a:gd name="connsiteX2383" fmla="*/ 440195 w 447236"/>
              <a:gd name="connsiteY2383" fmla="*/ 180893 h 448122"/>
              <a:gd name="connsiteX2384" fmla="*/ 440195 w 447236"/>
              <a:gd name="connsiteY2384" fmla="*/ 180281 h 448122"/>
              <a:gd name="connsiteX2385" fmla="*/ 415654 w 447236"/>
              <a:gd name="connsiteY2385" fmla="*/ 176828 h 448122"/>
              <a:gd name="connsiteX2386" fmla="*/ 420225 w 447236"/>
              <a:gd name="connsiteY2386" fmla="*/ 180845 h 448122"/>
              <a:gd name="connsiteX2387" fmla="*/ 418702 w 447236"/>
              <a:gd name="connsiteY2387" fmla="*/ 180536 h 448122"/>
              <a:gd name="connsiteX2388" fmla="*/ 415959 w 447236"/>
              <a:gd name="connsiteY2388" fmla="*/ 183318 h 448122"/>
              <a:gd name="connsiteX2389" fmla="*/ 418397 w 447236"/>
              <a:gd name="connsiteY2389" fmla="*/ 186099 h 448122"/>
              <a:gd name="connsiteX2390" fmla="*/ 415654 w 447236"/>
              <a:gd name="connsiteY2390" fmla="*/ 186717 h 448122"/>
              <a:gd name="connsiteX2391" fmla="*/ 410778 w 447236"/>
              <a:gd name="connsiteY2391" fmla="*/ 181772 h 448122"/>
              <a:gd name="connsiteX2392" fmla="*/ 415654 w 447236"/>
              <a:gd name="connsiteY2392" fmla="*/ 176828 h 448122"/>
              <a:gd name="connsiteX2393" fmla="*/ 352394 w 447236"/>
              <a:gd name="connsiteY2393" fmla="*/ 176238 h 448122"/>
              <a:gd name="connsiteX2394" fmla="*/ 352998 w 447236"/>
              <a:gd name="connsiteY2394" fmla="*/ 176238 h 448122"/>
              <a:gd name="connsiteX2395" fmla="*/ 356017 w 447236"/>
              <a:gd name="connsiteY2395" fmla="*/ 179308 h 448122"/>
              <a:gd name="connsiteX2396" fmla="*/ 356017 w 447236"/>
              <a:gd name="connsiteY2396" fmla="*/ 214927 h 448122"/>
              <a:gd name="connsiteX2397" fmla="*/ 352998 w 447236"/>
              <a:gd name="connsiteY2397" fmla="*/ 218305 h 448122"/>
              <a:gd name="connsiteX2398" fmla="*/ 352394 w 447236"/>
              <a:gd name="connsiteY2398" fmla="*/ 218305 h 448122"/>
              <a:gd name="connsiteX2399" fmla="*/ 349375 w 447236"/>
              <a:gd name="connsiteY2399" fmla="*/ 214927 h 448122"/>
              <a:gd name="connsiteX2400" fmla="*/ 349375 w 447236"/>
              <a:gd name="connsiteY2400" fmla="*/ 179308 h 448122"/>
              <a:gd name="connsiteX2401" fmla="*/ 352394 w 447236"/>
              <a:gd name="connsiteY2401" fmla="*/ 176238 h 448122"/>
              <a:gd name="connsiteX2402" fmla="*/ 361552 w 447236"/>
              <a:gd name="connsiteY2402" fmla="*/ 174955 h 448122"/>
              <a:gd name="connsiteX2403" fmla="*/ 360632 w 447236"/>
              <a:gd name="connsiteY2403" fmla="*/ 175262 h 448122"/>
              <a:gd name="connsiteX2404" fmla="*/ 360632 w 447236"/>
              <a:gd name="connsiteY2404" fmla="*/ 176183 h 448122"/>
              <a:gd name="connsiteX2405" fmla="*/ 360632 w 447236"/>
              <a:gd name="connsiteY2405" fmla="*/ 176796 h 448122"/>
              <a:gd name="connsiteX2406" fmla="*/ 360632 w 447236"/>
              <a:gd name="connsiteY2406" fmla="*/ 177410 h 448122"/>
              <a:gd name="connsiteX2407" fmla="*/ 361552 w 447236"/>
              <a:gd name="connsiteY2407" fmla="*/ 177717 h 448122"/>
              <a:gd name="connsiteX2408" fmla="*/ 364008 w 447236"/>
              <a:gd name="connsiteY2408" fmla="*/ 177717 h 448122"/>
              <a:gd name="connsiteX2409" fmla="*/ 364622 w 447236"/>
              <a:gd name="connsiteY2409" fmla="*/ 177717 h 448122"/>
              <a:gd name="connsiteX2410" fmla="*/ 364622 w 447236"/>
              <a:gd name="connsiteY2410" fmla="*/ 178331 h 448122"/>
              <a:gd name="connsiteX2411" fmla="*/ 364622 w 447236"/>
              <a:gd name="connsiteY2411" fmla="*/ 217300 h 448122"/>
              <a:gd name="connsiteX2412" fmla="*/ 364622 w 447236"/>
              <a:gd name="connsiteY2412" fmla="*/ 217607 h 448122"/>
              <a:gd name="connsiteX2413" fmla="*/ 364008 w 447236"/>
              <a:gd name="connsiteY2413" fmla="*/ 217914 h 448122"/>
              <a:gd name="connsiteX2414" fmla="*/ 353265 w 447236"/>
              <a:gd name="connsiteY2414" fmla="*/ 225892 h 448122"/>
              <a:gd name="connsiteX2415" fmla="*/ 349275 w 447236"/>
              <a:gd name="connsiteY2415" fmla="*/ 238472 h 448122"/>
              <a:gd name="connsiteX2416" fmla="*/ 350167 w 447236"/>
              <a:gd name="connsiteY2416" fmla="*/ 241773 h 448122"/>
              <a:gd name="connsiteX2417" fmla="*/ 350347 w 447236"/>
              <a:gd name="connsiteY2417" fmla="*/ 241773 h 448122"/>
              <a:gd name="connsiteX2418" fmla="*/ 367916 w 447236"/>
              <a:gd name="connsiteY2418" fmla="*/ 241773 h 448122"/>
              <a:gd name="connsiteX2419" fmla="*/ 392185 w 447236"/>
              <a:gd name="connsiteY2419" fmla="*/ 241773 h 448122"/>
              <a:gd name="connsiteX2420" fmla="*/ 393167 w 447236"/>
              <a:gd name="connsiteY2420" fmla="*/ 238472 h 448122"/>
              <a:gd name="connsiteX2421" fmla="*/ 388869 w 447236"/>
              <a:gd name="connsiteY2421" fmla="*/ 225892 h 448122"/>
              <a:gd name="connsiteX2422" fmla="*/ 378127 w 447236"/>
              <a:gd name="connsiteY2422" fmla="*/ 217914 h 448122"/>
              <a:gd name="connsiteX2423" fmla="*/ 377820 w 447236"/>
              <a:gd name="connsiteY2423" fmla="*/ 217607 h 448122"/>
              <a:gd name="connsiteX2424" fmla="*/ 377820 w 447236"/>
              <a:gd name="connsiteY2424" fmla="*/ 217300 h 448122"/>
              <a:gd name="connsiteX2425" fmla="*/ 377820 w 447236"/>
              <a:gd name="connsiteY2425" fmla="*/ 178331 h 448122"/>
              <a:gd name="connsiteX2426" fmla="*/ 377820 w 447236"/>
              <a:gd name="connsiteY2426" fmla="*/ 177717 h 448122"/>
              <a:gd name="connsiteX2427" fmla="*/ 378434 w 447236"/>
              <a:gd name="connsiteY2427" fmla="*/ 177717 h 448122"/>
              <a:gd name="connsiteX2428" fmla="*/ 380889 w 447236"/>
              <a:gd name="connsiteY2428" fmla="*/ 177717 h 448122"/>
              <a:gd name="connsiteX2429" fmla="*/ 381503 w 447236"/>
              <a:gd name="connsiteY2429" fmla="*/ 177410 h 448122"/>
              <a:gd name="connsiteX2430" fmla="*/ 381810 w 447236"/>
              <a:gd name="connsiteY2430" fmla="*/ 176796 h 448122"/>
              <a:gd name="connsiteX2431" fmla="*/ 381810 w 447236"/>
              <a:gd name="connsiteY2431" fmla="*/ 176183 h 448122"/>
              <a:gd name="connsiteX2432" fmla="*/ 381503 w 447236"/>
              <a:gd name="connsiteY2432" fmla="*/ 175262 h 448122"/>
              <a:gd name="connsiteX2433" fmla="*/ 380889 w 447236"/>
              <a:gd name="connsiteY2433" fmla="*/ 175262 h 448122"/>
              <a:gd name="connsiteX2434" fmla="*/ 361552 w 447236"/>
              <a:gd name="connsiteY2434" fmla="*/ 174955 h 448122"/>
              <a:gd name="connsiteX2435" fmla="*/ 415650 w 447236"/>
              <a:gd name="connsiteY2435" fmla="*/ 174465 h 448122"/>
              <a:gd name="connsiteX2436" fmla="*/ 407144 w 447236"/>
              <a:gd name="connsiteY2436" fmla="*/ 176456 h 448122"/>
              <a:gd name="connsiteX2437" fmla="*/ 404940 w 447236"/>
              <a:gd name="connsiteY2437" fmla="*/ 181773 h 448122"/>
              <a:gd name="connsiteX2438" fmla="*/ 408001 w 447236"/>
              <a:gd name="connsiteY2438" fmla="*/ 189468 h 448122"/>
              <a:gd name="connsiteX2439" fmla="*/ 415655 w 447236"/>
              <a:gd name="connsiteY2439" fmla="*/ 192546 h 448122"/>
              <a:gd name="connsiteX2440" fmla="*/ 423002 w 447236"/>
              <a:gd name="connsiteY2440" fmla="*/ 189468 h 448122"/>
              <a:gd name="connsiteX2441" fmla="*/ 426063 w 447236"/>
              <a:gd name="connsiteY2441" fmla="*/ 181773 h 448122"/>
              <a:gd name="connsiteX2442" fmla="*/ 423839 w 447236"/>
              <a:gd name="connsiteY2442" fmla="*/ 176405 h 448122"/>
              <a:gd name="connsiteX2443" fmla="*/ 361552 w 447236"/>
              <a:gd name="connsiteY2443" fmla="*/ 173728 h 448122"/>
              <a:gd name="connsiteX2444" fmla="*/ 380889 w 447236"/>
              <a:gd name="connsiteY2444" fmla="*/ 173728 h 448122"/>
              <a:gd name="connsiteX2445" fmla="*/ 382424 w 447236"/>
              <a:gd name="connsiteY2445" fmla="*/ 174342 h 448122"/>
              <a:gd name="connsiteX2446" fmla="*/ 383345 w 447236"/>
              <a:gd name="connsiteY2446" fmla="*/ 176183 h 448122"/>
              <a:gd name="connsiteX2447" fmla="*/ 383345 w 447236"/>
              <a:gd name="connsiteY2447" fmla="*/ 176796 h 448122"/>
              <a:gd name="connsiteX2448" fmla="*/ 382424 w 447236"/>
              <a:gd name="connsiteY2448" fmla="*/ 178331 h 448122"/>
              <a:gd name="connsiteX2449" fmla="*/ 380889 w 447236"/>
              <a:gd name="connsiteY2449" fmla="*/ 178944 h 448122"/>
              <a:gd name="connsiteX2450" fmla="*/ 379048 w 447236"/>
              <a:gd name="connsiteY2450" fmla="*/ 178944 h 448122"/>
              <a:gd name="connsiteX2451" fmla="*/ 379048 w 447236"/>
              <a:gd name="connsiteY2451" fmla="*/ 216686 h 448122"/>
              <a:gd name="connsiteX2452" fmla="*/ 390097 w 447236"/>
              <a:gd name="connsiteY2452" fmla="*/ 224971 h 448122"/>
              <a:gd name="connsiteX2453" fmla="*/ 394394 w 447236"/>
              <a:gd name="connsiteY2453" fmla="*/ 238472 h 448122"/>
              <a:gd name="connsiteX2454" fmla="*/ 391018 w 447236"/>
              <a:gd name="connsiteY2454" fmla="*/ 250746 h 448122"/>
              <a:gd name="connsiteX2455" fmla="*/ 381810 w 447236"/>
              <a:gd name="connsiteY2455" fmla="*/ 259031 h 448122"/>
              <a:gd name="connsiteX2456" fmla="*/ 381810 w 447236"/>
              <a:gd name="connsiteY2456" fmla="*/ 259338 h 448122"/>
              <a:gd name="connsiteX2457" fmla="*/ 381503 w 447236"/>
              <a:gd name="connsiteY2457" fmla="*/ 259338 h 448122"/>
              <a:gd name="connsiteX2458" fmla="*/ 360938 w 447236"/>
              <a:gd name="connsiteY2458" fmla="*/ 259338 h 448122"/>
              <a:gd name="connsiteX2459" fmla="*/ 360632 w 447236"/>
              <a:gd name="connsiteY2459" fmla="*/ 259338 h 448122"/>
              <a:gd name="connsiteX2460" fmla="*/ 360632 w 447236"/>
              <a:gd name="connsiteY2460" fmla="*/ 259031 h 448122"/>
              <a:gd name="connsiteX2461" fmla="*/ 351424 w 447236"/>
              <a:gd name="connsiteY2461" fmla="*/ 250746 h 448122"/>
              <a:gd name="connsiteX2462" fmla="*/ 348047 w 447236"/>
              <a:gd name="connsiteY2462" fmla="*/ 238472 h 448122"/>
              <a:gd name="connsiteX2463" fmla="*/ 352344 w 447236"/>
              <a:gd name="connsiteY2463" fmla="*/ 224971 h 448122"/>
              <a:gd name="connsiteX2464" fmla="*/ 363087 w 447236"/>
              <a:gd name="connsiteY2464" fmla="*/ 216686 h 448122"/>
              <a:gd name="connsiteX2465" fmla="*/ 363087 w 447236"/>
              <a:gd name="connsiteY2465" fmla="*/ 178944 h 448122"/>
              <a:gd name="connsiteX2466" fmla="*/ 361552 w 447236"/>
              <a:gd name="connsiteY2466" fmla="*/ 178944 h 448122"/>
              <a:gd name="connsiteX2467" fmla="*/ 359711 w 447236"/>
              <a:gd name="connsiteY2467" fmla="*/ 178331 h 448122"/>
              <a:gd name="connsiteX2468" fmla="*/ 359097 w 447236"/>
              <a:gd name="connsiteY2468" fmla="*/ 176796 h 448122"/>
              <a:gd name="connsiteX2469" fmla="*/ 359097 w 447236"/>
              <a:gd name="connsiteY2469" fmla="*/ 176183 h 448122"/>
              <a:gd name="connsiteX2470" fmla="*/ 359711 w 447236"/>
              <a:gd name="connsiteY2470" fmla="*/ 174342 h 448122"/>
              <a:gd name="connsiteX2471" fmla="*/ 361552 w 447236"/>
              <a:gd name="connsiteY2471" fmla="*/ 173728 h 448122"/>
              <a:gd name="connsiteX2472" fmla="*/ 326338 w 447236"/>
              <a:gd name="connsiteY2472" fmla="*/ 173728 h 448122"/>
              <a:gd name="connsiteX2473" fmla="*/ 339511 w 447236"/>
              <a:gd name="connsiteY2473" fmla="*/ 174649 h 448122"/>
              <a:gd name="connsiteX2474" fmla="*/ 342881 w 447236"/>
              <a:gd name="connsiteY2474" fmla="*/ 178025 h 448122"/>
              <a:gd name="connsiteX2475" fmla="*/ 342881 w 447236"/>
              <a:gd name="connsiteY2475" fmla="*/ 178638 h 448122"/>
              <a:gd name="connsiteX2476" fmla="*/ 339511 w 447236"/>
              <a:gd name="connsiteY2476" fmla="*/ 182014 h 448122"/>
              <a:gd name="connsiteX2477" fmla="*/ 327870 w 447236"/>
              <a:gd name="connsiteY2477" fmla="*/ 182628 h 448122"/>
              <a:gd name="connsiteX2478" fmla="*/ 327870 w 447236"/>
              <a:gd name="connsiteY2478" fmla="*/ 217616 h 448122"/>
              <a:gd name="connsiteX2479" fmla="*/ 328483 w 447236"/>
              <a:gd name="connsiteY2479" fmla="*/ 217616 h 448122"/>
              <a:gd name="connsiteX2480" fmla="*/ 330934 w 447236"/>
              <a:gd name="connsiteY2480" fmla="*/ 220071 h 448122"/>
              <a:gd name="connsiteX2481" fmla="*/ 330934 w 447236"/>
              <a:gd name="connsiteY2481" fmla="*/ 235724 h 448122"/>
              <a:gd name="connsiteX2482" fmla="*/ 332159 w 447236"/>
              <a:gd name="connsiteY2482" fmla="*/ 258742 h 448122"/>
              <a:gd name="connsiteX2483" fmla="*/ 326951 w 447236"/>
              <a:gd name="connsiteY2483" fmla="*/ 262732 h 448122"/>
              <a:gd name="connsiteX2484" fmla="*/ 326645 w 447236"/>
              <a:gd name="connsiteY2484" fmla="*/ 262732 h 448122"/>
              <a:gd name="connsiteX2485" fmla="*/ 321130 w 447236"/>
              <a:gd name="connsiteY2485" fmla="*/ 258742 h 448122"/>
              <a:gd name="connsiteX2486" fmla="*/ 322662 w 447236"/>
              <a:gd name="connsiteY2486" fmla="*/ 235724 h 448122"/>
              <a:gd name="connsiteX2487" fmla="*/ 322662 w 447236"/>
              <a:gd name="connsiteY2487" fmla="*/ 219458 h 448122"/>
              <a:gd name="connsiteX2488" fmla="*/ 324807 w 447236"/>
              <a:gd name="connsiteY2488" fmla="*/ 217616 h 448122"/>
              <a:gd name="connsiteX2489" fmla="*/ 325726 w 447236"/>
              <a:gd name="connsiteY2489" fmla="*/ 217616 h 448122"/>
              <a:gd name="connsiteX2490" fmla="*/ 325726 w 447236"/>
              <a:gd name="connsiteY2490" fmla="*/ 182628 h 448122"/>
              <a:gd name="connsiteX2491" fmla="*/ 313778 w 447236"/>
              <a:gd name="connsiteY2491" fmla="*/ 182014 h 448122"/>
              <a:gd name="connsiteX2492" fmla="*/ 310408 w 447236"/>
              <a:gd name="connsiteY2492" fmla="*/ 178638 h 448122"/>
              <a:gd name="connsiteX2493" fmla="*/ 310408 w 447236"/>
              <a:gd name="connsiteY2493" fmla="*/ 178025 h 448122"/>
              <a:gd name="connsiteX2494" fmla="*/ 313778 w 447236"/>
              <a:gd name="connsiteY2494" fmla="*/ 174649 h 448122"/>
              <a:gd name="connsiteX2495" fmla="*/ 326338 w 447236"/>
              <a:gd name="connsiteY2495" fmla="*/ 173728 h 448122"/>
              <a:gd name="connsiteX2496" fmla="*/ 304504 w 447236"/>
              <a:gd name="connsiteY2496" fmla="*/ 173433 h 448122"/>
              <a:gd name="connsiteX2497" fmla="*/ 305685 w 447236"/>
              <a:gd name="connsiteY2497" fmla="*/ 173433 h 448122"/>
              <a:gd name="connsiteX2498" fmla="*/ 305980 w 447236"/>
              <a:gd name="connsiteY2498" fmla="*/ 179337 h 448122"/>
              <a:gd name="connsiteX2499" fmla="*/ 306335 w 447236"/>
              <a:gd name="connsiteY2499" fmla="*/ 179337 h 448122"/>
              <a:gd name="connsiteX2500" fmla="*/ 308194 w 447236"/>
              <a:gd name="connsiteY2500" fmla="*/ 185684 h 448122"/>
              <a:gd name="connsiteX2501" fmla="*/ 309070 w 447236"/>
              <a:gd name="connsiteY2501" fmla="*/ 185684 h 448122"/>
              <a:gd name="connsiteX2502" fmla="*/ 309375 w 447236"/>
              <a:gd name="connsiteY2502" fmla="*/ 186016 h 448122"/>
              <a:gd name="connsiteX2503" fmla="*/ 309375 w 447236"/>
              <a:gd name="connsiteY2503" fmla="*/ 186348 h 448122"/>
              <a:gd name="connsiteX2504" fmla="*/ 309070 w 447236"/>
              <a:gd name="connsiteY2504" fmla="*/ 187012 h 448122"/>
              <a:gd name="connsiteX2505" fmla="*/ 301130 w 447236"/>
              <a:gd name="connsiteY2505" fmla="*/ 187012 h 448122"/>
              <a:gd name="connsiteX2506" fmla="*/ 300519 w 447236"/>
              <a:gd name="connsiteY2506" fmla="*/ 186348 h 448122"/>
              <a:gd name="connsiteX2507" fmla="*/ 300519 w 447236"/>
              <a:gd name="connsiteY2507" fmla="*/ 186016 h 448122"/>
              <a:gd name="connsiteX2508" fmla="*/ 301130 w 447236"/>
              <a:gd name="connsiteY2508" fmla="*/ 185684 h 448122"/>
              <a:gd name="connsiteX2509" fmla="*/ 301995 w 447236"/>
              <a:gd name="connsiteY2509" fmla="*/ 185684 h 448122"/>
              <a:gd name="connsiteX2510" fmla="*/ 303855 w 447236"/>
              <a:gd name="connsiteY2510" fmla="*/ 179337 h 448122"/>
              <a:gd name="connsiteX2511" fmla="*/ 304209 w 447236"/>
              <a:gd name="connsiteY2511" fmla="*/ 179337 h 448122"/>
              <a:gd name="connsiteX2512" fmla="*/ 19304 w 447236"/>
              <a:gd name="connsiteY2512" fmla="*/ 171088 h 448122"/>
              <a:gd name="connsiteX2513" fmla="*/ 30702 w 447236"/>
              <a:gd name="connsiteY2513" fmla="*/ 175942 h 448122"/>
              <a:gd name="connsiteX2514" fmla="*/ 16840 w 447236"/>
              <a:gd name="connsiteY2514" fmla="*/ 175942 h 448122"/>
              <a:gd name="connsiteX2515" fmla="*/ 16532 w 447236"/>
              <a:gd name="connsiteY2515" fmla="*/ 174425 h 448122"/>
              <a:gd name="connsiteX2516" fmla="*/ 19304 w 447236"/>
              <a:gd name="connsiteY2516" fmla="*/ 171088 h 448122"/>
              <a:gd name="connsiteX2517" fmla="*/ 147006 w 447236"/>
              <a:gd name="connsiteY2517" fmla="*/ 169168 h 448122"/>
              <a:gd name="connsiteX2518" fmla="*/ 140567 w 447236"/>
              <a:gd name="connsiteY2518" fmla="*/ 175597 h 448122"/>
              <a:gd name="connsiteX2519" fmla="*/ 153446 w 447236"/>
              <a:gd name="connsiteY2519" fmla="*/ 175597 h 448122"/>
              <a:gd name="connsiteX2520" fmla="*/ 147006 w 447236"/>
              <a:gd name="connsiteY2520" fmla="*/ 169168 h 448122"/>
              <a:gd name="connsiteX2521" fmla="*/ 198303 w 447236"/>
              <a:gd name="connsiteY2521" fmla="*/ 168273 h 448122"/>
              <a:gd name="connsiteX2522" fmla="*/ 202905 w 447236"/>
              <a:gd name="connsiteY2522" fmla="*/ 170717 h 448122"/>
              <a:gd name="connsiteX2523" fmla="*/ 205973 w 447236"/>
              <a:gd name="connsiteY2523" fmla="*/ 170106 h 448122"/>
              <a:gd name="connsiteX2524" fmla="*/ 209348 w 447236"/>
              <a:gd name="connsiteY2524" fmla="*/ 170717 h 448122"/>
              <a:gd name="connsiteX2525" fmla="*/ 213950 w 447236"/>
              <a:gd name="connsiteY2525" fmla="*/ 168273 h 448122"/>
              <a:gd name="connsiteX2526" fmla="*/ 219578 w 447236"/>
              <a:gd name="connsiteY2526" fmla="*/ 168635 h 448122"/>
              <a:gd name="connsiteX2527" fmla="*/ 213950 w 447236"/>
              <a:gd name="connsiteY2527" fmla="*/ 170412 h 448122"/>
              <a:gd name="connsiteX2528" fmla="*/ 211496 w 447236"/>
              <a:gd name="connsiteY2528" fmla="*/ 175911 h 448122"/>
              <a:gd name="connsiteX2529" fmla="*/ 213644 w 447236"/>
              <a:gd name="connsiteY2529" fmla="*/ 181715 h 448122"/>
              <a:gd name="connsiteX2530" fmla="*/ 228677 w 447236"/>
              <a:gd name="connsiteY2530" fmla="*/ 188131 h 448122"/>
              <a:gd name="connsiteX2531" fmla="*/ 241564 w 447236"/>
              <a:gd name="connsiteY2531" fmla="*/ 179271 h 448122"/>
              <a:gd name="connsiteX2532" fmla="*/ 241870 w 447236"/>
              <a:gd name="connsiteY2532" fmla="*/ 175605 h 448122"/>
              <a:gd name="connsiteX2533" fmla="*/ 240336 w 447236"/>
              <a:gd name="connsiteY2533" fmla="*/ 171328 h 448122"/>
              <a:gd name="connsiteX2534" fmla="*/ 236258 w 447236"/>
              <a:gd name="connsiteY2534" fmla="*/ 169706 h 448122"/>
              <a:gd name="connsiteX2535" fmla="*/ 242484 w 447236"/>
              <a:gd name="connsiteY2535" fmla="*/ 170106 h 448122"/>
              <a:gd name="connsiteX2536" fmla="*/ 247086 w 447236"/>
              <a:gd name="connsiteY2536" fmla="*/ 171328 h 448122"/>
              <a:gd name="connsiteX2537" fmla="*/ 247086 w 447236"/>
              <a:gd name="connsiteY2537" fmla="*/ 175605 h 448122"/>
              <a:gd name="connsiteX2538" fmla="*/ 243711 w 447236"/>
              <a:gd name="connsiteY2538" fmla="*/ 177744 h 448122"/>
              <a:gd name="connsiteX2539" fmla="*/ 242177 w 447236"/>
              <a:gd name="connsiteY2539" fmla="*/ 181104 h 448122"/>
              <a:gd name="connsiteX2540" fmla="*/ 236348 w 447236"/>
              <a:gd name="connsiteY2540" fmla="*/ 187520 h 448122"/>
              <a:gd name="connsiteX2541" fmla="*/ 226837 w 447236"/>
              <a:gd name="connsiteY2541" fmla="*/ 189658 h 448122"/>
              <a:gd name="connsiteX2542" fmla="*/ 214564 w 447236"/>
              <a:gd name="connsiteY2542" fmla="*/ 185381 h 448122"/>
              <a:gd name="connsiteX2543" fmla="*/ 209962 w 447236"/>
              <a:gd name="connsiteY2543" fmla="*/ 175911 h 448122"/>
              <a:gd name="connsiteX2544" fmla="*/ 207814 w 447236"/>
              <a:gd name="connsiteY2544" fmla="*/ 173161 h 448122"/>
              <a:gd name="connsiteX2545" fmla="*/ 205973 w 447236"/>
              <a:gd name="connsiteY2545" fmla="*/ 173161 h 448122"/>
              <a:gd name="connsiteX2546" fmla="*/ 204439 w 447236"/>
              <a:gd name="connsiteY2546" fmla="*/ 173161 h 448122"/>
              <a:gd name="connsiteX2547" fmla="*/ 202292 w 447236"/>
              <a:gd name="connsiteY2547" fmla="*/ 175911 h 448122"/>
              <a:gd name="connsiteX2548" fmla="*/ 197689 w 447236"/>
              <a:gd name="connsiteY2548" fmla="*/ 185381 h 448122"/>
              <a:gd name="connsiteX2549" fmla="*/ 185417 w 447236"/>
              <a:gd name="connsiteY2549" fmla="*/ 189658 h 448122"/>
              <a:gd name="connsiteX2550" fmla="*/ 175906 w 447236"/>
              <a:gd name="connsiteY2550" fmla="*/ 187520 h 448122"/>
              <a:gd name="connsiteX2551" fmla="*/ 170076 w 447236"/>
              <a:gd name="connsiteY2551" fmla="*/ 181104 h 448122"/>
              <a:gd name="connsiteX2552" fmla="*/ 168542 w 447236"/>
              <a:gd name="connsiteY2552" fmla="*/ 177744 h 448122"/>
              <a:gd name="connsiteX2553" fmla="*/ 165167 w 447236"/>
              <a:gd name="connsiteY2553" fmla="*/ 175605 h 448122"/>
              <a:gd name="connsiteX2554" fmla="*/ 165167 w 447236"/>
              <a:gd name="connsiteY2554" fmla="*/ 171328 h 448122"/>
              <a:gd name="connsiteX2555" fmla="*/ 169769 w 447236"/>
              <a:gd name="connsiteY2555" fmla="*/ 170106 h 448122"/>
              <a:gd name="connsiteX2556" fmla="*/ 175996 w 447236"/>
              <a:gd name="connsiteY2556" fmla="*/ 169706 h 448122"/>
              <a:gd name="connsiteX2557" fmla="*/ 171917 w 447236"/>
              <a:gd name="connsiteY2557" fmla="*/ 171328 h 448122"/>
              <a:gd name="connsiteX2558" fmla="*/ 170383 w 447236"/>
              <a:gd name="connsiteY2558" fmla="*/ 175605 h 448122"/>
              <a:gd name="connsiteX2559" fmla="*/ 170690 w 447236"/>
              <a:gd name="connsiteY2559" fmla="*/ 179271 h 448122"/>
              <a:gd name="connsiteX2560" fmla="*/ 183269 w 447236"/>
              <a:gd name="connsiteY2560" fmla="*/ 188131 h 448122"/>
              <a:gd name="connsiteX2561" fmla="*/ 198610 w 447236"/>
              <a:gd name="connsiteY2561" fmla="*/ 181715 h 448122"/>
              <a:gd name="connsiteX2562" fmla="*/ 200758 w 447236"/>
              <a:gd name="connsiteY2562" fmla="*/ 175911 h 448122"/>
              <a:gd name="connsiteX2563" fmla="*/ 198303 w 447236"/>
              <a:gd name="connsiteY2563" fmla="*/ 170412 h 448122"/>
              <a:gd name="connsiteX2564" fmla="*/ 192676 w 447236"/>
              <a:gd name="connsiteY2564" fmla="*/ 168635 h 448122"/>
              <a:gd name="connsiteX2565" fmla="*/ 270408 w 447236"/>
              <a:gd name="connsiteY2565" fmla="*/ 167935 h 448122"/>
              <a:gd name="connsiteX2566" fmla="*/ 269796 w 447236"/>
              <a:gd name="connsiteY2566" fmla="*/ 168242 h 448122"/>
              <a:gd name="connsiteX2567" fmla="*/ 269490 w 447236"/>
              <a:gd name="connsiteY2567" fmla="*/ 169161 h 448122"/>
              <a:gd name="connsiteX2568" fmla="*/ 269796 w 447236"/>
              <a:gd name="connsiteY2568" fmla="*/ 169773 h 448122"/>
              <a:gd name="connsiteX2569" fmla="*/ 270408 w 447236"/>
              <a:gd name="connsiteY2569" fmla="*/ 170080 h 448122"/>
              <a:gd name="connsiteX2570" fmla="*/ 271020 w 447236"/>
              <a:gd name="connsiteY2570" fmla="*/ 169773 h 448122"/>
              <a:gd name="connsiteX2571" fmla="*/ 271326 w 447236"/>
              <a:gd name="connsiteY2571" fmla="*/ 169161 h 448122"/>
              <a:gd name="connsiteX2572" fmla="*/ 271020 w 447236"/>
              <a:gd name="connsiteY2572" fmla="*/ 168242 h 448122"/>
              <a:gd name="connsiteX2573" fmla="*/ 270408 w 447236"/>
              <a:gd name="connsiteY2573" fmla="*/ 167935 h 448122"/>
              <a:gd name="connsiteX2574" fmla="*/ 415650 w 447236"/>
              <a:gd name="connsiteY2574" fmla="*/ 166201 h 448122"/>
              <a:gd name="connsiteX2575" fmla="*/ 434672 w 447236"/>
              <a:gd name="connsiteY2575" fmla="*/ 170486 h 448122"/>
              <a:gd name="connsiteX2576" fmla="*/ 442956 w 447236"/>
              <a:gd name="connsiteY2576" fmla="*/ 180893 h 448122"/>
              <a:gd name="connsiteX2577" fmla="*/ 434672 w 447236"/>
              <a:gd name="connsiteY2577" fmla="*/ 191300 h 448122"/>
              <a:gd name="connsiteX2578" fmla="*/ 415650 w 447236"/>
              <a:gd name="connsiteY2578" fmla="*/ 195279 h 448122"/>
              <a:gd name="connsiteX2579" fmla="*/ 396627 w 447236"/>
              <a:gd name="connsiteY2579" fmla="*/ 191300 h 448122"/>
              <a:gd name="connsiteX2580" fmla="*/ 388343 w 447236"/>
              <a:gd name="connsiteY2580" fmla="*/ 180893 h 448122"/>
              <a:gd name="connsiteX2581" fmla="*/ 396627 w 447236"/>
              <a:gd name="connsiteY2581" fmla="*/ 170486 h 448122"/>
              <a:gd name="connsiteX2582" fmla="*/ 415650 w 447236"/>
              <a:gd name="connsiteY2582" fmla="*/ 166201 h 448122"/>
              <a:gd name="connsiteX2583" fmla="*/ 227374 w 447236"/>
              <a:gd name="connsiteY2583" fmla="*/ 166173 h 448122"/>
              <a:gd name="connsiteX2584" fmla="*/ 236258 w 447236"/>
              <a:gd name="connsiteY2584" fmla="*/ 169706 h 448122"/>
              <a:gd name="connsiteX2585" fmla="*/ 219578 w 447236"/>
              <a:gd name="connsiteY2585" fmla="*/ 168635 h 448122"/>
              <a:gd name="connsiteX2586" fmla="*/ 184880 w 447236"/>
              <a:gd name="connsiteY2586" fmla="*/ 166173 h 448122"/>
              <a:gd name="connsiteX2587" fmla="*/ 192676 w 447236"/>
              <a:gd name="connsiteY2587" fmla="*/ 168635 h 448122"/>
              <a:gd name="connsiteX2588" fmla="*/ 175996 w 447236"/>
              <a:gd name="connsiteY2588" fmla="*/ 169706 h 448122"/>
              <a:gd name="connsiteX2589" fmla="*/ 270408 w 447236"/>
              <a:gd name="connsiteY2589" fmla="*/ 164872 h 448122"/>
              <a:gd name="connsiteX2590" fmla="*/ 273468 w 447236"/>
              <a:gd name="connsiteY2590" fmla="*/ 166097 h 448122"/>
              <a:gd name="connsiteX2591" fmla="*/ 274998 w 447236"/>
              <a:gd name="connsiteY2591" fmla="*/ 168242 h 448122"/>
              <a:gd name="connsiteX2592" fmla="*/ 275916 w 447236"/>
              <a:gd name="connsiteY2592" fmla="*/ 169467 h 448122"/>
              <a:gd name="connsiteX2593" fmla="*/ 277752 w 447236"/>
              <a:gd name="connsiteY2593" fmla="*/ 170080 h 448122"/>
              <a:gd name="connsiteX2594" fmla="*/ 279588 w 447236"/>
              <a:gd name="connsiteY2594" fmla="*/ 170999 h 448122"/>
              <a:gd name="connsiteX2595" fmla="*/ 280506 w 447236"/>
              <a:gd name="connsiteY2595" fmla="*/ 173450 h 448122"/>
              <a:gd name="connsiteX2596" fmla="*/ 282954 w 447236"/>
              <a:gd name="connsiteY2596" fmla="*/ 207454 h 448122"/>
              <a:gd name="connsiteX2597" fmla="*/ 282036 w 447236"/>
              <a:gd name="connsiteY2597" fmla="*/ 209598 h 448122"/>
              <a:gd name="connsiteX2598" fmla="*/ 279894 w 447236"/>
              <a:gd name="connsiteY2598" fmla="*/ 210517 h 448122"/>
              <a:gd name="connsiteX2599" fmla="*/ 279588 w 447236"/>
              <a:gd name="connsiteY2599" fmla="*/ 210517 h 448122"/>
              <a:gd name="connsiteX2600" fmla="*/ 277140 w 447236"/>
              <a:gd name="connsiteY2600" fmla="*/ 210517 h 448122"/>
              <a:gd name="connsiteX2601" fmla="*/ 274692 w 447236"/>
              <a:gd name="connsiteY2601" fmla="*/ 211743 h 448122"/>
              <a:gd name="connsiteX2602" fmla="*/ 273468 w 447236"/>
              <a:gd name="connsiteY2602" fmla="*/ 214193 h 448122"/>
              <a:gd name="connsiteX2603" fmla="*/ 273468 w 447236"/>
              <a:gd name="connsiteY2603" fmla="*/ 217563 h 448122"/>
              <a:gd name="connsiteX2604" fmla="*/ 274998 w 447236"/>
              <a:gd name="connsiteY2604" fmla="*/ 217563 h 448122"/>
              <a:gd name="connsiteX2605" fmla="*/ 275610 w 447236"/>
              <a:gd name="connsiteY2605" fmla="*/ 218788 h 448122"/>
              <a:gd name="connsiteX2606" fmla="*/ 274998 w 447236"/>
              <a:gd name="connsiteY2606" fmla="*/ 220014 h 448122"/>
              <a:gd name="connsiteX2607" fmla="*/ 271938 w 447236"/>
              <a:gd name="connsiteY2607" fmla="*/ 220014 h 448122"/>
              <a:gd name="connsiteX2608" fmla="*/ 271938 w 447236"/>
              <a:gd name="connsiteY2608" fmla="*/ 228285 h 448122"/>
              <a:gd name="connsiteX2609" fmla="*/ 271068 w 447236"/>
              <a:gd name="connsiteY2609" fmla="*/ 229156 h 448122"/>
              <a:gd name="connsiteX2610" fmla="*/ 272241 w 447236"/>
              <a:gd name="connsiteY2610" fmla="*/ 230793 h 448122"/>
              <a:gd name="connsiteX2611" fmla="*/ 276546 w 447236"/>
              <a:gd name="connsiteY2611" fmla="*/ 238148 h 448122"/>
              <a:gd name="connsiteX2612" fmla="*/ 270088 w 447236"/>
              <a:gd name="connsiteY2612" fmla="*/ 268180 h 448122"/>
              <a:gd name="connsiteX2613" fmla="*/ 267936 w 447236"/>
              <a:gd name="connsiteY2613" fmla="*/ 269713 h 448122"/>
              <a:gd name="connsiteX2614" fmla="*/ 267441 w 447236"/>
              <a:gd name="connsiteY2614" fmla="*/ 271193 h 448122"/>
              <a:gd name="connsiteX2615" fmla="*/ 270765 w 447236"/>
              <a:gd name="connsiteY2615" fmla="*/ 274350 h 448122"/>
              <a:gd name="connsiteX2616" fmla="*/ 275992 w 447236"/>
              <a:gd name="connsiteY2616" fmla="*/ 281095 h 448122"/>
              <a:gd name="connsiteX2617" fmla="*/ 280297 w 447236"/>
              <a:gd name="connsiteY2617" fmla="*/ 296119 h 448122"/>
              <a:gd name="connsiteX2618" fmla="*/ 274762 w 447236"/>
              <a:gd name="connsiteY2618" fmla="*/ 309916 h 448122"/>
              <a:gd name="connsiteX2619" fmla="*/ 267997 w 447236"/>
              <a:gd name="connsiteY2619" fmla="*/ 315128 h 448122"/>
              <a:gd name="connsiteX2620" fmla="*/ 259694 w 447236"/>
              <a:gd name="connsiteY2620" fmla="*/ 316661 h 448122"/>
              <a:gd name="connsiteX2621" fmla="*/ 251699 w 447236"/>
              <a:gd name="connsiteY2621" fmla="*/ 314208 h 448122"/>
              <a:gd name="connsiteX2622" fmla="*/ 250469 w 447236"/>
              <a:gd name="connsiteY2622" fmla="*/ 313288 h 448122"/>
              <a:gd name="connsiteX2623" fmla="*/ 250162 w 447236"/>
              <a:gd name="connsiteY2623" fmla="*/ 313288 h 448122"/>
              <a:gd name="connsiteX2624" fmla="*/ 250162 w 447236"/>
              <a:gd name="connsiteY2624" fmla="*/ 312982 h 448122"/>
              <a:gd name="connsiteX2625" fmla="*/ 245549 w 447236"/>
              <a:gd name="connsiteY2625" fmla="*/ 306236 h 448122"/>
              <a:gd name="connsiteX2626" fmla="*/ 245242 w 447236"/>
              <a:gd name="connsiteY2626" fmla="*/ 305623 h 448122"/>
              <a:gd name="connsiteX2627" fmla="*/ 245242 w 447236"/>
              <a:gd name="connsiteY2627" fmla="*/ 305317 h 448122"/>
              <a:gd name="connsiteX2628" fmla="*/ 244066 w 447236"/>
              <a:gd name="connsiteY2628" fmla="*/ 301212 h 448122"/>
              <a:gd name="connsiteX2629" fmla="*/ 232807 w 447236"/>
              <a:gd name="connsiteY2629" fmla="*/ 294959 h 448122"/>
              <a:gd name="connsiteX2630" fmla="*/ 231772 w 447236"/>
              <a:gd name="connsiteY2630" fmla="*/ 282866 h 448122"/>
              <a:gd name="connsiteX2631" fmla="*/ 232078 w 447236"/>
              <a:gd name="connsiteY2631" fmla="*/ 278581 h 448122"/>
              <a:gd name="connsiteX2632" fmla="*/ 233561 w 447236"/>
              <a:gd name="connsiteY2632" fmla="*/ 277101 h 448122"/>
              <a:gd name="connsiteX2633" fmla="*/ 235125 w 447236"/>
              <a:gd name="connsiteY2633" fmla="*/ 264825 h 448122"/>
              <a:gd name="connsiteX2634" fmla="*/ 227714 w 447236"/>
              <a:gd name="connsiteY2634" fmla="*/ 269751 h 448122"/>
              <a:gd name="connsiteX2635" fmla="*/ 223716 w 447236"/>
              <a:gd name="connsiteY2635" fmla="*/ 281095 h 448122"/>
              <a:gd name="connsiteX2636" fmla="*/ 224024 w 447236"/>
              <a:gd name="connsiteY2636" fmla="*/ 287227 h 448122"/>
              <a:gd name="connsiteX2637" fmla="*/ 225869 w 447236"/>
              <a:gd name="connsiteY2637" fmla="*/ 292746 h 448122"/>
              <a:gd name="connsiteX2638" fmla="*/ 235709 w 447236"/>
              <a:gd name="connsiteY2638" fmla="*/ 307156 h 448122"/>
              <a:gd name="connsiteX2639" fmla="*/ 248009 w 447236"/>
              <a:gd name="connsiteY2639" fmla="*/ 326166 h 448122"/>
              <a:gd name="connsiteX2640" fmla="*/ 248009 w 447236"/>
              <a:gd name="connsiteY2640" fmla="*/ 326472 h 448122"/>
              <a:gd name="connsiteX2641" fmla="*/ 249036 w 447236"/>
              <a:gd name="connsiteY2641" fmla="*/ 335944 h 448122"/>
              <a:gd name="connsiteX2642" fmla="*/ 249867 w 447236"/>
              <a:gd name="connsiteY2642" fmla="*/ 335944 h 448122"/>
              <a:gd name="connsiteX2643" fmla="*/ 250474 w 447236"/>
              <a:gd name="connsiteY2643" fmla="*/ 336247 h 448122"/>
              <a:gd name="connsiteX2644" fmla="*/ 250777 w 447236"/>
              <a:gd name="connsiteY2644" fmla="*/ 336854 h 448122"/>
              <a:gd name="connsiteX2645" fmla="*/ 250777 w 447236"/>
              <a:gd name="connsiteY2645" fmla="*/ 340798 h 448122"/>
              <a:gd name="connsiteX2646" fmla="*/ 250474 w 447236"/>
              <a:gd name="connsiteY2646" fmla="*/ 341405 h 448122"/>
              <a:gd name="connsiteX2647" fmla="*/ 249867 w 447236"/>
              <a:gd name="connsiteY2647" fmla="*/ 341405 h 448122"/>
              <a:gd name="connsiteX2648" fmla="*/ 249580 w 447236"/>
              <a:gd name="connsiteY2648" fmla="*/ 341405 h 448122"/>
              <a:gd name="connsiteX2649" fmla="*/ 255989 w 447236"/>
              <a:gd name="connsiteY2649" fmla="*/ 343871 h 448122"/>
              <a:gd name="connsiteX2650" fmla="*/ 259043 w 447236"/>
              <a:gd name="connsiteY2650" fmla="*/ 351817 h 448122"/>
              <a:gd name="connsiteX2651" fmla="*/ 255989 w 447236"/>
              <a:gd name="connsiteY2651" fmla="*/ 359457 h 448122"/>
              <a:gd name="connsiteX2652" fmla="*/ 248047 w 447236"/>
              <a:gd name="connsiteY2652" fmla="*/ 362513 h 448122"/>
              <a:gd name="connsiteX2653" fmla="*/ 240410 w 447236"/>
              <a:gd name="connsiteY2653" fmla="*/ 359457 h 448122"/>
              <a:gd name="connsiteX2654" fmla="*/ 237050 w 447236"/>
              <a:gd name="connsiteY2654" fmla="*/ 351817 h 448122"/>
              <a:gd name="connsiteX2655" fmla="*/ 240410 w 447236"/>
              <a:gd name="connsiteY2655" fmla="*/ 343871 h 448122"/>
              <a:gd name="connsiteX2656" fmla="*/ 246572 w 447236"/>
              <a:gd name="connsiteY2656" fmla="*/ 341405 h 448122"/>
              <a:gd name="connsiteX2657" fmla="*/ 246226 w 447236"/>
              <a:gd name="connsiteY2657" fmla="*/ 341405 h 448122"/>
              <a:gd name="connsiteX2658" fmla="*/ 245620 w 447236"/>
              <a:gd name="connsiteY2658" fmla="*/ 341405 h 448122"/>
              <a:gd name="connsiteX2659" fmla="*/ 245316 w 447236"/>
              <a:gd name="connsiteY2659" fmla="*/ 340798 h 448122"/>
              <a:gd name="connsiteX2660" fmla="*/ 245316 w 447236"/>
              <a:gd name="connsiteY2660" fmla="*/ 336854 h 448122"/>
              <a:gd name="connsiteX2661" fmla="*/ 245620 w 447236"/>
              <a:gd name="connsiteY2661" fmla="*/ 336247 h 448122"/>
              <a:gd name="connsiteX2662" fmla="*/ 246226 w 447236"/>
              <a:gd name="connsiteY2662" fmla="*/ 335944 h 448122"/>
              <a:gd name="connsiteX2663" fmla="*/ 246536 w 447236"/>
              <a:gd name="connsiteY2663" fmla="*/ 335944 h 448122"/>
              <a:gd name="connsiteX2664" fmla="*/ 245549 w 447236"/>
              <a:gd name="connsiteY2664" fmla="*/ 327085 h 448122"/>
              <a:gd name="connsiteX2665" fmla="*/ 233864 w 447236"/>
              <a:gd name="connsiteY2665" fmla="*/ 308689 h 448122"/>
              <a:gd name="connsiteX2666" fmla="*/ 223716 w 447236"/>
              <a:gd name="connsiteY2666" fmla="*/ 293972 h 448122"/>
              <a:gd name="connsiteX2667" fmla="*/ 223409 w 447236"/>
              <a:gd name="connsiteY2667" fmla="*/ 293972 h 448122"/>
              <a:gd name="connsiteX2668" fmla="*/ 221564 w 447236"/>
              <a:gd name="connsiteY2668" fmla="*/ 287840 h 448122"/>
              <a:gd name="connsiteX2669" fmla="*/ 221256 w 447236"/>
              <a:gd name="connsiteY2669" fmla="*/ 281095 h 448122"/>
              <a:gd name="connsiteX2670" fmla="*/ 225561 w 447236"/>
              <a:gd name="connsiteY2670" fmla="*/ 268218 h 448122"/>
              <a:gd name="connsiteX2671" fmla="*/ 235916 w 447236"/>
              <a:gd name="connsiteY2671" fmla="*/ 261426 h 448122"/>
              <a:gd name="connsiteX2672" fmla="*/ 240094 w 447236"/>
              <a:gd name="connsiteY2672" fmla="*/ 244943 h 448122"/>
              <a:gd name="connsiteX2673" fmla="*/ 244441 w 447236"/>
              <a:gd name="connsiteY2673" fmla="*/ 240121 h 448122"/>
              <a:gd name="connsiteX2674" fmla="*/ 241565 w 447236"/>
              <a:gd name="connsiteY2674" fmla="*/ 236664 h 448122"/>
              <a:gd name="connsiteX2675" fmla="*/ 241257 w 447236"/>
              <a:gd name="connsiteY2675" fmla="*/ 236664 h 448122"/>
              <a:gd name="connsiteX2676" fmla="*/ 239100 w 447236"/>
              <a:gd name="connsiteY2676" fmla="*/ 236971 h 448122"/>
              <a:gd name="connsiteX2677" fmla="*/ 236634 w 447236"/>
              <a:gd name="connsiteY2677" fmla="*/ 237891 h 448122"/>
              <a:gd name="connsiteX2678" fmla="*/ 236230 w 447236"/>
              <a:gd name="connsiteY2678" fmla="*/ 237088 h 448122"/>
              <a:gd name="connsiteX2679" fmla="*/ 236607 w 447236"/>
              <a:gd name="connsiteY2679" fmla="*/ 238758 h 448122"/>
              <a:gd name="connsiteX2680" fmla="*/ 233537 w 447236"/>
              <a:gd name="connsiteY2680" fmla="*/ 240873 h 448122"/>
              <a:gd name="connsiteX2681" fmla="*/ 229546 w 447236"/>
              <a:gd name="connsiteY2681" fmla="*/ 239060 h 448122"/>
              <a:gd name="connsiteX2682" fmla="*/ 232309 w 447236"/>
              <a:gd name="connsiteY2682" fmla="*/ 235433 h 448122"/>
              <a:gd name="connsiteX2683" fmla="*/ 235993 w 447236"/>
              <a:gd name="connsiteY2683" fmla="*/ 236038 h 448122"/>
              <a:gd name="connsiteX2684" fmla="*/ 236126 w 447236"/>
              <a:gd name="connsiteY2684" fmla="*/ 236628 h 448122"/>
              <a:gd name="connsiteX2685" fmla="*/ 238791 w 447236"/>
              <a:gd name="connsiteY2685" fmla="*/ 235744 h 448122"/>
              <a:gd name="connsiteX2686" fmla="*/ 240949 w 447236"/>
              <a:gd name="connsiteY2686" fmla="*/ 235438 h 448122"/>
              <a:gd name="connsiteX2687" fmla="*/ 241565 w 447236"/>
              <a:gd name="connsiteY2687" fmla="*/ 235438 h 448122"/>
              <a:gd name="connsiteX2688" fmla="*/ 245127 w 447236"/>
              <a:gd name="connsiteY2688" fmla="*/ 239360 h 448122"/>
              <a:gd name="connsiteX2689" fmla="*/ 248663 w 447236"/>
              <a:gd name="connsiteY2689" fmla="*/ 235438 h 448122"/>
              <a:gd name="connsiteX2690" fmla="*/ 248969 w 447236"/>
              <a:gd name="connsiteY2690" fmla="*/ 235438 h 448122"/>
              <a:gd name="connsiteX2691" fmla="*/ 251418 w 447236"/>
              <a:gd name="connsiteY2691" fmla="*/ 235744 h 448122"/>
              <a:gd name="connsiteX2692" fmla="*/ 253787 w 447236"/>
              <a:gd name="connsiteY2692" fmla="*/ 236535 h 448122"/>
              <a:gd name="connsiteX2693" fmla="*/ 253899 w 447236"/>
              <a:gd name="connsiteY2693" fmla="*/ 236038 h 448122"/>
              <a:gd name="connsiteX2694" fmla="*/ 257885 w 447236"/>
              <a:gd name="connsiteY2694" fmla="*/ 235433 h 448122"/>
              <a:gd name="connsiteX2695" fmla="*/ 260644 w 447236"/>
              <a:gd name="connsiteY2695" fmla="*/ 239060 h 448122"/>
              <a:gd name="connsiteX2696" fmla="*/ 256659 w 447236"/>
              <a:gd name="connsiteY2696" fmla="*/ 240873 h 448122"/>
              <a:gd name="connsiteX2697" fmla="*/ 253286 w 447236"/>
              <a:gd name="connsiteY2697" fmla="*/ 238758 h 448122"/>
              <a:gd name="connsiteX2698" fmla="*/ 253488 w 447236"/>
              <a:gd name="connsiteY2698" fmla="*/ 237863 h 448122"/>
              <a:gd name="connsiteX2699" fmla="*/ 251112 w 447236"/>
              <a:gd name="connsiteY2699" fmla="*/ 236971 h 448122"/>
              <a:gd name="connsiteX2700" fmla="*/ 248969 w 447236"/>
              <a:gd name="connsiteY2700" fmla="*/ 236664 h 448122"/>
              <a:gd name="connsiteX2701" fmla="*/ 248663 w 447236"/>
              <a:gd name="connsiteY2701" fmla="*/ 236664 h 448122"/>
              <a:gd name="connsiteX2702" fmla="*/ 245751 w 447236"/>
              <a:gd name="connsiteY2702" fmla="*/ 240048 h 448122"/>
              <a:gd name="connsiteX2703" fmla="*/ 250196 w 447236"/>
              <a:gd name="connsiteY2703" fmla="*/ 244943 h 448122"/>
              <a:gd name="connsiteX2704" fmla="*/ 254619 w 447236"/>
              <a:gd name="connsiteY2704" fmla="*/ 262269 h 448122"/>
              <a:gd name="connsiteX2705" fmla="*/ 255082 w 447236"/>
              <a:gd name="connsiteY2705" fmla="*/ 262392 h 448122"/>
              <a:gd name="connsiteX2706" fmla="*/ 259694 w 447236"/>
              <a:gd name="connsiteY2706" fmla="*/ 264845 h 448122"/>
              <a:gd name="connsiteX2707" fmla="*/ 264307 w 447236"/>
              <a:gd name="connsiteY2707" fmla="*/ 268218 h 448122"/>
              <a:gd name="connsiteX2708" fmla="*/ 266704 w 447236"/>
              <a:gd name="connsiteY2708" fmla="*/ 270494 h 448122"/>
              <a:gd name="connsiteX2709" fmla="*/ 267321 w 447236"/>
              <a:gd name="connsiteY2709" fmla="*/ 268793 h 448122"/>
              <a:gd name="connsiteX2710" fmla="*/ 269473 w 447236"/>
              <a:gd name="connsiteY2710" fmla="*/ 267261 h 448122"/>
              <a:gd name="connsiteX2711" fmla="*/ 275623 w 447236"/>
              <a:gd name="connsiteY2711" fmla="*/ 238454 h 448122"/>
              <a:gd name="connsiteX2712" fmla="*/ 271318 w 447236"/>
              <a:gd name="connsiteY2712" fmla="*/ 231405 h 448122"/>
              <a:gd name="connsiteX2713" fmla="*/ 269781 w 447236"/>
              <a:gd name="connsiteY2713" fmla="*/ 229260 h 448122"/>
              <a:gd name="connsiteX2714" fmla="*/ 269805 w 447236"/>
              <a:gd name="connsiteY2714" fmla="*/ 229213 h 448122"/>
              <a:gd name="connsiteX2715" fmla="*/ 268878 w 447236"/>
              <a:gd name="connsiteY2715" fmla="*/ 228285 h 448122"/>
              <a:gd name="connsiteX2716" fmla="*/ 268878 w 447236"/>
              <a:gd name="connsiteY2716" fmla="*/ 220014 h 448122"/>
              <a:gd name="connsiteX2717" fmla="*/ 265818 w 447236"/>
              <a:gd name="connsiteY2717" fmla="*/ 220014 h 448122"/>
              <a:gd name="connsiteX2718" fmla="*/ 265206 w 447236"/>
              <a:gd name="connsiteY2718" fmla="*/ 218788 h 448122"/>
              <a:gd name="connsiteX2719" fmla="*/ 265818 w 447236"/>
              <a:gd name="connsiteY2719" fmla="*/ 217563 h 448122"/>
              <a:gd name="connsiteX2720" fmla="*/ 267348 w 447236"/>
              <a:gd name="connsiteY2720" fmla="*/ 217563 h 448122"/>
              <a:gd name="connsiteX2721" fmla="*/ 267348 w 447236"/>
              <a:gd name="connsiteY2721" fmla="*/ 214193 h 448122"/>
              <a:gd name="connsiteX2722" fmla="*/ 266124 w 447236"/>
              <a:gd name="connsiteY2722" fmla="*/ 211743 h 448122"/>
              <a:gd name="connsiteX2723" fmla="*/ 263676 w 447236"/>
              <a:gd name="connsiteY2723" fmla="*/ 210517 h 448122"/>
              <a:gd name="connsiteX2724" fmla="*/ 261228 w 447236"/>
              <a:gd name="connsiteY2724" fmla="*/ 210517 h 448122"/>
              <a:gd name="connsiteX2725" fmla="*/ 260922 w 447236"/>
              <a:gd name="connsiteY2725" fmla="*/ 210517 h 448122"/>
              <a:gd name="connsiteX2726" fmla="*/ 258780 w 447236"/>
              <a:gd name="connsiteY2726" fmla="*/ 209598 h 448122"/>
              <a:gd name="connsiteX2727" fmla="*/ 257862 w 447236"/>
              <a:gd name="connsiteY2727" fmla="*/ 207454 h 448122"/>
              <a:gd name="connsiteX2728" fmla="*/ 260310 w 447236"/>
              <a:gd name="connsiteY2728" fmla="*/ 173450 h 448122"/>
              <a:gd name="connsiteX2729" fmla="*/ 261228 w 447236"/>
              <a:gd name="connsiteY2729" fmla="*/ 171305 h 448122"/>
              <a:gd name="connsiteX2730" fmla="*/ 263064 w 447236"/>
              <a:gd name="connsiteY2730" fmla="*/ 170080 h 448122"/>
              <a:gd name="connsiteX2731" fmla="*/ 264900 w 447236"/>
              <a:gd name="connsiteY2731" fmla="*/ 169467 h 448122"/>
              <a:gd name="connsiteX2732" fmla="*/ 265818 w 447236"/>
              <a:gd name="connsiteY2732" fmla="*/ 168242 h 448122"/>
              <a:gd name="connsiteX2733" fmla="*/ 267348 w 447236"/>
              <a:gd name="connsiteY2733" fmla="*/ 165791 h 448122"/>
              <a:gd name="connsiteX2734" fmla="*/ 270408 w 447236"/>
              <a:gd name="connsiteY2734" fmla="*/ 164872 h 448122"/>
              <a:gd name="connsiteX2735" fmla="*/ 11995 w 447236"/>
              <a:gd name="connsiteY2735" fmla="*/ 163396 h 448122"/>
              <a:gd name="connsiteX2736" fmla="*/ 14130 w 447236"/>
              <a:gd name="connsiteY2736" fmla="*/ 163396 h 448122"/>
              <a:gd name="connsiteX2737" fmla="*/ 15351 w 447236"/>
              <a:gd name="connsiteY2737" fmla="*/ 164619 h 448122"/>
              <a:gd name="connsiteX2738" fmla="*/ 15351 w 447236"/>
              <a:gd name="connsiteY2738" fmla="*/ 177123 h 448122"/>
              <a:gd name="connsiteX2739" fmla="*/ 35270 w 447236"/>
              <a:gd name="connsiteY2739" fmla="*/ 177123 h 448122"/>
              <a:gd name="connsiteX2740" fmla="*/ 48144 w 447236"/>
              <a:gd name="connsiteY2740" fmla="*/ 177123 h 448122"/>
              <a:gd name="connsiteX2741" fmla="*/ 48857 w 447236"/>
              <a:gd name="connsiteY2741" fmla="*/ 177123 h 448122"/>
              <a:gd name="connsiteX2742" fmla="*/ 48857 w 447236"/>
              <a:gd name="connsiteY2742" fmla="*/ 172554 h 448122"/>
              <a:gd name="connsiteX2743" fmla="*/ 48857 w 447236"/>
              <a:gd name="connsiteY2743" fmla="*/ 170368 h 448122"/>
              <a:gd name="connsiteX2744" fmla="*/ 49776 w 447236"/>
              <a:gd name="connsiteY2744" fmla="*/ 169448 h 448122"/>
              <a:gd name="connsiteX2745" fmla="*/ 51616 w 447236"/>
              <a:gd name="connsiteY2745" fmla="*/ 169448 h 448122"/>
              <a:gd name="connsiteX2746" fmla="*/ 52842 w 447236"/>
              <a:gd name="connsiteY2746" fmla="*/ 170368 h 448122"/>
              <a:gd name="connsiteX2747" fmla="*/ 52842 w 447236"/>
              <a:gd name="connsiteY2747" fmla="*/ 187852 h 448122"/>
              <a:gd name="connsiteX2748" fmla="*/ 51616 w 447236"/>
              <a:gd name="connsiteY2748" fmla="*/ 189079 h 448122"/>
              <a:gd name="connsiteX2749" fmla="*/ 49776 w 447236"/>
              <a:gd name="connsiteY2749" fmla="*/ 189079 h 448122"/>
              <a:gd name="connsiteX2750" fmla="*/ 48857 w 447236"/>
              <a:gd name="connsiteY2750" fmla="*/ 187852 h 448122"/>
              <a:gd name="connsiteX2751" fmla="*/ 48857 w 447236"/>
              <a:gd name="connsiteY2751" fmla="*/ 182732 h 448122"/>
              <a:gd name="connsiteX2752" fmla="*/ 29821 w 447236"/>
              <a:gd name="connsiteY2752" fmla="*/ 182732 h 448122"/>
              <a:gd name="connsiteX2753" fmla="*/ 19468 w 447236"/>
              <a:gd name="connsiteY2753" fmla="*/ 182732 h 448122"/>
              <a:gd name="connsiteX2754" fmla="*/ 15351 w 447236"/>
              <a:gd name="connsiteY2754" fmla="*/ 182732 h 448122"/>
              <a:gd name="connsiteX2755" fmla="*/ 15351 w 447236"/>
              <a:gd name="connsiteY2755" fmla="*/ 184951 h 448122"/>
              <a:gd name="connsiteX2756" fmla="*/ 15351 w 447236"/>
              <a:gd name="connsiteY2756" fmla="*/ 187856 h 448122"/>
              <a:gd name="connsiteX2757" fmla="*/ 14130 w 447236"/>
              <a:gd name="connsiteY2757" fmla="*/ 189079 h 448122"/>
              <a:gd name="connsiteX2758" fmla="*/ 11995 w 447236"/>
              <a:gd name="connsiteY2758" fmla="*/ 189079 h 448122"/>
              <a:gd name="connsiteX2759" fmla="*/ 10775 w 447236"/>
              <a:gd name="connsiteY2759" fmla="*/ 187856 h 448122"/>
              <a:gd name="connsiteX2760" fmla="*/ 10775 w 447236"/>
              <a:gd name="connsiteY2760" fmla="*/ 164619 h 448122"/>
              <a:gd name="connsiteX2761" fmla="*/ 11995 w 447236"/>
              <a:gd name="connsiteY2761" fmla="*/ 163396 h 448122"/>
              <a:gd name="connsiteX2762" fmla="*/ 432845 w 447236"/>
              <a:gd name="connsiteY2762" fmla="*/ 157493 h 448122"/>
              <a:gd name="connsiteX2763" fmla="*/ 432855 w 447236"/>
              <a:gd name="connsiteY2763" fmla="*/ 157502 h 448122"/>
              <a:gd name="connsiteX2764" fmla="*/ 432864 w 447236"/>
              <a:gd name="connsiteY2764" fmla="*/ 157493 h 448122"/>
              <a:gd name="connsiteX2765" fmla="*/ 414424 w 447236"/>
              <a:gd name="connsiteY2765" fmla="*/ 157493 h 448122"/>
              <a:gd name="connsiteX2766" fmla="*/ 414434 w 447236"/>
              <a:gd name="connsiteY2766" fmla="*/ 157502 h 448122"/>
              <a:gd name="connsiteX2767" fmla="*/ 414444 w 447236"/>
              <a:gd name="connsiteY2767" fmla="*/ 157493 h 448122"/>
              <a:gd name="connsiteX2768" fmla="*/ 396617 w 447236"/>
              <a:gd name="connsiteY2768" fmla="*/ 157493 h 448122"/>
              <a:gd name="connsiteX2769" fmla="*/ 396627 w 447236"/>
              <a:gd name="connsiteY2769" fmla="*/ 157502 h 448122"/>
              <a:gd name="connsiteX2770" fmla="*/ 396636 w 447236"/>
              <a:gd name="connsiteY2770" fmla="*/ 157493 h 448122"/>
              <a:gd name="connsiteX2771" fmla="*/ 136580 w 447236"/>
              <a:gd name="connsiteY2771" fmla="*/ 153248 h 448122"/>
              <a:gd name="connsiteX2772" fmla="*/ 145780 w 447236"/>
              <a:gd name="connsiteY2772" fmla="*/ 161514 h 448122"/>
              <a:gd name="connsiteX2773" fmla="*/ 147006 w 447236"/>
              <a:gd name="connsiteY2773" fmla="*/ 162738 h 448122"/>
              <a:gd name="connsiteX2774" fmla="*/ 148540 w 447236"/>
              <a:gd name="connsiteY2774" fmla="*/ 161514 h 448122"/>
              <a:gd name="connsiteX2775" fmla="*/ 157739 w 447236"/>
              <a:gd name="connsiteY2775" fmla="*/ 153248 h 448122"/>
              <a:gd name="connsiteX2776" fmla="*/ 136580 w 447236"/>
              <a:gd name="connsiteY2776" fmla="*/ 153248 h 448122"/>
              <a:gd name="connsiteX2777" fmla="*/ 290072 w 447236"/>
              <a:gd name="connsiteY2777" fmla="*/ 152896 h 448122"/>
              <a:gd name="connsiteX2778" fmla="*/ 366482 w 447236"/>
              <a:gd name="connsiteY2778" fmla="*/ 152896 h 448122"/>
              <a:gd name="connsiteX2779" fmla="*/ 366482 w 447236"/>
              <a:gd name="connsiteY2779" fmla="*/ 156572 h 448122"/>
              <a:gd name="connsiteX2780" fmla="*/ 290072 w 447236"/>
              <a:gd name="connsiteY2780" fmla="*/ 156572 h 448122"/>
              <a:gd name="connsiteX2781" fmla="*/ 290072 w 447236"/>
              <a:gd name="connsiteY2781" fmla="*/ 152896 h 448122"/>
              <a:gd name="connsiteX2782" fmla="*/ 415058 w 447236"/>
              <a:gd name="connsiteY2782" fmla="*/ 150738 h 448122"/>
              <a:gd name="connsiteX2783" fmla="*/ 415058 w 447236"/>
              <a:gd name="connsiteY2783" fmla="*/ 156928 h 448122"/>
              <a:gd name="connsiteX2784" fmla="*/ 418425 w 447236"/>
              <a:gd name="connsiteY2784" fmla="*/ 153833 h 448122"/>
              <a:gd name="connsiteX2785" fmla="*/ 414025 w 447236"/>
              <a:gd name="connsiteY2785" fmla="*/ 150571 h 448122"/>
              <a:gd name="connsiteX2786" fmla="*/ 410750 w 447236"/>
              <a:gd name="connsiteY2786" fmla="*/ 153833 h 448122"/>
              <a:gd name="connsiteX2787" fmla="*/ 414025 w 447236"/>
              <a:gd name="connsiteY2787" fmla="*/ 157095 h 448122"/>
              <a:gd name="connsiteX2788" fmla="*/ 432476 w 447236"/>
              <a:gd name="connsiteY2788" fmla="*/ 150541 h 448122"/>
              <a:gd name="connsiteX2789" fmla="*/ 429170 w 447236"/>
              <a:gd name="connsiteY2789" fmla="*/ 153833 h 448122"/>
              <a:gd name="connsiteX2790" fmla="*/ 432476 w 447236"/>
              <a:gd name="connsiteY2790" fmla="*/ 157125 h 448122"/>
              <a:gd name="connsiteX2791" fmla="*/ 396313 w 447236"/>
              <a:gd name="connsiteY2791" fmla="*/ 150477 h 448122"/>
              <a:gd name="connsiteX2792" fmla="*/ 392943 w 447236"/>
              <a:gd name="connsiteY2792" fmla="*/ 153833 h 448122"/>
              <a:gd name="connsiteX2793" fmla="*/ 396313 w 447236"/>
              <a:gd name="connsiteY2793" fmla="*/ 157190 h 448122"/>
              <a:gd name="connsiteX2794" fmla="*/ 396903 w 447236"/>
              <a:gd name="connsiteY2794" fmla="*/ 150440 h 448122"/>
              <a:gd name="connsiteX2795" fmla="*/ 396903 w 447236"/>
              <a:gd name="connsiteY2795" fmla="*/ 157227 h 448122"/>
              <a:gd name="connsiteX2796" fmla="*/ 400311 w 447236"/>
              <a:gd name="connsiteY2796" fmla="*/ 153833 h 448122"/>
              <a:gd name="connsiteX2797" fmla="*/ 433066 w 447236"/>
              <a:gd name="connsiteY2797" fmla="*/ 150375 h 448122"/>
              <a:gd name="connsiteX2798" fmla="*/ 433066 w 447236"/>
              <a:gd name="connsiteY2798" fmla="*/ 157292 h 448122"/>
              <a:gd name="connsiteX2799" fmla="*/ 436539 w 447236"/>
              <a:gd name="connsiteY2799" fmla="*/ 153833 h 448122"/>
              <a:gd name="connsiteX2800" fmla="*/ 432855 w 447236"/>
              <a:gd name="connsiteY2800" fmla="*/ 150164 h 448122"/>
              <a:gd name="connsiteX2801" fmla="*/ 432759 w 447236"/>
              <a:gd name="connsiteY2801" fmla="*/ 150260 h 448122"/>
              <a:gd name="connsiteX2802" fmla="*/ 432951 w 447236"/>
              <a:gd name="connsiteY2802" fmla="*/ 150260 h 448122"/>
              <a:gd name="connsiteX2803" fmla="*/ 414434 w 447236"/>
              <a:gd name="connsiteY2803" fmla="*/ 150164 h 448122"/>
              <a:gd name="connsiteX2804" fmla="*/ 414338 w 447236"/>
              <a:gd name="connsiteY2804" fmla="*/ 150260 h 448122"/>
              <a:gd name="connsiteX2805" fmla="*/ 414538 w 447236"/>
              <a:gd name="connsiteY2805" fmla="*/ 150260 h 448122"/>
              <a:gd name="connsiteX2806" fmla="*/ 396627 w 447236"/>
              <a:gd name="connsiteY2806" fmla="*/ 150164 h 448122"/>
              <a:gd name="connsiteX2807" fmla="*/ 396531 w 447236"/>
              <a:gd name="connsiteY2807" fmla="*/ 150260 h 448122"/>
              <a:gd name="connsiteX2808" fmla="*/ 396723 w 447236"/>
              <a:gd name="connsiteY2808" fmla="*/ 150260 h 448122"/>
              <a:gd name="connsiteX2809" fmla="*/ 290072 w 447236"/>
              <a:gd name="connsiteY2809" fmla="*/ 148608 h 448122"/>
              <a:gd name="connsiteX2810" fmla="*/ 366482 w 447236"/>
              <a:gd name="connsiteY2810" fmla="*/ 148608 h 448122"/>
              <a:gd name="connsiteX2811" fmla="*/ 366482 w 447236"/>
              <a:gd name="connsiteY2811" fmla="*/ 151977 h 448122"/>
              <a:gd name="connsiteX2812" fmla="*/ 290072 w 447236"/>
              <a:gd name="connsiteY2812" fmla="*/ 151977 h 448122"/>
              <a:gd name="connsiteX2813" fmla="*/ 290072 w 447236"/>
              <a:gd name="connsiteY2813" fmla="*/ 148608 h 448122"/>
              <a:gd name="connsiteX2814" fmla="*/ 133207 w 447236"/>
              <a:gd name="connsiteY2814" fmla="*/ 145594 h 448122"/>
              <a:gd name="connsiteX2815" fmla="*/ 133514 w 447236"/>
              <a:gd name="connsiteY2815" fmla="*/ 147737 h 448122"/>
              <a:gd name="connsiteX2816" fmla="*/ 160499 w 447236"/>
              <a:gd name="connsiteY2816" fmla="*/ 147737 h 448122"/>
              <a:gd name="connsiteX2817" fmla="*/ 160806 w 447236"/>
              <a:gd name="connsiteY2817" fmla="*/ 145594 h 448122"/>
              <a:gd name="connsiteX2818" fmla="*/ 133207 w 447236"/>
              <a:gd name="connsiteY2818" fmla="*/ 145594 h 448122"/>
              <a:gd name="connsiteX2819" fmla="*/ 389565 w 447236"/>
              <a:gd name="connsiteY2819" fmla="*/ 145578 h 448122"/>
              <a:gd name="connsiteX2820" fmla="*/ 388644 w 447236"/>
              <a:gd name="connsiteY2820" fmla="*/ 146495 h 448122"/>
              <a:gd name="connsiteX2821" fmla="*/ 389565 w 447236"/>
              <a:gd name="connsiteY2821" fmla="*/ 147413 h 448122"/>
              <a:gd name="connsiteX2822" fmla="*/ 441758 w 447236"/>
              <a:gd name="connsiteY2822" fmla="*/ 147413 h 448122"/>
              <a:gd name="connsiteX2823" fmla="*/ 442372 w 447236"/>
              <a:gd name="connsiteY2823" fmla="*/ 146495 h 448122"/>
              <a:gd name="connsiteX2824" fmla="*/ 441758 w 447236"/>
              <a:gd name="connsiteY2824" fmla="*/ 145578 h 448122"/>
              <a:gd name="connsiteX2825" fmla="*/ 389565 w 447236"/>
              <a:gd name="connsiteY2825" fmla="*/ 145578 h 448122"/>
              <a:gd name="connsiteX2826" fmla="*/ 30427 w 447236"/>
              <a:gd name="connsiteY2826" fmla="*/ 144060 h 448122"/>
              <a:gd name="connsiteX2827" fmla="*/ 33189 w 447236"/>
              <a:gd name="connsiteY2827" fmla="*/ 144060 h 448122"/>
              <a:gd name="connsiteX2828" fmla="*/ 34110 w 447236"/>
              <a:gd name="connsiteY2828" fmla="*/ 145287 h 448122"/>
              <a:gd name="connsiteX2829" fmla="*/ 34110 w 447236"/>
              <a:gd name="connsiteY2829" fmla="*/ 151421 h 448122"/>
              <a:gd name="connsiteX2830" fmla="*/ 40555 w 447236"/>
              <a:gd name="connsiteY2830" fmla="*/ 151421 h 448122"/>
              <a:gd name="connsiteX2831" fmla="*/ 41476 w 447236"/>
              <a:gd name="connsiteY2831" fmla="*/ 152342 h 448122"/>
              <a:gd name="connsiteX2832" fmla="*/ 41476 w 447236"/>
              <a:gd name="connsiteY2832" fmla="*/ 155409 h 448122"/>
              <a:gd name="connsiteX2833" fmla="*/ 40555 w 447236"/>
              <a:gd name="connsiteY2833" fmla="*/ 156329 h 448122"/>
              <a:gd name="connsiteX2834" fmla="*/ 34110 w 447236"/>
              <a:gd name="connsiteY2834" fmla="*/ 156329 h 448122"/>
              <a:gd name="connsiteX2835" fmla="*/ 34110 w 447236"/>
              <a:gd name="connsiteY2835" fmla="*/ 162464 h 448122"/>
              <a:gd name="connsiteX2836" fmla="*/ 33189 w 447236"/>
              <a:gd name="connsiteY2836" fmla="*/ 163691 h 448122"/>
              <a:gd name="connsiteX2837" fmla="*/ 30427 w 447236"/>
              <a:gd name="connsiteY2837" fmla="*/ 163691 h 448122"/>
              <a:gd name="connsiteX2838" fmla="*/ 29199 w 447236"/>
              <a:gd name="connsiteY2838" fmla="*/ 162464 h 448122"/>
              <a:gd name="connsiteX2839" fmla="*/ 29199 w 447236"/>
              <a:gd name="connsiteY2839" fmla="*/ 156329 h 448122"/>
              <a:gd name="connsiteX2840" fmla="*/ 23061 w 447236"/>
              <a:gd name="connsiteY2840" fmla="*/ 156329 h 448122"/>
              <a:gd name="connsiteX2841" fmla="*/ 22140 w 447236"/>
              <a:gd name="connsiteY2841" fmla="*/ 155409 h 448122"/>
              <a:gd name="connsiteX2842" fmla="*/ 22140 w 447236"/>
              <a:gd name="connsiteY2842" fmla="*/ 152342 h 448122"/>
              <a:gd name="connsiteX2843" fmla="*/ 23061 w 447236"/>
              <a:gd name="connsiteY2843" fmla="*/ 151421 h 448122"/>
              <a:gd name="connsiteX2844" fmla="*/ 29199 w 447236"/>
              <a:gd name="connsiteY2844" fmla="*/ 151421 h 448122"/>
              <a:gd name="connsiteX2845" fmla="*/ 29199 w 447236"/>
              <a:gd name="connsiteY2845" fmla="*/ 145287 h 448122"/>
              <a:gd name="connsiteX2846" fmla="*/ 30427 w 447236"/>
              <a:gd name="connsiteY2846" fmla="*/ 144060 h 448122"/>
              <a:gd name="connsiteX2847" fmla="*/ 115711 w 447236"/>
              <a:gd name="connsiteY2847" fmla="*/ 141994 h 448122"/>
              <a:gd name="connsiteX2848" fmla="*/ 115711 w 447236"/>
              <a:gd name="connsiteY2848" fmla="*/ 164445 h 448122"/>
              <a:gd name="connsiteX2849" fmla="*/ 115711 w 447236"/>
              <a:gd name="connsiteY2849" fmla="*/ 180924 h 448122"/>
              <a:gd name="connsiteX2850" fmla="*/ 115711 w 447236"/>
              <a:gd name="connsiteY2850" fmla="*/ 183913 h 448122"/>
              <a:gd name="connsiteX2851" fmla="*/ 115893 w 447236"/>
              <a:gd name="connsiteY2851" fmla="*/ 183913 h 448122"/>
              <a:gd name="connsiteX2852" fmla="*/ 121237 w 447236"/>
              <a:gd name="connsiteY2852" fmla="*/ 183913 h 448122"/>
              <a:gd name="connsiteX2853" fmla="*/ 123713 w 447236"/>
              <a:gd name="connsiteY2853" fmla="*/ 183913 h 448122"/>
              <a:gd name="connsiteX2854" fmla="*/ 123713 w 447236"/>
              <a:gd name="connsiteY2854" fmla="*/ 155772 h 448122"/>
              <a:gd name="connsiteX2855" fmla="*/ 123713 w 447236"/>
              <a:gd name="connsiteY2855" fmla="*/ 142234 h 448122"/>
              <a:gd name="connsiteX2856" fmla="*/ 123713 w 447236"/>
              <a:gd name="connsiteY2856" fmla="*/ 141994 h 448122"/>
              <a:gd name="connsiteX2857" fmla="*/ 117934 w 447236"/>
              <a:gd name="connsiteY2857" fmla="*/ 141994 h 448122"/>
              <a:gd name="connsiteX2858" fmla="*/ 117934 w 447236"/>
              <a:gd name="connsiteY2858" fmla="*/ 161309 h 448122"/>
              <a:gd name="connsiteX2859" fmla="*/ 117934 w 447236"/>
              <a:gd name="connsiteY2859" fmla="*/ 181096 h 448122"/>
              <a:gd name="connsiteX2860" fmla="*/ 117589 w 447236"/>
              <a:gd name="connsiteY2860" fmla="*/ 181403 h 448122"/>
              <a:gd name="connsiteX2861" fmla="*/ 116901 w 447236"/>
              <a:gd name="connsiteY2861" fmla="*/ 181096 h 448122"/>
              <a:gd name="connsiteX2862" fmla="*/ 116901 w 447236"/>
              <a:gd name="connsiteY2862" fmla="*/ 141994 h 448122"/>
              <a:gd name="connsiteX2863" fmla="*/ 100347 w 447236"/>
              <a:gd name="connsiteY2863" fmla="*/ 141994 h 448122"/>
              <a:gd name="connsiteX2864" fmla="*/ 100347 w 447236"/>
              <a:gd name="connsiteY2864" fmla="*/ 164445 h 448122"/>
              <a:gd name="connsiteX2865" fmla="*/ 100347 w 447236"/>
              <a:gd name="connsiteY2865" fmla="*/ 180924 h 448122"/>
              <a:gd name="connsiteX2866" fmla="*/ 100347 w 447236"/>
              <a:gd name="connsiteY2866" fmla="*/ 183913 h 448122"/>
              <a:gd name="connsiteX2867" fmla="*/ 100800 w 447236"/>
              <a:gd name="connsiteY2867" fmla="*/ 183913 h 448122"/>
              <a:gd name="connsiteX2868" fmla="*/ 105877 w 447236"/>
              <a:gd name="connsiteY2868" fmla="*/ 183913 h 448122"/>
              <a:gd name="connsiteX2869" fmla="*/ 108349 w 447236"/>
              <a:gd name="connsiteY2869" fmla="*/ 183913 h 448122"/>
              <a:gd name="connsiteX2870" fmla="*/ 108349 w 447236"/>
              <a:gd name="connsiteY2870" fmla="*/ 155772 h 448122"/>
              <a:gd name="connsiteX2871" fmla="*/ 108349 w 447236"/>
              <a:gd name="connsiteY2871" fmla="*/ 142234 h 448122"/>
              <a:gd name="connsiteX2872" fmla="*/ 108349 w 447236"/>
              <a:gd name="connsiteY2872" fmla="*/ 141994 h 448122"/>
              <a:gd name="connsiteX2873" fmla="*/ 102879 w 447236"/>
              <a:gd name="connsiteY2873" fmla="*/ 141994 h 448122"/>
              <a:gd name="connsiteX2874" fmla="*/ 102879 w 447236"/>
              <a:gd name="connsiteY2874" fmla="*/ 161309 h 448122"/>
              <a:gd name="connsiteX2875" fmla="*/ 102879 w 447236"/>
              <a:gd name="connsiteY2875" fmla="*/ 181096 h 448122"/>
              <a:gd name="connsiteX2876" fmla="*/ 102190 w 447236"/>
              <a:gd name="connsiteY2876" fmla="*/ 181403 h 448122"/>
              <a:gd name="connsiteX2877" fmla="*/ 101846 w 447236"/>
              <a:gd name="connsiteY2877" fmla="*/ 181096 h 448122"/>
              <a:gd name="connsiteX2878" fmla="*/ 101846 w 447236"/>
              <a:gd name="connsiteY2878" fmla="*/ 141994 h 448122"/>
              <a:gd name="connsiteX2879" fmla="*/ 85304 w 447236"/>
              <a:gd name="connsiteY2879" fmla="*/ 141994 h 448122"/>
              <a:gd name="connsiteX2880" fmla="*/ 85304 w 447236"/>
              <a:gd name="connsiteY2880" fmla="*/ 164445 h 448122"/>
              <a:gd name="connsiteX2881" fmla="*/ 85304 w 447236"/>
              <a:gd name="connsiteY2881" fmla="*/ 180924 h 448122"/>
              <a:gd name="connsiteX2882" fmla="*/ 85304 w 447236"/>
              <a:gd name="connsiteY2882" fmla="*/ 183913 h 448122"/>
              <a:gd name="connsiteX2883" fmla="*/ 85487 w 447236"/>
              <a:gd name="connsiteY2883" fmla="*/ 183913 h 448122"/>
              <a:gd name="connsiteX2884" fmla="*/ 90831 w 447236"/>
              <a:gd name="connsiteY2884" fmla="*/ 183913 h 448122"/>
              <a:gd name="connsiteX2885" fmla="*/ 93306 w 447236"/>
              <a:gd name="connsiteY2885" fmla="*/ 183913 h 448122"/>
              <a:gd name="connsiteX2886" fmla="*/ 93306 w 447236"/>
              <a:gd name="connsiteY2886" fmla="*/ 155772 h 448122"/>
              <a:gd name="connsiteX2887" fmla="*/ 93306 w 447236"/>
              <a:gd name="connsiteY2887" fmla="*/ 142234 h 448122"/>
              <a:gd name="connsiteX2888" fmla="*/ 93306 w 447236"/>
              <a:gd name="connsiteY2888" fmla="*/ 141994 h 448122"/>
              <a:gd name="connsiteX2889" fmla="*/ 92190 w 447236"/>
              <a:gd name="connsiteY2889" fmla="*/ 141994 h 448122"/>
              <a:gd name="connsiteX2890" fmla="*/ 87528 w 447236"/>
              <a:gd name="connsiteY2890" fmla="*/ 141994 h 448122"/>
              <a:gd name="connsiteX2891" fmla="*/ 87528 w 447236"/>
              <a:gd name="connsiteY2891" fmla="*/ 161309 h 448122"/>
              <a:gd name="connsiteX2892" fmla="*/ 87528 w 447236"/>
              <a:gd name="connsiteY2892" fmla="*/ 181096 h 448122"/>
              <a:gd name="connsiteX2893" fmla="*/ 87233 w 447236"/>
              <a:gd name="connsiteY2893" fmla="*/ 181403 h 448122"/>
              <a:gd name="connsiteX2894" fmla="*/ 86938 w 447236"/>
              <a:gd name="connsiteY2894" fmla="*/ 181096 h 448122"/>
              <a:gd name="connsiteX2895" fmla="*/ 86938 w 447236"/>
              <a:gd name="connsiteY2895" fmla="*/ 141994 h 448122"/>
              <a:gd name="connsiteX2896" fmla="*/ 69941 w 447236"/>
              <a:gd name="connsiteY2896" fmla="*/ 141994 h 448122"/>
              <a:gd name="connsiteX2897" fmla="*/ 69941 w 447236"/>
              <a:gd name="connsiteY2897" fmla="*/ 164445 h 448122"/>
              <a:gd name="connsiteX2898" fmla="*/ 69941 w 447236"/>
              <a:gd name="connsiteY2898" fmla="*/ 180924 h 448122"/>
              <a:gd name="connsiteX2899" fmla="*/ 69941 w 447236"/>
              <a:gd name="connsiteY2899" fmla="*/ 183913 h 448122"/>
              <a:gd name="connsiteX2900" fmla="*/ 70393 w 447236"/>
              <a:gd name="connsiteY2900" fmla="*/ 183913 h 448122"/>
              <a:gd name="connsiteX2901" fmla="*/ 75470 w 447236"/>
              <a:gd name="connsiteY2901" fmla="*/ 183913 h 448122"/>
              <a:gd name="connsiteX2902" fmla="*/ 77943 w 447236"/>
              <a:gd name="connsiteY2902" fmla="*/ 183913 h 448122"/>
              <a:gd name="connsiteX2903" fmla="*/ 77943 w 447236"/>
              <a:gd name="connsiteY2903" fmla="*/ 155772 h 448122"/>
              <a:gd name="connsiteX2904" fmla="*/ 77943 w 447236"/>
              <a:gd name="connsiteY2904" fmla="*/ 142234 h 448122"/>
              <a:gd name="connsiteX2905" fmla="*/ 77943 w 447236"/>
              <a:gd name="connsiteY2905" fmla="*/ 141994 h 448122"/>
              <a:gd name="connsiteX2906" fmla="*/ 73985 w 447236"/>
              <a:gd name="connsiteY2906" fmla="*/ 141994 h 448122"/>
              <a:gd name="connsiteX2907" fmla="*/ 72473 w 447236"/>
              <a:gd name="connsiteY2907" fmla="*/ 141994 h 448122"/>
              <a:gd name="connsiteX2908" fmla="*/ 72473 w 447236"/>
              <a:gd name="connsiteY2908" fmla="*/ 161309 h 448122"/>
              <a:gd name="connsiteX2909" fmla="*/ 72473 w 447236"/>
              <a:gd name="connsiteY2909" fmla="*/ 181096 h 448122"/>
              <a:gd name="connsiteX2910" fmla="*/ 71882 w 447236"/>
              <a:gd name="connsiteY2910" fmla="*/ 181403 h 448122"/>
              <a:gd name="connsiteX2911" fmla="*/ 71587 w 447236"/>
              <a:gd name="connsiteY2911" fmla="*/ 181096 h 448122"/>
              <a:gd name="connsiteX2912" fmla="*/ 71587 w 447236"/>
              <a:gd name="connsiteY2912" fmla="*/ 141994 h 448122"/>
              <a:gd name="connsiteX2913" fmla="*/ 134127 w 447236"/>
              <a:gd name="connsiteY2913" fmla="*/ 137634 h 448122"/>
              <a:gd name="connsiteX2914" fmla="*/ 133514 w 447236"/>
              <a:gd name="connsiteY2914" fmla="*/ 140083 h 448122"/>
              <a:gd name="connsiteX2915" fmla="*/ 160499 w 447236"/>
              <a:gd name="connsiteY2915" fmla="*/ 140083 h 448122"/>
              <a:gd name="connsiteX2916" fmla="*/ 159886 w 447236"/>
              <a:gd name="connsiteY2916" fmla="*/ 137634 h 448122"/>
              <a:gd name="connsiteX2917" fmla="*/ 134127 w 447236"/>
              <a:gd name="connsiteY2917" fmla="*/ 137634 h 448122"/>
              <a:gd name="connsiteX2918" fmla="*/ 11030 w 447236"/>
              <a:gd name="connsiteY2918" fmla="*/ 136732 h 448122"/>
              <a:gd name="connsiteX2919" fmla="*/ 7043 w 447236"/>
              <a:gd name="connsiteY2919" fmla="*/ 140714 h 448122"/>
              <a:gd name="connsiteX2920" fmla="*/ 7043 w 447236"/>
              <a:gd name="connsiteY2920" fmla="*/ 188188 h 448122"/>
              <a:gd name="connsiteX2921" fmla="*/ 11030 w 447236"/>
              <a:gd name="connsiteY2921" fmla="*/ 192170 h 448122"/>
              <a:gd name="connsiteX2922" fmla="*/ 52438 w 447236"/>
              <a:gd name="connsiteY2922" fmla="*/ 192170 h 448122"/>
              <a:gd name="connsiteX2923" fmla="*/ 56426 w 447236"/>
              <a:gd name="connsiteY2923" fmla="*/ 188188 h 448122"/>
              <a:gd name="connsiteX2924" fmla="*/ 56426 w 447236"/>
              <a:gd name="connsiteY2924" fmla="*/ 140714 h 448122"/>
              <a:gd name="connsiteX2925" fmla="*/ 52438 w 447236"/>
              <a:gd name="connsiteY2925" fmla="*/ 136732 h 448122"/>
              <a:gd name="connsiteX2926" fmla="*/ 11030 w 447236"/>
              <a:gd name="connsiteY2926" fmla="*/ 136732 h 448122"/>
              <a:gd name="connsiteX2927" fmla="*/ 415058 w 447236"/>
              <a:gd name="connsiteY2927" fmla="*/ 135805 h 448122"/>
              <a:gd name="connsiteX2928" fmla="*/ 415058 w 447236"/>
              <a:gd name="connsiteY2928" fmla="*/ 142252 h 448122"/>
              <a:gd name="connsiteX2929" fmla="*/ 418425 w 447236"/>
              <a:gd name="connsiteY2929" fmla="*/ 139157 h 448122"/>
              <a:gd name="connsiteX2930" fmla="*/ 414025 w 447236"/>
              <a:gd name="connsiteY2930" fmla="*/ 135624 h 448122"/>
              <a:gd name="connsiteX2931" fmla="*/ 410750 w 447236"/>
              <a:gd name="connsiteY2931" fmla="*/ 139157 h 448122"/>
              <a:gd name="connsiteX2932" fmla="*/ 414025 w 447236"/>
              <a:gd name="connsiteY2932" fmla="*/ 142420 h 448122"/>
              <a:gd name="connsiteX2933" fmla="*/ 432476 w 447236"/>
              <a:gd name="connsiteY2933" fmla="*/ 135591 h 448122"/>
              <a:gd name="connsiteX2934" fmla="*/ 429170 w 447236"/>
              <a:gd name="connsiteY2934" fmla="*/ 139157 h 448122"/>
              <a:gd name="connsiteX2935" fmla="*/ 432476 w 447236"/>
              <a:gd name="connsiteY2935" fmla="*/ 142449 h 448122"/>
              <a:gd name="connsiteX2936" fmla="*/ 396313 w 447236"/>
              <a:gd name="connsiteY2936" fmla="*/ 135521 h 448122"/>
              <a:gd name="connsiteX2937" fmla="*/ 392943 w 447236"/>
              <a:gd name="connsiteY2937" fmla="*/ 139157 h 448122"/>
              <a:gd name="connsiteX2938" fmla="*/ 396313 w 447236"/>
              <a:gd name="connsiteY2938" fmla="*/ 142514 h 448122"/>
              <a:gd name="connsiteX2939" fmla="*/ 396903 w 447236"/>
              <a:gd name="connsiteY2939" fmla="*/ 135481 h 448122"/>
              <a:gd name="connsiteX2940" fmla="*/ 396903 w 447236"/>
              <a:gd name="connsiteY2940" fmla="*/ 142551 h 448122"/>
              <a:gd name="connsiteX2941" fmla="*/ 400311 w 447236"/>
              <a:gd name="connsiteY2941" fmla="*/ 139157 h 448122"/>
              <a:gd name="connsiteX2942" fmla="*/ 433066 w 447236"/>
              <a:gd name="connsiteY2942" fmla="*/ 135411 h 448122"/>
              <a:gd name="connsiteX2943" fmla="*/ 433066 w 447236"/>
              <a:gd name="connsiteY2943" fmla="*/ 142616 h 448122"/>
              <a:gd name="connsiteX2944" fmla="*/ 436539 w 447236"/>
              <a:gd name="connsiteY2944" fmla="*/ 139157 h 448122"/>
              <a:gd name="connsiteX2945" fmla="*/ 432855 w 447236"/>
              <a:gd name="connsiteY2945" fmla="*/ 135183 h 448122"/>
              <a:gd name="connsiteX2946" fmla="*/ 432835 w 447236"/>
              <a:gd name="connsiteY2946" fmla="*/ 135204 h 448122"/>
              <a:gd name="connsiteX2947" fmla="*/ 432874 w 447236"/>
              <a:gd name="connsiteY2947" fmla="*/ 135204 h 448122"/>
              <a:gd name="connsiteX2948" fmla="*/ 414434 w 447236"/>
              <a:gd name="connsiteY2948" fmla="*/ 135183 h 448122"/>
              <a:gd name="connsiteX2949" fmla="*/ 414414 w 447236"/>
              <a:gd name="connsiteY2949" fmla="*/ 135204 h 448122"/>
              <a:gd name="connsiteX2950" fmla="*/ 414455 w 447236"/>
              <a:gd name="connsiteY2950" fmla="*/ 135204 h 448122"/>
              <a:gd name="connsiteX2951" fmla="*/ 396627 w 447236"/>
              <a:gd name="connsiteY2951" fmla="*/ 135183 h 448122"/>
              <a:gd name="connsiteX2952" fmla="*/ 396607 w 447236"/>
              <a:gd name="connsiteY2952" fmla="*/ 135204 h 448122"/>
              <a:gd name="connsiteX2953" fmla="*/ 396646 w 447236"/>
              <a:gd name="connsiteY2953" fmla="*/ 135204 h 448122"/>
              <a:gd name="connsiteX2954" fmla="*/ 232646 w 447236"/>
              <a:gd name="connsiteY2954" fmla="*/ 133285 h 448122"/>
              <a:gd name="connsiteX2955" fmla="*/ 236017 w 447236"/>
              <a:gd name="connsiteY2955" fmla="*/ 143129 h 448122"/>
              <a:gd name="connsiteX2956" fmla="*/ 192493 w 447236"/>
              <a:gd name="connsiteY2956" fmla="*/ 159125 h 448122"/>
              <a:gd name="connsiteX2957" fmla="*/ 181765 w 447236"/>
              <a:gd name="connsiteY2957" fmla="*/ 163124 h 448122"/>
              <a:gd name="connsiteX2958" fmla="*/ 190654 w 447236"/>
              <a:gd name="connsiteY2958" fmla="*/ 154203 h 448122"/>
              <a:gd name="connsiteX2959" fmla="*/ 176555 w 447236"/>
              <a:gd name="connsiteY2959" fmla="*/ 158817 h 448122"/>
              <a:gd name="connsiteX2960" fmla="*/ 175328 w 447236"/>
              <a:gd name="connsiteY2960" fmla="*/ 159125 h 448122"/>
              <a:gd name="connsiteX2961" fmla="*/ 174409 w 447236"/>
              <a:gd name="connsiteY2961" fmla="*/ 155433 h 448122"/>
              <a:gd name="connsiteX2962" fmla="*/ 176555 w 447236"/>
              <a:gd name="connsiteY2962" fmla="*/ 154203 h 448122"/>
              <a:gd name="connsiteX2963" fmla="*/ 187282 w 447236"/>
              <a:gd name="connsiteY2963" fmla="*/ 149589 h 448122"/>
              <a:gd name="connsiteX2964" fmla="*/ 176555 w 447236"/>
              <a:gd name="connsiteY2964" fmla="*/ 152665 h 448122"/>
              <a:gd name="connsiteX2965" fmla="*/ 171344 w 447236"/>
              <a:gd name="connsiteY2965" fmla="*/ 154203 h 448122"/>
              <a:gd name="connsiteX2966" fmla="*/ 168585 w 447236"/>
              <a:gd name="connsiteY2966" fmla="*/ 151742 h 448122"/>
              <a:gd name="connsiteX2967" fmla="*/ 171957 w 447236"/>
              <a:gd name="connsiteY2967" fmla="*/ 149281 h 448122"/>
              <a:gd name="connsiteX2968" fmla="*/ 176555 w 447236"/>
              <a:gd name="connsiteY2968" fmla="*/ 147435 h 448122"/>
              <a:gd name="connsiteX2969" fmla="*/ 186056 w 447236"/>
              <a:gd name="connsiteY2969" fmla="*/ 143436 h 448122"/>
              <a:gd name="connsiteX2970" fmla="*/ 176555 w 447236"/>
              <a:gd name="connsiteY2970" fmla="*/ 145282 h 448122"/>
              <a:gd name="connsiteX2971" fmla="*/ 169198 w 447236"/>
              <a:gd name="connsiteY2971" fmla="*/ 143744 h 448122"/>
              <a:gd name="connsiteX2972" fmla="*/ 175941 w 447236"/>
              <a:gd name="connsiteY2972" fmla="*/ 139745 h 448122"/>
              <a:gd name="connsiteX2973" fmla="*/ 176555 w 447236"/>
              <a:gd name="connsiteY2973" fmla="*/ 139745 h 448122"/>
              <a:gd name="connsiteX2974" fmla="*/ 181765 w 447236"/>
              <a:gd name="connsiteY2974" fmla="*/ 138822 h 448122"/>
              <a:gd name="connsiteX2975" fmla="*/ 181152 w 447236"/>
              <a:gd name="connsiteY2975" fmla="*/ 140668 h 448122"/>
              <a:gd name="connsiteX2976" fmla="*/ 181152 w 447236"/>
              <a:gd name="connsiteY2976" fmla="*/ 140975 h 448122"/>
              <a:gd name="connsiteX2977" fmla="*/ 181459 w 447236"/>
              <a:gd name="connsiteY2977" fmla="*/ 141591 h 448122"/>
              <a:gd name="connsiteX2978" fmla="*/ 185750 w 447236"/>
              <a:gd name="connsiteY2978" fmla="*/ 143129 h 448122"/>
              <a:gd name="connsiteX2979" fmla="*/ 192799 w 447236"/>
              <a:gd name="connsiteY2979" fmla="*/ 142206 h 448122"/>
              <a:gd name="connsiteX2980" fmla="*/ 205060 w 447236"/>
              <a:gd name="connsiteY2980" fmla="*/ 138207 h 448122"/>
              <a:gd name="connsiteX2981" fmla="*/ 223144 w 447236"/>
              <a:gd name="connsiteY2981" fmla="*/ 142206 h 448122"/>
              <a:gd name="connsiteX2982" fmla="*/ 229581 w 447236"/>
              <a:gd name="connsiteY2982" fmla="*/ 144051 h 448122"/>
              <a:gd name="connsiteX2983" fmla="*/ 230194 w 447236"/>
              <a:gd name="connsiteY2983" fmla="*/ 143744 h 448122"/>
              <a:gd name="connsiteX2984" fmla="*/ 232646 w 447236"/>
              <a:gd name="connsiteY2984" fmla="*/ 133285 h 448122"/>
              <a:gd name="connsiteX2985" fmla="*/ 387416 w 447236"/>
              <a:gd name="connsiteY2985" fmla="*/ 131514 h 448122"/>
              <a:gd name="connsiteX2986" fmla="*/ 443293 w 447236"/>
              <a:gd name="connsiteY2986" fmla="*/ 131514 h 448122"/>
              <a:gd name="connsiteX2987" fmla="*/ 446056 w 447236"/>
              <a:gd name="connsiteY2987" fmla="*/ 134266 h 448122"/>
              <a:gd name="connsiteX2988" fmla="*/ 446056 w 447236"/>
              <a:gd name="connsiteY2988" fmla="*/ 158725 h 448122"/>
              <a:gd name="connsiteX2989" fmla="*/ 443293 w 447236"/>
              <a:gd name="connsiteY2989" fmla="*/ 161477 h 448122"/>
              <a:gd name="connsiteX2990" fmla="*/ 387416 w 447236"/>
              <a:gd name="connsiteY2990" fmla="*/ 161477 h 448122"/>
              <a:gd name="connsiteX2991" fmla="*/ 384653 w 447236"/>
              <a:gd name="connsiteY2991" fmla="*/ 158725 h 448122"/>
              <a:gd name="connsiteX2992" fmla="*/ 384653 w 447236"/>
              <a:gd name="connsiteY2992" fmla="*/ 134266 h 448122"/>
              <a:gd name="connsiteX2993" fmla="*/ 387416 w 447236"/>
              <a:gd name="connsiteY2993" fmla="*/ 131514 h 448122"/>
              <a:gd name="connsiteX2994" fmla="*/ 4589 w 447236"/>
              <a:gd name="connsiteY2994" fmla="*/ 131219 h 448122"/>
              <a:gd name="connsiteX2995" fmla="*/ 58880 w 447236"/>
              <a:gd name="connsiteY2995" fmla="*/ 131219 h 448122"/>
              <a:gd name="connsiteX2996" fmla="*/ 63174 w 447236"/>
              <a:gd name="connsiteY2996" fmla="*/ 135507 h 448122"/>
              <a:gd name="connsiteX2997" fmla="*/ 63174 w 447236"/>
              <a:gd name="connsiteY2997" fmla="*/ 216673 h 448122"/>
              <a:gd name="connsiteX2998" fmla="*/ 58880 w 447236"/>
              <a:gd name="connsiteY2998" fmla="*/ 220961 h 448122"/>
              <a:gd name="connsiteX2999" fmla="*/ 4589 w 447236"/>
              <a:gd name="connsiteY2999" fmla="*/ 220961 h 448122"/>
              <a:gd name="connsiteX3000" fmla="*/ 295 w 447236"/>
              <a:gd name="connsiteY3000" fmla="*/ 216673 h 448122"/>
              <a:gd name="connsiteX3001" fmla="*/ 295 w 447236"/>
              <a:gd name="connsiteY3001" fmla="*/ 135507 h 448122"/>
              <a:gd name="connsiteX3002" fmla="*/ 4589 w 447236"/>
              <a:gd name="connsiteY3002" fmla="*/ 131219 h 448122"/>
              <a:gd name="connsiteX3003" fmla="*/ 374461 w 447236"/>
              <a:gd name="connsiteY3003" fmla="*/ 130843 h 448122"/>
              <a:gd name="connsiteX3004" fmla="*/ 366482 w 447236"/>
              <a:gd name="connsiteY3004" fmla="*/ 136356 h 448122"/>
              <a:gd name="connsiteX3005" fmla="*/ 366482 w 447236"/>
              <a:gd name="connsiteY3005" fmla="*/ 147383 h 448122"/>
              <a:gd name="connsiteX3006" fmla="*/ 290072 w 447236"/>
              <a:gd name="connsiteY3006" fmla="*/ 147383 h 448122"/>
              <a:gd name="connsiteX3007" fmla="*/ 290072 w 447236"/>
              <a:gd name="connsiteY3007" fmla="*/ 136356 h 448122"/>
              <a:gd name="connsiteX3008" fmla="*/ 288230 w 447236"/>
              <a:gd name="connsiteY3008" fmla="*/ 136050 h 448122"/>
              <a:gd name="connsiteX3009" fmla="*/ 286389 w 447236"/>
              <a:gd name="connsiteY3009" fmla="*/ 135743 h 448122"/>
              <a:gd name="connsiteX3010" fmla="*/ 273194 w 447236"/>
              <a:gd name="connsiteY3010" fmla="*/ 138806 h 448122"/>
              <a:gd name="connsiteX3011" fmla="*/ 272887 w 447236"/>
              <a:gd name="connsiteY3011" fmla="*/ 147689 h 448122"/>
              <a:gd name="connsiteX3012" fmla="*/ 273808 w 447236"/>
              <a:gd name="connsiteY3012" fmla="*/ 152590 h 448122"/>
              <a:gd name="connsiteX3013" fmla="*/ 279331 w 447236"/>
              <a:gd name="connsiteY3013" fmla="*/ 160860 h 448122"/>
              <a:gd name="connsiteX3014" fmla="*/ 290072 w 447236"/>
              <a:gd name="connsiteY3014" fmla="*/ 163617 h 448122"/>
              <a:gd name="connsiteX3015" fmla="*/ 290072 w 447236"/>
              <a:gd name="connsiteY3015" fmla="*/ 157491 h 448122"/>
              <a:gd name="connsiteX3016" fmla="*/ 366482 w 447236"/>
              <a:gd name="connsiteY3016" fmla="*/ 157491 h 448122"/>
              <a:gd name="connsiteX3017" fmla="*/ 366482 w 447236"/>
              <a:gd name="connsiteY3017" fmla="*/ 165148 h 448122"/>
              <a:gd name="connsiteX3018" fmla="*/ 367096 w 447236"/>
              <a:gd name="connsiteY3018" fmla="*/ 164536 h 448122"/>
              <a:gd name="connsiteX3019" fmla="*/ 372619 w 447236"/>
              <a:gd name="connsiteY3019" fmla="*/ 153815 h 448122"/>
              <a:gd name="connsiteX3020" fmla="*/ 377529 w 447236"/>
              <a:gd name="connsiteY3020" fmla="*/ 140644 h 448122"/>
              <a:gd name="connsiteX3021" fmla="*/ 380291 w 447236"/>
              <a:gd name="connsiteY3021" fmla="*/ 136969 h 448122"/>
              <a:gd name="connsiteX3022" fmla="*/ 379984 w 447236"/>
              <a:gd name="connsiteY3022" fmla="*/ 132374 h 448122"/>
              <a:gd name="connsiteX3023" fmla="*/ 377836 w 447236"/>
              <a:gd name="connsiteY3023" fmla="*/ 130843 h 448122"/>
              <a:gd name="connsiteX3024" fmla="*/ 374461 w 447236"/>
              <a:gd name="connsiteY3024" fmla="*/ 130843 h 448122"/>
              <a:gd name="connsiteX3025" fmla="*/ 113865 w 447236"/>
              <a:gd name="connsiteY3025" fmla="*/ 130515 h 448122"/>
              <a:gd name="connsiteX3026" fmla="*/ 113557 w 447236"/>
              <a:gd name="connsiteY3026" fmla="*/ 130822 h 448122"/>
              <a:gd name="connsiteX3027" fmla="*/ 113249 w 447236"/>
              <a:gd name="connsiteY3027" fmla="*/ 131435 h 448122"/>
              <a:gd name="connsiteX3028" fmla="*/ 113557 w 447236"/>
              <a:gd name="connsiteY3028" fmla="*/ 131742 h 448122"/>
              <a:gd name="connsiteX3029" fmla="*/ 113865 w 447236"/>
              <a:gd name="connsiteY3029" fmla="*/ 132048 h 448122"/>
              <a:gd name="connsiteX3030" fmla="*/ 115096 w 447236"/>
              <a:gd name="connsiteY3030" fmla="*/ 132048 h 448122"/>
              <a:gd name="connsiteX3031" fmla="*/ 115711 w 447236"/>
              <a:gd name="connsiteY3031" fmla="*/ 132048 h 448122"/>
              <a:gd name="connsiteX3032" fmla="*/ 115711 w 447236"/>
              <a:gd name="connsiteY3032" fmla="*/ 132355 h 448122"/>
              <a:gd name="connsiteX3033" fmla="*/ 115711 w 447236"/>
              <a:gd name="connsiteY3033" fmla="*/ 139780 h 448122"/>
              <a:gd name="connsiteX3034" fmla="*/ 116901 w 447236"/>
              <a:gd name="connsiteY3034" fmla="*/ 139780 h 448122"/>
              <a:gd name="connsiteX3035" fmla="*/ 116901 w 447236"/>
              <a:gd name="connsiteY3035" fmla="*/ 134193 h 448122"/>
              <a:gd name="connsiteX3036" fmla="*/ 117589 w 447236"/>
              <a:gd name="connsiteY3036" fmla="*/ 133580 h 448122"/>
              <a:gd name="connsiteX3037" fmla="*/ 117934 w 447236"/>
              <a:gd name="connsiteY3037" fmla="*/ 134193 h 448122"/>
              <a:gd name="connsiteX3038" fmla="*/ 117934 w 447236"/>
              <a:gd name="connsiteY3038" fmla="*/ 139780 h 448122"/>
              <a:gd name="connsiteX3039" fmla="*/ 119976 w 447236"/>
              <a:gd name="connsiteY3039" fmla="*/ 139780 h 448122"/>
              <a:gd name="connsiteX3040" fmla="*/ 123713 w 447236"/>
              <a:gd name="connsiteY3040" fmla="*/ 139780 h 448122"/>
              <a:gd name="connsiteX3041" fmla="*/ 123713 w 447236"/>
              <a:gd name="connsiteY3041" fmla="*/ 135282 h 448122"/>
              <a:gd name="connsiteX3042" fmla="*/ 123713 w 447236"/>
              <a:gd name="connsiteY3042" fmla="*/ 132355 h 448122"/>
              <a:gd name="connsiteX3043" fmla="*/ 123713 w 447236"/>
              <a:gd name="connsiteY3043" fmla="*/ 132048 h 448122"/>
              <a:gd name="connsiteX3044" fmla="*/ 124021 w 447236"/>
              <a:gd name="connsiteY3044" fmla="*/ 132048 h 448122"/>
              <a:gd name="connsiteX3045" fmla="*/ 125252 w 447236"/>
              <a:gd name="connsiteY3045" fmla="*/ 132048 h 448122"/>
              <a:gd name="connsiteX3046" fmla="*/ 125867 w 447236"/>
              <a:gd name="connsiteY3046" fmla="*/ 131742 h 448122"/>
              <a:gd name="connsiteX3047" fmla="*/ 125867 w 447236"/>
              <a:gd name="connsiteY3047" fmla="*/ 131435 h 448122"/>
              <a:gd name="connsiteX3048" fmla="*/ 125867 w 447236"/>
              <a:gd name="connsiteY3048" fmla="*/ 130822 h 448122"/>
              <a:gd name="connsiteX3049" fmla="*/ 125252 w 447236"/>
              <a:gd name="connsiteY3049" fmla="*/ 130515 h 448122"/>
              <a:gd name="connsiteX3050" fmla="*/ 113865 w 447236"/>
              <a:gd name="connsiteY3050" fmla="*/ 130515 h 448122"/>
              <a:gd name="connsiteX3051" fmla="*/ 98809 w 447236"/>
              <a:gd name="connsiteY3051" fmla="*/ 130515 h 448122"/>
              <a:gd name="connsiteX3052" fmla="*/ 98193 w 447236"/>
              <a:gd name="connsiteY3052" fmla="*/ 130822 h 448122"/>
              <a:gd name="connsiteX3053" fmla="*/ 98193 w 447236"/>
              <a:gd name="connsiteY3053" fmla="*/ 131435 h 448122"/>
              <a:gd name="connsiteX3054" fmla="*/ 98193 w 447236"/>
              <a:gd name="connsiteY3054" fmla="*/ 131742 h 448122"/>
              <a:gd name="connsiteX3055" fmla="*/ 98809 w 447236"/>
              <a:gd name="connsiteY3055" fmla="*/ 132048 h 448122"/>
              <a:gd name="connsiteX3056" fmla="*/ 100040 w 447236"/>
              <a:gd name="connsiteY3056" fmla="*/ 132048 h 448122"/>
              <a:gd name="connsiteX3057" fmla="*/ 100347 w 447236"/>
              <a:gd name="connsiteY3057" fmla="*/ 132048 h 448122"/>
              <a:gd name="connsiteX3058" fmla="*/ 100347 w 447236"/>
              <a:gd name="connsiteY3058" fmla="*/ 132355 h 448122"/>
              <a:gd name="connsiteX3059" fmla="*/ 100347 w 447236"/>
              <a:gd name="connsiteY3059" fmla="*/ 139780 h 448122"/>
              <a:gd name="connsiteX3060" fmla="*/ 101771 w 447236"/>
              <a:gd name="connsiteY3060" fmla="*/ 139780 h 448122"/>
              <a:gd name="connsiteX3061" fmla="*/ 101846 w 447236"/>
              <a:gd name="connsiteY3061" fmla="*/ 139780 h 448122"/>
              <a:gd name="connsiteX3062" fmla="*/ 101846 w 447236"/>
              <a:gd name="connsiteY3062" fmla="*/ 134193 h 448122"/>
              <a:gd name="connsiteX3063" fmla="*/ 102190 w 447236"/>
              <a:gd name="connsiteY3063" fmla="*/ 133580 h 448122"/>
              <a:gd name="connsiteX3064" fmla="*/ 102879 w 447236"/>
              <a:gd name="connsiteY3064" fmla="*/ 134193 h 448122"/>
              <a:gd name="connsiteX3065" fmla="*/ 102879 w 447236"/>
              <a:gd name="connsiteY3065" fmla="*/ 139780 h 448122"/>
              <a:gd name="connsiteX3066" fmla="*/ 108349 w 447236"/>
              <a:gd name="connsiteY3066" fmla="*/ 139780 h 448122"/>
              <a:gd name="connsiteX3067" fmla="*/ 108349 w 447236"/>
              <a:gd name="connsiteY3067" fmla="*/ 135282 h 448122"/>
              <a:gd name="connsiteX3068" fmla="*/ 108349 w 447236"/>
              <a:gd name="connsiteY3068" fmla="*/ 132355 h 448122"/>
              <a:gd name="connsiteX3069" fmla="*/ 108349 w 447236"/>
              <a:gd name="connsiteY3069" fmla="*/ 132048 h 448122"/>
              <a:gd name="connsiteX3070" fmla="*/ 108965 w 447236"/>
              <a:gd name="connsiteY3070" fmla="*/ 132048 h 448122"/>
              <a:gd name="connsiteX3071" fmla="*/ 109888 w 447236"/>
              <a:gd name="connsiteY3071" fmla="*/ 132048 h 448122"/>
              <a:gd name="connsiteX3072" fmla="*/ 110504 w 447236"/>
              <a:gd name="connsiteY3072" fmla="*/ 131742 h 448122"/>
              <a:gd name="connsiteX3073" fmla="*/ 110811 w 447236"/>
              <a:gd name="connsiteY3073" fmla="*/ 131435 h 448122"/>
              <a:gd name="connsiteX3074" fmla="*/ 110504 w 447236"/>
              <a:gd name="connsiteY3074" fmla="*/ 130822 h 448122"/>
              <a:gd name="connsiteX3075" fmla="*/ 109888 w 447236"/>
              <a:gd name="connsiteY3075" fmla="*/ 130515 h 448122"/>
              <a:gd name="connsiteX3076" fmla="*/ 98809 w 447236"/>
              <a:gd name="connsiteY3076" fmla="*/ 130515 h 448122"/>
              <a:gd name="connsiteX3077" fmla="*/ 83458 w 447236"/>
              <a:gd name="connsiteY3077" fmla="*/ 130515 h 448122"/>
              <a:gd name="connsiteX3078" fmla="*/ 83150 w 447236"/>
              <a:gd name="connsiteY3078" fmla="*/ 130822 h 448122"/>
              <a:gd name="connsiteX3079" fmla="*/ 82842 w 447236"/>
              <a:gd name="connsiteY3079" fmla="*/ 131435 h 448122"/>
              <a:gd name="connsiteX3080" fmla="*/ 83150 w 447236"/>
              <a:gd name="connsiteY3080" fmla="*/ 131742 h 448122"/>
              <a:gd name="connsiteX3081" fmla="*/ 83458 w 447236"/>
              <a:gd name="connsiteY3081" fmla="*/ 132048 h 448122"/>
              <a:gd name="connsiteX3082" fmla="*/ 84689 w 447236"/>
              <a:gd name="connsiteY3082" fmla="*/ 132048 h 448122"/>
              <a:gd name="connsiteX3083" fmla="*/ 85304 w 447236"/>
              <a:gd name="connsiteY3083" fmla="*/ 132048 h 448122"/>
              <a:gd name="connsiteX3084" fmla="*/ 85304 w 447236"/>
              <a:gd name="connsiteY3084" fmla="*/ 132355 h 448122"/>
              <a:gd name="connsiteX3085" fmla="*/ 85304 w 447236"/>
              <a:gd name="connsiteY3085" fmla="*/ 139780 h 448122"/>
              <a:gd name="connsiteX3086" fmla="*/ 86938 w 447236"/>
              <a:gd name="connsiteY3086" fmla="*/ 139780 h 448122"/>
              <a:gd name="connsiteX3087" fmla="*/ 86938 w 447236"/>
              <a:gd name="connsiteY3087" fmla="*/ 134193 h 448122"/>
              <a:gd name="connsiteX3088" fmla="*/ 87233 w 447236"/>
              <a:gd name="connsiteY3088" fmla="*/ 133580 h 448122"/>
              <a:gd name="connsiteX3089" fmla="*/ 87528 w 447236"/>
              <a:gd name="connsiteY3089" fmla="*/ 134193 h 448122"/>
              <a:gd name="connsiteX3090" fmla="*/ 87528 w 447236"/>
              <a:gd name="connsiteY3090" fmla="*/ 139780 h 448122"/>
              <a:gd name="connsiteX3091" fmla="*/ 93306 w 447236"/>
              <a:gd name="connsiteY3091" fmla="*/ 139780 h 448122"/>
              <a:gd name="connsiteX3092" fmla="*/ 93306 w 447236"/>
              <a:gd name="connsiteY3092" fmla="*/ 135282 h 448122"/>
              <a:gd name="connsiteX3093" fmla="*/ 93306 w 447236"/>
              <a:gd name="connsiteY3093" fmla="*/ 132355 h 448122"/>
              <a:gd name="connsiteX3094" fmla="*/ 93306 w 447236"/>
              <a:gd name="connsiteY3094" fmla="*/ 132048 h 448122"/>
              <a:gd name="connsiteX3095" fmla="*/ 93614 w 447236"/>
              <a:gd name="connsiteY3095" fmla="*/ 132048 h 448122"/>
              <a:gd name="connsiteX3096" fmla="*/ 94845 w 447236"/>
              <a:gd name="connsiteY3096" fmla="*/ 132048 h 448122"/>
              <a:gd name="connsiteX3097" fmla="*/ 95460 w 447236"/>
              <a:gd name="connsiteY3097" fmla="*/ 131742 h 448122"/>
              <a:gd name="connsiteX3098" fmla="*/ 95460 w 447236"/>
              <a:gd name="connsiteY3098" fmla="*/ 131435 h 448122"/>
              <a:gd name="connsiteX3099" fmla="*/ 95460 w 447236"/>
              <a:gd name="connsiteY3099" fmla="*/ 130822 h 448122"/>
              <a:gd name="connsiteX3100" fmla="*/ 94845 w 447236"/>
              <a:gd name="connsiteY3100" fmla="*/ 130515 h 448122"/>
              <a:gd name="connsiteX3101" fmla="*/ 83458 w 447236"/>
              <a:gd name="connsiteY3101" fmla="*/ 130515 h 448122"/>
              <a:gd name="connsiteX3102" fmla="*/ 68403 w 447236"/>
              <a:gd name="connsiteY3102" fmla="*/ 130515 h 448122"/>
              <a:gd name="connsiteX3103" fmla="*/ 67787 w 447236"/>
              <a:gd name="connsiteY3103" fmla="*/ 130822 h 448122"/>
              <a:gd name="connsiteX3104" fmla="*/ 67787 w 447236"/>
              <a:gd name="connsiteY3104" fmla="*/ 131435 h 448122"/>
              <a:gd name="connsiteX3105" fmla="*/ 67787 w 447236"/>
              <a:gd name="connsiteY3105" fmla="*/ 131742 h 448122"/>
              <a:gd name="connsiteX3106" fmla="*/ 68403 w 447236"/>
              <a:gd name="connsiteY3106" fmla="*/ 132048 h 448122"/>
              <a:gd name="connsiteX3107" fmla="*/ 69634 w 447236"/>
              <a:gd name="connsiteY3107" fmla="*/ 132048 h 448122"/>
              <a:gd name="connsiteX3108" fmla="*/ 69941 w 447236"/>
              <a:gd name="connsiteY3108" fmla="*/ 132048 h 448122"/>
              <a:gd name="connsiteX3109" fmla="*/ 69941 w 447236"/>
              <a:gd name="connsiteY3109" fmla="*/ 132355 h 448122"/>
              <a:gd name="connsiteX3110" fmla="*/ 69941 w 447236"/>
              <a:gd name="connsiteY3110" fmla="*/ 139780 h 448122"/>
              <a:gd name="connsiteX3111" fmla="*/ 71587 w 447236"/>
              <a:gd name="connsiteY3111" fmla="*/ 139780 h 448122"/>
              <a:gd name="connsiteX3112" fmla="*/ 71587 w 447236"/>
              <a:gd name="connsiteY3112" fmla="*/ 134193 h 448122"/>
              <a:gd name="connsiteX3113" fmla="*/ 71882 w 447236"/>
              <a:gd name="connsiteY3113" fmla="*/ 133580 h 448122"/>
              <a:gd name="connsiteX3114" fmla="*/ 72473 w 447236"/>
              <a:gd name="connsiteY3114" fmla="*/ 134193 h 448122"/>
              <a:gd name="connsiteX3115" fmla="*/ 72473 w 447236"/>
              <a:gd name="connsiteY3115" fmla="*/ 139780 h 448122"/>
              <a:gd name="connsiteX3116" fmla="*/ 77943 w 447236"/>
              <a:gd name="connsiteY3116" fmla="*/ 139780 h 448122"/>
              <a:gd name="connsiteX3117" fmla="*/ 77943 w 447236"/>
              <a:gd name="connsiteY3117" fmla="*/ 135282 h 448122"/>
              <a:gd name="connsiteX3118" fmla="*/ 77943 w 447236"/>
              <a:gd name="connsiteY3118" fmla="*/ 132355 h 448122"/>
              <a:gd name="connsiteX3119" fmla="*/ 77943 w 447236"/>
              <a:gd name="connsiteY3119" fmla="*/ 132048 h 448122"/>
              <a:gd name="connsiteX3120" fmla="*/ 78559 w 447236"/>
              <a:gd name="connsiteY3120" fmla="*/ 132048 h 448122"/>
              <a:gd name="connsiteX3121" fmla="*/ 79482 w 447236"/>
              <a:gd name="connsiteY3121" fmla="*/ 132048 h 448122"/>
              <a:gd name="connsiteX3122" fmla="*/ 80098 w 447236"/>
              <a:gd name="connsiteY3122" fmla="*/ 131742 h 448122"/>
              <a:gd name="connsiteX3123" fmla="*/ 80405 w 447236"/>
              <a:gd name="connsiteY3123" fmla="*/ 131435 h 448122"/>
              <a:gd name="connsiteX3124" fmla="*/ 80098 w 447236"/>
              <a:gd name="connsiteY3124" fmla="*/ 130822 h 448122"/>
              <a:gd name="connsiteX3125" fmla="*/ 79482 w 447236"/>
              <a:gd name="connsiteY3125" fmla="*/ 130515 h 448122"/>
              <a:gd name="connsiteX3126" fmla="*/ 68403 w 447236"/>
              <a:gd name="connsiteY3126" fmla="*/ 130515 h 448122"/>
              <a:gd name="connsiteX3127" fmla="*/ 68403 w 447236"/>
              <a:gd name="connsiteY3127" fmla="*/ 129595 h 448122"/>
              <a:gd name="connsiteX3128" fmla="*/ 79482 w 447236"/>
              <a:gd name="connsiteY3128" fmla="*/ 129595 h 448122"/>
              <a:gd name="connsiteX3129" fmla="*/ 80713 w 447236"/>
              <a:gd name="connsiteY3129" fmla="*/ 130208 h 448122"/>
              <a:gd name="connsiteX3130" fmla="*/ 81329 w 447236"/>
              <a:gd name="connsiteY3130" fmla="*/ 131435 h 448122"/>
              <a:gd name="connsiteX3131" fmla="*/ 80713 w 447236"/>
              <a:gd name="connsiteY3131" fmla="*/ 132355 h 448122"/>
              <a:gd name="connsiteX3132" fmla="*/ 79482 w 447236"/>
              <a:gd name="connsiteY3132" fmla="*/ 132968 h 448122"/>
              <a:gd name="connsiteX3133" fmla="*/ 78867 w 447236"/>
              <a:gd name="connsiteY3133" fmla="*/ 132968 h 448122"/>
              <a:gd name="connsiteX3134" fmla="*/ 78867 w 447236"/>
              <a:gd name="connsiteY3134" fmla="*/ 139780 h 448122"/>
              <a:gd name="connsiteX3135" fmla="*/ 84073 w 447236"/>
              <a:gd name="connsiteY3135" fmla="*/ 139780 h 448122"/>
              <a:gd name="connsiteX3136" fmla="*/ 84073 w 447236"/>
              <a:gd name="connsiteY3136" fmla="*/ 133826 h 448122"/>
              <a:gd name="connsiteX3137" fmla="*/ 84073 w 447236"/>
              <a:gd name="connsiteY3137" fmla="*/ 132968 h 448122"/>
              <a:gd name="connsiteX3138" fmla="*/ 83458 w 447236"/>
              <a:gd name="connsiteY3138" fmla="*/ 132968 h 448122"/>
              <a:gd name="connsiteX3139" fmla="*/ 82534 w 447236"/>
              <a:gd name="connsiteY3139" fmla="*/ 132355 h 448122"/>
              <a:gd name="connsiteX3140" fmla="*/ 81919 w 447236"/>
              <a:gd name="connsiteY3140" fmla="*/ 131435 h 448122"/>
              <a:gd name="connsiteX3141" fmla="*/ 82534 w 447236"/>
              <a:gd name="connsiteY3141" fmla="*/ 130208 h 448122"/>
              <a:gd name="connsiteX3142" fmla="*/ 83458 w 447236"/>
              <a:gd name="connsiteY3142" fmla="*/ 129595 h 448122"/>
              <a:gd name="connsiteX3143" fmla="*/ 94845 w 447236"/>
              <a:gd name="connsiteY3143" fmla="*/ 129595 h 448122"/>
              <a:gd name="connsiteX3144" fmla="*/ 96076 w 447236"/>
              <a:gd name="connsiteY3144" fmla="*/ 130208 h 448122"/>
              <a:gd name="connsiteX3145" fmla="*/ 96384 w 447236"/>
              <a:gd name="connsiteY3145" fmla="*/ 131435 h 448122"/>
              <a:gd name="connsiteX3146" fmla="*/ 96076 w 447236"/>
              <a:gd name="connsiteY3146" fmla="*/ 132355 h 448122"/>
              <a:gd name="connsiteX3147" fmla="*/ 94845 w 447236"/>
              <a:gd name="connsiteY3147" fmla="*/ 132968 h 448122"/>
              <a:gd name="connsiteX3148" fmla="*/ 94229 w 447236"/>
              <a:gd name="connsiteY3148" fmla="*/ 132968 h 448122"/>
              <a:gd name="connsiteX3149" fmla="*/ 94229 w 447236"/>
              <a:gd name="connsiteY3149" fmla="*/ 139780 h 448122"/>
              <a:gd name="connsiteX3150" fmla="*/ 99424 w 447236"/>
              <a:gd name="connsiteY3150" fmla="*/ 139780 h 448122"/>
              <a:gd name="connsiteX3151" fmla="*/ 99424 w 447236"/>
              <a:gd name="connsiteY3151" fmla="*/ 133826 h 448122"/>
              <a:gd name="connsiteX3152" fmla="*/ 99424 w 447236"/>
              <a:gd name="connsiteY3152" fmla="*/ 132968 h 448122"/>
              <a:gd name="connsiteX3153" fmla="*/ 98809 w 447236"/>
              <a:gd name="connsiteY3153" fmla="*/ 132968 h 448122"/>
              <a:gd name="connsiteX3154" fmla="*/ 97578 w 447236"/>
              <a:gd name="connsiteY3154" fmla="*/ 132355 h 448122"/>
              <a:gd name="connsiteX3155" fmla="*/ 97270 w 447236"/>
              <a:gd name="connsiteY3155" fmla="*/ 131435 h 448122"/>
              <a:gd name="connsiteX3156" fmla="*/ 97578 w 447236"/>
              <a:gd name="connsiteY3156" fmla="*/ 130208 h 448122"/>
              <a:gd name="connsiteX3157" fmla="*/ 98809 w 447236"/>
              <a:gd name="connsiteY3157" fmla="*/ 129595 h 448122"/>
              <a:gd name="connsiteX3158" fmla="*/ 109888 w 447236"/>
              <a:gd name="connsiteY3158" fmla="*/ 129595 h 448122"/>
              <a:gd name="connsiteX3159" fmla="*/ 111119 w 447236"/>
              <a:gd name="connsiteY3159" fmla="*/ 130208 h 448122"/>
              <a:gd name="connsiteX3160" fmla="*/ 111735 w 447236"/>
              <a:gd name="connsiteY3160" fmla="*/ 131435 h 448122"/>
              <a:gd name="connsiteX3161" fmla="*/ 111119 w 447236"/>
              <a:gd name="connsiteY3161" fmla="*/ 132355 h 448122"/>
              <a:gd name="connsiteX3162" fmla="*/ 109888 w 447236"/>
              <a:gd name="connsiteY3162" fmla="*/ 132968 h 448122"/>
              <a:gd name="connsiteX3163" fmla="*/ 109273 w 447236"/>
              <a:gd name="connsiteY3163" fmla="*/ 132968 h 448122"/>
              <a:gd name="connsiteX3164" fmla="*/ 109273 w 447236"/>
              <a:gd name="connsiteY3164" fmla="*/ 139780 h 448122"/>
              <a:gd name="connsiteX3165" fmla="*/ 114480 w 447236"/>
              <a:gd name="connsiteY3165" fmla="*/ 139780 h 448122"/>
              <a:gd name="connsiteX3166" fmla="*/ 114480 w 447236"/>
              <a:gd name="connsiteY3166" fmla="*/ 133826 h 448122"/>
              <a:gd name="connsiteX3167" fmla="*/ 114480 w 447236"/>
              <a:gd name="connsiteY3167" fmla="*/ 132968 h 448122"/>
              <a:gd name="connsiteX3168" fmla="*/ 113865 w 447236"/>
              <a:gd name="connsiteY3168" fmla="*/ 132968 h 448122"/>
              <a:gd name="connsiteX3169" fmla="*/ 112941 w 447236"/>
              <a:gd name="connsiteY3169" fmla="*/ 132355 h 448122"/>
              <a:gd name="connsiteX3170" fmla="*/ 112326 w 447236"/>
              <a:gd name="connsiteY3170" fmla="*/ 131435 h 448122"/>
              <a:gd name="connsiteX3171" fmla="*/ 112941 w 447236"/>
              <a:gd name="connsiteY3171" fmla="*/ 130208 h 448122"/>
              <a:gd name="connsiteX3172" fmla="*/ 113865 w 447236"/>
              <a:gd name="connsiteY3172" fmla="*/ 129595 h 448122"/>
              <a:gd name="connsiteX3173" fmla="*/ 125252 w 447236"/>
              <a:gd name="connsiteY3173" fmla="*/ 129595 h 448122"/>
              <a:gd name="connsiteX3174" fmla="*/ 126483 w 447236"/>
              <a:gd name="connsiteY3174" fmla="*/ 130208 h 448122"/>
              <a:gd name="connsiteX3175" fmla="*/ 126791 w 447236"/>
              <a:gd name="connsiteY3175" fmla="*/ 131435 h 448122"/>
              <a:gd name="connsiteX3176" fmla="*/ 126483 w 447236"/>
              <a:gd name="connsiteY3176" fmla="*/ 132355 h 448122"/>
              <a:gd name="connsiteX3177" fmla="*/ 125252 w 447236"/>
              <a:gd name="connsiteY3177" fmla="*/ 132968 h 448122"/>
              <a:gd name="connsiteX3178" fmla="*/ 124636 w 447236"/>
              <a:gd name="connsiteY3178" fmla="*/ 132968 h 448122"/>
              <a:gd name="connsiteX3179" fmla="*/ 124636 w 447236"/>
              <a:gd name="connsiteY3179" fmla="*/ 139780 h 448122"/>
              <a:gd name="connsiteX3180" fmla="*/ 126684 w 447236"/>
              <a:gd name="connsiteY3180" fmla="*/ 139780 h 448122"/>
              <a:gd name="connsiteX3181" fmla="*/ 127642 w 447236"/>
              <a:gd name="connsiteY3181" fmla="*/ 139780 h 448122"/>
              <a:gd name="connsiteX3182" fmla="*/ 128562 w 447236"/>
              <a:gd name="connsiteY3182" fmla="*/ 140729 h 448122"/>
              <a:gd name="connsiteX3183" fmla="*/ 127642 w 447236"/>
              <a:gd name="connsiteY3183" fmla="*/ 141994 h 448122"/>
              <a:gd name="connsiteX3184" fmla="*/ 124636 w 447236"/>
              <a:gd name="connsiteY3184" fmla="*/ 141994 h 448122"/>
              <a:gd name="connsiteX3185" fmla="*/ 124636 w 447236"/>
              <a:gd name="connsiteY3185" fmla="*/ 164704 h 448122"/>
              <a:gd name="connsiteX3186" fmla="*/ 124636 w 447236"/>
              <a:gd name="connsiteY3186" fmla="*/ 187862 h 448122"/>
              <a:gd name="connsiteX3187" fmla="*/ 123098 w 447236"/>
              <a:gd name="connsiteY3187" fmla="*/ 191236 h 448122"/>
              <a:gd name="connsiteX3188" fmla="*/ 119712 w 447236"/>
              <a:gd name="connsiteY3188" fmla="*/ 192769 h 448122"/>
              <a:gd name="connsiteX3189" fmla="*/ 116019 w 447236"/>
              <a:gd name="connsiteY3189" fmla="*/ 191236 h 448122"/>
              <a:gd name="connsiteX3190" fmla="*/ 114480 w 447236"/>
              <a:gd name="connsiteY3190" fmla="*/ 187862 h 448122"/>
              <a:gd name="connsiteX3191" fmla="*/ 114480 w 447236"/>
              <a:gd name="connsiteY3191" fmla="*/ 156127 h 448122"/>
              <a:gd name="connsiteX3192" fmla="*/ 114480 w 447236"/>
              <a:gd name="connsiteY3192" fmla="*/ 141994 h 448122"/>
              <a:gd name="connsiteX3193" fmla="*/ 109273 w 447236"/>
              <a:gd name="connsiteY3193" fmla="*/ 141994 h 448122"/>
              <a:gd name="connsiteX3194" fmla="*/ 109273 w 447236"/>
              <a:gd name="connsiteY3194" fmla="*/ 164704 h 448122"/>
              <a:gd name="connsiteX3195" fmla="*/ 109273 w 447236"/>
              <a:gd name="connsiteY3195" fmla="*/ 187862 h 448122"/>
              <a:gd name="connsiteX3196" fmla="*/ 108042 w 447236"/>
              <a:gd name="connsiteY3196" fmla="*/ 191236 h 448122"/>
              <a:gd name="connsiteX3197" fmla="*/ 104348 w 447236"/>
              <a:gd name="connsiteY3197" fmla="*/ 192769 h 448122"/>
              <a:gd name="connsiteX3198" fmla="*/ 100963 w 447236"/>
              <a:gd name="connsiteY3198" fmla="*/ 191236 h 448122"/>
              <a:gd name="connsiteX3199" fmla="*/ 99424 w 447236"/>
              <a:gd name="connsiteY3199" fmla="*/ 187862 h 448122"/>
              <a:gd name="connsiteX3200" fmla="*/ 99424 w 447236"/>
              <a:gd name="connsiteY3200" fmla="*/ 156127 h 448122"/>
              <a:gd name="connsiteX3201" fmla="*/ 99424 w 447236"/>
              <a:gd name="connsiteY3201" fmla="*/ 141994 h 448122"/>
              <a:gd name="connsiteX3202" fmla="*/ 94229 w 447236"/>
              <a:gd name="connsiteY3202" fmla="*/ 141994 h 448122"/>
              <a:gd name="connsiteX3203" fmla="*/ 94229 w 447236"/>
              <a:gd name="connsiteY3203" fmla="*/ 164704 h 448122"/>
              <a:gd name="connsiteX3204" fmla="*/ 94229 w 447236"/>
              <a:gd name="connsiteY3204" fmla="*/ 187862 h 448122"/>
              <a:gd name="connsiteX3205" fmla="*/ 92691 w 447236"/>
              <a:gd name="connsiteY3205" fmla="*/ 191236 h 448122"/>
              <a:gd name="connsiteX3206" fmla="*/ 89305 w 447236"/>
              <a:gd name="connsiteY3206" fmla="*/ 192769 h 448122"/>
              <a:gd name="connsiteX3207" fmla="*/ 85612 w 447236"/>
              <a:gd name="connsiteY3207" fmla="*/ 191236 h 448122"/>
              <a:gd name="connsiteX3208" fmla="*/ 84073 w 447236"/>
              <a:gd name="connsiteY3208" fmla="*/ 187862 h 448122"/>
              <a:gd name="connsiteX3209" fmla="*/ 84073 w 447236"/>
              <a:gd name="connsiteY3209" fmla="*/ 156127 h 448122"/>
              <a:gd name="connsiteX3210" fmla="*/ 84073 w 447236"/>
              <a:gd name="connsiteY3210" fmla="*/ 141994 h 448122"/>
              <a:gd name="connsiteX3211" fmla="*/ 78867 w 447236"/>
              <a:gd name="connsiteY3211" fmla="*/ 141994 h 448122"/>
              <a:gd name="connsiteX3212" fmla="*/ 78867 w 447236"/>
              <a:gd name="connsiteY3212" fmla="*/ 164704 h 448122"/>
              <a:gd name="connsiteX3213" fmla="*/ 78867 w 447236"/>
              <a:gd name="connsiteY3213" fmla="*/ 187862 h 448122"/>
              <a:gd name="connsiteX3214" fmla="*/ 77636 w 447236"/>
              <a:gd name="connsiteY3214" fmla="*/ 191236 h 448122"/>
              <a:gd name="connsiteX3215" fmla="*/ 73942 w 447236"/>
              <a:gd name="connsiteY3215" fmla="*/ 192769 h 448122"/>
              <a:gd name="connsiteX3216" fmla="*/ 70557 w 447236"/>
              <a:gd name="connsiteY3216" fmla="*/ 191236 h 448122"/>
              <a:gd name="connsiteX3217" fmla="*/ 69018 w 447236"/>
              <a:gd name="connsiteY3217" fmla="*/ 187862 h 448122"/>
              <a:gd name="connsiteX3218" fmla="*/ 69018 w 447236"/>
              <a:gd name="connsiteY3218" fmla="*/ 156127 h 448122"/>
              <a:gd name="connsiteX3219" fmla="*/ 69018 w 447236"/>
              <a:gd name="connsiteY3219" fmla="*/ 141994 h 448122"/>
              <a:gd name="connsiteX3220" fmla="*/ 67277 w 447236"/>
              <a:gd name="connsiteY3220" fmla="*/ 141994 h 448122"/>
              <a:gd name="connsiteX3221" fmla="*/ 66319 w 447236"/>
              <a:gd name="connsiteY3221" fmla="*/ 141994 h 448122"/>
              <a:gd name="connsiteX3222" fmla="*/ 65093 w 447236"/>
              <a:gd name="connsiteY3222" fmla="*/ 140729 h 448122"/>
              <a:gd name="connsiteX3223" fmla="*/ 66319 w 447236"/>
              <a:gd name="connsiteY3223" fmla="*/ 139780 h 448122"/>
              <a:gd name="connsiteX3224" fmla="*/ 69018 w 447236"/>
              <a:gd name="connsiteY3224" fmla="*/ 139780 h 448122"/>
              <a:gd name="connsiteX3225" fmla="*/ 69018 w 447236"/>
              <a:gd name="connsiteY3225" fmla="*/ 133826 h 448122"/>
              <a:gd name="connsiteX3226" fmla="*/ 69018 w 447236"/>
              <a:gd name="connsiteY3226" fmla="*/ 132968 h 448122"/>
              <a:gd name="connsiteX3227" fmla="*/ 68403 w 447236"/>
              <a:gd name="connsiteY3227" fmla="*/ 132968 h 448122"/>
              <a:gd name="connsiteX3228" fmla="*/ 67172 w 447236"/>
              <a:gd name="connsiteY3228" fmla="*/ 132355 h 448122"/>
              <a:gd name="connsiteX3229" fmla="*/ 66864 w 447236"/>
              <a:gd name="connsiteY3229" fmla="*/ 131435 h 448122"/>
              <a:gd name="connsiteX3230" fmla="*/ 67172 w 447236"/>
              <a:gd name="connsiteY3230" fmla="*/ 130208 h 448122"/>
              <a:gd name="connsiteX3231" fmla="*/ 68403 w 447236"/>
              <a:gd name="connsiteY3231" fmla="*/ 129595 h 448122"/>
              <a:gd name="connsiteX3232" fmla="*/ 374154 w 447236"/>
              <a:gd name="connsiteY3232" fmla="*/ 129311 h 448122"/>
              <a:gd name="connsiteX3233" fmla="*/ 378143 w 447236"/>
              <a:gd name="connsiteY3233" fmla="*/ 129311 h 448122"/>
              <a:gd name="connsiteX3234" fmla="*/ 381212 w 447236"/>
              <a:gd name="connsiteY3234" fmla="*/ 131455 h 448122"/>
              <a:gd name="connsiteX3235" fmla="*/ 381826 w 447236"/>
              <a:gd name="connsiteY3235" fmla="*/ 137581 h 448122"/>
              <a:gd name="connsiteX3236" fmla="*/ 378757 w 447236"/>
              <a:gd name="connsiteY3236" fmla="*/ 141870 h 448122"/>
              <a:gd name="connsiteX3237" fmla="*/ 374154 w 447236"/>
              <a:gd name="connsiteY3237" fmla="*/ 153815 h 448122"/>
              <a:gd name="connsiteX3238" fmla="*/ 368323 w 447236"/>
              <a:gd name="connsiteY3238" fmla="*/ 165455 h 448122"/>
              <a:gd name="connsiteX3239" fmla="*/ 366482 w 447236"/>
              <a:gd name="connsiteY3239" fmla="*/ 167292 h 448122"/>
              <a:gd name="connsiteX3240" fmla="*/ 366482 w 447236"/>
              <a:gd name="connsiteY3240" fmla="*/ 169743 h 448122"/>
              <a:gd name="connsiteX3241" fmla="*/ 290072 w 447236"/>
              <a:gd name="connsiteY3241" fmla="*/ 169743 h 448122"/>
              <a:gd name="connsiteX3242" fmla="*/ 290072 w 447236"/>
              <a:gd name="connsiteY3242" fmla="*/ 165148 h 448122"/>
              <a:gd name="connsiteX3243" fmla="*/ 278411 w 447236"/>
              <a:gd name="connsiteY3243" fmla="*/ 162392 h 448122"/>
              <a:gd name="connsiteX3244" fmla="*/ 272273 w 447236"/>
              <a:gd name="connsiteY3244" fmla="*/ 152896 h 448122"/>
              <a:gd name="connsiteX3245" fmla="*/ 271353 w 447236"/>
              <a:gd name="connsiteY3245" fmla="*/ 147996 h 448122"/>
              <a:gd name="connsiteX3246" fmla="*/ 271659 w 447236"/>
              <a:gd name="connsiteY3246" fmla="*/ 138194 h 448122"/>
              <a:gd name="connsiteX3247" fmla="*/ 286696 w 447236"/>
              <a:gd name="connsiteY3247" fmla="*/ 134212 h 448122"/>
              <a:gd name="connsiteX3248" fmla="*/ 288537 w 447236"/>
              <a:gd name="connsiteY3248" fmla="*/ 134518 h 448122"/>
              <a:gd name="connsiteX3249" fmla="*/ 290072 w 447236"/>
              <a:gd name="connsiteY3249" fmla="*/ 134825 h 448122"/>
              <a:gd name="connsiteX3250" fmla="*/ 290072 w 447236"/>
              <a:gd name="connsiteY3250" fmla="*/ 131149 h 448122"/>
              <a:gd name="connsiteX3251" fmla="*/ 366482 w 447236"/>
              <a:gd name="connsiteY3251" fmla="*/ 131149 h 448122"/>
              <a:gd name="connsiteX3252" fmla="*/ 366482 w 447236"/>
              <a:gd name="connsiteY3252" fmla="*/ 133906 h 448122"/>
              <a:gd name="connsiteX3253" fmla="*/ 374154 w 447236"/>
              <a:gd name="connsiteY3253" fmla="*/ 129311 h 448122"/>
              <a:gd name="connsiteX3254" fmla="*/ 254747 w 447236"/>
              <a:gd name="connsiteY3254" fmla="*/ 126563 h 448122"/>
              <a:gd name="connsiteX3255" fmla="*/ 250464 w 447236"/>
              <a:gd name="connsiteY3255" fmla="*/ 128402 h 448122"/>
              <a:gd name="connsiteX3256" fmla="*/ 248628 w 447236"/>
              <a:gd name="connsiteY3256" fmla="*/ 132692 h 448122"/>
              <a:gd name="connsiteX3257" fmla="*/ 248628 w 447236"/>
              <a:gd name="connsiteY3257" fmla="*/ 146177 h 448122"/>
              <a:gd name="connsiteX3258" fmla="*/ 262090 w 447236"/>
              <a:gd name="connsiteY3258" fmla="*/ 146177 h 448122"/>
              <a:gd name="connsiteX3259" fmla="*/ 262090 w 447236"/>
              <a:gd name="connsiteY3259" fmla="*/ 132692 h 448122"/>
              <a:gd name="connsiteX3260" fmla="*/ 259948 w 447236"/>
              <a:gd name="connsiteY3260" fmla="*/ 128402 h 448122"/>
              <a:gd name="connsiteX3261" fmla="*/ 255665 w 447236"/>
              <a:gd name="connsiteY3261" fmla="*/ 126563 h 448122"/>
              <a:gd name="connsiteX3262" fmla="*/ 254747 w 447236"/>
              <a:gd name="connsiteY3262" fmla="*/ 126563 h 448122"/>
              <a:gd name="connsiteX3263" fmla="*/ 254747 w 447236"/>
              <a:gd name="connsiteY3263" fmla="*/ 124724 h 448122"/>
              <a:gd name="connsiteX3264" fmla="*/ 255665 w 447236"/>
              <a:gd name="connsiteY3264" fmla="*/ 124724 h 448122"/>
              <a:gd name="connsiteX3265" fmla="*/ 261172 w 447236"/>
              <a:gd name="connsiteY3265" fmla="*/ 127176 h 448122"/>
              <a:gd name="connsiteX3266" fmla="*/ 263619 w 447236"/>
              <a:gd name="connsiteY3266" fmla="*/ 132692 h 448122"/>
              <a:gd name="connsiteX3267" fmla="*/ 263619 w 447236"/>
              <a:gd name="connsiteY3267" fmla="*/ 146177 h 448122"/>
              <a:gd name="connsiteX3268" fmla="*/ 263619 w 447236"/>
              <a:gd name="connsiteY3268" fmla="*/ 146790 h 448122"/>
              <a:gd name="connsiteX3269" fmla="*/ 263619 w 447236"/>
              <a:gd name="connsiteY3269" fmla="*/ 147710 h 448122"/>
              <a:gd name="connsiteX3270" fmla="*/ 263619 w 447236"/>
              <a:gd name="connsiteY3270" fmla="*/ 160888 h 448122"/>
              <a:gd name="connsiteX3271" fmla="*/ 261172 w 447236"/>
              <a:gd name="connsiteY3271" fmla="*/ 166712 h 448122"/>
              <a:gd name="connsiteX3272" fmla="*/ 255665 w 447236"/>
              <a:gd name="connsiteY3272" fmla="*/ 168857 h 448122"/>
              <a:gd name="connsiteX3273" fmla="*/ 254747 w 447236"/>
              <a:gd name="connsiteY3273" fmla="*/ 168857 h 448122"/>
              <a:gd name="connsiteX3274" fmla="*/ 249240 w 447236"/>
              <a:gd name="connsiteY3274" fmla="*/ 166712 h 448122"/>
              <a:gd name="connsiteX3275" fmla="*/ 246792 w 447236"/>
              <a:gd name="connsiteY3275" fmla="*/ 160888 h 448122"/>
              <a:gd name="connsiteX3276" fmla="*/ 246792 w 447236"/>
              <a:gd name="connsiteY3276" fmla="*/ 146790 h 448122"/>
              <a:gd name="connsiteX3277" fmla="*/ 246792 w 447236"/>
              <a:gd name="connsiteY3277" fmla="*/ 146177 h 448122"/>
              <a:gd name="connsiteX3278" fmla="*/ 246792 w 447236"/>
              <a:gd name="connsiteY3278" fmla="*/ 132692 h 448122"/>
              <a:gd name="connsiteX3279" fmla="*/ 249240 w 447236"/>
              <a:gd name="connsiteY3279" fmla="*/ 127176 h 448122"/>
              <a:gd name="connsiteX3280" fmla="*/ 254747 w 447236"/>
              <a:gd name="connsiteY3280" fmla="*/ 124724 h 448122"/>
              <a:gd name="connsiteX3281" fmla="*/ 147006 w 447236"/>
              <a:gd name="connsiteY3281" fmla="*/ 120795 h 448122"/>
              <a:gd name="connsiteX3282" fmla="*/ 145167 w 447236"/>
              <a:gd name="connsiteY3282" fmla="*/ 122632 h 448122"/>
              <a:gd name="connsiteX3283" fmla="*/ 136887 w 447236"/>
              <a:gd name="connsiteY3283" fmla="*/ 132123 h 448122"/>
              <a:gd name="connsiteX3284" fmla="*/ 157126 w 447236"/>
              <a:gd name="connsiteY3284" fmla="*/ 132123 h 448122"/>
              <a:gd name="connsiteX3285" fmla="*/ 148846 w 447236"/>
              <a:gd name="connsiteY3285" fmla="*/ 122632 h 448122"/>
              <a:gd name="connsiteX3286" fmla="*/ 147006 w 447236"/>
              <a:gd name="connsiteY3286" fmla="*/ 120795 h 448122"/>
              <a:gd name="connsiteX3287" fmla="*/ 298653 w 447236"/>
              <a:gd name="connsiteY3287" fmla="*/ 118937 h 448122"/>
              <a:gd name="connsiteX3288" fmla="*/ 298345 w 447236"/>
              <a:gd name="connsiteY3288" fmla="*/ 119549 h 448122"/>
              <a:gd name="connsiteX3289" fmla="*/ 298653 w 447236"/>
              <a:gd name="connsiteY3289" fmla="*/ 119855 h 448122"/>
              <a:gd name="connsiteX3290" fmla="*/ 307888 w 447236"/>
              <a:gd name="connsiteY3290" fmla="*/ 119855 h 448122"/>
              <a:gd name="connsiteX3291" fmla="*/ 308196 w 447236"/>
              <a:gd name="connsiteY3291" fmla="*/ 119549 h 448122"/>
              <a:gd name="connsiteX3292" fmla="*/ 307888 w 447236"/>
              <a:gd name="connsiteY3292" fmla="*/ 118937 h 448122"/>
              <a:gd name="connsiteX3293" fmla="*/ 298653 w 447236"/>
              <a:gd name="connsiteY3293" fmla="*/ 118937 h 448122"/>
              <a:gd name="connsiteX3294" fmla="*/ 295267 w 447236"/>
              <a:gd name="connsiteY3294" fmla="*/ 116182 h 448122"/>
              <a:gd name="connsiteX3295" fmla="*/ 294959 w 447236"/>
              <a:gd name="connsiteY3295" fmla="*/ 116488 h 448122"/>
              <a:gd name="connsiteX3296" fmla="*/ 295267 w 447236"/>
              <a:gd name="connsiteY3296" fmla="*/ 117100 h 448122"/>
              <a:gd name="connsiteX3297" fmla="*/ 311274 w 447236"/>
              <a:gd name="connsiteY3297" fmla="*/ 117100 h 448122"/>
              <a:gd name="connsiteX3298" fmla="*/ 311582 w 447236"/>
              <a:gd name="connsiteY3298" fmla="*/ 116488 h 448122"/>
              <a:gd name="connsiteX3299" fmla="*/ 311274 w 447236"/>
              <a:gd name="connsiteY3299" fmla="*/ 116182 h 448122"/>
              <a:gd name="connsiteX3300" fmla="*/ 295267 w 447236"/>
              <a:gd name="connsiteY3300" fmla="*/ 116182 h 448122"/>
              <a:gd name="connsiteX3301" fmla="*/ 298653 w 447236"/>
              <a:gd name="connsiteY3301" fmla="*/ 113427 h 448122"/>
              <a:gd name="connsiteX3302" fmla="*/ 298345 w 447236"/>
              <a:gd name="connsiteY3302" fmla="*/ 113733 h 448122"/>
              <a:gd name="connsiteX3303" fmla="*/ 298653 w 447236"/>
              <a:gd name="connsiteY3303" fmla="*/ 114039 h 448122"/>
              <a:gd name="connsiteX3304" fmla="*/ 307888 w 447236"/>
              <a:gd name="connsiteY3304" fmla="*/ 114039 h 448122"/>
              <a:gd name="connsiteX3305" fmla="*/ 308196 w 447236"/>
              <a:gd name="connsiteY3305" fmla="*/ 113733 h 448122"/>
              <a:gd name="connsiteX3306" fmla="*/ 307888 w 447236"/>
              <a:gd name="connsiteY3306" fmla="*/ 113427 h 448122"/>
              <a:gd name="connsiteX3307" fmla="*/ 298653 w 447236"/>
              <a:gd name="connsiteY3307" fmla="*/ 113427 h 448122"/>
              <a:gd name="connsiteX3308" fmla="*/ 298653 w 447236"/>
              <a:gd name="connsiteY3308" fmla="*/ 110672 h 448122"/>
              <a:gd name="connsiteX3309" fmla="*/ 298345 w 447236"/>
              <a:gd name="connsiteY3309" fmla="*/ 110978 h 448122"/>
              <a:gd name="connsiteX3310" fmla="*/ 298653 w 447236"/>
              <a:gd name="connsiteY3310" fmla="*/ 111285 h 448122"/>
              <a:gd name="connsiteX3311" fmla="*/ 307888 w 447236"/>
              <a:gd name="connsiteY3311" fmla="*/ 111285 h 448122"/>
              <a:gd name="connsiteX3312" fmla="*/ 308196 w 447236"/>
              <a:gd name="connsiteY3312" fmla="*/ 110978 h 448122"/>
              <a:gd name="connsiteX3313" fmla="*/ 307888 w 447236"/>
              <a:gd name="connsiteY3313" fmla="*/ 110672 h 448122"/>
              <a:gd name="connsiteX3314" fmla="*/ 298653 w 447236"/>
              <a:gd name="connsiteY3314" fmla="*/ 110672 h 448122"/>
              <a:gd name="connsiteX3315" fmla="*/ 298653 w 447236"/>
              <a:gd name="connsiteY3315" fmla="*/ 107612 h 448122"/>
              <a:gd name="connsiteX3316" fmla="*/ 298345 w 447236"/>
              <a:gd name="connsiteY3316" fmla="*/ 107918 h 448122"/>
              <a:gd name="connsiteX3317" fmla="*/ 298653 w 447236"/>
              <a:gd name="connsiteY3317" fmla="*/ 108224 h 448122"/>
              <a:gd name="connsiteX3318" fmla="*/ 307888 w 447236"/>
              <a:gd name="connsiteY3318" fmla="*/ 108224 h 448122"/>
              <a:gd name="connsiteX3319" fmla="*/ 308196 w 447236"/>
              <a:gd name="connsiteY3319" fmla="*/ 107918 h 448122"/>
              <a:gd name="connsiteX3320" fmla="*/ 307888 w 447236"/>
              <a:gd name="connsiteY3320" fmla="*/ 107612 h 448122"/>
              <a:gd name="connsiteX3321" fmla="*/ 298653 w 447236"/>
              <a:gd name="connsiteY3321" fmla="*/ 107612 h 448122"/>
              <a:gd name="connsiteX3322" fmla="*/ 141793 w 447236"/>
              <a:gd name="connsiteY3322" fmla="*/ 107324 h 448122"/>
              <a:gd name="connsiteX3323" fmla="*/ 147006 w 447236"/>
              <a:gd name="connsiteY3323" fmla="*/ 113754 h 448122"/>
              <a:gd name="connsiteX3324" fmla="*/ 152219 w 447236"/>
              <a:gd name="connsiteY3324" fmla="*/ 107324 h 448122"/>
              <a:gd name="connsiteX3325" fmla="*/ 141793 w 447236"/>
              <a:gd name="connsiteY3325" fmla="*/ 107324 h 448122"/>
              <a:gd name="connsiteX3326" fmla="*/ 178060 w 447236"/>
              <a:gd name="connsiteY3326" fmla="*/ 106382 h 448122"/>
              <a:gd name="connsiteX3327" fmla="*/ 189417 w 447236"/>
              <a:gd name="connsiteY3327" fmla="*/ 109747 h 448122"/>
              <a:gd name="connsiteX3328" fmla="*/ 234540 w 447236"/>
              <a:gd name="connsiteY3328" fmla="*/ 122904 h 448122"/>
              <a:gd name="connsiteX3329" fmla="*/ 229322 w 447236"/>
              <a:gd name="connsiteY3329" fmla="*/ 143405 h 448122"/>
              <a:gd name="connsiteX3330" fmla="*/ 205072 w 447236"/>
              <a:gd name="connsiteY3330" fmla="*/ 137591 h 448122"/>
              <a:gd name="connsiteX3331" fmla="*/ 182050 w 447236"/>
              <a:gd name="connsiteY3331" fmla="*/ 140651 h 448122"/>
              <a:gd name="connsiteX3332" fmla="*/ 193101 w 447236"/>
              <a:gd name="connsiteY3332" fmla="*/ 134838 h 448122"/>
              <a:gd name="connsiteX3333" fmla="*/ 176525 w 447236"/>
              <a:gd name="connsiteY3333" fmla="*/ 130554 h 448122"/>
              <a:gd name="connsiteX3334" fmla="*/ 174069 w 447236"/>
              <a:gd name="connsiteY3334" fmla="*/ 130554 h 448122"/>
              <a:gd name="connsiteX3335" fmla="*/ 166702 w 447236"/>
              <a:gd name="connsiteY3335" fmla="*/ 126882 h 448122"/>
              <a:gd name="connsiteX3336" fmla="*/ 176525 w 447236"/>
              <a:gd name="connsiteY3336" fmla="*/ 125046 h 448122"/>
              <a:gd name="connsiteX3337" fmla="*/ 183892 w 447236"/>
              <a:gd name="connsiteY3337" fmla="*/ 125964 h 448122"/>
              <a:gd name="connsiteX3338" fmla="*/ 176525 w 447236"/>
              <a:gd name="connsiteY3338" fmla="*/ 123210 h 448122"/>
              <a:gd name="connsiteX3339" fmla="*/ 169158 w 447236"/>
              <a:gd name="connsiteY3339" fmla="*/ 121069 h 448122"/>
              <a:gd name="connsiteX3340" fmla="*/ 165781 w 447236"/>
              <a:gd name="connsiteY3340" fmla="*/ 118927 h 448122"/>
              <a:gd name="connsiteX3341" fmla="*/ 168237 w 447236"/>
              <a:gd name="connsiteY3341" fmla="*/ 116173 h 448122"/>
              <a:gd name="connsiteX3342" fmla="*/ 176525 w 447236"/>
              <a:gd name="connsiteY3342" fmla="*/ 118009 h 448122"/>
              <a:gd name="connsiteX3343" fmla="*/ 184813 w 447236"/>
              <a:gd name="connsiteY3343" fmla="*/ 119539 h 448122"/>
              <a:gd name="connsiteX3344" fmla="*/ 176525 w 447236"/>
              <a:gd name="connsiteY3344" fmla="*/ 116785 h 448122"/>
              <a:gd name="connsiteX3345" fmla="*/ 171306 w 447236"/>
              <a:gd name="connsiteY3345" fmla="*/ 114949 h 448122"/>
              <a:gd name="connsiteX3346" fmla="*/ 171920 w 447236"/>
              <a:gd name="connsiteY3346" fmla="*/ 110971 h 448122"/>
              <a:gd name="connsiteX3347" fmla="*/ 176525 w 447236"/>
              <a:gd name="connsiteY3347" fmla="*/ 111583 h 448122"/>
              <a:gd name="connsiteX3348" fmla="*/ 187882 w 447236"/>
              <a:gd name="connsiteY3348" fmla="*/ 114949 h 448122"/>
              <a:gd name="connsiteX3349" fmla="*/ 178060 w 447236"/>
              <a:gd name="connsiteY3349" fmla="*/ 106382 h 448122"/>
              <a:gd name="connsiteX3350" fmla="*/ 295267 w 447236"/>
              <a:gd name="connsiteY3350" fmla="*/ 104551 h 448122"/>
              <a:gd name="connsiteX3351" fmla="*/ 294959 w 447236"/>
              <a:gd name="connsiteY3351" fmla="*/ 104857 h 448122"/>
              <a:gd name="connsiteX3352" fmla="*/ 295267 w 447236"/>
              <a:gd name="connsiteY3352" fmla="*/ 105163 h 448122"/>
              <a:gd name="connsiteX3353" fmla="*/ 311274 w 447236"/>
              <a:gd name="connsiteY3353" fmla="*/ 105163 h 448122"/>
              <a:gd name="connsiteX3354" fmla="*/ 311582 w 447236"/>
              <a:gd name="connsiteY3354" fmla="*/ 104857 h 448122"/>
              <a:gd name="connsiteX3355" fmla="*/ 311274 w 447236"/>
              <a:gd name="connsiteY3355" fmla="*/ 104551 h 448122"/>
              <a:gd name="connsiteX3356" fmla="*/ 295267 w 447236"/>
              <a:gd name="connsiteY3356" fmla="*/ 104551 h 448122"/>
              <a:gd name="connsiteX3357" fmla="*/ 298653 w 447236"/>
              <a:gd name="connsiteY3357" fmla="*/ 101490 h 448122"/>
              <a:gd name="connsiteX3358" fmla="*/ 298345 w 447236"/>
              <a:gd name="connsiteY3358" fmla="*/ 101796 h 448122"/>
              <a:gd name="connsiteX3359" fmla="*/ 298653 w 447236"/>
              <a:gd name="connsiteY3359" fmla="*/ 102102 h 448122"/>
              <a:gd name="connsiteX3360" fmla="*/ 307888 w 447236"/>
              <a:gd name="connsiteY3360" fmla="*/ 102102 h 448122"/>
              <a:gd name="connsiteX3361" fmla="*/ 308196 w 447236"/>
              <a:gd name="connsiteY3361" fmla="*/ 101796 h 448122"/>
              <a:gd name="connsiteX3362" fmla="*/ 307888 w 447236"/>
              <a:gd name="connsiteY3362" fmla="*/ 101490 h 448122"/>
              <a:gd name="connsiteX3363" fmla="*/ 298653 w 447236"/>
              <a:gd name="connsiteY3363" fmla="*/ 101490 h 448122"/>
              <a:gd name="connsiteX3364" fmla="*/ 137807 w 447236"/>
              <a:gd name="connsiteY3364" fmla="*/ 99364 h 448122"/>
              <a:gd name="connsiteX3365" fmla="*/ 138727 w 447236"/>
              <a:gd name="connsiteY3365" fmla="*/ 101814 h 448122"/>
              <a:gd name="connsiteX3366" fmla="*/ 155286 w 447236"/>
              <a:gd name="connsiteY3366" fmla="*/ 101814 h 448122"/>
              <a:gd name="connsiteX3367" fmla="*/ 156206 w 447236"/>
              <a:gd name="connsiteY3367" fmla="*/ 99364 h 448122"/>
              <a:gd name="connsiteX3368" fmla="*/ 137807 w 447236"/>
              <a:gd name="connsiteY3368" fmla="*/ 99364 h 448122"/>
              <a:gd name="connsiteX3369" fmla="*/ 298653 w 447236"/>
              <a:gd name="connsiteY3369" fmla="*/ 98735 h 448122"/>
              <a:gd name="connsiteX3370" fmla="*/ 298345 w 447236"/>
              <a:gd name="connsiteY3370" fmla="*/ 99041 h 448122"/>
              <a:gd name="connsiteX3371" fmla="*/ 298653 w 447236"/>
              <a:gd name="connsiteY3371" fmla="*/ 99347 h 448122"/>
              <a:gd name="connsiteX3372" fmla="*/ 307888 w 447236"/>
              <a:gd name="connsiteY3372" fmla="*/ 99347 h 448122"/>
              <a:gd name="connsiteX3373" fmla="*/ 308196 w 447236"/>
              <a:gd name="connsiteY3373" fmla="*/ 99041 h 448122"/>
              <a:gd name="connsiteX3374" fmla="*/ 307888 w 447236"/>
              <a:gd name="connsiteY3374" fmla="*/ 98735 h 448122"/>
              <a:gd name="connsiteX3375" fmla="*/ 298653 w 447236"/>
              <a:gd name="connsiteY3375" fmla="*/ 98735 h 448122"/>
              <a:gd name="connsiteX3376" fmla="*/ 298653 w 447236"/>
              <a:gd name="connsiteY3376" fmla="*/ 95675 h 448122"/>
              <a:gd name="connsiteX3377" fmla="*/ 298345 w 447236"/>
              <a:gd name="connsiteY3377" fmla="*/ 95981 h 448122"/>
              <a:gd name="connsiteX3378" fmla="*/ 298653 w 447236"/>
              <a:gd name="connsiteY3378" fmla="*/ 96287 h 448122"/>
              <a:gd name="connsiteX3379" fmla="*/ 307888 w 447236"/>
              <a:gd name="connsiteY3379" fmla="*/ 96287 h 448122"/>
              <a:gd name="connsiteX3380" fmla="*/ 308196 w 447236"/>
              <a:gd name="connsiteY3380" fmla="*/ 95981 h 448122"/>
              <a:gd name="connsiteX3381" fmla="*/ 307888 w 447236"/>
              <a:gd name="connsiteY3381" fmla="*/ 95675 h 448122"/>
              <a:gd name="connsiteX3382" fmla="*/ 298653 w 447236"/>
              <a:gd name="connsiteY3382" fmla="*/ 95675 h 448122"/>
              <a:gd name="connsiteX3383" fmla="*/ 295267 w 447236"/>
              <a:gd name="connsiteY3383" fmla="*/ 92614 h 448122"/>
              <a:gd name="connsiteX3384" fmla="*/ 294959 w 447236"/>
              <a:gd name="connsiteY3384" fmla="*/ 92920 h 448122"/>
              <a:gd name="connsiteX3385" fmla="*/ 295267 w 447236"/>
              <a:gd name="connsiteY3385" fmla="*/ 93226 h 448122"/>
              <a:gd name="connsiteX3386" fmla="*/ 311274 w 447236"/>
              <a:gd name="connsiteY3386" fmla="*/ 93226 h 448122"/>
              <a:gd name="connsiteX3387" fmla="*/ 311582 w 447236"/>
              <a:gd name="connsiteY3387" fmla="*/ 92920 h 448122"/>
              <a:gd name="connsiteX3388" fmla="*/ 311274 w 447236"/>
              <a:gd name="connsiteY3388" fmla="*/ 92614 h 448122"/>
              <a:gd name="connsiteX3389" fmla="*/ 295267 w 447236"/>
              <a:gd name="connsiteY3389" fmla="*/ 92614 h 448122"/>
              <a:gd name="connsiteX3390" fmla="*/ 298653 w 447236"/>
              <a:gd name="connsiteY3390" fmla="*/ 89553 h 448122"/>
              <a:gd name="connsiteX3391" fmla="*/ 298345 w 447236"/>
              <a:gd name="connsiteY3391" fmla="*/ 89859 h 448122"/>
              <a:gd name="connsiteX3392" fmla="*/ 298653 w 447236"/>
              <a:gd name="connsiteY3392" fmla="*/ 90165 h 448122"/>
              <a:gd name="connsiteX3393" fmla="*/ 307888 w 447236"/>
              <a:gd name="connsiteY3393" fmla="*/ 90165 h 448122"/>
              <a:gd name="connsiteX3394" fmla="*/ 308196 w 447236"/>
              <a:gd name="connsiteY3394" fmla="*/ 89859 h 448122"/>
              <a:gd name="connsiteX3395" fmla="*/ 307888 w 447236"/>
              <a:gd name="connsiteY3395" fmla="*/ 89553 h 448122"/>
              <a:gd name="connsiteX3396" fmla="*/ 298653 w 447236"/>
              <a:gd name="connsiteY3396" fmla="*/ 89553 h 448122"/>
              <a:gd name="connsiteX3397" fmla="*/ 298653 w 447236"/>
              <a:gd name="connsiteY3397" fmla="*/ 86798 h 448122"/>
              <a:gd name="connsiteX3398" fmla="*/ 298345 w 447236"/>
              <a:gd name="connsiteY3398" fmla="*/ 87104 h 448122"/>
              <a:gd name="connsiteX3399" fmla="*/ 298653 w 447236"/>
              <a:gd name="connsiteY3399" fmla="*/ 87410 h 448122"/>
              <a:gd name="connsiteX3400" fmla="*/ 307888 w 447236"/>
              <a:gd name="connsiteY3400" fmla="*/ 87410 h 448122"/>
              <a:gd name="connsiteX3401" fmla="*/ 308196 w 447236"/>
              <a:gd name="connsiteY3401" fmla="*/ 87104 h 448122"/>
              <a:gd name="connsiteX3402" fmla="*/ 307888 w 447236"/>
              <a:gd name="connsiteY3402" fmla="*/ 86798 h 448122"/>
              <a:gd name="connsiteX3403" fmla="*/ 298653 w 447236"/>
              <a:gd name="connsiteY3403" fmla="*/ 86798 h 448122"/>
              <a:gd name="connsiteX3404" fmla="*/ 132594 w 447236"/>
              <a:gd name="connsiteY3404" fmla="*/ 86200 h 448122"/>
              <a:gd name="connsiteX3405" fmla="*/ 135354 w 447236"/>
              <a:gd name="connsiteY3405" fmla="*/ 88649 h 448122"/>
              <a:gd name="connsiteX3406" fmla="*/ 136274 w 447236"/>
              <a:gd name="connsiteY3406" fmla="*/ 94160 h 448122"/>
              <a:gd name="connsiteX3407" fmla="*/ 158046 w 447236"/>
              <a:gd name="connsiteY3407" fmla="*/ 94160 h 448122"/>
              <a:gd name="connsiteX3408" fmla="*/ 158659 w 447236"/>
              <a:gd name="connsiteY3408" fmla="*/ 88649 h 448122"/>
              <a:gd name="connsiteX3409" fmla="*/ 161419 w 447236"/>
              <a:gd name="connsiteY3409" fmla="*/ 86200 h 448122"/>
              <a:gd name="connsiteX3410" fmla="*/ 163872 w 447236"/>
              <a:gd name="connsiteY3410" fmla="*/ 88955 h 448122"/>
              <a:gd name="connsiteX3411" fmla="*/ 150380 w 447236"/>
              <a:gd name="connsiteY3411" fmla="*/ 117428 h 448122"/>
              <a:gd name="connsiteX3412" fmla="*/ 152219 w 447236"/>
              <a:gd name="connsiteY3412" fmla="*/ 119264 h 448122"/>
              <a:gd name="connsiteX3413" fmla="*/ 165712 w 447236"/>
              <a:gd name="connsiteY3413" fmla="*/ 145900 h 448122"/>
              <a:gd name="connsiteX3414" fmla="*/ 151606 w 447236"/>
              <a:gd name="connsiteY3414" fmla="*/ 165494 h 448122"/>
              <a:gd name="connsiteX3415" fmla="*/ 150993 w 447236"/>
              <a:gd name="connsiteY3415" fmla="*/ 165800 h 448122"/>
              <a:gd name="connsiteX3416" fmla="*/ 166019 w 447236"/>
              <a:gd name="connsiteY3416" fmla="*/ 194884 h 448122"/>
              <a:gd name="connsiteX3417" fmla="*/ 163566 w 447236"/>
              <a:gd name="connsiteY3417" fmla="*/ 197640 h 448122"/>
              <a:gd name="connsiteX3418" fmla="*/ 161112 w 447236"/>
              <a:gd name="connsiteY3418" fmla="*/ 195191 h 448122"/>
              <a:gd name="connsiteX3419" fmla="*/ 160192 w 447236"/>
              <a:gd name="connsiteY3419" fmla="*/ 188761 h 448122"/>
              <a:gd name="connsiteX3420" fmla="*/ 133820 w 447236"/>
              <a:gd name="connsiteY3420" fmla="*/ 188761 h 448122"/>
              <a:gd name="connsiteX3421" fmla="*/ 133207 w 447236"/>
              <a:gd name="connsiteY3421" fmla="*/ 195191 h 448122"/>
              <a:gd name="connsiteX3422" fmla="*/ 130447 w 447236"/>
              <a:gd name="connsiteY3422" fmla="*/ 197640 h 448122"/>
              <a:gd name="connsiteX3423" fmla="*/ 127994 w 447236"/>
              <a:gd name="connsiteY3423" fmla="*/ 194884 h 448122"/>
              <a:gd name="connsiteX3424" fmla="*/ 143020 w 447236"/>
              <a:gd name="connsiteY3424" fmla="*/ 165800 h 448122"/>
              <a:gd name="connsiteX3425" fmla="*/ 142713 w 447236"/>
              <a:gd name="connsiteY3425" fmla="*/ 165494 h 448122"/>
              <a:gd name="connsiteX3426" fmla="*/ 128301 w 447236"/>
              <a:gd name="connsiteY3426" fmla="*/ 145900 h 448122"/>
              <a:gd name="connsiteX3427" fmla="*/ 141793 w 447236"/>
              <a:gd name="connsiteY3427" fmla="*/ 119264 h 448122"/>
              <a:gd name="connsiteX3428" fmla="*/ 143633 w 447236"/>
              <a:gd name="connsiteY3428" fmla="*/ 117428 h 448122"/>
              <a:gd name="connsiteX3429" fmla="*/ 130447 w 447236"/>
              <a:gd name="connsiteY3429" fmla="*/ 88955 h 448122"/>
              <a:gd name="connsiteX3430" fmla="*/ 132594 w 447236"/>
              <a:gd name="connsiteY3430" fmla="*/ 86200 h 448122"/>
              <a:gd name="connsiteX3431" fmla="*/ 298653 w 447236"/>
              <a:gd name="connsiteY3431" fmla="*/ 83737 h 448122"/>
              <a:gd name="connsiteX3432" fmla="*/ 298345 w 447236"/>
              <a:gd name="connsiteY3432" fmla="*/ 84044 h 448122"/>
              <a:gd name="connsiteX3433" fmla="*/ 298653 w 447236"/>
              <a:gd name="connsiteY3433" fmla="*/ 84656 h 448122"/>
              <a:gd name="connsiteX3434" fmla="*/ 307888 w 447236"/>
              <a:gd name="connsiteY3434" fmla="*/ 84656 h 448122"/>
              <a:gd name="connsiteX3435" fmla="*/ 308196 w 447236"/>
              <a:gd name="connsiteY3435" fmla="*/ 84044 h 448122"/>
              <a:gd name="connsiteX3436" fmla="*/ 307888 w 447236"/>
              <a:gd name="connsiteY3436" fmla="*/ 83737 h 448122"/>
              <a:gd name="connsiteX3437" fmla="*/ 298653 w 447236"/>
              <a:gd name="connsiteY3437" fmla="*/ 83737 h 448122"/>
              <a:gd name="connsiteX3438" fmla="*/ 295267 w 447236"/>
              <a:gd name="connsiteY3438" fmla="*/ 80064 h 448122"/>
              <a:gd name="connsiteX3439" fmla="*/ 294959 w 447236"/>
              <a:gd name="connsiteY3439" fmla="*/ 80371 h 448122"/>
              <a:gd name="connsiteX3440" fmla="*/ 295267 w 447236"/>
              <a:gd name="connsiteY3440" fmla="*/ 80677 h 448122"/>
              <a:gd name="connsiteX3441" fmla="*/ 311274 w 447236"/>
              <a:gd name="connsiteY3441" fmla="*/ 80677 h 448122"/>
              <a:gd name="connsiteX3442" fmla="*/ 311582 w 447236"/>
              <a:gd name="connsiteY3442" fmla="*/ 80371 h 448122"/>
              <a:gd name="connsiteX3443" fmla="*/ 311274 w 447236"/>
              <a:gd name="connsiteY3443" fmla="*/ 80064 h 448122"/>
              <a:gd name="connsiteX3444" fmla="*/ 295267 w 447236"/>
              <a:gd name="connsiteY3444" fmla="*/ 80064 h 448122"/>
              <a:gd name="connsiteX3445" fmla="*/ 287264 w 447236"/>
              <a:gd name="connsiteY3445" fmla="*/ 69964 h 448122"/>
              <a:gd name="connsiteX3446" fmla="*/ 318969 w 447236"/>
              <a:gd name="connsiteY3446" fmla="*/ 69964 h 448122"/>
              <a:gd name="connsiteX3447" fmla="*/ 316199 w 447236"/>
              <a:gd name="connsiteY3447" fmla="*/ 125364 h 448122"/>
              <a:gd name="connsiteX3448" fmla="*/ 313428 w 447236"/>
              <a:gd name="connsiteY3448" fmla="*/ 128119 h 448122"/>
              <a:gd name="connsiteX3449" fmla="*/ 295267 w 447236"/>
              <a:gd name="connsiteY3449" fmla="*/ 128119 h 448122"/>
              <a:gd name="connsiteX3450" fmla="*/ 292497 w 447236"/>
              <a:gd name="connsiteY3450" fmla="*/ 125364 h 448122"/>
              <a:gd name="connsiteX3451" fmla="*/ 287264 w 447236"/>
              <a:gd name="connsiteY3451" fmla="*/ 77616 h 448122"/>
              <a:gd name="connsiteX3452" fmla="*/ 286648 w 447236"/>
              <a:gd name="connsiteY3452" fmla="*/ 76085 h 448122"/>
              <a:gd name="connsiteX3453" fmla="*/ 282954 w 447236"/>
              <a:gd name="connsiteY3453" fmla="*/ 72106 h 448122"/>
              <a:gd name="connsiteX3454" fmla="*/ 286032 w 447236"/>
              <a:gd name="connsiteY3454" fmla="*/ 70270 h 448122"/>
              <a:gd name="connsiteX3455" fmla="*/ 287264 w 447236"/>
              <a:gd name="connsiteY3455" fmla="*/ 69964 h 448122"/>
              <a:gd name="connsiteX3456" fmla="*/ 255380 w 447236"/>
              <a:gd name="connsiteY3456" fmla="*/ 65240 h 448122"/>
              <a:gd name="connsiteX3457" fmla="*/ 257966 w 447236"/>
              <a:gd name="connsiteY3457" fmla="*/ 78161 h 448122"/>
              <a:gd name="connsiteX3458" fmla="*/ 267989 w 447236"/>
              <a:gd name="connsiteY3458" fmla="*/ 76321 h 448122"/>
              <a:gd name="connsiteX3459" fmla="*/ 277826 w 447236"/>
              <a:gd name="connsiteY3459" fmla="*/ 85511 h 448122"/>
              <a:gd name="connsiteX3460" fmla="*/ 278749 w 447236"/>
              <a:gd name="connsiteY3460" fmla="*/ 100521 h 448122"/>
              <a:gd name="connsiteX3461" fmla="*/ 273215 w 447236"/>
              <a:gd name="connsiteY3461" fmla="*/ 111549 h 448122"/>
              <a:gd name="connsiteX3462" fmla="*/ 265529 w 447236"/>
              <a:gd name="connsiteY3462" fmla="*/ 118901 h 448122"/>
              <a:gd name="connsiteX3463" fmla="*/ 256614 w 447236"/>
              <a:gd name="connsiteY3463" fmla="*/ 117676 h 448122"/>
              <a:gd name="connsiteX3464" fmla="*/ 249851 w 447236"/>
              <a:gd name="connsiteY3464" fmla="*/ 119514 h 448122"/>
              <a:gd name="connsiteX3465" fmla="*/ 247084 w 447236"/>
              <a:gd name="connsiteY3465" fmla="*/ 118901 h 448122"/>
              <a:gd name="connsiteX3466" fmla="*/ 239398 w 447236"/>
              <a:gd name="connsiteY3466" fmla="*/ 111549 h 448122"/>
              <a:gd name="connsiteX3467" fmla="*/ 234172 w 447236"/>
              <a:gd name="connsiteY3467" fmla="*/ 100521 h 448122"/>
              <a:gd name="connsiteX3468" fmla="*/ 234787 w 447236"/>
              <a:gd name="connsiteY3468" fmla="*/ 85511 h 448122"/>
              <a:gd name="connsiteX3469" fmla="*/ 244932 w 447236"/>
              <a:gd name="connsiteY3469" fmla="*/ 76321 h 448122"/>
              <a:gd name="connsiteX3470" fmla="*/ 255401 w 447236"/>
              <a:gd name="connsiteY3470" fmla="*/ 78295 h 448122"/>
              <a:gd name="connsiteX3471" fmla="*/ 251367 w 447236"/>
              <a:gd name="connsiteY3471" fmla="*/ 66782 h 448122"/>
              <a:gd name="connsiteX3472" fmla="*/ 255380 w 447236"/>
              <a:gd name="connsiteY3472" fmla="*/ 65240 h 448122"/>
              <a:gd name="connsiteX3473" fmla="*/ 214319 w 447236"/>
              <a:gd name="connsiteY3473" fmla="*/ 61698 h 448122"/>
              <a:gd name="connsiteX3474" fmla="*/ 216090 w 447236"/>
              <a:gd name="connsiteY3474" fmla="*/ 61698 h 448122"/>
              <a:gd name="connsiteX3475" fmla="*/ 216385 w 447236"/>
              <a:gd name="connsiteY3475" fmla="*/ 69669 h 448122"/>
              <a:gd name="connsiteX3476" fmla="*/ 216737 w 447236"/>
              <a:gd name="connsiteY3476" fmla="*/ 69669 h 448122"/>
              <a:gd name="connsiteX3477" fmla="*/ 219402 w 447236"/>
              <a:gd name="connsiteY3477" fmla="*/ 79115 h 448122"/>
              <a:gd name="connsiteX3478" fmla="*/ 220644 w 447236"/>
              <a:gd name="connsiteY3478" fmla="*/ 79115 h 448122"/>
              <a:gd name="connsiteX3479" fmla="*/ 221256 w 447236"/>
              <a:gd name="connsiteY3479" fmla="*/ 79705 h 448122"/>
              <a:gd name="connsiteX3480" fmla="*/ 221256 w 447236"/>
              <a:gd name="connsiteY3480" fmla="*/ 80296 h 448122"/>
              <a:gd name="connsiteX3481" fmla="*/ 220644 w 447236"/>
              <a:gd name="connsiteY3481" fmla="*/ 80886 h 448122"/>
              <a:gd name="connsiteX3482" fmla="*/ 220735 w 447236"/>
              <a:gd name="connsiteY3482" fmla="*/ 80886 h 448122"/>
              <a:gd name="connsiteX3483" fmla="*/ 221961 w 447236"/>
              <a:gd name="connsiteY3483" fmla="*/ 81501 h 448122"/>
              <a:gd name="connsiteX3484" fmla="*/ 224414 w 447236"/>
              <a:gd name="connsiteY3484" fmla="*/ 91645 h 448122"/>
              <a:gd name="connsiteX3485" fmla="*/ 225947 w 447236"/>
              <a:gd name="connsiteY3485" fmla="*/ 96563 h 448122"/>
              <a:gd name="connsiteX3486" fmla="*/ 220122 w 447236"/>
              <a:gd name="connsiteY3486" fmla="*/ 114392 h 448122"/>
              <a:gd name="connsiteX3487" fmla="*/ 215523 w 447236"/>
              <a:gd name="connsiteY3487" fmla="*/ 114392 h 448122"/>
              <a:gd name="connsiteX3488" fmla="*/ 215217 w 447236"/>
              <a:gd name="connsiteY3488" fmla="*/ 114392 h 448122"/>
              <a:gd name="connsiteX3489" fmla="*/ 214910 w 447236"/>
              <a:gd name="connsiteY3489" fmla="*/ 114392 h 448122"/>
              <a:gd name="connsiteX3490" fmla="*/ 214604 w 447236"/>
              <a:gd name="connsiteY3490" fmla="*/ 114392 h 448122"/>
              <a:gd name="connsiteX3491" fmla="*/ 209699 w 447236"/>
              <a:gd name="connsiteY3491" fmla="*/ 114392 h 448122"/>
              <a:gd name="connsiteX3492" fmla="*/ 204181 w 447236"/>
              <a:gd name="connsiteY3492" fmla="*/ 96563 h 448122"/>
              <a:gd name="connsiteX3493" fmla="*/ 205713 w 447236"/>
              <a:gd name="connsiteY3493" fmla="*/ 91645 h 448122"/>
              <a:gd name="connsiteX3494" fmla="*/ 208166 w 447236"/>
              <a:gd name="connsiteY3494" fmla="*/ 81501 h 448122"/>
              <a:gd name="connsiteX3495" fmla="*/ 209392 w 447236"/>
              <a:gd name="connsiteY3495" fmla="*/ 80886 h 448122"/>
              <a:gd name="connsiteX3496" fmla="*/ 209016 w 447236"/>
              <a:gd name="connsiteY3496" fmla="*/ 80886 h 448122"/>
              <a:gd name="connsiteX3497" fmla="*/ 208710 w 447236"/>
              <a:gd name="connsiteY3497" fmla="*/ 80296 h 448122"/>
              <a:gd name="connsiteX3498" fmla="*/ 208710 w 447236"/>
              <a:gd name="connsiteY3498" fmla="*/ 79705 h 448122"/>
              <a:gd name="connsiteX3499" fmla="*/ 209016 w 447236"/>
              <a:gd name="connsiteY3499" fmla="*/ 79115 h 448122"/>
              <a:gd name="connsiteX3500" fmla="*/ 210713 w 447236"/>
              <a:gd name="connsiteY3500" fmla="*/ 79115 h 448122"/>
              <a:gd name="connsiteX3501" fmla="*/ 213378 w 447236"/>
              <a:gd name="connsiteY3501" fmla="*/ 69669 h 448122"/>
              <a:gd name="connsiteX3502" fmla="*/ 213581 w 447236"/>
              <a:gd name="connsiteY3502" fmla="*/ 69669 h 448122"/>
              <a:gd name="connsiteX3503" fmla="*/ 274767 w 447236"/>
              <a:gd name="connsiteY3503" fmla="*/ 42296 h 448122"/>
              <a:gd name="connsiteX3504" fmla="*/ 281214 w 447236"/>
              <a:gd name="connsiteY3504" fmla="*/ 42296 h 448122"/>
              <a:gd name="connsiteX3505" fmla="*/ 281214 w 447236"/>
              <a:gd name="connsiteY3505" fmla="*/ 48733 h 448122"/>
              <a:gd name="connsiteX3506" fmla="*/ 280293 w 447236"/>
              <a:gd name="connsiteY3506" fmla="*/ 50878 h 448122"/>
              <a:gd name="connsiteX3507" fmla="*/ 278144 w 447236"/>
              <a:gd name="connsiteY3507" fmla="*/ 51798 h 448122"/>
              <a:gd name="connsiteX3508" fmla="*/ 277837 w 447236"/>
              <a:gd name="connsiteY3508" fmla="*/ 51798 h 448122"/>
              <a:gd name="connsiteX3509" fmla="*/ 275688 w 447236"/>
              <a:gd name="connsiteY3509" fmla="*/ 50878 h 448122"/>
              <a:gd name="connsiteX3510" fmla="*/ 274767 w 447236"/>
              <a:gd name="connsiteY3510" fmla="*/ 48733 h 448122"/>
              <a:gd name="connsiteX3511" fmla="*/ 274767 w 447236"/>
              <a:gd name="connsiteY3511" fmla="*/ 42296 h 448122"/>
              <a:gd name="connsiteX3512" fmla="*/ 261259 w 447236"/>
              <a:gd name="connsiteY3512" fmla="*/ 42296 h 448122"/>
              <a:gd name="connsiteX3513" fmla="*/ 268013 w 447236"/>
              <a:gd name="connsiteY3513" fmla="*/ 42296 h 448122"/>
              <a:gd name="connsiteX3514" fmla="*/ 268013 w 447236"/>
              <a:gd name="connsiteY3514" fmla="*/ 48733 h 448122"/>
              <a:gd name="connsiteX3515" fmla="*/ 267092 w 447236"/>
              <a:gd name="connsiteY3515" fmla="*/ 50878 h 448122"/>
              <a:gd name="connsiteX3516" fmla="*/ 264943 w 447236"/>
              <a:gd name="connsiteY3516" fmla="*/ 51798 h 448122"/>
              <a:gd name="connsiteX3517" fmla="*/ 264636 w 447236"/>
              <a:gd name="connsiteY3517" fmla="*/ 51798 h 448122"/>
              <a:gd name="connsiteX3518" fmla="*/ 262180 w 447236"/>
              <a:gd name="connsiteY3518" fmla="*/ 50878 h 448122"/>
              <a:gd name="connsiteX3519" fmla="*/ 261259 w 447236"/>
              <a:gd name="connsiteY3519" fmla="*/ 48733 h 448122"/>
              <a:gd name="connsiteX3520" fmla="*/ 261259 w 447236"/>
              <a:gd name="connsiteY3520" fmla="*/ 42296 h 448122"/>
              <a:gd name="connsiteX3521" fmla="*/ 248058 w 447236"/>
              <a:gd name="connsiteY3521" fmla="*/ 42296 h 448122"/>
              <a:gd name="connsiteX3522" fmla="*/ 254505 w 447236"/>
              <a:gd name="connsiteY3522" fmla="*/ 42296 h 448122"/>
              <a:gd name="connsiteX3523" fmla="*/ 254505 w 447236"/>
              <a:gd name="connsiteY3523" fmla="*/ 48733 h 448122"/>
              <a:gd name="connsiteX3524" fmla="*/ 253584 w 447236"/>
              <a:gd name="connsiteY3524" fmla="*/ 50878 h 448122"/>
              <a:gd name="connsiteX3525" fmla="*/ 251435 w 447236"/>
              <a:gd name="connsiteY3525" fmla="*/ 51798 h 448122"/>
              <a:gd name="connsiteX3526" fmla="*/ 251128 w 447236"/>
              <a:gd name="connsiteY3526" fmla="*/ 51798 h 448122"/>
              <a:gd name="connsiteX3527" fmla="*/ 248979 w 447236"/>
              <a:gd name="connsiteY3527" fmla="*/ 50878 h 448122"/>
              <a:gd name="connsiteX3528" fmla="*/ 248058 w 447236"/>
              <a:gd name="connsiteY3528" fmla="*/ 48733 h 448122"/>
              <a:gd name="connsiteX3529" fmla="*/ 248058 w 447236"/>
              <a:gd name="connsiteY3529" fmla="*/ 42296 h 448122"/>
              <a:gd name="connsiteX3530" fmla="*/ 234858 w 447236"/>
              <a:gd name="connsiteY3530" fmla="*/ 42296 h 448122"/>
              <a:gd name="connsiteX3531" fmla="*/ 241305 w 447236"/>
              <a:gd name="connsiteY3531" fmla="*/ 42296 h 448122"/>
              <a:gd name="connsiteX3532" fmla="*/ 241305 w 447236"/>
              <a:gd name="connsiteY3532" fmla="*/ 48733 h 448122"/>
              <a:gd name="connsiteX3533" fmla="*/ 240384 w 447236"/>
              <a:gd name="connsiteY3533" fmla="*/ 50878 h 448122"/>
              <a:gd name="connsiteX3534" fmla="*/ 238235 w 447236"/>
              <a:gd name="connsiteY3534" fmla="*/ 51798 h 448122"/>
              <a:gd name="connsiteX3535" fmla="*/ 237928 w 447236"/>
              <a:gd name="connsiteY3535" fmla="*/ 51798 h 448122"/>
              <a:gd name="connsiteX3536" fmla="*/ 235779 w 447236"/>
              <a:gd name="connsiteY3536" fmla="*/ 50878 h 448122"/>
              <a:gd name="connsiteX3537" fmla="*/ 234858 w 447236"/>
              <a:gd name="connsiteY3537" fmla="*/ 48733 h 448122"/>
              <a:gd name="connsiteX3538" fmla="*/ 234858 w 447236"/>
              <a:gd name="connsiteY3538" fmla="*/ 42296 h 448122"/>
              <a:gd name="connsiteX3539" fmla="*/ 221350 w 447236"/>
              <a:gd name="connsiteY3539" fmla="*/ 42296 h 448122"/>
              <a:gd name="connsiteX3540" fmla="*/ 228104 w 447236"/>
              <a:gd name="connsiteY3540" fmla="*/ 42296 h 448122"/>
              <a:gd name="connsiteX3541" fmla="*/ 228104 w 447236"/>
              <a:gd name="connsiteY3541" fmla="*/ 48733 h 448122"/>
              <a:gd name="connsiteX3542" fmla="*/ 227183 w 447236"/>
              <a:gd name="connsiteY3542" fmla="*/ 50878 h 448122"/>
              <a:gd name="connsiteX3543" fmla="*/ 225034 w 447236"/>
              <a:gd name="connsiteY3543" fmla="*/ 51798 h 448122"/>
              <a:gd name="connsiteX3544" fmla="*/ 224420 w 447236"/>
              <a:gd name="connsiteY3544" fmla="*/ 51798 h 448122"/>
              <a:gd name="connsiteX3545" fmla="*/ 222271 w 447236"/>
              <a:gd name="connsiteY3545" fmla="*/ 50878 h 448122"/>
              <a:gd name="connsiteX3546" fmla="*/ 221350 w 447236"/>
              <a:gd name="connsiteY3546" fmla="*/ 48733 h 448122"/>
              <a:gd name="connsiteX3547" fmla="*/ 221350 w 447236"/>
              <a:gd name="connsiteY3547" fmla="*/ 42296 h 448122"/>
              <a:gd name="connsiteX3548" fmla="*/ 166641 w 447236"/>
              <a:gd name="connsiteY3548" fmla="*/ 37491 h 448122"/>
              <a:gd name="connsiteX3549" fmla="*/ 170335 w 447236"/>
              <a:gd name="connsiteY3549" fmla="*/ 37491 h 448122"/>
              <a:gd name="connsiteX3550" fmla="*/ 171566 w 447236"/>
              <a:gd name="connsiteY3550" fmla="*/ 38715 h 448122"/>
              <a:gd name="connsiteX3551" fmla="*/ 171566 w 447236"/>
              <a:gd name="connsiteY3551" fmla="*/ 46671 h 448122"/>
              <a:gd name="connsiteX3552" fmla="*/ 179877 w 447236"/>
              <a:gd name="connsiteY3552" fmla="*/ 46671 h 448122"/>
              <a:gd name="connsiteX3553" fmla="*/ 181108 w 447236"/>
              <a:gd name="connsiteY3553" fmla="*/ 48201 h 448122"/>
              <a:gd name="connsiteX3554" fmla="*/ 181108 w 447236"/>
              <a:gd name="connsiteY3554" fmla="*/ 51873 h 448122"/>
              <a:gd name="connsiteX3555" fmla="*/ 179877 w 447236"/>
              <a:gd name="connsiteY3555" fmla="*/ 53097 h 448122"/>
              <a:gd name="connsiteX3556" fmla="*/ 171566 w 447236"/>
              <a:gd name="connsiteY3556" fmla="*/ 53097 h 448122"/>
              <a:gd name="connsiteX3557" fmla="*/ 171566 w 447236"/>
              <a:gd name="connsiteY3557" fmla="*/ 61359 h 448122"/>
              <a:gd name="connsiteX3558" fmla="*/ 170335 w 447236"/>
              <a:gd name="connsiteY3558" fmla="*/ 62583 h 448122"/>
              <a:gd name="connsiteX3559" fmla="*/ 166641 w 447236"/>
              <a:gd name="connsiteY3559" fmla="*/ 62583 h 448122"/>
              <a:gd name="connsiteX3560" fmla="*/ 165102 w 447236"/>
              <a:gd name="connsiteY3560" fmla="*/ 61359 h 448122"/>
              <a:gd name="connsiteX3561" fmla="*/ 165102 w 447236"/>
              <a:gd name="connsiteY3561" fmla="*/ 53097 h 448122"/>
              <a:gd name="connsiteX3562" fmla="*/ 157099 w 447236"/>
              <a:gd name="connsiteY3562" fmla="*/ 53097 h 448122"/>
              <a:gd name="connsiteX3563" fmla="*/ 155868 w 447236"/>
              <a:gd name="connsiteY3563" fmla="*/ 51873 h 448122"/>
              <a:gd name="connsiteX3564" fmla="*/ 155868 w 447236"/>
              <a:gd name="connsiteY3564" fmla="*/ 48201 h 448122"/>
              <a:gd name="connsiteX3565" fmla="*/ 157099 w 447236"/>
              <a:gd name="connsiteY3565" fmla="*/ 46671 h 448122"/>
              <a:gd name="connsiteX3566" fmla="*/ 165102 w 447236"/>
              <a:gd name="connsiteY3566" fmla="*/ 46671 h 448122"/>
              <a:gd name="connsiteX3567" fmla="*/ 165102 w 447236"/>
              <a:gd name="connsiteY3567" fmla="*/ 38715 h 448122"/>
              <a:gd name="connsiteX3568" fmla="*/ 166641 w 447236"/>
              <a:gd name="connsiteY3568" fmla="*/ 37491 h 448122"/>
              <a:gd name="connsiteX3569" fmla="*/ 168563 w 447236"/>
              <a:gd name="connsiteY3569" fmla="*/ 32257 h 448122"/>
              <a:gd name="connsiteX3570" fmla="*/ 150771 w 447236"/>
              <a:gd name="connsiteY3570" fmla="*/ 50010 h 448122"/>
              <a:gd name="connsiteX3571" fmla="*/ 168563 w 447236"/>
              <a:gd name="connsiteY3571" fmla="*/ 68069 h 448122"/>
              <a:gd name="connsiteX3572" fmla="*/ 186354 w 447236"/>
              <a:gd name="connsiteY3572" fmla="*/ 50010 h 448122"/>
              <a:gd name="connsiteX3573" fmla="*/ 168563 w 447236"/>
              <a:gd name="connsiteY3573" fmla="*/ 32257 h 448122"/>
              <a:gd name="connsiteX3574" fmla="*/ 277837 w 447236"/>
              <a:gd name="connsiteY3574" fmla="*/ 30956 h 448122"/>
              <a:gd name="connsiteX3575" fmla="*/ 275074 w 447236"/>
              <a:gd name="connsiteY3575" fmla="*/ 32182 h 448122"/>
              <a:gd name="connsiteX3576" fmla="*/ 273846 w 447236"/>
              <a:gd name="connsiteY3576" fmla="*/ 34941 h 448122"/>
              <a:gd name="connsiteX3577" fmla="*/ 273846 w 447236"/>
              <a:gd name="connsiteY3577" fmla="*/ 41377 h 448122"/>
              <a:gd name="connsiteX3578" fmla="*/ 273846 w 447236"/>
              <a:gd name="connsiteY3578" fmla="*/ 41990 h 448122"/>
              <a:gd name="connsiteX3579" fmla="*/ 273846 w 447236"/>
              <a:gd name="connsiteY3579" fmla="*/ 42296 h 448122"/>
              <a:gd name="connsiteX3580" fmla="*/ 273846 w 447236"/>
              <a:gd name="connsiteY3580" fmla="*/ 48733 h 448122"/>
              <a:gd name="connsiteX3581" fmla="*/ 275074 w 447236"/>
              <a:gd name="connsiteY3581" fmla="*/ 51491 h 448122"/>
              <a:gd name="connsiteX3582" fmla="*/ 277837 w 447236"/>
              <a:gd name="connsiteY3582" fmla="*/ 52717 h 448122"/>
              <a:gd name="connsiteX3583" fmla="*/ 278144 w 447236"/>
              <a:gd name="connsiteY3583" fmla="*/ 52717 h 448122"/>
              <a:gd name="connsiteX3584" fmla="*/ 280907 w 447236"/>
              <a:gd name="connsiteY3584" fmla="*/ 51491 h 448122"/>
              <a:gd name="connsiteX3585" fmla="*/ 282134 w 447236"/>
              <a:gd name="connsiteY3585" fmla="*/ 48733 h 448122"/>
              <a:gd name="connsiteX3586" fmla="*/ 282134 w 447236"/>
              <a:gd name="connsiteY3586" fmla="*/ 42296 h 448122"/>
              <a:gd name="connsiteX3587" fmla="*/ 282134 w 447236"/>
              <a:gd name="connsiteY3587" fmla="*/ 41990 h 448122"/>
              <a:gd name="connsiteX3588" fmla="*/ 282134 w 447236"/>
              <a:gd name="connsiteY3588" fmla="*/ 41377 h 448122"/>
              <a:gd name="connsiteX3589" fmla="*/ 282134 w 447236"/>
              <a:gd name="connsiteY3589" fmla="*/ 34941 h 448122"/>
              <a:gd name="connsiteX3590" fmla="*/ 280907 w 447236"/>
              <a:gd name="connsiteY3590" fmla="*/ 32182 h 448122"/>
              <a:gd name="connsiteX3591" fmla="*/ 278144 w 447236"/>
              <a:gd name="connsiteY3591" fmla="*/ 30956 h 448122"/>
              <a:gd name="connsiteX3592" fmla="*/ 277837 w 447236"/>
              <a:gd name="connsiteY3592" fmla="*/ 30956 h 448122"/>
              <a:gd name="connsiteX3593" fmla="*/ 264636 w 447236"/>
              <a:gd name="connsiteY3593" fmla="*/ 30956 h 448122"/>
              <a:gd name="connsiteX3594" fmla="*/ 261566 w 447236"/>
              <a:gd name="connsiteY3594" fmla="*/ 32182 h 448122"/>
              <a:gd name="connsiteX3595" fmla="*/ 260645 w 447236"/>
              <a:gd name="connsiteY3595" fmla="*/ 34941 h 448122"/>
              <a:gd name="connsiteX3596" fmla="*/ 260645 w 447236"/>
              <a:gd name="connsiteY3596" fmla="*/ 41377 h 448122"/>
              <a:gd name="connsiteX3597" fmla="*/ 260645 w 447236"/>
              <a:gd name="connsiteY3597" fmla="*/ 41990 h 448122"/>
              <a:gd name="connsiteX3598" fmla="*/ 260645 w 447236"/>
              <a:gd name="connsiteY3598" fmla="*/ 42296 h 448122"/>
              <a:gd name="connsiteX3599" fmla="*/ 260645 w 447236"/>
              <a:gd name="connsiteY3599" fmla="*/ 48733 h 448122"/>
              <a:gd name="connsiteX3600" fmla="*/ 261566 w 447236"/>
              <a:gd name="connsiteY3600" fmla="*/ 51491 h 448122"/>
              <a:gd name="connsiteX3601" fmla="*/ 264636 w 447236"/>
              <a:gd name="connsiteY3601" fmla="*/ 52717 h 448122"/>
              <a:gd name="connsiteX3602" fmla="*/ 264943 w 447236"/>
              <a:gd name="connsiteY3602" fmla="*/ 52717 h 448122"/>
              <a:gd name="connsiteX3603" fmla="*/ 267706 w 447236"/>
              <a:gd name="connsiteY3603" fmla="*/ 51491 h 448122"/>
              <a:gd name="connsiteX3604" fmla="*/ 268934 w 447236"/>
              <a:gd name="connsiteY3604" fmla="*/ 48733 h 448122"/>
              <a:gd name="connsiteX3605" fmla="*/ 268934 w 447236"/>
              <a:gd name="connsiteY3605" fmla="*/ 42296 h 448122"/>
              <a:gd name="connsiteX3606" fmla="*/ 268934 w 447236"/>
              <a:gd name="connsiteY3606" fmla="*/ 41990 h 448122"/>
              <a:gd name="connsiteX3607" fmla="*/ 268934 w 447236"/>
              <a:gd name="connsiteY3607" fmla="*/ 41377 h 448122"/>
              <a:gd name="connsiteX3608" fmla="*/ 268934 w 447236"/>
              <a:gd name="connsiteY3608" fmla="*/ 34941 h 448122"/>
              <a:gd name="connsiteX3609" fmla="*/ 267706 w 447236"/>
              <a:gd name="connsiteY3609" fmla="*/ 32182 h 448122"/>
              <a:gd name="connsiteX3610" fmla="*/ 264943 w 447236"/>
              <a:gd name="connsiteY3610" fmla="*/ 30956 h 448122"/>
              <a:gd name="connsiteX3611" fmla="*/ 264636 w 447236"/>
              <a:gd name="connsiteY3611" fmla="*/ 30956 h 448122"/>
              <a:gd name="connsiteX3612" fmla="*/ 251128 w 447236"/>
              <a:gd name="connsiteY3612" fmla="*/ 30956 h 448122"/>
              <a:gd name="connsiteX3613" fmla="*/ 248365 w 447236"/>
              <a:gd name="connsiteY3613" fmla="*/ 32182 h 448122"/>
              <a:gd name="connsiteX3614" fmla="*/ 247137 w 447236"/>
              <a:gd name="connsiteY3614" fmla="*/ 34941 h 448122"/>
              <a:gd name="connsiteX3615" fmla="*/ 247137 w 447236"/>
              <a:gd name="connsiteY3615" fmla="*/ 41377 h 448122"/>
              <a:gd name="connsiteX3616" fmla="*/ 247137 w 447236"/>
              <a:gd name="connsiteY3616" fmla="*/ 41990 h 448122"/>
              <a:gd name="connsiteX3617" fmla="*/ 247137 w 447236"/>
              <a:gd name="connsiteY3617" fmla="*/ 42296 h 448122"/>
              <a:gd name="connsiteX3618" fmla="*/ 247137 w 447236"/>
              <a:gd name="connsiteY3618" fmla="*/ 48733 h 448122"/>
              <a:gd name="connsiteX3619" fmla="*/ 248365 w 447236"/>
              <a:gd name="connsiteY3619" fmla="*/ 51491 h 448122"/>
              <a:gd name="connsiteX3620" fmla="*/ 251128 w 447236"/>
              <a:gd name="connsiteY3620" fmla="*/ 52717 h 448122"/>
              <a:gd name="connsiteX3621" fmla="*/ 251435 w 447236"/>
              <a:gd name="connsiteY3621" fmla="*/ 52717 h 448122"/>
              <a:gd name="connsiteX3622" fmla="*/ 254198 w 447236"/>
              <a:gd name="connsiteY3622" fmla="*/ 51491 h 448122"/>
              <a:gd name="connsiteX3623" fmla="*/ 255426 w 447236"/>
              <a:gd name="connsiteY3623" fmla="*/ 48733 h 448122"/>
              <a:gd name="connsiteX3624" fmla="*/ 255426 w 447236"/>
              <a:gd name="connsiteY3624" fmla="*/ 42296 h 448122"/>
              <a:gd name="connsiteX3625" fmla="*/ 255426 w 447236"/>
              <a:gd name="connsiteY3625" fmla="*/ 41990 h 448122"/>
              <a:gd name="connsiteX3626" fmla="*/ 255426 w 447236"/>
              <a:gd name="connsiteY3626" fmla="*/ 41377 h 448122"/>
              <a:gd name="connsiteX3627" fmla="*/ 255426 w 447236"/>
              <a:gd name="connsiteY3627" fmla="*/ 34941 h 448122"/>
              <a:gd name="connsiteX3628" fmla="*/ 254198 w 447236"/>
              <a:gd name="connsiteY3628" fmla="*/ 32182 h 448122"/>
              <a:gd name="connsiteX3629" fmla="*/ 251435 w 447236"/>
              <a:gd name="connsiteY3629" fmla="*/ 30956 h 448122"/>
              <a:gd name="connsiteX3630" fmla="*/ 251128 w 447236"/>
              <a:gd name="connsiteY3630" fmla="*/ 30956 h 448122"/>
              <a:gd name="connsiteX3631" fmla="*/ 237928 w 447236"/>
              <a:gd name="connsiteY3631" fmla="*/ 30956 h 448122"/>
              <a:gd name="connsiteX3632" fmla="*/ 235165 w 447236"/>
              <a:gd name="connsiteY3632" fmla="*/ 32182 h 448122"/>
              <a:gd name="connsiteX3633" fmla="*/ 233937 w 447236"/>
              <a:gd name="connsiteY3633" fmla="*/ 34941 h 448122"/>
              <a:gd name="connsiteX3634" fmla="*/ 233937 w 447236"/>
              <a:gd name="connsiteY3634" fmla="*/ 41377 h 448122"/>
              <a:gd name="connsiteX3635" fmla="*/ 233937 w 447236"/>
              <a:gd name="connsiteY3635" fmla="*/ 41990 h 448122"/>
              <a:gd name="connsiteX3636" fmla="*/ 233937 w 447236"/>
              <a:gd name="connsiteY3636" fmla="*/ 42296 h 448122"/>
              <a:gd name="connsiteX3637" fmla="*/ 233937 w 447236"/>
              <a:gd name="connsiteY3637" fmla="*/ 48733 h 448122"/>
              <a:gd name="connsiteX3638" fmla="*/ 235165 w 447236"/>
              <a:gd name="connsiteY3638" fmla="*/ 51491 h 448122"/>
              <a:gd name="connsiteX3639" fmla="*/ 237928 w 447236"/>
              <a:gd name="connsiteY3639" fmla="*/ 52717 h 448122"/>
              <a:gd name="connsiteX3640" fmla="*/ 238235 w 447236"/>
              <a:gd name="connsiteY3640" fmla="*/ 52717 h 448122"/>
              <a:gd name="connsiteX3641" fmla="*/ 240998 w 447236"/>
              <a:gd name="connsiteY3641" fmla="*/ 51491 h 448122"/>
              <a:gd name="connsiteX3642" fmla="*/ 242225 w 447236"/>
              <a:gd name="connsiteY3642" fmla="*/ 48733 h 448122"/>
              <a:gd name="connsiteX3643" fmla="*/ 242225 w 447236"/>
              <a:gd name="connsiteY3643" fmla="*/ 42296 h 448122"/>
              <a:gd name="connsiteX3644" fmla="*/ 242225 w 447236"/>
              <a:gd name="connsiteY3644" fmla="*/ 41990 h 448122"/>
              <a:gd name="connsiteX3645" fmla="*/ 242225 w 447236"/>
              <a:gd name="connsiteY3645" fmla="*/ 41377 h 448122"/>
              <a:gd name="connsiteX3646" fmla="*/ 242225 w 447236"/>
              <a:gd name="connsiteY3646" fmla="*/ 34941 h 448122"/>
              <a:gd name="connsiteX3647" fmla="*/ 240998 w 447236"/>
              <a:gd name="connsiteY3647" fmla="*/ 32182 h 448122"/>
              <a:gd name="connsiteX3648" fmla="*/ 238235 w 447236"/>
              <a:gd name="connsiteY3648" fmla="*/ 30956 h 448122"/>
              <a:gd name="connsiteX3649" fmla="*/ 237928 w 447236"/>
              <a:gd name="connsiteY3649" fmla="*/ 30956 h 448122"/>
              <a:gd name="connsiteX3650" fmla="*/ 224420 w 447236"/>
              <a:gd name="connsiteY3650" fmla="*/ 30956 h 448122"/>
              <a:gd name="connsiteX3651" fmla="*/ 221657 w 447236"/>
              <a:gd name="connsiteY3651" fmla="*/ 32182 h 448122"/>
              <a:gd name="connsiteX3652" fmla="*/ 220736 w 447236"/>
              <a:gd name="connsiteY3652" fmla="*/ 34941 h 448122"/>
              <a:gd name="connsiteX3653" fmla="*/ 220736 w 447236"/>
              <a:gd name="connsiteY3653" fmla="*/ 41377 h 448122"/>
              <a:gd name="connsiteX3654" fmla="*/ 220736 w 447236"/>
              <a:gd name="connsiteY3654" fmla="*/ 41990 h 448122"/>
              <a:gd name="connsiteX3655" fmla="*/ 220736 w 447236"/>
              <a:gd name="connsiteY3655" fmla="*/ 42296 h 448122"/>
              <a:gd name="connsiteX3656" fmla="*/ 220736 w 447236"/>
              <a:gd name="connsiteY3656" fmla="*/ 48733 h 448122"/>
              <a:gd name="connsiteX3657" fmla="*/ 221657 w 447236"/>
              <a:gd name="connsiteY3657" fmla="*/ 51491 h 448122"/>
              <a:gd name="connsiteX3658" fmla="*/ 224420 w 447236"/>
              <a:gd name="connsiteY3658" fmla="*/ 52717 h 448122"/>
              <a:gd name="connsiteX3659" fmla="*/ 225034 w 447236"/>
              <a:gd name="connsiteY3659" fmla="*/ 52717 h 448122"/>
              <a:gd name="connsiteX3660" fmla="*/ 227797 w 447236"/>
              <a:gd name="connsiteY3660" fmla="*/ 51491 h 448122"/>
              <a:gd name="connsiteX3661" fmla="*/ 228718 w 447236"/>
              <a:gd name="connsiteY3661" fmla="*/ 48733 h 448122"/>
              <a:gd name="connsiteX3662" fmla="*/ 228718 w 447236"/>
              <a:gd name="connsiteY3662" fmla="*/ 42296 h 448122"/>
              <a:gd name="connsiteX3663" fmla="*/ 228718 w 447236"/>
              <a:gd name="connsiteY3663" fmla="*/ 41990 h 448122"/>
              <a:gd name="connsiteX3664" fmla="*/ 228718 w 447236"/>
              <a:gd name="connsiteY3664" fmla="*/ 41377 h 448122"/>
              <a:gd name="connsiteX3665" fmla="*/ 228718 w 447236"/>
              <a:gd name="connsiteY3665" fmla="*/ 34941 h 448122"/>
              <a:gd name="connsiteX3666" fmla="*/ 227797 w 447236"/>
              <a:gd name="connsiteY3666" fmla="*/ 32182 h 448122"/>
              <a:gd name="connsiteX3667" fmla="*/ 225034 w 447236"/>
              <a:gd name="connsiteY3667" fmla="*/ 30956 h 448122"/>
              <a:gd name="connsiteX3668" fmla="*/ 224420 w 447236"/>
              <a:gd name="connsiteY3668" fmla="*/ 30956 h 448122"/>
              <a:gd name="connsiteX3669" fmla="*/ 220429 w 447236"/>
              <a:gd name="connsiteY3669" fmla="*/ 27278 h 448122"/>
              <a:gd name="connsiteX3670" fmla="*/ 219508 w 447236"/>
              <a:gd name="connsiteY3670" fmla="*/ 28198 h 448122"/>
              <a:gd name="connsiteX3671" fmla="*/ 220429 w 447236"/>
              <a:gd name="connsiteY3671" fmla="*/ 28811 h 448122"/>
              <a:gd name="connsiteX3672" fmla="*/ 282748 w 447236"/>
              <a:gd name="connsiteY3672" fmla="*/ 28811 h 448122"/>
              <a:gd name="connsiteX3673" fmla="*/ 283669 w 447236"/>
              <a:gd name="connsiteY3673" fmla="*/ 28198 h 448122"/>
              <a:gd name="connsiteX3674" fmla="*/ 282748 w 447236"/>
              <a:gd name="connsiteY3674" fmla="*/ 27278 h 448122"/>
              <a:gd name="connsiteX3675" fmla="*/ 220429 w 447236"/>
              <a:gd name="connsiteY3675" fmla="*/ 27278 h 448122"/>
              <a:gd name="connsiteX3676" fmla="*/ 148931 w 447236"/>
              <a:gd name="connsiteY3676" fmla="*/ 22462 h 448122"/>
              <a:gd name="connsiteX3677" fmla="*/ 188501 w 447236"/>
              <a:gd name="connsiteY3677" fmla="*/ 22462 h 448122"/>
              <a:gd name="connsiteX3678" fmla="*/ 201997 w 447236"/>
              <a:gd name="connsiteY3678" fmla="*/ 38379 h 448122"/>
              <a:gd name="connsiteX3679" fmla="*/ 201997 w 447236"/>
              <a:gd name="connsiteY3679" fmla="*/ 63172 h 448122"/>
              <a:gd name="connsiteX3680" fmla="*/ 188194 w 447236"/>
              <a:gd name="connsiteY3680" fmla="*/ 79088 h 448122"/>
              <a:gd name="connsiteX3681" fmla="*/ 148624 w 447236"/>
              <a:gd name="connsiteY3681" fmla="*/ 79088 h 448122"/>
              <a:gd name="connsiteX3682" fmla="*/ 135128 w 447236"/>
              <a:gd name="connsiteY3682" fmla="*/ 62866 h 448122"/>
              <a:gd name="connsiteX3683" fmla="*/ 135128 w 447236"/>
              <a:gd name="connsiteY3683" fmla="*/ 38073 h 448122"/>
              <a:gd name="connsiteX3684" fmla="*/ 148931 w 447236"/>
              <a:gd name="connsiteY3684" fmla="*/ 22462 h 448122"/>
              <a:gd name="connsiteX3685" fmla="*/ 148318 w 447236"/>
              <a:gd name="connsiteY3685" fmla="*/ 20932 h 448122"/>
              <a:gd name="connsiteX3686" fmla="*/ 133594 w 447236"/>
              <a:gd name="connsiteY3686" fmla="*/ 37767 h 448122"/>
              <a:gd name="connsiteX3687" fmla="*/ 133594 w 447236"/>
              <a:gd name="connsiteY3687" fmla="*/ 63478 h 448122"/>
              <a:gd name="connsiteX3688" fmla="*/ 148011 w 447236"/>
              <a:gd name="connsiteY3688" fmla="*/ 80313 h 448122"/>
              <a:gd name="connsiteX3689" fmla="*/ 188807 w 447236"/>
              <a:gd name="connsiteY3689" fmla="*/ 80313 h 448122"/>
              <a:gd name="connsiteX3690" fmla="*/ 203531 w 447236"/>
              <a:gd name="connsiteY3690" fmla="*/ 63478 h 448122"/>
              <a:gd name="connsiteX3691" fmla="*/ 203531 w 447236"/>
              <a:gd name="connsiteY3691" fmla="*/ 37767 h 448122"/>
              <a:gd name="connsiteX3692" fmla="*/ 189114 w 447236"/>
              <a:gd name="connsiteY3692" fmla="*/ 20932 h 448122"/>
              <a:gd name="connsiteX3693" fmla="*/ 188807 w 447236"/>
              <a:gd name="connsiteY3693" fmla="*/ 20932 h 448122"/>
              <a:gd name="connsiteX3694" fmla="*/ 148318 w 447236"/>
              <a:gd name="connsiteY3694" fmla="*/ 20932 h 448122"/>
              <a:gd name="connsiteX3695" fmla="*/ 274767 w 447236"/>
              <a:gd name="connsiteY3695" fmla="*/ 14712 h 448122"/>
              <a:gd name="connsiteX3696" fmla="*/ 281214 w 447236"/>
              <a:gd name="connsiteY3696" fmla="*/ 14712 h 448122"/>
              <a:gd name="connsiteX3697" fmla="*/ 281214 w 447236"/>
              <a:gd name="connsiteY3697" fmla="*/ 21148 h 448122"/>
              <a:gd name="connsiteX3698" fmla="*/ 280293 w 447236"/>
              <a:gd name="connsiteY3698" fmla="*/ 23294 h 448122"/>
              <a:gd name="connsiteX3699" fmla="*/ 278144 w 447236"/>
              <a:gd name="connsiteY3699" fmla="*/ 24213 h 448122"/>
              <a:gd name="connsiteX3700" fmla="*/ 277837 w 447236"/>
              <a:gd name="connsiteY3700" fmla="*/ 24213 h 448122"/>
              <a:gd name="connsiteX3701" fmla="*/ 275688 w 447236"/>
              <a:gd name="connsiteY3701" fmla="*/ 23294 h 448122"/>
              <a:gd name="connsiteX3702" fmla="*/ 274767 w 447236"/>
              <a:gd name="connsiteY3702" fmla="*/ 21148 h 448122"/>
              <a:gd name="connsiteX3703" fmla="*/ 274767 w 447236"/>
              <a:gd name="connsiteY3703" fmla="*/ 14712 h 448122"/>
              <a:gd name="connsiteX3704" fmla="*/ 261259 w 447236"/>
              <a:gd name="connsiteY3704" fmla="*/ 14712 h 448122"/>
              <a:gd name="connsiteX3705" fmla="*/ 268013 w 447236"/>
              <a:gd name="connsiteY3705" fmla="*/ 14712 h 448122"/>
              <a:gd name="connsiteX3706" fmla="*/ 268013 w 447236"/>
              <a:gd name="connsiteY3706" fmla="*/ 21148 h 448122"/>
              <a:gd name="connsiteX3707" fmla="*/ 267092 w 447236"/>
              <a:gd name="connsiteY3707" fmla="*/ 23294 h 448122"/>
              <a:gd name="connsiteX3708" fmla="*/ 264943 w 447236"/>
              <a:gd name="connsiteY3708" fmla="*/ 24213 h 448122"/>
              <a:gd name="connsiteX3709" fmla="*/ 264636 w 447236"/>
              <a:gd name="connsiteY3709" fmla="*/ 24213 h 448122"/>
              <a:gd name="connsiteX3710" fmla="*/ 262180 w 447236"/>
              <a:gd name="connsiteY3710" fmla="*/ 23294 h 448122"/>
              <a:gd name="connsiteX3711" fmla="*/ 261259 w 447236"/>
              <a:gd name="connsiteY3711" fmla="*/ 21148 h 448122"/>
              <a:gd name="connsiteX3712" fmla="*/ 261259 w 447236"/>
              <a:gd name="connsiteY3712" fmla="*/ 14712 h 448122"/>
              <a:gd name="connsiteX3713" fmla="*/ 248058 w 447236"/>
              <a:gd name="connsiteY3713" fmla="*/ 14712 h 448122"/>
              <a:gd name="connsiteX3714" fmla="*/ 254505 w 447236"/>
              <a:gd name="connsiteY3714" fmla="*/ 14712 h 448122"/>
              <a:gd name="connsiteX3715" fmla="*/ 254505 w 447236"/>
              <a:gd name="connsiteY3715" fmla="*/ 21148 h 448122"/>
              <a:gd name="connsiteX3716" fmla="*/ 253584 w 447236"/>
              <a:gd name="connsiteY3716" fmla="*/ 23294 h 448122"/>
              <a:gd name="connsiteX3717" fmla="*/ 251435 w 447236"/>
              <a:gd name="connsiteY3717" fmla="*/ 24213 h 448122"/>
              <a:gd name="connsiteX3718" fmla="*/ 251128 w 447236"/>
              <a:gd name="connsiteY3718" fmla="*/ 24213 h 448122"/>
              <a:gd name="connsiteX3719" fmla="*/ 248979 w 447236"/>
              <a:gd name="connsiteY3719" fmla="*/ 23294 h 448122"/>
              <a:gd name="connsiteX3720" fmla="*/ 248058 w 447236"/>
              <a:gd name="connsiteY3720" fmla="*/ 21148 h 448122"/>
              <a:gd name="connsiteX3721" fmla="*/ 248058 w 447236"/>
              <a:gd name="connsiteY3721" fmla="*/ 14712 h 448122"/>
              <a:gd name="connsiteX3722" fmla="*/ 234858 w 447236"/>
              <a:gd name="connsiteY3722" fmla="*/ 14712 h 448122"/>
              <a:gd name="connsiteX3723" fmla="*/ 241305 w 447236"/>
              <a:gd name="connsiteY3723" fmla="*/ 14712 h 448122"/>
              <a:gd name="connsiteX3724" fmla="*/ 241305 w 447236"/>
              <a:gd name="connsiteY3724" fmla="*/ 21148 h 448122"/>
              <a:gd name="connsiteX3725" fmla="*/ 240384 w 447236"/>
              <a:gd name="connsiteY3725" fmla="*/ 23294 h 448122"/>
              <a:gd name="connsiteX3726" fmla="*/ 238235 w 447236"/>
              <a:gd name="connsiteY3726" fmla="*/ 24213 h 448122"/>
              <a:gd name="connsiteX3727" fmla="*/ 237928 w 447236"/>
              <a:gd name="connsiteY3727" fmla="*/ 24213 h 448122"/>
              <a:gd name="connsiteX3728" fmla="*/ 235779 w 447236"/>
              <a:gd name="connsiteY3728" fmla="*/ 23294 h 448122"/>
              <a:gd name="connsiteX3729" fmla="*/ 234858 w 447236"/>
              <a:gd name="connsiteY3729" fmla="*/ 21148 h 448122"/>
              <a:gd name="connsiteX3730" fmla="*/ 234858 w 447236"/>
              <a:gd name="connsiteY3730" fmla="*/ 14712 h 448122"/>
              <a:gd name="connsiteX3731" fmla="*/ 221350 w 447236"/>
              <a:gd name="connsiteY3731" fmla="*/ 14712 h 448122"/>
              <a:gd name="connsiteX3732" fmla="*/ 228104 w 447236"/>
              <a:gd name="connsiteY3732" fmla="*/ 14712 h 448122"/>
              <a:gd name="connsiteX3733" fmla="*/ 228104 w 447236"/>
              <a:gd name="connsiteY3733" fmla="*/ 21148 h 448122"/>
              <a:gd name="connsiteX3734" fmla="*/ 227183 w 447236"/>
              <a:gd name="connsiteY3734" fmla="*/ 23294 h 448122"/>
              <a:gd name="connsiteX3735" fmla="*/ 225034 w 447236"/>
              <a:gd name="connsiteY3735" fmla="*/ 24213 h 448122"/>
              <a:gd name="connsiteX3736" fmla="*/ 224420 w 447236"/>
              <a:gd name="connsiteY3736" fmla="*/ 24213 h 448122"/>
              <a:gd name="connsiteX3737" fmla="*/ 222271 w 447236"/>
              <a:gd name="connsiteY3737" fmla="*/ 23294 h 448122"/>
              <a:gd name="connsiteX3738" fmla="*/ 221350 w 447236"/>
              <a:gd name="connsiteY3738" fmla="*/ 21148 h 448122"/>
              <a:gd name="connsiteX3739" fmla="*/ 221350 w 447236"/>
              <a:gd name="connsiteY3739" fmla="*/ 14712 h 448122"/>
              <a:gd name="connsiteX3740" fmla="*/ 159590 w 447236"/>
              <a:gd name="connsiteY3740" fmla="*/ 5899 h 448122"/>
              <a:gd name="connsiteX3741" fmla="*/ 156521 w 447236"/>
              <a:gd name="connsiteY3741" fmla="*/ 7121 h 448122"/>
              <a:gd name="connsiteX3742" fmla="*/ 155294 w 447236"/>
              <a:gd name="connsiteY3742" fmla="*/ 10785 h 448122"/>
              <a:gd name="connsiteX3743" fmla="*/ 155294 w 447236"/>
              <a:gd name="connsiteY3743" fmla="*/ 17565 h 448122"/>
              <a:gd name="connsiteX3744" fmla="*/ 163671 w 447236"/>
              <a:gd name="connsiteY3744" fmla="*/ 17565 h 448122"/>
              <a:gd name="connsiteX3745" fmla="*/ 163249 w 447236"/>
              <a:gd name="connsiteY3745" fmla="*/ 16925 h 448122"/>
              <a:gd name="connsiteX3746" fmla="*/ 163249 w 447236"/>
              <a:gd name="connsiteY3746" fmla="*/ 15991 h 448122"/>
              <a:gd name="connsiteX3747" fmla="*/ 163865 w 447236"/>
              <a:gd name="connsiteY3747" fmla="*/ 15056 h 448122"/>
              <a:gd name="connsiteX3748" fmla="*/ 172805 w 447236"/>
              <a:gd name="connsiteY3748" fmla="*/ 15056 h 448122"/>
              <a:gd name="connsiteX3749" fmla="*/ 173729 w 447236"/>
              <a:gd name="connsiteY3749" fmla="*/ 15991 h 448122"/>
              <a:gd name="connsiteX3750" fmla="*/ 173729 w 447236"/>
              <a:gd name="connsiteY3750" fmla="*/ 16925 h 448122"/>
              <a:gd name="connsiteX3751" fmla="*/ 173097 w 447236"/>
              <a:gd name="connsiteY3751" fmla="*/ 17565 h 448122"/>
              <a:gd name="connsiteX3752" fmla="*/ 181684 w 447236"/>
              <a:gd name="connsiteY3752" fmla="*/ 17565 h 448122"/>
              <a:gd name="connsiteX3753" fmla="*/ 181684 w 447236"/>
              <a:gd name="connsiteY3753" fmla="*/ 12389 h 448122"/>
              <a:gd name="connsiteX3754" fmla="*/ 181684 w 447236"/>
              <a:gd name="connsiteY3754" fmla="*/ 11396 h 448122"/>
              <a:gd name="connsiteX3755" fmla="*/ 180150 w 447236"/>
              <a:gd name="connsiteY3755" fmla="*/ 7426 h 448122"/>
              <a:gd name="connsiteX3756" fmla="*/ 176774 w 447236"/>
              <a:gd name="connsiteY3756" fmla="*/ 5899 h 448122"/>
              <a:gd name="connsiteX3757" fmla="*/ 159590 w 447236"/>
              <a:gd name="connsiteY3757" fmla="*/ 5899 h 448122"/>
              <a:gd name="connsiteX3758" fmla="*/ 277837 w 447236"/>
              <a:gd name="connsiteY3758" fmla="*/ 3371 h 448122"/>
              <a:gd name="connsiteX3759" fmla="*/ 275074 w 447236"/>
              <a:gd name="connsiteY3759" fmla="*/ 4597 h 448122"/>
              <a:gd name="connsiteX3760" fmla="*/ 273846 w 447236"/>
              <a:gd name="connsiteY3760" fmla="*/ 7356 h 448122"/>
              <a:gd name="connsiteX3761" fmla="*/ 273846 w 447236"/>
              <a:gd name="connsiteY3761" fmla="*/ 13792 h 448122"/>
              <a:gd name="connsiteX3762" fmla="*/ 273846 w 447236"/>
              <a:gd name="connsiteY3762" fmla="*/ 14405 h 448122"/>
              <a:gd name="connsiteX3763" fmla="*/ 273846 w 447236"/>
              <a:gd name="connsiteY3763" fmla="*/ 14712 h 448122"/>
              <a:gd name="connsiteX3764" fmla="*/ 273846 w 447236"/>
              <a:gd name="connsiteY3764" fmla="*/ 21148 h 448122"/>
              <a:gd name="connsiteX3765" fmla="*/ 275074 w 447236"/>
              <a:gd name="connsiteY3765" fmla="*/ 23907 h 448122"/>
              <a:gd name="connsiteX3766" fmla="*/ 277837 w 447236"/>
              <a:gd name="connsiteY3766" fmla="*/ 25133 h 448122"/>
              <a:gd name="connsiteX3767" fmla="*/ 278144 w 447236"/>
              <a:gd name="connsiteY3767" fmla="*/ 25133 h 448122"/>
              <a:gd name="connsiteX3768" fmla="*/ 280907 w 447236"/>
              <a:gd name="connsiteY3768" fmla="*/ 23907 h 448122"/>
              <a:gd name="connsiteX3769" fmla="*/ 282134 w 447236"/>
              <a:gd name="connsiteY3769" fmla="*/ 21148 h 448122"/>
              <a:gd name="connsiteX3770" fmla="*/ 282134 w 447236"/>
              <a:gd name="connsiteY3770" fmla="*/ 14712 h 448122"/>
              <a:gd name="connsiteX3771" fmla="*/ 282134 w 447236"/>
              <a:gd name="connsiteY3771" fmla="*/ 14405 h 448122"/>
              <a:gd name="connsiteX3772" fmla="*/ 282134 w 447236"/>
              <a:gd name="connsiteY3772" fmla="*/ 13792 h 448122"/>
              <a:gd name="connsiteX3773" fmla="*/ 282134 w 447236"/>
              <a:gd name="connsiteY3773" fmla="*/ 7356 h 448122"/>
              <a:gd name="connsiteX3774" fmla="*/ 280907 w 447236"/>
              <a:gd name="connsiteY3774" fmla="*/ 4597 h 448122"/>
              <a:gd name="connsiteX3775" fmla="*/ 278144 w 447236"/>
              <a:gd name="connsiteY3775" fmla="*/ 3371 h 448122"/>
              <a:gd name="connsiteX3776" fmla="*/ 277837 w 447236"/>
              <a:gd name="connsiteY3776" fmla="*/ 3371 h 448122"/>
              <a:gd name="connsiteX3777" fmla="*/ 264636 w 447236"/>
              <a:gd name="connsiteY3777" fmla="*/ 3371 h 448122"/>
              <a:gd name="connsiteX3778" fmla="*/ 261566 w 447236"/>
              <a:gd name="connsiteY3778" fmla="*/ 4597 h 448122"/>
              <a:gd name="connsiteX3779" fmla="*/ 260645 w 447236"/>
              <a:gd name="connsiteY3779" fmla="*/ 7356 h 448122"/>
              <a:gd name="connsiteX3780" fmla="*/ 260645 w 447236"/>
              <a:gd name="connsiteY3780" fmla="*/ 13792 h 448122"/>
              <a:gd name="connsiteX3781" fmla="*/ 260645 w 447236"/>
              <a:gd name="connsiteY3781" fmla="*/ 14405 h 448122"/>
              <a:gd name="connsiteX3782" fmla="*/ 260645 w 447236"/>
              <a:gd name="connsiteY3782" fmla="*/ 14712 h 448122"/>
              <a:gd name="connsiteX3783" fmla="*/ 260645 w 447236"/>
              <a:gd name="connsiteY3783" fmla="*/ 21148 h 448122"/>
              <a:gd name="connsiteX3784" fmla="*/ 261566 w 447236"/>
              <a:gd name="connsiteY3784" fmla="*/ 23907 h 448122"/>
              <a:gd name="connsiteX3785" fmla="*/ 264636 w 447236"/>
              <a:gd name="connsiteY3785" fmla="*/ 25133 h 448122"/>
              <a:gd name="connsiteX3786" fmla="*/ 264943 w 447236"/>
              <a:gd name="connsiteY3786" fmla="*/ 25133 h 448122"/>
              <a:gd name="connsiteX3787" fmla="*/ 267706 w 447236"/>
              <a:gd name="connsiteY3787" fmla="*/ 23907 h 448122"/>
              <a:gd name="connsiteX3788" fmla="*/ 268934 w 447236"/>
              <a:gd name="connsiteY3788" fmla="*/ 21148 h 448122"/>
              <a:gd name="connsiteX3789" fmla="*/ 268934 w 447236"/>
              <a:gd name="connsiteY3789" fmla="*/ 14712 h 448122"/>
              <a:gd name="connsiteX3790" fmla="*/ 268934 w 447236"/>
              <a:gd name="connsiteY3790" fmla="*/ 14405 h 448122"/>
              <a:gd name="connsiteX3791" fmla="*/ 268934 w 447236"/>
              <a:gd name="connsiteY3791" fmla="*/ 13792 h 448122"/>
              <a:gd name="connsiteX3792" fmla="*/ 268934 w 447236"/>
              <a:gd name="connsiteY3792" fmla="*/ 7356 h 448122"/>
              <a:gd name="connsiteX3793" fmla="*/ 267706 w 447236"/>
              <a:gd name="connsiteY3793" fmla="*/ 4597 h 448122"/>
              <a:gd name="connsiteX3794" fmla="*/ 264943 w 447236"/>
              <a:gd name="connsiteY3794" fmla="*/ 3371 h 448122"/>
              <a:gd name="connsiteX3795" fmla="*/ 264636 w 447236"/>
              <a:gd name="connsiteY3795" fmla="*/ 3371 h 448122"/>
              <a:gd name="connsiteX3796" fmla="*/ 251128 w 447236"/>
              <a:gd name="connsiteY3796" fmla="*/ 3371 h 448122"/>
              <a:gd name="connsiteX3797" fmla="*/ 248365 w 447236"/>
              <a:gd name="connsiteY3797" fmla="*/ 4597 h 448122"/>
              <a:gd name="connsiteX3798" fmla="*/ 247137 w 447236"/>
              <a:gd name="connsiteY3798" fmla="*/ 7356 h 448122"/>
              <a:gd name="connsiteX3799" fmla="*/ 247137 w 447236"/>
              <a:gd name="connsiteY3799" fmla="*/ 13792 h 448122"/>
              <a:gd name="connsiteX3800" fmla="*/ 247137 w 447236"/>
              <a:gd name="connsiteY3800" fmla="*/ 14405 h 448122"/>
              <a:gd name="connsiteX3801" fmla="*/ 247137 w 447236"/>
              <a:gd name="connsiteY3801" fmla="*/ 14712 h 448122"/>
              <a:gd name="connsiteX3802" fmla="*/ 247137 w 447236"/>
              <a:gd name="connsiteY3802" fmla="*/ 21148 h 448122"/>
              <a:gd name="connsiteX3803" fmla="*/ 248365 w 447236"/>
              <a:gd name="connsiteY3803" fmla="*/ 23907 h 448122"/>
              <a:gd name="connsiteX3804" fmla="*/ 251128 w 447236"/>
              <a:gd name="connsiteY3804" fmla="*/ 25133 h 448122"/>
              <a:gd name="connsiteX3805" fmla="*/ 251435 w 447236"/>
              <a:gd name="connsiteY3805" fmla="*/ 25133 h 448122"/>
              <a:gd name="connsiteX3806" fmla="*/ 254198 w 447236"/>
              <a:gd name="connsiteY3806" fmla="*/ 23907 h 448122"/>
              <a:gd name="connsiteX3807" fmla="*/ 255426 w 447236"/>
              <a:gd name="connsiteY3807" fmla="*/ 21148 h 448122"/>
              <a:gd name="connsiteX3808" fmla="*/ 255426 w 447236"/>
              <a:gd name="connsiteY3808" fmla="*/ 14712 h 448122"/>
              <a:gd name="connsiteX3809" fmla="*/ 255426 w 447236"/>
              <a:gd name="connsiteY3809" fmla="*/ 14405 h 448122"/>
              <a:gd name="connsiteX3810" fmla="*/ 255426 w 447236"/>
              <a:gd name="connsiteY3810" fmla="*/ 13792 h 448122"/>
              <a:gd name="connsiteX3811" fmla="*/ 255426 w 447236"/>
              <a:gd name="connsiteY3811" fmla="*/ 7356 h 448122"/>
              <a:gd name="connsiteX3812" fmla="*/ 254198 w 447236"/>
              <a:gd name="connsiteY3812" fmla="*/ 4597 h 448122"/>
              <a:gd name="connsiteX3813" fmla="*/ 251435 w 447236"/>
              <a:gd name="connsiteY3813" fmla="*/ 3371 h 448122"/>
              <a:gd name="connsiteX3814" fmla="*/ 251128 w 447236"/>
              <a:gd name="connsiteY3814" fmla="*/ 3371 h 448122"/>
              <a:gd name="connsiteX3815" fmla="*/ 237928 w 447236"/>
              <a:gd name="connsiteY3815" fmla="*/ 3371 h 448122"/>
              <a:gd name="connsiteX3816" fmla="*/ 235165 w 447236"/>
              <a:gd name="connsiteY3816" fmla="*/ 4597 h 448122"/>
              <a:gd name="connsiteX3817" fmla="*/ 233937 w 447236"/>
              <a:gd name="connsiteY3817" fmla="*/ 7356 h 448122"/>
              <a:gd name="connsiteX3818" fmla="*/ 233937 w 447236"/>
              <a:gd name="connsiteY3818" fmla="*/ 13792 h 448122"/>
              <a:gd name="connsiteX3819" fmla="*/ 233937 w 447236"/>
              <a:gd name="connsiteY3819" fmla="*/ 14405 h 448122"/>
              <a:gd name="connsiteX3820" fmla="*/ 233937 w 447236"/>
              <a:gd name="connsiteY3820" fmla="*/ 14712 h 448122"/>
              <a:gd name="connsiteX3821" fmla="*/ 233937 w 447236"/>
              <a:gd name="connsiteY3821" fmla="*/ 21148 h 448122"/>
              <a:gd name="connsiteX3822" fmla="*/ 235165 w 447236"/>
              <a:gd name="connsiteY3822" fmla="*/ 23907 h 448122"/>
              <a:gd name="connsiteX3823" fmla="*/ 237928 w 447236"/>
              <a:gd name="connsiteY3823" fmla="*/ 25133 h 448122"/>
              <a:gd name="connsiteX3824" fmla="*/ 238235 w 447236"/>
              <a:gd name="connsiteY3824" fmla="*/ 25133 h 448122"/>
              <a:gd name="connsiteX3825" fmla="*/ 240998 w 447236"/>
              <a:gd name="connsiteY3825" fmla="*/ 23907 h 448122"/>
              <a:gd name="connsiteX3826" fmla="*/ 242225 w 447236"/>
              <a:gd name="connsiteY3826" fmla="*/ 21148 h 448122"/>
              <a:gd name="connsiteX3827" fmla="*/ 242225 w 447236"/>
              <a:gd name="connsiteY3827" fmla="*/ 14712 h 448122"/>
              <a:gd name="connsiteX3828" fmla="*/ 242225 w 447236"/>
              <a:gd name="connsiteY3828" fmla="*/ 14405 h 448122"/>
              <a:gd name="connsiteX3829" fmla="*/ 242225 w 447236"/>
              <a:gd name="connsiteY3829" fmla="*/ 13792 h 448122"/>
              <a:gd name="connsiteX3830" fmla="*/ 242225 w 447236"/>
              <a:gd name="connsiteY3830" fmla="*/ 7356 h 448122"/>
              <a:gd name="connsiteX3831" fmla="*/ 240998 w 447236"/>
              <a:gd name="connsiteY3831" fmla="*/ 4597 h 448122"/>
              <a:gd name="connsiteX3832" fmla="*/ 238235 w 447236"/>
              <a:gd name="connsiteY3832" fmla="*/ 3371 h 448122"/>
              <a:gd name="connsiteX3833" fmla="*/ 237928 w 447236"/>
              <a:gd name="connsiteY3833" fmla="*/ 3371 h 448122"/>
              <a:gd name="connsiteX3834" fmla="*/ 224420 w 447236"/>
              <a:gd name="connsiteY3834" fmla="*/ 3371 h 448122"/>
              <a:gd name="connsiteX3835" fmla="*/ 221657 w 447236"/>
              <a:gd name="connsiteY3835" fmla="*/ 4597 h 448122"/>
              <a:gd name="connsiteX3836" fmla="*/ 220736 w 447236"/>
              <a:gd name="connsiteY3836" fmla="*/ 7356 h 448122"/>
              <a:gd name="connsiteX3837" fmla="*/ 220736 w 447236"/>
              <a:gd name="connsiteY3837" fmla="*/ 13792 h 448122"/>
              <a:gd name="connsiteX3838" fmla="*/ 220736 w 447236"/>
              <a:gd name="connsiteY3838" fmla="*/ 14405 h 448122"/>
              <a:gd name="connsiteX3839" fmla="*/ 220736 w 447236"/>
              <a:gd name="connsiteY3839" fmla="*/ 14712 h 448122"/>
              <a:gd name="connsiteX3840" fmla="*/ 220736 w 447236"/>
              <a:gd name="connsiteY3840" fmla="*/ 21148 h 448122"/>
              <a:gd name="connsiteX3841" fmla="*/ 221657 w 447236"/>
              <a:gd name="connsiteY3841" fmla="*/ 23907 h 448122"/>
              <a:gd name="connsiteX3842" fmla="*/ 224420 w 447236"/>
              <a:gd name="connsiteY3842" fmla="*/ 25133 h 448122"/>
              <a:gd name="connsiteX3843" fmla="*/ 225034 w 447236"/>
              <a:gd name="connsiteY3843" fmla="*/ 25133 h 448122"/>
              <a:gd name="connsiteX3844" fmla="*/ 227797 w 447236"/>
              <a:gd name="connsiteY3844" fmla="*/ 23907 h 448122"/>
              <a:gd name="connsiteX3845" fmla="*/ 228718 w 447236"/>
              <a:gd name="connsiteY3845" fmla="*/ 21148 h 448122"/>
              <a:gd name="connsiteX3846" fmla="*/ 228718 w 447236"/>
              <a:gd name="connsiteY3846" fmla="*/ 14712 h 448122"/>
              <a:gd name="connsiteX3847" fmla="*/ 228718 w 447236"/>
              <a:gd name="connsiteY3847" fmla="*/ 14405 h 448122"/>
              <a:gd name="connsiteX3848" fmla="*/ 228718 w 447236"/>
              <a:gd name="connsiteY3848" fmla="*/ 13792 h 448122"/>
              <a:gd name="connsiteX3849" fmla="*/ 228718 w 447236"/>
              <a:gd name="connsiteY3849" fmla="*/ 7356 h 448122"/>
              <a:gd name="connsiteX3850" fmla="*/ 227797 w 447236"/>
              <a:gd name="connsiteY3850" fmla="*/ 4597 h 448122"/>
              <a:gd name="connsiteX3851" fmla="*/ 225034 w 447236"/>
              <a:gd name="connsiteY3851" fmla="*/ 3371 h 448122"/>
              <a:gd name="connsiteX3852" fmla="*/ 224420 w 447236"/>
              <a:gd name="connsiteY3852" fmla="*/ 3371 h 448122"/>
              <a:gd name="connsiteX3853" fmla="*/ 294376 w 447236"/>
              <a:gd name="connsiteY3853" fmla="*/ 1624 h 448122"/>
              <a:gd name="connsiteX3854" fmla="*/ 315815 w 447236"/>
              <a:gd name="connsiteY3854" fmla="*/ 1624 h 448122"/>
              <a:gd name="connsiteX3855" fmla="*/ 317346 w 447236"/>
              <a:gd name="connsiteY3855" fmla="*/ 3154 h 448122"/>
              <a:gd name="connsiteX3856" fmla="*/ 317346 w 447236"/>
              <a:gd name="connsiteY3856" fmla="*/ 4071 h 448122"/>
              <a:gd name="connsiteX3857" fmla="*/ 315815 w 447236"/>
              <a:gd name="connsiteY3857" fmla="*/ 5601 h 448122"/>
              <a:gd name="connsiteX3858" fmla="*/ 312446 w 447236"/>
              <a:gd name="connsiteY3858" fmla="*/ 5601 h 448122"/>
              <a:gd name="connsiteX3859" fmla="*/ 312446 w 447236"/>
              <a:gd name="connsiteY3859" fmla="*/ 18451 h 448122"/>
              <a:gd name="connsiteX3860" fmla="*/ 310998 w 447236"/>
              <a:gd name="connsiteY3860" fmla="*/ 18451 h 448122"/>
              <a:gd name="connsiteX3861" fmla="*/ 310998 w 447236"/>
              <a:gd name="connsiteY3861" fmla="*/ 24925 h 448122"/>
              <a:gd name="connsiteX3862" fmla="*/ 310998 w 447236"/>
              <a:gd name="connsiteY3862" fmla="*/ 26040 h 448122"/>
              <a:gd name="connsiteX3863" fmla="*/ 309770 w 447236"/>
              <a:gd name="connsiteY3863" fmla="*/ 28807 h 448122"/>
              <a:gd name="connsiteX3864" fmla="*/ 307005 w 447236"/>
              <a:gd name="connsiteY3864" fmla="*/ 31882 h 448122"/>
              <a:gd name="connsiteX3865" fmla="*/ 306084 w 447236"/>
              <a:gd name="connsiteY3865" fmla="*/ 33727 h 448122"/>
              <a:gd name="connsiteX3866" fmla="*/ 307005 w 447236"/>
              <a:gd name="connsiteY3866" fmla="*/ 35572 h 448122"/>
              <a:gd name="connsiteX3867" fmla="*/ 309770 w 447236"/>
              <a:gd name="connsiteY3867" fmla="*/ 38648 h 448122"/>
              <a:gd name="connsiteX3868" fmla="*/ 310998 w 447236"/>
              <a:gd name="connsiteY3868" fmla="*/ 41415 h 448122"/>
              <a:gd name="connsiteX3869" fmla="*/ 310998 w 447236"/>
              <a:gd name="connsiteY3869" fmla="*/ 48709 h 448122"/>
              <a:gd name="connsiteX3870" fmla="*/ 312446 w 447236"/>
              <a:gd name="connsiteY3870" fmla="*/ 48709 h 448122"/>
              <a:gd name="connsiteX3871" fmla="*/ 312446 w 447236"/>
              <a:gd name="connsiteY3871" fmla="*/ 61362 h 448122"/>
              <a:gd name="connsiteX3872" fmla="*/ 315815 w 447236"/>
              <a:gd name="connsiteY3872" fmla="*/ 61362 h 448122"/>
              <a:gd name="connsiteX3873" fmla="*/ 317346 w 447236"/>
              <a:gd name="connsiteY3873" fmla="*/ 62905 h 448122"/>
              <a:gd name="connsiteX3874" fmla="*/ 317346 w 447236"/>
              <a:gd name="connsiteY3874" fmla="*/ 63831 h 448122"/>
              <a:gd name="connsiteX3875" fmla="*/ 315815 w 447236"/>
              <a:gd name="connsiteY3875" fmla="*/ 65683 h 448122"/>
              <a:gd name="connsiteX3876" fmla="*/ 294376 w 447236"/>
              <a:gd name="connsiteY3876" fmla="*/ 65683 h 448122"/>
              <a:gd name="connsiteX3877" fmla="*/ 292844 w 447236"/>
              <a:gd name="connsiteY3877" fmla="*/ 63831 h 448122"/>
              <a:gd name="connsiteX3878" fmla="*/ 292844 w 447236"/>
              <a:gd name="connsiteY3878" fmla="*/ 62905 h 448122"/>
              <a:gd name="connsiteX3879" fmla="*/ 294376 w 447236"/>
              <a:gd name="connsiteY3879" fmla="*/ 61362 h 448122"/>
              <a:gd name="connsiteX3880" fmla="*/ 297745 w 447236"/>
              <a:gd name="connsiteY3880" fmla="*/ 61362 h 448122"/>
              <a:gd name="connsiteX3881" fmla="*/ 297745 w 447236"/>
              <a:gd name="connsiteY3881" fmla="*/ 48709 h 448122"/>
              <a:gd name="connsiteX3882" fmla="*/ 299633 w 447236"/>
              <a:gd name="connsiteY3882" fmla="*/ 48709 h 448122"/>
              <a:gd name="connsiteX3883" fmla="*/ 299633 w 447236"/>
              <a:gd name="connsiteY3883" fmla="*/ 42530 h 448122"/>
              <a:gd name="connsiteX3884" fmla="*/ 299633 w 447236"/>
              <a:gd name="connsiteY3884" fmla="*/ 41415 h 448122"/>
              <a:gd name="connsiteX3885" fmla="*/ 300555 w 447236"/>
              <a:gd name="connsiteY3885" fmla="*/ 38648 h 448122"/>
              <a:gd name="connsiteX3886" fmla="*/ 303319 w 447236"/>
              <a:gd name="connsiteY3886" fmla="*/ 35572 h 448122"/>
              <a:gd name="connsiteX3887" fmla="*/ 304241 w 447236"/>
              <a:gd name="connsiteY3887" fmla="*/ 33727 h 448122"/>
              <a:gd name="connsiteX3888" fmla="*/ 303319 w 447236"/>
              <a:gd name="connsiteY3888" fmla="*/ 31882 h 448122"/>
              <a:gd name="connsiteX3889" fmla="*/ 300555 w 447236"/>
              <a:gd name="connsiteY3889" fmla="*/ 28807 h 448122"/>
              <a:gd name="connsiteX3890" fmla="*/ 299633 w 447236"/>
              <a:gd name="connsiteY3890" fmla="*/ 26040 h 448122"/>
              <a:gd name="connsiteX3891" fmla="*/ 299633 w 447236"/>
              <a:gd name="connsiteY3891" fmla="*/ 18451 h 448122"/>
              <a:gd name="connsiteX3892" fmla="*/ 299582 w 447236"/>
              <a:gd name="connsiteY3892" fmla="*/ 18451 h 448122"/>
              <a:gd name="connsiteX3893" fmla="*/ 297745 w 447236"/>
              <a:gd name="connsiteY3893" fmla="*/ 18451 h 448122"/>
              <a:gd name="connsiteX3894" fmla="*/ 297745 w 447236"/>
              <a:gd name="connsiteY3894" fmla="*/ 5601 h 448122"/>
              <a:gd name="connsiteX3895" fmla="*/ 294376 w 447236"/>
              <a:gd name="connsiteY3895" fmla="*/ 5601 h 448122"/>
              <a:gd name="connsiteX3896" fmla="*/ 292844 w 447236"/>
              <a:gd name="connsiteY3896" fmla="*/ 4071 h 448122"/>
              <a:gd name="connsiteX3897" fmla="*/ 292844 w 447236"/>
              <a:gd name="connsiteY3897" fmla="*/ 3154 h 448122"/>
              <a:gd name="connsiteX3898" fmla="*/ 294376 w 447236"/>
              <a:gd name="connsiteY3898" fmla="*/ 1624 h 448122"/>
              <a:gd name="connsiteX3899" fmla="*/ 159590 w 447236"/>
              <a:gd name="connsiteY3899" fmla="*/ 1624 h 448122"/>
              <a:gd name="connsiteX3900" fmla="*/ 176774 w 447236"/>
              <a:gd name="connsiteY3900" fmla="*/ 1624 h 448122"/>
              <a:gd name="connsiteX3901" fmla="*/ 183525 w 447236"/>
              <a:gd name="connsiteY3901" fmla="*/ 4372 h 448122"/>
              <a:gd name="connsiteX3902" fmla="*/ 185980 w 447236"/>
              <a:gd name="connsiteY3902" fmla="*/ 11396 h 448122"/>
              <a:gd name="connsiteX3903" fmla="*/ 185980 w 447236"/>
              <a:gd name="connsiteY3903" fmla="*/ 17565 h 448122"/>
              <a:gd name="connsiteX3904" fmla="*/ 190849 w 447236"/>
              <a:gd name="connsiteY3904" fmla="*/ 17565 h 448122"/>
              <a:gd name="connsiteX3905" fmla="*/ 191568 w 447236"/>
              <a:gd name="connsiteY3905" fmla="*/ 17565 h 448122"/>
              <a:gd name="connsiteX3906" fmla="*/ 207825 w 447236"/>
              <a:gd name="connsiteY3906" fmla="*/ 36236 h 448122"/>
              <a:gd name="connsiteX3907" fmla="*/ 207825 w 447236"/>
              <a:gd name="connsiteY3907" fmla="*/ 65315 h 448122"/>
              <a:gd name="connsiteX3908" fmla="*/ 191568 w 447236"/>
              <a:gd name="connsiteY3908" fmla="*/ 83986 h 448122"/>
              <a:gd name="connsiteX3909" fmla="*/ 188860 w 447236"/>
              <a:gd name="connsiteY3909" fmla="*/ 83986 h 448122"/>
              <a:gd name="connsiteX3910" fmla="*/ 189079 w 447236"/>
              <a:gd name="connsiteY3910" fmla="*/ 84318 h 448122"/>
              <a:gd name="connsiteX3911" fmla="*/ 189079 w 447236"/>
              <a:gd name="connsiteY3911" fmla="*/ 86163 h 448122"/>
              <a:gd name="connsiteX3912" fmla="*/ 188470 w 447236"/>
              <a:gd name="connsiteY3912" fmla="*/ 87086 h 448122"/>
              <a:gd name="connsiteX3913" fmla="*/ 185122 w 447236"/>
              <a:gd name="connsiteY3913" fmla="*/ 87086 h 448122"/>
              <a:gd name="connsiteX3914" fmla="*/ 184208 w 447236"/>
              <a:gd name="connsiteY3914" fmla="*/ 86163 h 448122"/>
              <a:gd name="connsiteX3915" fmla="*/ 184208 w 447236"/>
              <a:gd name="connsiteY3915" fmla="*/ 84318 h 448122"/>
              <a:gd name="connsiteX3916" fmla="*/ 184538 w 447236"/>
              <a:gd name="connsiteY3916" fmla="*/ 83986 h 448122"/>
              <a:gd name="connsiteX3917" fmla="*/ 164968 w 447236"/>
              <a:gd name="connsiteY3917" fmla="*/ 83986 h 448122"/>
              <a:gd name="connsiteX3918" fmla="*/ 152579 w 447236"/>
              <a:gd name="connsiteY3918" fmla="*/ 83986 h 448122"/>
              <a:gd name="connsiteX3919" fmla="*/ 152917 w 447236"/>
              <a:gd name="connsiteY3919" fmla="*/ 84318 h 448122"/>
              <a:gd name="connsiteX3920" fmla="*/ 152917 w 447236"/>
              <a:gd name="connsiteY3920" fmla="*/ 86163 h 448122"/>
              <a:gd name="connsiteX3921" fmla="*/ 151979 w 447236"/>
              <a:gd name="connsiteY3921" fmla="*/ 87086 h 448122"/>
              <a:gd name="connsiteX3922" fmla="*/ 148541 w 447236"/>
              <a:gd name="connsiteY3922" fmla="*/ 87086 h 448122"/>
              <a:gd name="connsiteX3923" fmla="*/ 147603 w 447236"/>
              <a:gd name="connsiteY3923" fmla="*/ 86163 h 448122"/>
              <a:gd name="connsiteX3924" fmla="*/ 147603 w 447236"/>
              <a:gd name="connsiteY3924" fmla="*/ 84318 h 448122"/>
              <a:gd name="connsiteX3925" fmla="*/ 147941 w 447236"/>
              <a:gd name="connsiteY3925" fmla="*/ 83986 h 448122"/>
              <a:gd name="connsiteX3926" fmla="*/ 146276 w 447236"/>
              <a:gd name="connsiteY3926" fmla="*/ 83986 h 448122"/>
              <a:gd name="connsiteX3927" fmla="*/ 145557 w 447236"/>
              <a:gd name="connsiteY3927" fmla="*/ 83986 h 448122"/>
              <a:gd name="connsiteX3928" fmla="*/ 129300 w 447236"/>
              <a:gd name="connsiteY3928" fmla="*/ 65008 h 448122"/>
              <a:gd name="connsiteX3929" fmla="*/ 129300 w 447236"/>
              <a:gd name="connsiteY3929" fmla="*/ 35930 h 448122"/>
              <a:gd name="connsiteX3930" fmla="*/ 145557 w 447236"/>
              <a:gd name="connsiteY3930" fmla="*/ 17565 h 448122"/>
              <a:gd name="connsiteX3931" fmla="*/ 150998 w 447236"/>
              <a:gd name="connsiteY3931" fmla="*/ 17565 h 448122"/>
              <a:gd name="connsiteX3932" fmla="*/ 150998 w 447236"/>
              <a:gd name="connsiteY3932" fmla="*/ 11854 h 448122"/>
              <a:gd name="connsiteX3933" fmla="*/ 150998 w 447236"/>
              <a:gd name="connsiteY3933" fmla="*/ 10785 h 448122"/>
              <a:gd name="connsiteX3934" fmla="*/ 153453 w 447236"/>
              <a:gd name="connsiteY3934" fmla="*/ 4372 h 448122"/>
              <a:gd name="connsiteX3935" fmla="*/ 159590 w 447236"/>
              <a:gd name="connsiteY3935" fmla="*/ 1624 h 448122"/>
              <a:gd name="connsiteX3936" fmla="*/ 216438 w 447236"/>
              <a:gd name="connsiteY3936" fmla="*/ 0 h 448122"/>
              <a:gd name="connsiteX3937" fmla="*/ 286739 w 447236"/>
              <a:gd name="connsiteY3937" fmla="*/ 0 h 448122"/>
              <a:gd name="connsiteX3938" fmla="*/ 291958 w 447236"/>
              <a:gd name="connsiteY3938" fmla="*/ 4904 h 448122"/>
              <a:gd name="connsiteX3939" fmla="*/ 291958 w 447236"/>
              <a:gd name="connsiteY3939" fmla="*/ 51185 h 448122"/>
              <a:gd name="connsiteX3940" fmla="*/ 286739 w 447236"/>
              <a:gd name="connsiteY3940" fmla="*/ 56089 h 448122"/>
              <a:gd name="connsiteX3941" fmla="*/ 216438 w 447236"/>
              <a:gd name="connsiteY3941" fmla="*/ 56089 h 448122"/>
              <a:gd name="connsiteX3942" fmla="*/ 211219 w 447236"/>
              <a:gd name="connsiteY3942" fmla="*/ 51185 h 448122"/>
              <a:gd name="connsiteX3943" fmla="*/ 211219 w 447236"/>
              <a:gd name="connsiteY3943" fmla="*/ 4904 h 448122"/>
              <a:gd name="connsiteX3944" fmla="*/ 216438 w 447236"/>
              <a:gd name="connsiteY3944" fmla="*/ 0 h 448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</a:cxnLst>
            <a:rect l="l" t="t" r="r" b="b"/>
            <a:pathLst>
              <a:path w="447236" h="448122">
                <a:moveTo>
                  <a:pt x="155052" y="428506"/>
                </a:moveTo>
                <a:cubicBezTo>
                  <a:pt x="154439" y="428506"/>
                  <a:pt x="153825" y="429119"/>
                  <a:pt x="153825" y="430038"/>
                </a:cubicBezTo>
                <a:cubicBezTo>
                  <a:pt x="153825" y="433716"/>
                  <a:pt x="153825" y="433716"/>
                  <a:pt x="153825" y="433716"/>
                </a:cubicBezTo>
                <a:cubicBezTo>
                  <a:pt x="153825" y="434329"/>
                  <a:pt x="154439" y="434942"/>
                  <a:pt x="155052" y="434942"/>
                </a:cubicBezTo>
                <a:cubicBezTo>
                  <a:pt x="161189" y="434942"/>
                  <a:pt x="161189" y="434942"/>
                  <a:pt x="161189" y="434942"/>
                </a:cubicBezTo>
                <a:cubicBezTo>
                  <a:pt x="161803" y="434942"/>
                  <a:pt x="162417" y="434329"/>
                  <a:pt x="162417" y="433716"/>
                </a:cubicBezTo>
                <a:cubicBezTo>
                  <a:pt x="162417" y="430038"/>
                  <a:pt x="162417" y="430038"/>
                  <a:pt x="162417" y="430038"/>
                </a:cubicBezTo>
                <a:cubicBezTo>
                  <a:pt x="162417" y="429119"/>
                  <a:pt x="161803" y="428506"/>
                  <a:pt x="161189" y="428506"/>
                </a:cubicBezTo>
                <a:cubicBezTo>
                  <a:pt x="155052" y="428506"/>
                  <a:pt x="155052" y="428506"/>
                  <a:pt x="155052" y="428506"/>
                </a:cubicBezTo>
                <a:close/>
                <a:moveTo>
                  <a:pt x="144312" y="428506"/>
                </a:moveTo>
                <a:cubicBezTo>
                  <a:pt x="143698" y="428506"/>
                  <a:pt x="143085" y="429119"/>
                  <a:pt x="143085" y="430038"/>
                </a:cubicBezTo>
                <a:cubicBezTo>
                  <a:pt x="143085" y="433716"/>
                  <a:pt x="143085" y="433716"/>
                  <a:pt x="143085" y="433716"/>
                </a:cubicBezTo>
                <a:cubicBezTo>
                  <a:pt x="143085" y="434329"/>
                  <a:pt x="143698" y="434942"/>
                  <a:pt x="144312" y="434942"/>
                </a:cubicBezTo>
                <a:cubicBezTo>
                  <a:pt x="150449" y="434942"/>
                  <a:pt x="150449" y="434942"/>
                  <a:pt x="150449" y="434942"/>
                </a:cubicBezTo>
                <a:cubicBezTo>
                  <a:pt x="151063" y="434942"/>
                  <a:pt x="151677" y="434329"/>
                  <a:pt x="151677" y="433716"/>
                </a:cubicBezTo>
                <a:cubicBezTo>
                  <a:pt x="151677" y="430038"/>
                  <a:pt x="151677" y="430038"/>
                  <a:pt x="151677" y="430038"/>
                </a:cubicBezTo>
                <a:cubicBezTo>
                  <a:pt x="151677" y="429119"/>
                  <a:pt x="151063" y="428506"/>
                  <a:pt x="150449" y="428506"/>
                </a:cubicBezTo>
                <a:cubicBezTo>
                  <a:pt x="144312" y="428506"/>
                  <a:pt x="144312" y="428506"/>
                  <a:pt x="144312" y="428506"/>
                </a:cubicBezTo>
                <a:close/>
                <a:moveTo>
                  <a:pt x="133572" y="428506"/>
                </a:moveTo>
                <a:cubicBezTo>
                  <a:pt x="132958" y="428506"/>
                  <a:pt x="132345" y="429119"/>
                  <a:pt x="132345" y="430038"/>
                </a:cubicBezTo>
                <a:cubicBezTo>
                  <a:pt x="132345" y="433716"/>
                  <a:pt x="132345" y="433716"/>
                  <a:pt x="132345" y="433716"/>
                </a:cubicBezTo>
                <a:cubicBezTo>
                  <a:pt x="132345" y="434329"/>
                  <a:pt x="132958" y="434942"/>
                  <a:pt x="133572" y="434942"/>
                </a:cubicBezTo>
                <a:cubicBezTo>
                  <a:pt x="139709" y="434942"/>
                  <a:pt x="139709" y="434942"/>
                  <a:pt x="139709" y="434942"/>
                </a:cubicBezTo>
                <a:cubicBezTo>
                  <a:pt x="140323" y="434942"/>
                  <a:pt x="140937" y="434329"/>
                  <a:pt x="140937" y="433716"/>
                </a:cubicBezTo>
                <a:cubicBezTo>
                  <a:pt x="140937" y="430038"/>
                  <a:pt x="140937" y="430038"/>
                  <a:pt x="140937" y="430038"/>
                </a:cubicBezTo>
                <a:cubicBezTo>
                  <a:pt x="140937" y="429119"/>
                  <a:pt x="140323" y="428506"/>
                  <a:pt x="139709" y="428506"/>
                </a:cubicBezTo>
                <a:cubicBezTo>
                  <a:pt x="133572" y="428506"/>
                  <a:pt x="133572" y="428506"/>
                  <a:pt x="133572" y="428506"/>
                </a:cubicBezTo>
                <a:close/>
                <a:moveTo>
                  <a:pt x="213492" y="421388"/>
                </a:moveTo>
                <a:lnTo>
                  <a:pt x="213946" y="422000"/>
                </a:lnTo>
                <a:cubicBezTo>
                  <a:pt x="214253" y="422000"/>
                  <a:pt x="214253" y="422000"/>
                  <a:pt x="214253" y="422307"/>
                </a:cubicBezTo>
                <a:cubicBezTo>
                  <a:pt x="213946" y="422919"/>
                  <a:pt x="213639" y="423225"/>
                  <a:pt x="213024" y="423838"/>
                </a:cubicBezTo>
                <a:lnTo>
                  <a:pt x="212533" y="423674"/>
                </a:lnTo>
                <a:close/>
                <a:moveTo>
                  <a:pt x="234451" y="420576"/>
                </a:moveTo>
                <a:lnTo>
                  <a:pt x="234389" y="425298"/>
                </a:lnTo>
                <a:lnTo>
                  <a:pt x="234499" y="425160"/>
                </a:lnTo>
                <a:cubicBezTo>
                  <a:pt x="235113" y="423628"/>
                  <a:pt x="235420" y="422403"/>
                  <a:pt x="235113" y="421484"/>
                </a:cubicBezTo>
                <a:cubicBezTo>
                  <a:pt x="235113" y="421177"/>
                  <a:pt x="235113" y="420871"/>
                  <a:pt x="234806" y="420871"/>
                </a:cubicBezTo>
                <a:close/>
                <a:moveTo>
                  <a:pt x="232056" y="420445"/>
                </a:moveTo>
                <a:lnTo>
                  <a:pt x="231459" y="420871"/>
                </a:lnTo>
                <a:cubicBezTo>
                  <a:pt x="231459" y="420871"/>
                  <a:pt x="231152" y="421177"/>
                  <a:pt x="231152" y="421484"/>
                </a:cubicBezTo>
                <a:cubicBezTo>
                  <a:pt x="231152" y="422403"/>
                  <a:pt x="231152" y="423628"/>
                  <a:pt x="232073" y="425160"/>
                </a:cubicBezTo>
                <a:lnTo>
                  <a:pt x="232141" y="425248"/>
                </a:lnTo>
                <a:close/>
                <a:moveTo>
                  <a:pt x="170985" y="417599"/>
                </a:moveTo>
                <a:lnTo>
                  <a:pt x="171995" y="420044"/>
                </a:lnTo>
                <a:lnTo>
                  <a:pt x="171262" y="420775"/>
                </a:lnTo>
                <a:cubicBezTo>
                  <a:pt x="171262" y="420775"/>
                  <a:pt x="170954" y="421082"/>
                  <a:pt x="170954" y="421082"/>
                </a:cubicBezTo>
                <a:cubicBezTo>
                  <a:pt x="170647" y="420163"/>
                  <a:pt x="170033" y="419550"/>
                  <a:pt x="169726" y="418938"/>
                </a:cubicBezTo>
                <a:close/>
                <a:moveTo>
                  <a:pt x="155052" y="416859"/>
                </a:moveTo>
                <a:cubicBezTo>
                  <a:pt x="154439" y="416859"/>
                  <a:pt x="153825" y="417472"/>
                  <a:pt x="153825" y="418085"/>
                </a:cubicBezTo>
                <a:cubicBezTo>
                  <a:pt x="153825" y="422069"/>
                  <a:pt x="153825" y="422069"/>
                  <a:pt x="153825" y="422069"/>
                </a:cubicBezTo>
                <a:cubicBezTo>
                  <a:pt x="153825" y="422682"/>
                  <a:pt x="154439" y="423295"/>
                  <a:pt x="155052" y="423295"/>
                </a:cubicBezTo>
                <a:cubicBezTo>
                  <a:pt x="161189" y="423295"/>
                  <a:pt x="161189" y="423295"/>
                  <a:pt x="161189" y="423295"/>
                </a:cubicBezTo>
                <a:cubicBezTo>
                  <a:pt x="161803" y="423295"/>
                  <a:pt x="162417" y="422682"/>
                  <a:pt x="162417" y="422069"/>
                </a:cubicBezTo>
                <a:cubicBezTo>
                  <a:pt x="162417" y="418085"/>
                  <a:pt x="162417" y="418085"/>
                  <a:pt x="162417" y="418085"/>
                </a:cubicBezTo>
                <a:cubicBezTo>
                  <a:pt x="162417" y="417472"/>
                  <a:pt x="161803" y="416859"/>
                  <a:pt x="161189" y="416859"/>
                </a:cubicBezTo>
                <a:cubicBezTo>
                  <a:pt x="155052" y="416859"/>
                  <a:pt x="155052" y="416859"/>
                  <a:pt x="155052" y="416859"/>
                </a:cubicBezTo>
                <a:close/>
                <a:moveTo>
                  <a:pt x="144312" y="416859"/>
                </a:moveTo>
                <a:cubicBezTo>
                  <a:pt x="143698" y="416859"/>
                  <a:pt x="143085" y="417472"/>
                  <a:pt x="143085" y="418085"/>
                </a:cubicBezTo>
                <a:cubicBezTo>
                  <a:pt x="143085" y="422069"/>
                  <a:pt x="143085" y="422069"/>
                  <a:pt x="143085" y="422069"/>
                </a:cubicBezTo>
                <a:cubicBezTo>
                  <a:pt x="143085" y="422682"/>
                  <a:pt x="143698" y="423295"/>
                  <a:pt x="144312" y="423295"/>
                </a:cubicBezTo>
                <a:cubicBezTo>
                  <a:pt x="150449" y="423295"/>
                  <a:pt x="150449" y="423295"/>
                  <a:pt x="150449" y="423295"/>
                </a:cubicBezTo>
                <a:cubicBezTo>
                  <a:pt x="151063" y="423295"/>
                  <a:pt x="151677" y="422682"/>
                  <a:pt x="151677" y="422069"/>
                </a:cubicBezTo>
                <a:cubicBezTo>
                  <a:pt x="151677" y="418085"/>
                  <a:pt x="151677" y="418085"/>
                  <a:pt x="151677" y="418085"/>
                </a:cubicBezTo>
                <a:cubicBezTo>
                  <a:pt x="151677" y="417472"/>
                  <a:pt x="151063" y="416859"/>
                  <a:pt x="150449" y="416859"/>
                </a:cubicBezTo>
                <a:cubicBezTo>
                  <a:pt x="144312" y="416859"/>
                  <a:pt x="144312" y="416859"/>
                  <a:pt x="144312" y="416859"/>
                </a:cubicBezTo>
                <a:close/>
                <a:moveTo>
                  <a:pt x="133572" y="416859"/>
                </a:moveTo>
                <a:cubicBezTo>
                  <a:pt x="132958" y="416859"/>
                  <a:pt x="132345" y="417472"/>
                  <a:pt x="132345" y="418085"/>
                </a:cubicBezTo>
                <a:cubicBezTo>
                  <a:pt x="132345" y="422069"/>
                  <a:pt x="132345" y="422069"/>
                  <a:pt x="132345" y="422069"/>
                </a:cubicBezTo>
                <a:cubicBezTo>
                  <a:pt x="132345" y="422682"/>
                  <a:pt x="132958" y="423295"/>
                  <a:pt x="133572" y="423295"/>
                </a:cubicBezTo>
                <a:cubicBezTo>
                  <a:pt x="139709" y="423295"/>
                  <a:pt x="139709" y="423295"/>
                  <a:pt x="139709" y="423295"/>
                </a:cubicBezTo>
                <a:cubicBezTo>
                  <a:pt x="140323" y="423295"/>
                  <a:pt x="140937" y="422682"/>
                  <a:pt x="140937" y="422069"/>
                </a:cubicBezTo>
                <a:cubicBezTo>
                  <a:pt x="140937" y="418085"/>
                  <a:pt x="140937" y="418085"/>
                  <a:pt x="140937" y="418085"/>
                </a:cubicBezTo>
                <a:cubicBezTo>
                  <a:pt x="140937" y="417472"/>
                  <a:pt x="140323" y="416859"/>
                  <a:pt x="139709" y="416859"/>
                </a:cubicBezTo>
                <a:cubicBezTo>
                  <a:pt x="133572" y="416859"/>
                  <a:pt x="133572" y="416859"/>
                  <a:pt x="133572" y="416859"/>
                </a:cubicBezTo>
                <a:close/>
                <a:moveTo>
                  <a:pt x="287340" y="416486"/>
                </a:moveTo>
                <a:cubicBezTo>
                  <a:pt x="285192" y="416486"/>
                  <a:pt x="283658" y="418325"/>
                  <a:pt x="283658" y="420164"/>
                </a:cubicBezTo>
                <a:cubicBezTo>
                  <a:pt x="283658" y="422309"/>
                  <a:pt x="285192" y="423842"/>
                  <a:pt x="287340" y="423842"/>
                </a:cubicBezTo>
                <a:cubicBezTo>
                  <a:pt x="289488" y="423842"/>
                  <a:pt x="291023" y="422309"/>
                  <a:pt x="291023" y="420164"/>
                </a:cubicBezTo>
                <a:cubicBezTo>
                  <a:pt x="291023" y="418325"/>
                  <a:pt x="289488" y="416486"/>
                  <a:pt x="287340" y="416486"/>
                </a:cubicBezTo>
                <a:close/>
                <a:moveTo>
                  <a:pt x="231869" y="409869"/>
                </a:moveTo>
                <a:lnTo>
                  <a:pt x="229587" y="411067"/>
                </a:lnTo>
                <a:cubicBezTo>
                  <a:pt x="228973" y="411680"/>
                  <a:pt x="229280" y="412599"/>
                  <a:pt x="229587" y="413212"/>
                </a:cubicBezTo>
                <a:lnTo>
                  <a:pt x="231962" y="415108"/>
                </a:lnTo>
                <a:close/>
                <a:moveTo>
                  <a:pt x="234594" y="409812"/>
                </a:moveTo>
                <a:lnTo>
                  <a:pt x="234524" y="415123"/>
                </a:lnTo>
                <a:lnTo>
                  <a:pt x="236678" y="413212"/>
                </a:lnTo>
                <a:cubicBezTo>
                  <a:pt x="237292" y="412599"/>
                  <a:pt x="237292" y="411680"/>
                  <a:pt x="236985" y="411067"/>
                </a:cubicBezTo>
                <a:close/>
                <a:moveTo>
                  <a:pt x="155052" y="405211"/>
                </a:moveTo>
                <a:cubicBezTo>
                  <a:pt x="154439" y="405211"/>
                  <a:pt x="153825" y="405824"/>
                  <a:pt x="153825" y="406437"/>
                </a:cubicBezTo>
                <a:cubicBezTo>
                  <a:pt x="153825" y="410116"/>
                  <a:pt x="153825" y="410116"/>
                  <a:pt x="153825" y="410116"/>
                </a:cubicBezTo>
                <a:cubicBezTo>
                  <a:pt x="153825" y="411035"/>
                  <a:pt x="154439" y="411648"/>
                  <a:pt x="155052" y="411648"/>
                </a:cubicBezTo>
                <a:cubicBezTo>
                  <a:pt x="161189" y="411648"/>
                  <a:pt x="161189" y="411648"/>
                  <a:pt x="161189" y="411648"/>
                </a:cubicBezTo>
                <a:cubicBezTo>
                  <a:pt x="161803" y="411648"/>
                  <a:pt x="162417" y="411035"/>
                  <a:pt x="162417" y="410116"/>
                </a:cubicBezTo>
                <a:cubicBezTo>
                  <a:pt x="162417" y="406437"/>
                  <a:pt x="162417" y="406437"/>
                  <a:pt x="162417" y="406437"/>
                </a:cubicBezTo>
                <a:cubicBezTo>
                  <a:pt x="162417" y="405824"/>
                  <a:pt x="161803" y="405211"/>
                  <a:pt x="161189" y="405211"/>
                </a:cubicBezTo>
                <a:cubicBezTo>
                  <a:pt x="155052" y="405211"/>
                  <a:pt x="155052" y="405211"/>
                  <a:pt x="155052" y="405211"/>
                </a:cubicBezTo>
                <a:close/>
                <a:moveTo>
                  <a:pt x="144312" y="405211"/>
                </a:moveTo>
                <a:cubicBezTo>
                  <a:pt x="143698" y="405211"/>
                  <a:pt x="143085" y="405824"/>
                  <a:pt x="143085" y="406437"/>
                </a:cubicBezTo>
                <a:cubicBezTo>
                  <a:pt x="143085" y="410116"/>
                  <a:pt x="143085" y="410116"/>
                  <a:pt x="143085" y="410116"/>
                </a:cubicBezTo>
                <a:cubicBezTo>
                  <a:pt x="143085" y="411035"/>
                  <a:pt x="143698" y="411648"/>
                  <a:pt x="144312" y="411648"/>
                </a:cubicBezTo>
                <a:cubicBezTo>
                  <a:pt x="150449" y="411648"/>
                  <a:pt x="150449" y="411648"/>
                  <a:pt x="150449" y="411648"/>
                </a:cubicBezTo>
                <a:cubicBezTo>
                  <a:pt x="151063" y="411648"/>
                  <a:pt x="151677" y="411035"/>
                  <a:pt x="151677" y="410116"/>
                </a:cubicBezTo>
                <a:cubicBezTo>
                  <a:pt x="151677" y="406437"/>
                  <a:pt x="151677" y="406437"/>
                  <a:pt x="151677" y="406437"/>
                </a:cubicBezTo>
                <a:cubicBezTo>
                  <a:pt x="151677" y="405824"/>
                  <a:pt x="151063" y="405211"/>
                  <a:pt x="150449" y="405211"/>
                </a:cubicBezTo>
                <a:cubicBezTo>
                  <a:pt x="144312" y="405211"/>
                  <a:pt x="144312" y="405211"/>
                  <a:pt x="144312" y="405211"/>
                </a:cubicBezTo>
                <a:close/>
                <a:moveTo>
                  <a:pt x="133572" y="405211"/>
                </a:moveTo>
                <a:cubicBezTo>
                  <a:pt x="132958" y="405211"/>
                  <a:pt x="132345" y="405824"/>
                  <a:pt x="132345" y="406437"/>
                </a:cubicBezTo>
                <a:cubicBezTo>
                  <a:pt x="132345" y="410116"/>
                  <a:pt x="132345" y="410116"/>
                  <a:pt x="132345" y="410116"/>
                </a:cubicBezTo>
                <a:cubicBezTo>
                  <a:pt x="132345" y="411035"/>
                  <a:pt x="132958" y="411648"/>
                  <a:pt x="133572" y="411648"/>
                </a:cubicBezTo>
                <a:cubicBezTo>
                  <a:pt x="139709" y="411648"/>
                  <a:pt x="139709" y="411648"/>
                  <a:pt x="139709" y="411648"/>
                </a:cubicBezTo>
                <a:cubicBezTo>
                  <a:pt x="140323" y="411648"/>
                  <a:pt x="140937" y="411035"/>
                  <a:pt x="140937" y="410116"/>
                </a:cubicBezTo>
                <a:cubicBezTo>
                  <a:pt x="140937" y="406437"/>
                  <a:pt x="140937" y="406437"/>
                  <a:pt x="140937" y="406437"/>
                </a:cubicBezTo>
                <a:cubicBezTo>
                  <a:pt x="140937" y="405824"/>
                  <a:pt x="140323" y="405211"/>
                  <a:pt x="139709" y="405211"/>
                </a:cubicBezTo>
                <a:cubicBezTo>
                  <a:pt x="133572" y="405211"/>
                  <a:pt x="133572" y="405211"/>
                  <a:pt x="133572" y="405211"/>
                </a:cubicBezTo>
                <a:close/>
                <a:moveTo>
                  <a:pt x="186886" y="398533"/>
                </a:moveTo>
                <a:lnTo>
                  <a:pt x="186935" y="398568"/>
                </a:lnTo>
                <a:lnTo>
                  <a:pt x="189341" y="428431"/>
                </a:lnTo>
                <a:cubicBezTo>
                  <a:pt x="189686" y="432719"/>
                  <a:pt x="189686" y="432719"/>
                  <a:pt x="189686" y="432719"/>
                </a:cubicBezTo>
                <a:cubicBezTo>
                  <a:pt x="189686" y="433331"/>
                  <a:pt x="190301" y="433943"/>
                  <a:pt x="191222" y="433943"/>
                </a:cubicBezTo>
                <a:cubicBezTo>
                  <a:pt x="191529" y="433943"/>
                  <a:pt x="192143" y="433331"/>
                  <a:pt x="192143" y="433025"/>
                </a:cubicBezTo>
                <a:cubicBezTo>
                  <a:pt x="197670" y="418019"/>
                  <a:pt x="197670" y="418019"/>
                  <a:pt x="197670" y="418019"/>
                </a:cubicBezTo>
                <a:cubicBezTo>
                  <a:pt x="200741" y="425981"/>
                  <a:pt x="200741" y="425981"/>
                  <a:pt x="200741" y="425981"/>
                </a:cubicBezTo>
                <a:cubicBezTo>
                  <a:pt x="201048" y="426594"/>
                  <a:pt x="201663" y="426900"/>
                  <a:pt x="202584" y="426900"/>
                </a:cubicBezTo>
                <a:cubicBezTo>
                  <a:pt x="202584" y="426594"/>
                  <a:pt x="202891" y="426594"/>
                  <a:pt x="203198" y="426288"/>
                </a:cubicBezTo>
                <a:cubicBezTo>
                  <a:pt x="208111" y="418019"/>
                  <a:pt x="208111" y="418019"/>
                  <a:pt x="208111" y="418019"/>
                </a:cubicBezTo>
                <a:cubicBezTo>
                  <a:pt x="212103" y="423531"/>
                  <a:pt x="212103" y="423531"/>
                  <a:pt x="212103" y="423531"/>
                </a:cubicBezTo>
                <a:lnTo>
                  <a:pt x="212533" y="423674"/>
                </a:lnTo>
                <a:lnTo>
                  <a:pt x="211374" y="426441"/>
                </a:lnTo>
                <a:cubicBezTo>
                  <a:pt x="206346" y="433101"/>
                  <a:pt x="199667" y="439762"/>
                  <a:pt x="193064" y="446499"/>
                </a:cubicBezTo>
                <a:cubicBezTo>
                  <a:pt x="186309" y="439762"/>
                  <a:pt x="179630" y="433101"/>
                  <a:pt x="174639" y="426441"/>
                </a:cubicBezTo>
                <a:lnTo>
                  <a:pt x="171995" y="420044"/>
                </a:lnTo>
                <a:lnTo>
                  <a:pt x="174639" y="417407"/>
                </a:lnTo>
                <a:cubicBezTo>
                  <a:pt x="176482" y="423225"/>
                  <a:pt x="176482" y="423225"/>
                  <a:pt x="176482" y="423225"/>
                </a:cubicBezTo>
                <a:cubicBezTo>
                  <a:pt x="176482" y="423838"/>
                  <a:pt x="177403" y="424144"/>
                  <a:pt x="178017" y="423838"/>
                </a:cubicBezTo>
                <a:cubicBezTo>
                  <a:pt x="178324" y="423838"/>
                  <a:pt x="178631" y="423531"/>
                  <a:pt x="178939" y="423225"/>
                </a:cubicBezTo>
                <a:cubicBezTo>
                  <a:pt x="182931" y="410823"/>
                  <a:pt x="184927" y="404621"/>
                  <a:pt x="185925" y="401521"/>
                </a:cubicBezTo>
                <a:close/>
                <a:moveTo>
                  <a:pt x="231662" y="398173"/>
                </a:moveTo>
                <a:lnTo>
                  <a:pt x="231459" y="398200"/>
                </a:lnTo>
                <a:cubicBezTo>
                  <a:pt x="228696" y="398813"/>
                  <a:pt x="227928" y="399809"/>
                  <a:pt x="228273" y="400881"/>
                </a:cubicBezTo>
                <a:lnTo>
                  <a:pt x="231766" y="404021"/>
                </a:lnTo>
                <a:close/>
                <a:moveTo>
                  <a:pt x="234748" y="398152"/>
                </a:moveTo>
                <a:lnTo>
                  <a:pt x="234670" y="404089"/>
                </a:lnTo>
                <a:lnTo>
                  <a:pt x="234806" y="404021"/>
                </a:lnTo>
                <a:cubicBezTo>
                  <a:pt x="237876" y="402183"/>
                  <a:pt x="240332" y="399426"/>
                  <a:pt x="235113" y="398200"/>
                </a:cubicBezTo>
                <a:close/>
                <a:moveTo>
                  <a:pt x="185694" y="394439"/>
                </a:moveTo>
                <a:cubicBezTo>
                  <a:pt x="186923" y="395052"/>
                  <a:pt x="188151" y="395970"/>
                  <a:pt x="189379" y="397195"/>
                </a:cubicBezTo>
                <a:lnTo>
                  <a:pt x="189659" y="400544"/>
                </a:lnTo>
                <a:lnTo>
                  <a:pt x="186935" y="398568"/>
                </a:lnTo>
                <a:lnTo>
                  <a:pt x="186923" y="398420"/>
                </a:lnTo>
                <a:lnTo>
                  <a:pt x="186886" y="398533"/>
                </a:lnTo>
                <a:lnTo>
                  <a:pt x="184834" y="397045"/>
                </a:lnTo>
                <a:close/>
                <a:moveTo>
                  <a:pt x="155052" y="393564"/>
                </a:moveTo>
                <a:cubicBezTo>
                  <a:pt x="154439" y="393564"/>
                  <a:pt x="153825" y="394177"/>
                  <a:pt x="153825" y="394790"/>
                </a:cubicBezTo>
                <a:cubicBezTo>
                  <a:pt x="153825" y="398468"/>
                  <a:pt x="153825" y="398468"/>
                  <a:pt x="153825" y="398468"/>
                </a:cubicBezTo>
                <a:cubicBezTo>
                  <a:pt x="153825" y="399081"/>
                  <a:pt x="154439" y="399694"/>
                  <a:pt x="155052" y="399694"/>
                </a:cubicBezTo>
                <a:cubicBezTo>
                  <a:pt x="161189" y="399694"/>
                  <a:pt x="161189" y="399694"/>
                  <a:pt x="161189" y="399694"/>
                </a:cubicBezTo>
                <a:cubicBezTo>
                  <a:pt x="161803" y="399694"/>
                  <a:pt x="162417" y="399081"/>
                  <a:pt x="162417" y="398468"/>
                </a:cubicBezTo>
                <a:cubicBezTo>
                  <a:pt x="162417" y="394790"/>
                  <a:pt x="162417" y="394790"/>
                  <a:pt x="162417" y="394790"/>
                </a:cubicBezTo>
                <a:cubicBezTo>
                  <a:pt x="162417" y="394177"/>
                  <a:pt x="161803" y="393564"/>
                  <a:pt x="161189" y="393564"/>
                </a:cubicBezTo>
                <a:cubicBezTo>
                  <a:pt x="155052" y="393564"/>
                  <a:pt x="155052" y="393564"/>
                  <a:pt x="155052" y="393564"/>
                </a:cubicBezTo>
                <a:close/>
                <a:moveTo>
                  <a:pt x="144312" y="393564"/>
                </a:moveTo>
                <a:cubicBezTo>
                  <a:pt x="143698" y="393564"/>
                  <a:pt x="143085" y="394177"/>
                  <a:pt x="143085" y="394790"/>
                </a:cubicBezTo>
                <a:cubicBezTo>
                  <a:pt x="143085" y="398468"/>
                  <a:pt x="143085" y="398468"/>
                  <a:pt x="143085" y="398468"/>
                </a:cubicBezTo>
                <a:cubicBezTo>
                  <a:pt x="143085" y="399081"/>
                  <a:pt x="143698" y="399694"/>
                  <a:pt x="144312" y="399694"/>
                </a:cubicBezTo>
                <a:cubicBezTo>
                  <a:pt x="150449" y="399694"/>
                  <a:pt x="150449" y="399694"/>
                  <a:pt x="150449" y="399694"/>
                </a:cubicBezTo>
                <a:cubicBezTo>
                  <a:pt x="151063" y="399694"/>
                  <a:pt x="151677" y="399081"/>
                  <a:pt x="151677" y="398468"/>
                </a:cubicBezTo>
                <a:cubicBezTo>
                  <a:pt x="151677" y="394790"/>
                  <a:pt x="151677" y="394790"/>
                  <a:pt x="151677" y="394790"/>
                </a:cubicBezTo>
                <a:cubicBezTo>
                  <a:pt x="151677" y="394177"/>
                  <a:pt x="151063" y="393564"/>
                  <a:pt x="150449" y="393564"/>
                </a:cubicBezTo>
                <a:cubicBezTo>
                  <a:pt x="144312" y="393564"/>
                  <a:pt x="144312" y="393564"/>
                  <a:pt x="144312" y="393564"/>
                </a:cubicBezTo>
                <a:close/>
                <a:moveTo>
                  <a:pt x="133572" y="393564"/>
                </a:moveTo>
                <a:cubicBezTo>
                  <a:pt x="132958" y="393564"/>
                  <a:pt x="132345" y="394177"/>
                  <a:pt x="132345" y="394790"/>
                </a:cubicBezTo>
                <a:cubicBezTo>
                  <a:pt x="132345" y="398468"/>
                  <a:pt x="132345" y="398468"/>
                  <a:pt x="132345" y="398468"/>
                </a:cubicBezTo>
                <a:cubicBezTo>
                  <a:pt x="132345" y="399081"/>
                  <a:pt x="132958" y="399694"/>
                  <a:pt x="133572" y="399694"/>
                </a:cubicBezTo>
                <a:cubicBezTo>
                  <a:pt x="139709" y="399694"/>
                  <a:pt x="139709" y="399694"/>
                  <a:pt x="139709" y="399694"/>
                </a:cubicBezTo>
                <a:cubicBezTo>
                  <a:pt x="140323" y="399694"/>
                  <a:pt x="140937" y="399081"/>
                  <a:pt x="140937" y="398468"/>
                </a:cubicBezTo>
                <a:cubicBezTo>
                  <a:pt x="140937" y="394790"/>
                  <a:pt x="140937" y="394790"/>
                  <a:pt x="140937" y="394790"/>
                </a:cubicBezTo>
                <a:cubicBezTo>
                  <a:pt x="140937" y="394177"/>
                  <a:pt x="140323" y="393564"/>
                  <a:pt x="139709" y="393564"/>
                </a:cubicBezTo>
                <a:close/>
                <a:moveTo>
                  <a:pt x="206269" y="393214"/>
                </a:moveTo>
                <a:cubicBezTo>
                  <a:pt x="213639" y="393214"/>
                  <a:pt x="219780" y="399033"/>
                  <a:pt x="219780" y="406382"/>
                </a:cubicBezTo>
                <a:lnTo>
                  <a:pt x="213492" y="421388"/>
                </a:lnTo>
                <a:lnTo>
                  <a:pt x="209378" y="415837"/>
                </a:lnTo>
                <a:cubicBezTo>
                  <a:pt x="208725" y="414957"/>
                  <a:pt x="208725" y="414957"/>
                  <a:pt x="208725" y="414957"/>
                </a:cubicBezTo>
                <a:cubicBezTo>
                  <a:pt x="208725" y="414957"/>
                  <a:pt x="208725" y="414957"/>
                  <a:pt x="208418" y="414651"/>
                </a:cubicBezTo>
                <a:cubicBezTo>
                  <a:pt x="207804" y="414344"/>
                  <a:pt x="207190" y="414651"/>
                  <a:pt x="206883" y="415263"/>
                </a:cubicBezTo>
                <a:cubicBezTo>
                  <a:pt x="202277" y="422919"/>
                  <a:pt x="202277" y="422919"/>
                  <a:pt x="202277" y="422919"/>
                </a:cubicBezTo>
                <a:cubicBezTo>
                  <a:pt x="198592" y="413732"/>
                  <a:pt x="198592" y="413732"/>
                  <a:pt x="198592" y="413732"/>
                </a:cubicBezTo>
                <a:cubicBezTo>
                  <a:pt x="198592" y="413426"/>
                  <a:pt x="198285" y="413119"/>
                  <a:pt x="197978" y="413119"/>
                </a:cubicBezTo>
                <a:cubicBezTo>
                  <a:pt x="197363" y="412813"/>
                  <a:pt x="196442" y="413119"/>
                  <a:pt x="196442" y="414038"/>
                </a:cubicBezTo>
                <a:cubicBezTo>
                  <a:pt x="191836" y="426594"/>
                  <a:pt x="191836" y="426594"/>
                  <a:pt x="191836" y="426594"/>
                </a:cubicBezTo>
                <a:cubicBezTo>
                  <a:pt x="190608" y="411894"/>
                  <a:pt x="189993" y="404545"/>
                  <a:pt x="189686" y="400870"/>
                </a:cubicBezTo>
                <a:lnTo>
                  <a:pt x="189659" y="400544"/>
                </a:lnTo>
                <a:lnTo>
                  <a:pt x="193064" y="403014"/>
                </a:lnTo>
                <a:cubicBezTo>
                  <a:pt x="196442" y="396276"/>
                  <a:pt x="199513" y="393214"/>
                  <a:pt x="206269" y="393214"/>
                </a:cubicBezTo>
                <a:close/>
                <a:moveTo>
                  <a:pt x="179553" y="393214"/>
                </a:moveTo>
                <a:lnTo>
                  <a:pt x="184834" y="397045"/>
                </a:lnTo>
                <a:lnTo>
                  <a:pt x="178708" y="415608"/>
                </a:lnTo>
                <a:cubicBezTo>
                  <a:pt x="177710" y="418632"/>
                  <a:pt x="177710" y="418632"/>
                  <a:pt x="177710" y="418632"/>
                </a:cubicBezTo>
                <a:cubicBezTo>
                  <a:pt x="176175" y="414651"/>
                  <a:pt x="176175" y="414651"/>
                  <a:pt x="176175" y="414651"/>
                </a:cubicBezTo>
                <a:cubicBezTo>
                  <a:pt x="176175" y="414344"/>
                  <a:pt x="176175" y="414038"/>
                  <a:pt x="175868" y="414038"/>
                </a:cubicBezTo>
                <a:cubicBezTo>
                  <a:pt x="175561" y="413426"/>
                  <a:pt x="174639" y="413426"/>
                  <a:pt x="174332" y="414038"/>
                </a:cubicBezTo>
                <a:lnTo>
                  <a:pt x="170985" y="417599"/>
                </a:lnTo>
                <a:lnTo>
                  <a:pt x="166348" y="406382"/>
                </a:lnTo>
                <a:cubicBezTo>
                  <a:pt x="166348" y="399033"/>
                  <a:pt x="172183" y="393214"/>
                  <a:pt x="179553" y="393214"/>
                </a:cubicBezTo>
                <a:close/>
                <a:moveTo>
                  <a:pt x="237599" y="389009"/>
                </a:moveTo>
                <a:lnTo>
                  <a:pt x="238765" y="389009"/>
                </a:lnTo>
                <a:lnTo>
                  <a:pt x="238520" y="389315"/>
                </a:lnTo>
                <a:cubicBezTo>
                  <a:pt x="238213" y="389315"/>
                  <a:pt x="237906" y="389315"/>
                  <a:pt x="237599" y="389009"/>
                </a:cubicBezTo>
                <a:close/>
                <a:moveTo>
                  <a:pt x="228700" y="388854"/>
                </a:moveTo>
                <a:lnTo>
                  <a:pt x="228973" y="389009"/>
                </a:lnTo>
                <a:cubicBezTo>
                  <a:pt x="228666" y="389315"/>
                  <a:pt x="228359" y="389315"/>
                  <a:pt x="228052" y="389315"/>
                </a:cubicBezTo>
                <a:lnTo>
                  <a:pt x="227806" y="389009"/>
                </a:lnTo>
                <a:lnTo>
                  <a:pt x="228666" y="389009"/>
                </a:lnTo>
                <a:close/>
                <a:moveTo>
                  <a:pt x="240669" y="385333"/>
                </a:moveTo>
                <a:cubicBezTo>
                  <a:pt x="240362" y="385333"/>
                  <a:pt x="240055" y="385333"/>
                  <a:pt x="239441" y="385639"/>
                </a:cubicBezTo>
                <a:cubicBezTo>
                  <a:pt x="238827" y="385639"/>
                  <a:pt x="238827" y="386252"/>
                  <a:pt x="238827" y="386252"/>
                </a:cubicBezTo>
                <a:cubicBezTo>
                  <a:pt x="239134" y="386558"/>
                  <a:pt x="239441" y="386558"/>
                  <a:pt x="240055" y="386252"/>
                </a:cubicBezTo>
                <a:cubicBezTo>
                  <a:pt x="240362" y="385945"/>
                  <a:pt x="240669" y="385639"/>
                  <a:pt x="240669" y="385333"/>
                </a:cubicBezTo>
                <a:close/>
                <a:moveTo>
                  <a:pt x="225903" y="385333"/>
                </a:moveTo>
                <a:cubicBezTo>
                  <a:pt x="225596" y="385639"/>
                  <a:pt x="225903" y="385945"/>
                  <a:pt x="226517" y="386252"/>
                </a:cubicBezTo>
                <a:cubicBezTo>
                  <a:pt x="226824" y="386558"/>
                  <a:pt x="227438" y="386558"/>
                  <a:pt x="227438" y="386252"/>
                </a:cubicBezTo>
                <a:cubicBezTo>
                  <a:pt x="227745" y="386252"/>
                  <a:pt x="227438" y="385639"/>
                  <a:pt x="226824" y="385639"/>
                </a:cubicBezTo>
                <a:cubicBezTo>
                  <a:pt x="226517" y="385333"/>
                  <a:pt x="225903" y="385333"/>
                  <a:pt x="225903" y="385333"/>
                </a:cubicBezTo>
                <a:close/>
                <a:moveTo>
                  <a:pt x="242746" y="365317"/>
                </a:moveTo>
                <a:cubicBezTo>
                  <a:pt x="243666" y="365317"/>
                  <a:pt x="244280" y="365623"/>
                  <a:pt x="244894" y="365623"/>
                </a:cubicBezTo>
                <a:cubicBezTo>
                  <a:pt x="246429" y="366235"/>
                  <a:pt x="247656" y="366847"/>
                  <a:pt x="249191" y="367153"/>
                </a:cubicBezTo>
                <a:cubicBezTo>
                  <a:pt x="251646" y="368070"/>
                  <a:pt x="255022" y="368376"/>
                  <a:pt x="257478" y="368376"/>
                </a:cubicBezTo>
                <a:cubicBezTo>
                  <a:pt x="263309" y="368376"/>
                  <a:pt x="269448" y="368376"/>
                  <a:pt x="275279" y="368376"/>
                </a:cubicBezTo>
                <a:cubicBezTo>
                  <a:pt x="273438" y="372048"/>
                  <a:pt x="268220" y="373577"/>
                  <a:pt x="264230" y="372660"/>
                </a:cubicBezTo>
                <a:cubicBezTo>
                  <a:pt x="264537" y="373883"/>
                  <a:pt x="263923" y="374801"/>
                  <a:pt x="263002" y="375413"/>
                </a:cubicBezTo>
                <a:cubicBezTo>
                  <a:pt x="261775" y="376331"/>
                  <a:pt x="259933" y="376331"/>
                  <a:pt x="258399" y="375719"/>
                </a:cubicBezTo>
                <a:cubicBezTo>
                  <a:pt x="258092" y="377555"/>
                  <a:pt x="257171" y="378778"/>
                  <a:pt x="255022" y="379390"/>
                </a:cubicBezTo>
                <a:cubicBezTo>
                  <a:pt x="254716" y="379390"/>
                  <a:pt x="254409" y="379390"/>
                  <a:pt x="253795" y="379390"/>
                </a:cubicBezTo>
                <a:cubicBezTo>
                  <a:pt x="253181" y="379390"/>
                  <a:pt x="252567" y="379390"/>
                  <a:pt x="251953" y="379084"/>
                </a:cubicBezTo>
                <a:cubicBezTo>
                  <a:pt x="251033" y="379084"/>
                  <a:pt x="250726" y="378778"/>
                  <a:pt x="249805" y="378167"/>
                </a:cubicBezTo>
                <a:cubicBezTo>
                  <a:pt x="249498" y="379084"/>
                  <a:pt x="249191" y="380308"/>
                  <a:pt x="248270" y="380920"/>
                </a:cubicBezTo>
                <a:cubicBezTo>
                  <a:pt x="247043" y="381532"/>
                  <a:pt x="245508" y="381226"/>
                  <a:pt x="244587" y="380614"/>
                </a:cubicBezTo>
                <a:cubicBezTo>
                  <a:pt x="243973" y="381226"/>
                  <a:pt x="243973" y="381226"/>
                  <a:pt x="243666" y="381532"/>
                </a:cubicBezTo>
                <a:cubicBezTo>
                  <a:pt x="242132" y="382144"/>
                  <a:pt x="239676" y="381226"/>
                  <a:pt x="238142" y="380920"/>
                </a:cubicBezTo>
                <a:cubicBezTo>
                  <a:pt x="237528" y="380614"/>
                  <a:pt x="237221" y="380614"/>
                  <a:pt x="236607" y="380614"/>
                </a:cubicBezTo>
                <a:cubicBezTo>
                  <a:pt x="236607" y="376943"/>
                  <a:pt x="236607" y="373271"/>
                  <a:pt x="236607" y="369600"/>
                </a:cubicBezTo>
                <a:cubicBezTo>
                  <a:pt x="238449" y="369600"/>
                  <a:pt x="238756" y="369600"/>
                  <a:pt x="239676" y="368376"/>
                </a:cubicBezTo>
                <a:cubicBezTo>
                  <a:pt x="240290" y="367458"/>
                  <a:pt x="239983" y="366541"/>
                  <a:pt x="240904" y="365929"/>
                </a:cubicBezTo>
                <a:cubicBezTo>
                  <a:pt x="241518" y="365623"/>
                  <a:pt x="242132" y="365317"/>
                  <a:pt x="242746" y="365317"/>
                </a:cubicBezTo>
                <a:close/>
                <a:moveTo>
                  <a:pt x="223839" y="365317"/>
                </a:moveTo>
                <a:cubicBezTo>
                  <a:pt x="224146" y="365317"/>
                  <a:pt x="224760" y="365623"/>
                  <a:pt x="225373" y="365929"/>
                </a:cubicBezTo>
                <a:cubicBezTo>
                  <a:pt x="226601" y="366541"/>
                  <a:pt x="226294" y="367458"/>
                  <a:pt x="226908" y="368376"/>
                </a:cubicBezTo>
                <a:cubicBezTo>
                  <a:pt x="227829" y="369600"/>
                  <a:pt x="228136" y="369600"/>
                  <a:pt x="229670" y="369600"/>
                </a:cubicBezTo>
                <a:cubicBezTo>
                  <a:pt x="229670" y="373271"/>
                  <a:pt x="229670" y="376943"/>
                  <a:pt x="229670" y="380614"/>
                </a:cubicBezTo>
                <a:cubicBezTo>
                  <a:pt x="229363" y="380614"/>
                  <a:pt x="228749" y="380614"/>
                  <a:pt x="228136" y="380920"/>
                </a:cubicBezTo>
                <a:cubicBezTo>
                  <a:pt x="226601" y="381226"/>
                  <a:pt x="224453" y="382144"/>
                  <a:pt x="222918" y="381532"/>
                </a:cubicBezTo>
                <a:cubicBezTo>
                  <a:pt x="222304" y="381226"/>
                  <a:pt x="222304" y="381226"/>
                  <a:pt x="221997" y="380614"/>
                </a:cubicBezTo>
                <a:cubicBezTo>
                  <a:pt x="220770" y="381226"/>
                  <a:pt x="219542" y="381532"/>
                  <a:pt x="218314" y="380920"/>
                </a:cubicBezTo>
                <a:cubicBezTo>
                  <a:pt x="217087" y="380308"/>
                  <a:pt x="216780" y="379084"/>
                  <a:pt x="216473" y="378167"/>
                </a:cubicBezTo>
                <a:cubicBezTo>
                  <a:pt x="215859" y="378778"/>
                  <a:pt x="215245" y="379084"/>
                  <a:pt x="214631" y="379084"/>
                </a:cubicBezTo>
                <a:cubicBezTo>
                  <a:pt x="213710" y="379390"/>
                  <a:pt x="213403" y="379390"/>
                  <a:pt x="212790" y="379390"/>
                </a:cubicBezTo>
                <a:cubicBezTo>
                  <a:pt x="212176" y="379390"/>
                  <a:pt x="211562" y="379390"/>
                  <a:pt x="211255" y="379390"/>
                </a:cubicBezTo>
                <a:cubicBezTo>
                  <a:pt x="209413" y="378778"/>
                  <a:pt x="208493" y="377555"/>
                  <a:pt x="208186" y="375719"/>
                </a:cubicBezTo>
                <a:cubicBezTo>
                  <a:pt x="206651" y="376331"/>
                  <a:pt x="204810" y="376331"/>
                  <a:pt x="203275" y="375413"/>
                </a:cubicBezTo>
                <a:cubicBezTo>
                  <a:pt x="202661" y="374801"/>
                  <a:pt x="202047" y="373883"/>
                  <a:pt x="202047" y="372660"/>
                </a:cubicBezTo>
                <a:cubicBezTo>
                  <a:pt x="198057" y="373577"/>
                  <a:pt x="193147" y="372048"/>
                  <a:pt x="190998" y="368376"/>
                </a:cubicBezTo>
                <a:cubicBezTo>
                  <a:pt x="197137" y="368376"/>
                  <a:pt x="202968" y="368376"/>
                  <a:pt x="208800" y="368376"/>
                </a:cubicBezTo>
                <a:cubicBezTo>
                  <a:pt x="211562" y="368376"/>
                  <a:pt x="214631" y="368070"/>
                  <a:pt x="217087" y="367153"/>
                </a:cubicBezTo>
                <a:cubicBezTo>
                  <a:pt x="218621" y="366847"/>
                  <a:pt x="219849" y="366235"/>
                  <a:pt x="221383" y="365623"/>
                </a:cubicBezTo>
                <a:cubicBezTo>
                  <a:pt x="222304" y="365623"/>
                  <a:pt x="222918" y="365317"/>
                  <a:pt x="223839" y="365317"/>
                </a:cubicBezTo>
                <a:close/>
                <a:moveTo>
                  <a:pt x="147381" y="360155"/>
                </a:moveTo>
                <a:cubicBezTo>
                  <a:pt x="150449" y="360155"/>
                  <a:pt x="153211" y="361381"/>
                  <a:pt x="155052" y="363220"/>
                </a:cubicBezTo>
                <a:cubicBezTo>
                  <a:pt x="157200" y="365366"/>
                  <a:pt x="158428" y="368124"/>
                  <a:pt x="158428" y="371189"/>
                </a:cubicBezTo>
                <a:cubicBezTo>
                  <a:pt x="158428" y="374254"/>
                  <a:pt x="157200" y="376706"/>
                  <a:pt x="155052" y="378852"/>
                </a:cubicBezTo>
                <a:cubicBezTo>
                  <a:pt x="153211" y="380691"/>
                  <a:pt x="150449" y="381917"/>
                  <a:pt x="147381" y="381917"/>
                </a:cubicBezTo>
                <a:cubicBezTo>
                  <a:pt x="144312" y="381917"/>
                  <a:pt x="141550" y="380691"/>
                  <a:pt x="139709" y="378852"/>
                </a:cubicBezTo>
                <a:cubicBezTo>
                  <a:pt x="137561" y="376706"/>
                  <a:pt x="136334" y="374254"/>
                  <a:pt x="136334" y="371189"/>
                </a:cubicBezTo>
                <a:cubicBezTo>
                  <a:pt x="136334" y="368124"/>
                  <a:pt x="137561" y="365366"/>
                  <a:pt x="139709" y="363220"/>
                </a:cubicBezTo>
                <a:cubicBezTo>
                  <a:pt x="141550" y="361381"/>
                  <a:pt x="144312" y="360155"/>
                  <a:pt x="147381" y="360155"/>
                </a:cubicBezTo>
                <a:close/>
                <a:moveTo>
                  <a:pt x="233293" y="358970"/>
                </a:moveTo>
                <a:cubicBezTo>
                  <a:pt x="235769" y="358970"/>
                  <a:pt x="237935" y="360806"/>
                  <a:pt x="237935" y="363561"/>
                </a:cubicBezTo>
                <a:cubicBezTo>
                  <a:pt x="237935" y="365397"/>
                  <a:pt x="237007" y="367233"/>
                  <a:pt x="235150" y="367845"/>
                </a:cubicBezTo>
                <a:lnTo>
                  <a:pt x="234823" y="392548"/>
                </a:lnTo>
                <a:lnTo>
                  <a:pt x="244967" y="390235"/>
                </a:lnTo>
                <a:cubicBezTo>
                  <a:pt x="245581" y="389622"/>
                  <a:pt x="246195" y="388703"/>
                  <a:pt x="245581" y="387784"/>
                </a:cubicBezTo>
                <a:cubicBezTo>
                  <a:pt x="245274" y="387477"/>
                  <a:pt x="244967" y="387171"/>
                  <a:pt x="244353" y="387171"/>
                </a:cubicBezTo>
                <a:cubicBezTo>
                  <a:pt x="244046" y="387477"/>
                  <a:pt x="242511" y="388703"/>
                  <a:pt x="241590" y="389009"/>
                </a:cubicBezTo>
                <a:lnTo>
                  <a:pt x="238765" y="389009"/>
                </a:lnTo>
                <a:lnTo>
                  <a:pt x="239748" y="387784"/>
                </a:lnTo>
                <a:cubicBezTo>
                  <a:pt x="239134" y="388396"/>
                  <a:pt x="238213" y="388703"/>
                  <a:pt x="237599" y="389009"/>
                </a:cubicBezTo>
                <a:cubicBezTo>
                  <a:pt x="236678" y="388703"/>
                  <a:pt x="236678" y="387171"/>
                  <a:pt x="237292" y="386252"/>
                </a:cubicBezTo>
                <a:cubicBezTo>
                  <a:pt x="237599" y="385333"/>
                  <a:pt x="238520" y="384414"/>
                  <a:pt x="239134" y="383801"/>
                </a:cubicBezTo>
                <a:cubicBezTo>
                  <a:pt x="239748" y="383495"/>
                  <a:pt x="240362" y="383495"/>
                  <a:pt x="240976" y="383188"/>
                </a:cubicBezTo>
                <a:cubicBezTo>
                  <a:pt x="243125" y="382882"/>
                  <a:pt x="246502" y="383495"/>
                  <a:pt x="248037" y="384414"/>
                </a:cubicBezTo>
                <a:cubicBezTo>
                  <a:pt x="249572" y="385639"/>
                  <a:pt x="250186" y="387171"/>
                  <a:pt x="249879" y="388703"/>
                </a:cubicBezTo>
                <a:cubicBezTo>
                  <a:pt x="249879" y="390235"/>
                  <a:pt x="249265" y="391460"/>
                  <a:pt x="248344" y="392379"/>
                </a:cubicBezTo>
                <a:lnTo>
                  <a:pt x="241319" y="396399"/>
                </a:lnTo>
                <a:lnTo>
                  <a:pt x="242481" y="404327"/>
                </a:lnTo>
                <a:lnTo>
                  <a:pt x="237578" y="406880"/>
                </a:lnTo>
                <a:lnTo>
                  <a:pt x="240055" y="408004"/>
                </a:lnTo>
                <a:cubicBezTo>
                  <a:pt x="242818" y="409842"/>
                  <a:pt x="242818" y="412599"/>
                  <a:pt x="241590" y="415356"/>
                </a:cubicBezTo>
                <a:cubicBezTo>
                  <a:pt x="240669" y="416888"/>
                  <a:pt x="239748" y="417501"/>
                  <a:pt x="237906" y="418114"/>
                </a:cubicBezTo>
                <a:lnTo>
                  <a:pt x="235841" y="418702"/>
                </a:lnTo>
                <a:lnTo>
                  <a:pt x="239718" y="422403"/>
                </a:lnTo>
                <a:lnTo>
                  <a:pt x="235034" y="429001"/>
                </a:lnTo>
                <a:lnTo>
                  <a:pt x="236678" y="431134"/>
                </a:lnTo>
                <a:cubicBezTo>
                  <a:pt x="238520" y="433202"/>
                  <a:pt x="240208" y="434964"/>
                  <a:pt x="240362" y="435270"/>
                </a:cubicBezTo>
                <a:cubicBezTo>
                  <a:pt x="239441" y="435576"/>
                  <a:pt x="238213" y="434657"/>
                  <a:pt x="237906" y="434657"/>
                </a:cubicBezTo>
                <a:lnTo>
                  <a:pt x="234303" y="431781"/>
                </a:lnTo>
                <a:lnTo>
                  <a:pt x="234236" y="436834"/>
                </a:lnTo>
                <a:cubicBezTo>
                  <a:pt x="234221" y="437929"/>
                  <a:pt x="234221" y="437929"/>
                  <a:pt x="234221" y="437929"/>
                </a:cubicBezTo>
                <a:cubicBezTo>
                  <a:pt x="234221" y="445274"/>
                  <a:pt x="232365" y="446498"/>
                  <a:pt x="232365" y="437929"/>
                </a:cubicBezTo>
                <a:lnTo>
                  <a:pt x="232252" y="431549"/>
                </a:lnTo>
                <a:lnTo>
                  <a:pt x="228359" y="434657"/>
                </a:lnTo>
                <a:cubicBezTo>
                  <a:pt x="228359" y="434657"/>
                  <a:pt x="227131" y="435576"/>
                  <a:pt x="225903" y="435270"/>
                </a:cubicBezTo>
                <a:cubicBezTo>
                  <a:pt x="226056" y="434964"/>
                  <a:pt x="227822" y="433202"/>
                  <a:pt x="229740" y="431134"/>
                </a:cubicBezTo>
                <a:lnTo>
                  <a:pt x="231343" y="429122"/>
                </a:lnTo>
                <a:lnTo>
                  <a:pt x="226853" y="422403"/>
                </a:lnTo>
                <a:lnTo>
                  <a:pt x="230695" y="418735"/>
                </a:lnTo>
                <a:lnTo>
                  <a:pt x="228359" y="418114"/>
                </a:lnTo>
                <a:cubicBezTo>
                  <a:pt x="226824" y="417501"/>
                  <a:pt x="225596" y="416888"/>
                  <a:pt x="224982" y="415356"/>
                </a:cubicBezTo>
                <a:cubicBezTo>
                  <a:pt x="223446" y="412599"/>
                  <a:pt x="223753" y="409842"/>
                  <a:pt x="226517" y="408004"/>
                </a:cubicBezTo>
                <a:lnTo>
                  <a:pt x="228945" y="406902"/>
                </a:lnTo>
                <a:lnTo>
                  <a:pt x="223783" y="404327"/>
                </a:lnTo>
                <a:lnTo>
                  <a:pt x="225066" y="396349"/>
                </a:lnTo>
                <a:lnTo>
                  <a:pt x="218227" y="392379"/>
                </a:lnTo>
                <a:cubicBezTo>
                  <a:pt x="216999" y="391460"/>
                  <a:pt x="216385" y="390235"/>
                  <a:pt x="216385" y="388703"/>
                </a:cubicBezTo>
                <a:cubicBezTo>
                  <a:pt x="216385" y="387171"/>
                  <a:pt x="216692" y="385639"/>
                  <a:pt x="218227" y="384414"/>
                </a:cubicBezTo>
                <a:cubicBezTo>
                  <a:pt x="220069" y="383495"/>
                  <a:pt x="223446" y="382882"/>
                  <a:pt x="225289" y="383188"/>
                </a:cubicBezTo>
                <a:cubicBezTo>
                  <a:pt x="225903" y="383495"/>
                  <a:pt x="226517" y="383495"/>
                  <a:pt x="227131" y="383801"/>
                </a:cubicBezTo>
                <a:cubicBezTo>
                  <a:pt x="228052" y="384414"/>
                  <a:pt x="228666" y="385333"/>
                  <a:pt x="229280" y="386252"/>
                </a:cubicBezTo>
                <a:lnTo>
                  <a:pt x="228700" y="388854"/>
                </a:lnTo>
                <a:lnTo>
                  <a:pt x="226824" y="387784"/>
                </a:lnTo>
                <a:lnTo>
                  <a:pt x="227806" y="389009"/>
                </a:lnTo>
                <a:lnTo>
                  <a:pt x="224675" y="389009"/>
                </a:lnTo>
                <a:cubicBezTo>
                  <a:pt x="223753" y="388703"/>
                  <a:pt x="222525" y="387477"/>
                  <a:pt x="221911" y="387171"/>
                </a:cubicBezTo>
                <a:cubicBezTo>
                  <a:pt x="221604" y="387171"/>
                  <a:pt x="220990" y="387477"/>
                  <a:pt x="220683" y="387784"/>
                </a:cubicBezTo>
                <a:cubicBezTo>
                  <a:pt x="220069" y="388703"/>
                  <a:pt x="220683" y="389622"/>
                  <a:pt x="221604" y="390235"/>
                </a:cubicBezTo>
                <a:lnTo>
                  <a:pt x="231564" y="392573"/>
                </a:lnTo>
                <a:lnTo>
                  <a:pt x="231281" y="376606"/>
                </a:lnTo>
                <a:cubicBezTo>
                  <a:pt x="231127" y="367845"/>
                  <a:pt x="231127" y="367845"/>
                  <a:pt x="231127" y="367845"/>
                </a:cubicBezTo>
                <a:cubicBezTo>
                  <a:pt x="229579" y="367233"/>
                  <a:pt x="228341" y="365397"/>
                  <a:pt x="228341" y="363561"/>
                </a:cubicBezTo>
                <a:cubicBezTo>
                  <a:pt x="228341" y="360806"/>
                  <a:pt x="230508" y="358970"/>
                  <a:pt x="233293" y="358970"/>
                </a:cubicBezTo>
                <a:close/>
                <a:moveTo>
                  <a:pt x="147381" y="358929"/>
                </a:moveTo>
                <a:cubicBezTo>
                  <a:pt x="144005" y="358929"/>
                  <a:pt x="140937" y="360155"/>
                  <a:pt x="138789" y="362301"/>
                </a:cubicBezTo>
                <a:cubicBezTo>
                  <a:pt x="136334" y="364753"/>
                  <a:pt x="135106" y="367818"/>
                  <a:pt x="135106" y="371189"/>
                </a:cubicBezTo>
                <a:cubicBezTo>
                  <a:pt x="135106" y="374561"/>
                  <a:pt x="136334" y="377626"/>
                  <a:pt x="138789" y="379771"/>
                </a:cubicBezTo>
                <a:cubicBezTo>
                  <a:pt x="140937" y="381917"/>
                  <a:pt x="144005" y="383449"/>
                  <a:pt x="147381" y="383449"/>
                </a:cubicBezTo>
                <a:cubicBezTo>
                  <a:pt x="150756" y="383449"/>
                  <a:pt x="153825" y="381917"/>
                  <a:pt x="155973" y="379771"/>
                </a:cubicBezTo>
                <a:cubicBezTo>
                  <a:pt x="158428" y="377626"/>
                  <a:pt x="159655" y="374561"/>
                  <a:pt x="159655" y="371189"/>
                </a:cubicBezTo>
                <a:cubicBezTo>
                  <a:pt x="159655" y="367818"/>
                  <a:pt x="158428" y="364753"/>
                  <a:pt x="155973" y="362301"/>
                </a:cubicBezTo>
                <a:cubicBezTo>
                  <a:pt x="153825" y="360155"/>
                  <a:pt x="150756" y="358929"/>
                  <a:pt x="147381" y="358929"/>
                </a:cubicBezTo>
                <a:close/>
                <a:moveTo>
                  <a:pt x="292250" y="353965"/>
                </a:moveTo>
                <a:cubicBezTo>
                  <a:pt x="287954" y="353965"/>
                  <a:pt x="284271" y="357336"/>
                  <a:pt x="284271" y="361933"/>
                </a:cubicBezTo>
                <a:cubicBezTo>
                  <a:pt x="284271" y="366224"/>
                  <a:pt x="287954" y="369595"/>
                  <a:pt x="292250" y="369595"/>
                </a:cubicBezTo>
                <a:cubicBezTo>
                  <a:pt x="296547" y="369595"/>
                  <a:pt x="299922" y="366224"/>
                  <a:pt x="299922" y="361933"/>
                </a:cubicBezTo>
                <a:cubicBezTo>
                  <a:pt x="299922" y="357336"/>
                  <a:pt x="296547" y="353965"/>
                  <a:pt x="292250" y="353965"/>
                </a:cubicBezTo>
                <a:close/>
                <a:moveTo>
                  <a:pt x="248047" y="347918"/>
                </a:moveTo>
                <a:cubicBezTo>
                  <a:pt x="247740" y="347918"/>
                  <a:pt x="247434" y="347918"/>
                  <a:pt x="247128" y="348224"/>
                </a:cubicBezTo>
                <a:cubicBezTo>
                  <a:pt x="246822" y="348531"/>
                  <a:pt x="246515" y="349143"/>
                  <a:pt x="246515" y="349449"/>
                </a:cubicBezTo>
                <a:cubicBezTo>
                  <a:pt x="246515" y="349756"/>
                  <a:pt x="246822" y="350368"/>
                  <a:pt x="247128" y="350674"/>
                </a:cubicBezTo>
                <a:cubicBezTo>
                  <a:pt x="247434" y="350674"/>
                  <a:pt x="247740" y="350981"/>
                  <a:pt x="248047" y="350981"/>
                </a:cubicBezTo>
                <a:cubicBezTo>
                  <a:pt x="248659" y="350981"/>
                  <a:pt x="248966" y="350674"/>
                  <a:pt x="249272" y="350674"/>
                </a:cubicBezTo>
                <a:cubicBezTo>
                  <a:pt x="249578" y="350368"/>
                  <a:pt x="249578" y="349756"/>
                  <a:pt x="249578" y="349449"/>
                </a:cubicBezTo>
                <a:cubicBezTo>
                  <a:pt x="249578" y="349143"/>
                  <a:pt x="249578" y="348531"/>
                  <a:pt x="249272" y="348224"/>
                </a:cubicBezTo>
                <a:cubicBezTo>
                  <a:pt x="248966" y="347918"/>
                  <a:pt x="248659" y="347918"/>
                  <a:pt x="248047" y="347918"/>
                </a:cubicBezTo>
                <a:close/>
                <a:moveTo>
                  <a:pt x="248047" y="343324"/>
                </a:moveTo>
                <a:cubicBezTo>
                  <a:pt x="251416" y="343324"/>
                  <a:pt x="254172" y="346080"/>
                  <a:pt x="254172" y="349449"/>
                </a:cubicBezTo>
                <a:cubicBezTo>
                  <a:pt x="254172" y="352818"/>
                  <a:pt x="251416" y="355575"/>
                  <a:pt x="248047" y="355575"/>
                </a:cubicBezTo>
                <a:cubicBezTo>
                  <a:pt x="244678" y="355575"/>
                  <a:pt x="241921" y="352818"/>
                  <a:pt x="241921" y="349449"/>
                </a:cubicBezTo>
                <a:cubicBezTo>
                  <a:pt x="241921" y="346080"/>
                  <a:pt x="244678" y="343324"/>
                  <a:pt x="248047" y="343324"/>
                </a:cubicBezTo>
                <a:close/>
                <a:moveTo>
                  <a:pt x="248047" y="342037"/>
                </a:moveTo>
                <a:cubicBezTo>
                  <a:pt x="245603" y="342037"/>
                  <a:pt x="243159" y="343260"/>
                  <a:pt x="241327" y="344788"/>
                </a:cubicBezTo>
                <a:cubicBezTo>
                  <a:pt x="239494" y="346621"/>
                  <a:pt x="238578" y="349066"/>
                  <a:pt x="238578" y="351817"/>
                </a:cubicBezTo>
                <a:cubicBezTo>
                  <a:pt x="238578" y="354262"/>
                  <a:pt x="239494" y="356706"/>
                  <a:pt x="241327" y="358540"/>
                </a:cubicBezTo>
                <a:cubicBezTo>
                  <a:pt x="243159" y="360068"/>
                  <a:pt x="245603" y="361290"/>
                  <a:pt x="248047" y="361290"/>
                </a:cubicBezTo>
                <a:cubicBezTo>
                  <a:pt x="250796" y="361290"/>
                  <a:pt x="253240" y="360068"/>
                  <a:pt x="255072" y="358540"/>
                </a:cubicBezTo>
                <a:cubicBezTo>
                  <a:pt x="256600" y="356706"/>
                  <a:pt x="257821" y="354262"/>
                  <a:pt x="257821" y="351817"/>
                </a:cubicBezTo>
                <a:cubicBezTo>
                  <a:pt x="257821" y="349066"/>
                  <a:pt x="256600" y="346621"/>
                  <a:pt x="255072" y="344788"/>
                </a:cubicBezTo>
                <a:cubicBezTo>
                  <a:pt x="253240" y="343260"/>
                  <a:pt x="250796" y="342037"/>
                  <a:pt x="248047" y="342037"/>
                </a:cubicBezTo>
                <a:close/>
                <a:moveTo>
                  <a:pt x="201047" y="341678"/>
                </a:moveTo>
                <a:cubicBezTo>
                  <a:pt x="200125" y="342597"/>
                  <a:pt x="200125" y="343823"/>
                  <a:pt x="201047" y="344743"/>
                </a:cubicBezTo>
                <a:cubicBezTo>
                  <a:pt x="201970" y="345356"/>
                  <a:pt x="203200" y="345356"/>
                  <a:pt x="203815" y="344743"/>
                </a:cubicBezTo>
                <a:cubicBezTo>
                  <a:pt x="204737" y="343823"/>
                  <a:pt x="204737" y="342597"/>
                  <a:pt x="203815" y="341678"/>
                </a:cubicBezTo>
                <a:cubicBezTo>
                  <a:pt x="203200" y="341064"/>
                  <a:pt x="201970" y="341064"/>
                  <a:pt x="201047" y="341678"/>
                </a:cubicBezTo>
                <a:close/>
                <a:moveTo>
                  <a:pt x="213417" y="338850"/>
                </a:moveTo>
                <a:lnTo>
                  <a:pt x="205895" y="346348"/>
                </a:lnTo>
                <a:lnTo>
                  <a:pt x="203073" y="349162"/>
                </a:lnTo>
                <a:lnTo>
                  <a:pt x="208922" y="355034"/>
                </a:lnTo>
                <a:cubicBezTo>
                  <a:pt x="212729" y="358855"/>
                  <a:pt x="212729" y="358855"/>
                  <a:pt x="212729" y="358855"/>
                </a:cubicBezTo>
                <a:cubicBezTo>
                  <a:pt x="214267" y="360078"/>
                  <a:pt x="216112" y="360995"/>
                  <a:pt x="217958" y="360995"/>
                </a:cubicBezTo>
                <a:cubicBezTo>
                  <a:pt x="219803" y="360995"/>
                  <a:pt x="221649" y="360078"/>
                  <a:pt x="223187" y="358855"/>
                </a:cubicBezTo>
                <a:cubicBezTo>
                  <a:pt x="224417" y="357327"/>
                  <a:pt x="225032" y="355493"/>
                  <a:pt x="225032" y="353659"/>
                </a:cubicBezTo>
                <a:cubicBezTo>
                  <a:pt x="225032" y="351825"/>
                  <a:pt x="224417" y="349991"/>
                  <a:pt x="223187" y="348462"/>
                </a:cubicBezTo>
                <a:close/>
                <a:moveTo>
                  <a:pt x="196435" y="337079"/>
                </a:moveTo>
                <a:cubicBezTo>
                  <a:pt x="195512" y="337999"/>
                  <a:pt x="195512" y="339225"/>
                  <a:pt x="196435" y="340145"/>
                </a:cubicBezTo>
                <a:cubicBezTo>
                  <a:pt x="197050" y="340758"/>
                  <a:pt x="198587" y="340758"/>
                  <a:pt x="199202" y="340145"/>
                </a:cubicBezTo>
                <a:cubicBezTo>
                  <a:pt x="200125" y="339225"/>
                  <a:pt x="200125" y="337999"/>
                  <a:pt x="199202" y="337079"/>
                </a:cubicBezTo>
                <a:cubicBezTo>
                  <a:pt x="198587" y="336466"/>
                  <a:pt x="197050" y="336466"/>
                  <a:pt x="196435" y="337079"/>
                </a:cubicBezTo>
                <a:close/>
                <a:moveTo>
                  <a:pt x="205967" y="336773"/>
                </a:moveTo>
                <a:cubicBezTo>
                  <a:pt x="205352" y="337386"/>
                  <a:pt x="205352" y="338918"/>
                  <a:pt x="205967" y="339532"/>
                </a:cubicBezTo>
                <a:cubicBezTo>
                  <a:pt x="206890" y="340451"/>
                  <a:pt x="208120" y="340451"/>
                  <a:pt x="209042" y="339532"/>
                </a:cubicBezTo>
                <a:cubicBezTo>
                  <a:pt x="209657" y="338918"/>
                  <a:pt x="209657" y="337386"/>
                  <a:pt x="209042" y="336773"/>
                </a:cubicBezTo>
                <a:cubicBezTo>
                  <a:pt x="208120" y="335853"/>
                  <a:pt x="206890" y="335853"/>
                  <a:pt x="205967" y="336773"/>
                </a:cubicBezTo>
                <a:close/>
                <a:moveTo>
                  <a:pt x="201355" y="332174"/>
                </a:moveTo>
                <a:cubicBezTo>
                  <a:pt x="200740" y="332787"/>
                  <a:pt x="200740" y="334014"/>
                  <a:pt x="201355" y="334933"/>
                </a:cubicBezTo>
                <a:cubicBezTo>
                  <a:pt x="202277" y="335853"/>
                  <a:pt x="203507" y="335853"/>
                  <a:pt x="204430" y="334933"/>
                </a:cubicBezTo>
                <a:cubicBezTo>
                  <a:pt x="205045" y="334014"/>
                  <a:pt x="205045" y="332787"/>
                  <a:pt x="204430" y="332174"/>
                </a:cubicBezTo>
                <a:cubicBezTo>
                  <a:pt x="203507" y="331255"/>
                  <a:pt x="202277" y="331255"/>
                  <a:pt x="201355" y="332174"/>
                </a:cubicBezTo>
                <a:close/>
                <a:moveTo>
                  <a:pt x="153802" y="323988"/>
                </a:moveTo>
                <a:cubicBezTo>
                  <a:pt x="150721" y="325213"/>
                  <a:pt x="148257" y="328583"/>
                  <a:pt x="148257" y="332259"/>
                </a:cubicBezTo>
                <a:cubicBezTo>
                  <a:pt x="148257" y="335935"/>
                  <a:pt x="150721" y="338999"/>
                  <a:pt x="153802" y="340224"/>
                </a:cubicBezTo>
                <a:cubicBezTo>
                  <a:pt x="149797" y="339611"/>
                  <a:pt x="146717" y="336241"/>
                  <a:pt x="146717" y="332259"/>
                </a:cubicBezTo>
                <a:cubicBezTo>
                  <a:pt x="146717" y="327970"/>
                  <a:pt x="149797" y="324601"/>
                  <a:pt x="153802" y="323988"/>
                </a:cubicBezTo>
                <a:close/>
                <a:moveTo>
                  <a:pt x="262733" y="321184"/>
                </a:moveTo>
                <a:cubicBezTo>
                  <a:pt x="266122" y="321184"/>
                  <a:pt x="267970" y="323022"/>
                  <a:pt x="269818" y="326393"/>
                </a:cubicBezTo>
                <a:cubicBezTo>
                  <a:pt x="271667" y="323022"/>
                  <a:pt x="273515" y="321184"/>
                  <a:pt x="276903" y="321184"/>
                </a:cubicBezTo>
                <a:cubicBezTo>
                  <a:pt x="280908" y="321184"/>
                  <a:pt x="283988" y="324248"/>
                  <a:pt x="283988" y="328232"/>
                </a:cubicBezTo>
                <a:cubicBezTo>
                  <a:pt x="283988" y="335280"/>
                  <a:pt x="276903" y="342328"/>
                  <a:pt x="269818" y="349376"/>
                </a:cubicBezTo>
                <a:cubicBezTo>
                  <a:pt x="262733" y="342328"/>
                  <a:pt x="255648" y="335280"/>
                  <a:pt x="255648" y="328232"/>
                </a:cubicBezTo>
                <a:cubicBezTo>
                  <a:pt x="255648" y="324248"/>
                  <a:pt x="258729" y="321184"/>
                  <a:pt x="262733" y="321184"/>
                </a:cubicBezTo>
                <a:close/>
                <a:moveTo>
                  <a:pt x="147603" y="320888"/>
                </a:moveTo>
                <a:cubicBezTo>
                  <a:pt x="143336" y="322731"/>
                  <a:pt x="140289" y="327031"/>
                  <a:pt x="140289" y="332253"/>
                </a:cubicBezTo>
                <a:cubicBezTo>
                  <a:pt x="140289" y="337168"/>
                  <a:pt x="143336" y="341469"/>
                  <a:pt x="147603" y="343619"/>
                </a:cubicBezTo>
                <a:cubicBezTo>
                  <a:pt x="142117" y="342697"/>
                  <a:pt x="138156" y="337783"/>
                  <a:pt x="138156" y="332253"/>
                </a:cubicBezTo>
                <a:cubicBezTo>
                  <a:pt x="138156" y="326417"/>
                  <a:pt x="142117" y="321809"/>
                  <a:pt x="147603" y="320888"/>
                </a:cubicBezTo>
                <a:close/>
                <a:moveTo>
                  <a:pt x="157200" y="320003"/>
                </a:moveTo>
                <a:cubicBezTo>
                  <a:pt x="160883" y="320003"/>
                  <a:pt x="160883" y="320003"/>
                  <a:pt x="160883" y="320003"/>
                </a:cubicBezTo>
                <a:cubicBezTo>
                  <a:pt x="161803" y="320003"/>
                  <a:pt x="162110" y="320616"/>
                  <a:pt x="162110" y="321229"/>
                </a:cubicBezTo>
                <a:cubicBezTo>
                  <a:pt x="162110" y="351573"/>
                  <a:pt x="162110" y="351573"/>
                  <a:pt x="162110" y="351573"/>
                </a:cubicBezTo>
                <a:cubicBezTo>
                  <a:pt x="163644" y="352799"/>
                  <a:pt x="164872" y="354638"/>
                  <a:pt x="164872" y="356477"/>
                </a:cubicBezTo>
                <a:cubicBezTo>
                  <a:pt x="164872" y="444751"/>
                  <a:pt x="164872" y="444751"/>
                  <a:pt x="164872" y="444751"/>
                </a:cubicBezTo>
                <a:cubicBezTo>
                  <a:pt x="164872" y="446590"/>
                  <a:pt x="163337" y="448122"/>
                  <a:pt x="161496" y="448122"/>
                </a:cubicBezTo>
                <a:cubicBezTo>
                  <a:pt x="133265" y="448122"/>
                  <a:pt x="133265" y="448122"/>
                  <a:pt x="133265" y="448122"/>
                </a:cubicBezTo>
                <a:cubicBezTo>
                  <a:pt x="131424" y="448122"/>
                  <a:pt x="129890" y="446590"/>
                  <a:pt x="129890" y="444751"/>
                </a:cubicBezTo>
                <a:cubicBezTo>
                  <a:pt x="129890" y="357396"/>
                  <a:pt x="129890" y="357396"/>
                  <a:pt x="129890" y="357396"/>
                </a:cubicBezTo>
                <a:cubicBezTo>
                  <a:pt x="129890" y="353412"/>
                  <a:pt x="133265" y="350347"/>
                  <a:pt x="136948" y="350347"/>
                </a:cubicBezTo>
                <a:cubicBezTo>
                  <a:pt x="155973" y="350347"/>
                  <a:pt x="155973" y="350347"/>
                  <a:pt x="155973" y="350347"/>
                </a:cubicBezTo>
                <a:cubicBezTo>
                  <a:pt x="155973" y="321229"/>
                  <a:pt x="155973" y="321229"/>
                  <a:pt x="155973" y="321229"/>
                </a:cubicBezTo>
                <a:cubicBezTo>
                  <a:pt x="155973" y="320616"/>
                  <a:pt x="156587" y="320003"/>
                  <a:pt x="157200" y="320003"/>
                </a:cubicBezTo>
                <a:close/>
                <a:moveTo>
                  <a:pt x="295319" y="317800"/>
                </a:moveTo>
                <a:cubicBezTo>
                  <a:pt x="304219" y="320559"/>
                  <a:pt x="304219" y="320559"/>
                  <a:pt x="304219" y="320559"/>
                </a:cubicBezTo>
                <a:cubicBezTo>
                  <a:pt x="304526" y="320559"/>
                  <a:pt x="304833" y="321172"/>
                  <a:pt x="304833" y="321785"/>
                </a:cubicBezTo>
                <a:cubicBezTo>
                  <a:pt x="303912" y="323930"/>
                  <a:pt x="303912" y="323930"/>
                  <a:pt x="303912" y="323930"/>
                </a:cubicBezTo>
                <a:cubicBezTo>
                  <a:pt x="303912" y="324543"/>
                  <a:pt x="303298" y="324849"/>
                  <a:pt x="302991" y="324543"/>
                </a:cubicBezTo>
                <a:cubicBezTo>
                  <a:pt x="302378" y="324543"/>
                  <a:pt x="302378" y="324543"/>
                  <a:pt x="302378" y="324543"/>
                </a:cubicBezTo>
                <a:cubicBezTo>
                  <a:pt x="298081" y="338028"/>
                  <a:pt x="298081" y="338028"/>
                  <a:pt x="298081" y="338028"/>
                </a:cubicBezTo>
                <a:cubicBezTo>
                  <a:pt x="299002" y="338334"/>
                  <a:pt x="299002" y="338334"/>
                  <a:pt x="299002" y="338334"/>
                </a:cubicBezTo>
                <a:cubicBezTo>
                  <a:pt x="300536" y="338641"/>
                  <a:pt x="301150" y="340173"/>
                  <a:pt x="300843" y="341706"/>
                </a:cubicBezTo>
                <a:cubicBezTo>
                  <a:pt x="299002" y="347835"/>
                  <a:pt x="299002" y="347835"/>
                  <a:pt x="299002" y="347835"/>
                </a:cubicBezTo>
                <a:cubicBezTo>
                  <a:pt x="300536" y="348142"/>
                  <a:pt x="302071" y="349368"/>
                  <a:pt x="303605" y="350593"/>
                </a:cubicBezTo>
                <a:cubicBezTo>
                  <a:pt x="327235" y="370514"/>
                  <a:pt x="321711" y="409131"/>
                  <a:pt x="299002" y="425374"/>
                </a:cubicBezTo>
                <a:cubicBezTo>
                  <a:pt x="307901" y="440392"/>
                  <a:pt x="307901" y="440392"/>
                  <a:pt x="307901" y="440392"/>
                </a:cubicBezTo>
                <a:cubicBezTo>
                  <a:pt x="312505" y="440392"/>
                  <a:pt x="312505" y="440392"/>
                  <a:pt x="312505" y="440392"/>
                </a:cubicBezTo>
                <a:cubicBezTo>
                  <a:pt x="313425" y="440392"/>
                  <a:pt x="314039" y="441004"/>
                  <a:pt x="314039" y="441924"/>
                </a:cubicBezTo>
                <a:cubicBezTo>
                  <a:pt x="314039" y="444376"/>
                  <a:pt x="314039" y="444376"/>
                  <a:pt x="314039" y="444376"/>
                </a:cubicBezTo>
                <a:cubicBezTo>
                  <a:pt x="314039" y="445295"/>
                  <a:pt x="313425" y="445908"/>
                  <a:pt x="312505" y="445908"/>
                </a:cubicBezTo>
                <a:cubicBezTo>
                  <a:pt x="243456" y="445908"/>
                  <a:pt x="243456" y="445908"/>
                  <a:pt x="243456" y="445908"/>
                </a:cubicBezTo>
                <a:cubicBezTo>
                  <a:pt x="242535" y="445908"/>
                  <a:pt x="241921" y="445295"/>
                  <a:pt x="241921" y="444376"/>
                </a:cubicBezTo>
                <a:cubicBezTo>
                  <a:pt x="241921" y="441924"/>
                  <a:pt x="241921" y="441924"/>
                  <a:pt x="241921" y="441924"/>
                </a:cubicBezTo>
                <a:cubicBezTo>
                  <a:pt x="241921" y="441004"/>
                  <a:pt x="242535" y="440392"/>
                  <a:pt x="243456" y="440392"/>
                </a:cubicBezTo>
                <a:cubicBezTo>
                  <a:pt x="280896" y="440392"/>
                  <a:pt x="280896" y="440392"/>
                  <a:pt x="280896" y="440392"/>
                </a:cubicBezTo>
                <a:cubicBezTo>
                  <a:pt x="280896" y="432730"/>
                  <a:pt x="280896" y="432730"/>
                  <a:pt x="280896" y="432730"/>
                </a:cubicBezTo>
                <a:cubicBezTo>
                  <a:pt x="276292" y="433649"/>
                  <a:pt x="271075" y="433956"/>
                  <a:pt x="273224" y="429052"/>
                </a:cubicBezTo>
                <a:cubicBezTo>
                  <a:pt x="273530" y="428132"/>
                  <a:pt x="273530" y="428132"/>
                  <a:pt x="273530" y="428132"/>
                </a:cubicBezTo>
                <a:cubicBezTo>
                  <a:pt x="270155" y="427213"/>
                  <a:pt x="270155" y="427213"/>
                  <a:pt x="270155" y="427213"/>
                </a:cubicBezTo>
                <a:cubicBezTo>
                  <a:pt x="268620" y="427826"/>
                  <a:pt x="265858" y="428132"/>
                  <a:pt x="262789" y="427519"/>
                </a:cubicBezTo>
                <a:cubicBezTo>
                  <a:pt x="257572" y="426600"/>
                  <a:pt x="253276" y="423842"/>
                  <a:pt x="253276" y="421083"/>
                </a:cubicBezTo>
                <a:cubicBezTo>
                  <a:pt x="253276" y="418325"/>
                  <a:pt x="257572" y="417099"/>
                  <a:pt x="262789" y="418019"/>
                </a:cubicBezTo>
                <a:cubicBezTo>
                  <a:pt x="268006" y="419245"/>
                  <a:pt x="271996" y="422003"/>
                  <a:pt x="271996" y="424761"/>
                </a:cubicBezTo>
                <a:cubicBezTo>
                  <a:pt x="271996" y="425068"/>
                  <a:pt x="271996" y="425374"/>
                  <a:pt x="271996" y="425681"/>
                </a:cubicBezTo>
                <a:cubicBezTo>
                  <a:pt x="274451" y="426294"/>
                  <a:pt x="274451" y="426294"/>
                  <a:pt x="274451" y="426294"/>
                </a:cubicBezTo>
                <a:cubicBezTo>
                  <a:pt x="277213" y="420164"/>
                  <a:pt x="279668" y="414341"/>
                  <a:pt x="282430" y="408211"/>
                </a:cubicBezTo>
                <a:cubicBezTo>
                  <a:pt x="251742" y="400243"/>
                  <a:pt x="251742" y="400243"/>
                  <a:pt x="251742" y="400243"/>
                </a:cubicBezTo>
                <a:cubicBezTo>
                  <a:pt x="251128" y="399937"/>
                  <a:pt x="250821" y="399324"/>
                  <a:pt x="250821" y="398711"/>
                </a:cubicBezTo>
                <a:cubicBezTo>
                  <a:pt x="251742" y="395952"/>
                  <a:pt x="251742" y="395952"/>
                  <a:pt x="251742" y="395952"/>
                </a:cubicBezTo>
                <a:cubicBezTo>
                  <a:pt x="251742" y="395339"/>
                  <a:pt x="252355" y="395033"/>
                  <a:pt x="252969" y="395033"/>
                </a:cubicBezTo>
                <a:cubicBezTo>
                  <a:pt x="291330" y="405147"/>
                  <a:pt x="291330" y="405147"/>
                  <a:pt x="291330" y="405147"/>
                </a:cubicBezTo>
                <a:cubicBezTo>
                  <a:pt x="291943" y="405453"/>
                  <a:pt x="292250" y="406066"/>
                  <a:pt x="292250" y="406679"/>
                </a:cubicBezTo>
                <a:cubicBezTo>
                  <a:pt x="291637" y="408518"/>
                  <a:pt x="291637" y="408518"/>
                  <a:pt x="291637" y="408518"/>
                </a:cubicBezTo>
                <a:cubicBezTo>
                  <a:pt x="292864" y="408518"/>
                  <a:pt x="293785" y="408518"/>
                  <a:pt x="294705" y="408518"/>
                </a:cubicBezTo>
                <a:cubicBezTo>
                  <a:pt x="305446" y="408518"/>
                  <a:pt x="309436" y="395646"/>
                  <a:pt x="307901" y="388290"/>
                </a:cubicBezTo>
                <a:cubicBezTo>
                  <a:pt x="306060" y="377870"/>
                  <a:pt x="293785" y="381548"/>
                  <a:pt x="288568" y="380015"/>
                </a:cubicBezTo>
                <a:cubicBezTo>
                  <a:pt x="285806" y="389210"/>
                  <a:pt x="285806" y="389210"/>
                  <a:pt x="285806" y="389210"/>
                </a:cubicBezTo>
                <a:cubicBezTo>
                  <a:pt x="285499" y="390435"/>
                  <a:pt x="283964" y="391355"/>
                  <a:pt x="282430" y="391048"/>
                </a:cubicBezTo>
                <a:cubicBezTo>
                  <a:pt x="281816" y="390742"/>
                  <a:pt x="281816" y="390742"/>
                  <a:pt x="281816" y="390742"/>
                </a:cubicBezTo>
                <a:cubicBezTo>
                  <a:pt x="280589" y="394726"/>
                  <a:pt x="280589" y="394726"/>
                  <a:pt x="280589" y="394726"/>
                </a:cubicBezTo>
                <a:cubicBezTo>
                  <a:pt x="280282" y="395339"/>
                  <a:pt x="279361" y="395952"/>
                  <a:pt x="278747" y="395646"/>
                </a:cubicBezTo>
                <a:cubicBezTo>
                  <a:pt x="273224" y="393807"/>
                  <a:pt x="273224" y="393807"/>
                  <a:pt x="273224" y="393807"/>
                </a:cubicBezTo>
                <a:cubicBezTo>
                  <a:pt x="272610" y="393807"/>
                  <a:pt x="271996" y="392887"/>
                  <a:pt x="272303" y="391968"/>
                </a:cubicBezTo>
                <a:cubicBezTo>
                  <a:pt x="273530" y="387984"/>
                  <a:pt x="273530" y="387984"/>
                  <a:pt x="273530" y="387984"/>
                </a:cubicBezTo>
                <a:cubicBezTo>
                  <a:pt x="272917" y="387984"/>
                  <a:pt x="272917" y="387984"/>
                  <a:pt x="272917" y="387984"/>
                </a:cubicBezTo>
                <a:cubicBezTo>
                  <a:pt x="271382" y="387371"/>
                  <a:pt x="270768" y="385838"/>
                  <a:pt x="271075" y="384612"/>
                </a:cubicBezTo>
                <a:cubicBezTo>
                  <a:pt x="286113" y="337108"/>
                  <a:pt x="286113" y="337108"/>
                  <a:pt x="286113" y="337108"/>
                </a:cubicBezTo>
                <a:cubicBezTo>
                  <a:pt x="286726" y="335576"/>
                  <a:pt x="287954" y="334963"/>
                  <a:pt x="289488" y="335270"/>
                </a:cubicBezTo>
                <a:cubicBezTo>
                  <a:pt x="290102" y="335576"/>
                  <a:pt x="290102" y="335576"/>
                  <a:pt x="290102" y="335576"/>
                </a:cubicBezTo>
                <a:cubicBezTo>
                  <a:pt x="294399" y="321785"/>
                  <a:pt x="294399" y="321785"/>
                  <a:pt x="294399" y="321785"/>
                </a:cubicBezTo>
                <a:cubicBezTo>
                  <a:pt x="293785" y="321785"/>
                  <a:pt x="293785" y="321785"/>
                  <a:pt x="293785" y="321785"/>
                </a:cubicBezTo>
                <a:cubicBezTo>
                  <a:pt x="293478" y="321478"/>
                  <a:pt x="293171" y="321172"/>
                  <a:pt x="293171" y="320559"/>
                </a:cubicBezTo>
                <a:cubicBezTo>
                  <a:pt x="294092" y="318413"/>
                  <a:pt x="294092" y="318413"/>
                  <a:pt x="294092" y="318413"/>
                </a:cubicBezTo>
                <a:cubicBezTo>
                  <a:pt x="294092" y="317800"/>
                  <a:pt x="294705" y="317494"/>
                  <a:pt x="295319" y="317800"/>
                </a:cubicBezTo>
                <a:close/>
                <a:moveTo>
                  <a:pt x="187507" y="316060"/>
                </a:moveTo>
                <a:cubicBezTo>
                  <a:pt x="185661" y="316060"/>
                  <a:pt x="183508" y="316671"/>
                  <a:pt x="182278" y="318199"/>
                </a:cubicBezTo>
                <a:cubicBezTo>
                  <a:pt x="180740" y="319728"/>
                  <a:pt x="180125" y="321562"/>
                  <a:pt x="180125" y="323396"/>
                </a:cubicBezTo>
                <a:cubicBezTo>
                  <a:pt x="180125" y="325230"/>
                  <a:pt x="180740" y="327064"/>
                  <a:pt x="182278" y="328287"/>
                </a:cubicBezTo>
                <a:lnTo>
                  <a:pt x="191887" y="337934"/>
                </a:lnTo>
                <a:lnTo>
                  <a:pt x="199452" y="330392"/>
                </a:lnTo>
                <a:lnTo>
                  <a:pt x="202119" y="327734"/>
                </a:lnTo>
                <a:lnTo>
                  <a:pt x="196273" y="321982"/>
                </a:lnTo>
                <a:cubicBezTo>
                  <a:pt x="192428" y="318199"/>
                  <a:pt x="192428" y="318199"/>
                  <a:pt x="192428" y="318199"/>
                </a:cubicBezTo>
                <a:cubicBezTo>
                  <a:pt x="191198" y="316671"/>
                  <a:pt x="189352" y="316060"/>
                  <a:pt x="187507" y="316060"/>
                </a:cubicBezTo>
                <a:close/>
                <a:moveTo>
                  <a:pt x="143027" y="315427"/>
                </a:moveTo>
                <a:cubicBezTo>
                  <a:pt x="136621" y="318181"/>
                  <a:pt x="132045" y="324608"/>
                  <a:pt x="132045" y="332259"/>
                </a:cubicBezTo>
                <a:cubicBezTo>
                  <a:pt x="132045" y="339604"/>
                  <a:pt x="136621" y="346031"/>
                  <a:pt x="143027" y="348785"/>
                </a:cubicBezTo>
                <a:cubicBezTo>
                  <a:pt x="135096" y="347255"/>
                  <a:pt x="129300" y="340522"/>
                  <a:pt x="129300" y="332259"/>
                </a:cubicBezTo>
                <a:cubicBezTo>
                  <a:pt x="129300" y="323690"/>
                  <a:pt x="135096" y="316957"/>
                  <a:pt x="143027" y="315427"/>
                </a:cubicBezTo>
                <a:close/>
                <a:moveTo>
                  <a:pt x="187507" y="314837"/>
                </a:moveTo>
                <a:cubicBezTo>
                  <a:pt x="189660" y="314837"/>
                  <a:pt x="191813" y="315448"/>
                  <a:pt x="193351" y="317282"/>
                </a:cubicBezTo>
                <a:lnTo>
                  <a:pt x="203040" y="326815"/>
                </a:lnTo>
                <a:lnTo>
                  <a:pt x="208581" y="321291"/>
                </a:lnTo>
                <a:cubicBezTo>
                  <a:pt x="212425" y="317459"/>
                  <a:pt x="212425" y="317459"/>
                  <a:pt x="212425" y="317459"/>
                </a:cubicBezTo>
                <a:cubicBezTo>
                  <a:pt x="215500" y="314394"/>
                  <a:pt x="220420" y="314394"/>
                  <a:pt x="223495" y="317459"/>
                </a:cubicBezTo>
                <a:cubicBezTo>
                  <a:pt x="226570" y="320525"/>
                  <a:pt x="226570" y="325737"/>
                  <a:pt x="223495" y="328802"/>
                </a:cubicBezTo>
                <a:lnTo>
                  <a:pt x="214338" y="337931"/>
                </a:lnTo>
                <a:lnTo>
                  <a:pt x="220265" y="343762"/>
                </a:lnTo>
                <a:cubicBezTo>
                  <a:pt x="224110" y="347545"/>
                  <a:pt x="224110" y="347545"/>
                  <a:pt x="224110" y="347545"/>
                </a:cubicBezTo>
                <a:cubicBezTo>
                  <a:pt x="225647" y="349379"/>
                  <a:pt x="226570" y="351519"/>
                  <a:pt x="226570" y="353659"/>
                </a:cubicBezTo>
                <a:cubicBezTo>
                  <a:pt x="226570" y="355799"/>
                  <a:pt x="225647" y="357938"/>
                  <a:pt x="224110" y="359772"/>
                </a:cubicBezTo>
                <a:cubicBezTo>
                  <a:pt x="222264" y="361301"/>
                  <a:pt x="220111" y="362218"/>
                  <a:pt x="217958" y="362218"/>
                </a:cubicBezTo>
                <a:cubicBezTo>
                  <a:pt x="215805" y="362218"/>
                  <a:pt x="213652" y="361301"/>
                  <a:pt x="211806" y="359772"/>
                </a:cubicBezTo>
                <a:lnTo>
                  <a:pt x="202151" y="350080"/>
                </a:lnTo>
                <a:lnTo>
                  <a:pt x="196858" y="355358"/>
                </a:lnTo>
                <a:cubicBezTo>
                  <a:pt x="193052" y="359151"/>
                  <a:pt x="193052" y="359151"/>
                  <a:pt x="193052" y="359151"/>
                </a:cubicBezTo>
                <a:cubicBezTo>
                  <a:pt x="189977" y="362217"/>
                  <a:pt x="184749" y="362217"/>
                  <a:pt x="181674" y="359151"/>
                </a:cubicBezTo>
                <a:cubicBezTo>
                  <a:pt x="178599" y="356086"/>
                  <a:pt x="178599" y="351181"/>
                  <a:pt x="181674" y="348115"/>
                </a:cubicBezTo>
                <a:lnTo>
                  <a:pt x="190966" y="338852"/>
                </a:lnTo>
                <a:lnTo>
                  <a:pt x="185161" y="333025"/>
                </a:lnTo>
                <a:cubicBezTo>
                  <a:pt x="181355" y="329204"/>
                  <a:pt x="181355" y="329204"/>
                  <a:pt x="181355" y="329204"/>
                </a:cubicBezTo>
                <a:cubicBezTo>
                  <a:pt x="179509" y="327676"/>
                  <a:pt x="178894" y="325536"/>
                  <a:pt x="178894" y="323396"/>
                </a:cubicBezTo>
                <a:cubicBezTo>
                  <a:pt x="178894" y="320951"/>
                  <a:pt x="179509" y="318811"/>
                  <a:pt x="181355" y="317282"/>
                </a:cubicBezTo>
                <a:cubicBezTo>
                  <a:pt x="182893" y="315448"/>
                  <a:pt x="185046" y="314837"/>
                  <a:pt x="187507" y="314837"/>
                </a:cubicBezTo>
                <a:close/>
                <a:moveTo>
                  <a:pt x="199820" y="314087"/>
                </a:moveTo>
                <a:lnTo>
                  <a:pt x="199821" y="314088"/>
                </a:lnTo>
                <a:cubicBezTo>
                  <a:pt x="200129" y="314088"/>
                  <a:pt x="200437" y="314088"/>
                  <a:pt x="200745" y="314088"/>
                </a:cubicBezTo>
                <a:cubicBezTo>
                  <a:pt x="201052" y="314088"/>
                  <a:pt x="201360" y="314088"/>
                  <a:pt x="201668" y="314088"/>
                </a:cubicBezTo>
                <a:lnTo>
                  <a:pt x="201668" y="314087"/>
                </a:lnTo>
                <a:close/>
                <a:moveTo>
                  <a:pt x="200992" y="313129"/>
                </a:moveTo>
                <a:lnTo>
                  <a:pt x="201020" y="313168"/>
                </a:lnTo>
                <a:lnTo>
                  <a:pt x="201030" y="313154"/>
                </a:lnTo>
                <a:close/>
                <a:moveTo>
                  <a:pt x="174725" y="312657"/>
                </a:moveTo>
                <a:lnTo>
                  <a:pt x="170648" y="314394"/>
                </a:lnTo>
                <a:lnTo>
                  <a:pt x="167607" y="313487"/>
                </a:lnTo>
                <a:lnTo>
                  <a:pt x="167664" y="313611"/>
                </a:lnTo>
                <a:cubicBezTo>
                  <a:pt x="168584" y="314224"/>
                  <a:pt x="169503" y="314530"/>
                  <a:pt x="170422" y="314530"/>
                </a:cubicBezTo>
                <a:cubicBezTo>
                  <a:pt x="170422" y="314530"/>
                  <a:pt x="170422" y="314530"/>
                  <a:pt x="170728" y="314530"/>
                </a:cubicBezTo>
                <a:cubicBezTo>
                  <a:pt x="172567" y="314224"/>
                  <a:pt x="173486" y="313917"/>
                  <a:pt x="174712" y="312691"/>
                </a:cubicBezTo>
                <a:close/>
                <a:moveTo>
                  <a:pt x="429011" y="310428"/>
                </a:moveTo>
                <a:lnTo>
                  <a:pt x="431286" y="315733"/>
                </a:lnTo>
                <a:lnTo>
                  <a:pt x="436819" y="318222"/>
                </a:lnTo>
                <a:close/>
                <a:moveTo>
                  <a:pt x="445918" y="310340"/>
                </a:moveTo>
                <a:lnTo>
                  <a:pt x="437999" y="318244"/>
                </a:lnTo>
                <a:lnTo>
                  <a:pt x="443862" y="315733"/>
                </a:lnTo>
                <a:close/>
                <a:moveTo>
                  <a:pt x="196064" y="304479"/>
                </a:moveTo>
                <a:lnTo>
                  <a:pt x="195491" y="305201"/>
                </a:lnTo>
                <a:lnTo>
                  <a:pt x="195511" y="305230"/>
                </a:lnTo>
                <a:lnTo>
                  <a:pt x="195511" y="305203"/>
                </a:lnTo>
                <a:close/>
                <a:moveTo>
                  <a:pt x="130397" y="303117"/>
                </a:moveTo>
                <a:cubicBezTo>
                  <a:pt x="127941" y="303117"/>
                  <a:pt x="125792" y="304957"/>
                  <a:pt x="125792" y="307409"/>
                </a:cubicBezTo>
                <a:cubicBezTo>
                  <a:pt x="125792" y="309862"/>
                  <a:pt x="127941" y="312009"/>
                  <a:pt x="130397" y="312009"/>
                </a:cubicBezTo>
                <a:cubicBezTo>
                  <a:pt x="132852" y="312009"/>
                  <a:pt x="135001" y="309862"/>
                  <a:pt x="135001" y="307409"/>
                </a:cubicBezTo>
                <a:cubicBezTo>
                  <a:pt x="135001" y="304957"/>
                  <a:pt x="132852" y="303117"/>
                  <a:pt x="130397" y="303117"/>
                </a:cubicBezTo>
                <a:close/>
                <a:moveTo>
                  <a:pt x="63789" y="303117"/>
                </a:moveTo>
                <a:cubicBezTo>
                  <a:pt x="61334" y="303117"/>
                  <a:pt x="59185" y="304957"/>
                  <a:pt x="59185" y="307409"/>
                </a:cubicBezTo>
                <a:cubicBezTo>
                  <a:pt x="59185" y="309862"/>
                  <a:pt x="61334" y="312009"/>
                  <a:pt x="63789" y="312009"/>
                </a:cubicBezTo>
                <a:cubicBezTo>
                  <a:pt x="66245" y="312009"/>
                  <a:pt x="68086" y="309862"/>
                  <a:pt x="68086" y="307409"/>
                </a:cubicBezTo>
                <a:cubicBezTo>
                  <a:pt x="68086" y="304957"/>
                  <a:pt x="66245" y="303117"/>
                  <a:pt x="63789" y="303117"/>
                </a:cubicBezTo>
                <a:close/>
                <a:moveTo>
                  <a:pt x="178187" y="302387"/>
                </a:moveTo>
                <a:lnTo>
                  <a:pt x="178036" y="302459"/>
                </a:lnTo>
                <a:cubicBezTo>
                  <a:pt x="178036" y="303071"/>
                  <a:pt x="178036" y="303377"/>
                  <a:pt x="178036" y="303989"/>
                </a:cubicBezTo>
                <a:lnTo>
                  <a:pt x="177034" y="306777"/>
                </a:lnTo>
                <a:lnTo>
                  <a:pt x="178082" y="304109"/>
                </a:lnTo>
                <a:cubicBezTo>
                  <a:pt x="178082" y="303496"/>
                  <a:pt x="178082" y="303189"/>
                  <a:pt x="178082" y="302576"/>
                </a:cubicBezTo>
                <a:close/>
                <a:moveTo>
                  <a:pt x="171035" y="298898"/>
                </a:moveTo>
                <a:lnTo>
                  <a:pt x="170360" y="299262"/>
                </a:lnTo>
                <a:lnTo>
                  <a:pt x="165383" y="305771"/>
                </a:lnTo>
                <a:lnTo>
                  <a:pt x="165212" y="306254"/>
                </a:lnTo>
                <a:lnTo>
                  <a:pt x="165326" y="305845"/>
                </a:lnTo>
                <a:lnTo>
                  <a:pt x="165107" y="306131"/>
                </a:lnTo>
                <a:lnTo>
                  <a:pt x="165216" y="306268"/>
                </a:lnTo>
                <a:lnTo>
                  <a:pt x="165212" y="306254"/>
                </a:lnTo>
                <a:lnTo>
                  <a:pt x="165219" y="306271"/>
                </a:lnTo>
                <a:lnTo>
                  <a:pt x="170658" y="313102"/>
                </a:lnTo>
                <a:lnTo>
                  <a:pt x="171035" y="313304"/>
                </a:lnTo>
                <a:lnTo>
                  <a:pt x="171126" y="313251"/>
                </a:lnTo>
                <a:lnTo>
                  <a:pt x="176497" y="306131"/>
                </a:lnTo>
                <a:lnTo>
                  <a:pt x="171422" y="299124"/>
                </a:lnTo>
                <a:close/>
                <a:moveTo>
                  <a:pt x="170956" y="298481"/>
                </a:moveTo>
                <a:lnTo>
                  <a:pt x="171021" y="298571"/>
                </a:lnTo>
                <a:lnTo>
                  <a:pt x="170865" y="298600"/>
                </a:lnTo>
                <a:close/>
                <a:moveTo>
                  <a:pt x="170728" y="298285"/>
                </a:moveTo>
                <a:lnTo>
                  <a:pt x="167848" y="299171"/>
                </a:lnTo>
                <a:lnTo>
                  <a:pt x="170865" y="298600"/>
                </a:lnTo>
                <a:lnTo>
                  <a:pt x="170771" y="298723"/>
                </a:lnTo>
                <a:lnTo>
                  <a:pt x="171035" y="298591"/>
                </a:lnTo>
                <a:lnTo>
                  <a:pt x="171037" y="298593"/>
                </a:lnTo>
                <a:lnTo>
                  <a:pt x="171021" y="298571"/>
                </a:lnTo>
                <a:lnTo>
                  <a:pt x="172530" y="298285"/>
                </a:lnTo>
                <a:close/>
                <a:moveTo>
                  <a:pt x="201344" y="297872"/>
                </a:moveTo>
                <a:lnTo>
                  <a:pt x="195819" y="305203"/>
                </a:lnTo>
                <a:cubicBezTo>
                  <a:pt x="195819" y="305509"/>
                  <a:pt x="195819" y="305509"/>
                  <a:pt x="195819" y="305509"/>
                </a:cubicBezTo>
                <a:lnTo>
                  <a:pt x="195903" y="305796"/>
                </a:lnTo>
                <a:lnTo>
                  <a:pt x="200260" y="312074"/>
                </a:lnTo>
                <a:lnTo>
                  <a:pt x="201036" y="313145"/>
                </a:lnTo>
                <a:lnTo>
                  <a:pt x="206549" y="305201"/>
                </a:lnTo>
                <a:close/>
                <a:moveTo>
                  <a:pt x="187199" y="297544"/>
                </a:moveTo>
                <a:lnTo>
                  <a:pt x="186903" y="297838"/>
                </a:lnTo>
                <a:lnTo>
                  <a:pt x="187345" y="297544"/>
                </a:lnTo>
                <a:close/>
                <a:moveTo>
                  <a:pt x="201360" y="296625"/>
                </a:moveTo>
                <a:lnTo>
                  <a:pt x="196797" y="297693"/>
                </a:lnTo>
                <a:lnTo>
                  <a:pt x="201617" y="296625"/>
                </a:lnTo>
                <a:close/>
                <a:moveTo>
                  <a:pt x="180534" y="294020"/>
                </a:moveTo>
                <a:lnTo>
                  <a:pt x="180498" y="294197"/>
                </a:lnTo>
                <a:cubicBezTo>
                  <a:pt x="180498" y="294503"/>
                  <a:pt x="180498" y="295115"/>
                  <a:pt x="180190" y="295727"/>
                </a:cubicBezTo>
                <a:lnTo>
                  <a:pt x="180236" y="295788"/>
                </a:lnTo>
                <a:lnTo>
                  <a:pt x="180534" y="294300"/>
                </a:lnTo>
                <a:close/>
                <a:moveTo>
                  <a:pt x="104306" y="292692"/>
                </a:moveTo>
                <a:cubicBezTo>
                  <a:pt x="104306" y="292692"/>
                  <a:pt x="104306" y="292692"/>
                  <a:pt x="104613" y="292692"/>
                </a:cubicBezTo>
                <a:cubicBezTo>
                  <a:pt x="104613" y="292692"/>
                  <a:pt x="104613" y="292692"/>
                  <a:pt x="105227" y="292692"/>
                </a:cubicBezTo>
                <a:cubicBezTo>
                  <a:pt x="105227" y="292692"/>
                  <a:pt x="105534" y="292692"/>
                  <a:pt x="105534" y="292692"/>
                </a:cubicBezTo>
                <a:cubicBezTo>
                  <a:pt x="105534" y="292692"/>
                  <a:pt x="105534" y="292999"/>
                  <a:pt x="105534" y="292999"/>
                </a:cubicBezTo>
                <a:cubicBezTo>
                  <a:pt x="105534" y="292999"/>
                  <a:pt x="105534" y="293305"/>
                  <a:pt x="105534" y="293305"/>
                </a:cubicBezTo>
                <a:cubicBezTo>
                  <a:pt x="105534" y="293612"/>
                  <a:pt x="105227" y="293612"/>
                  <a:pt x="105227" y="293612"/>
                </a:cubicBezTo>
                <a:cubicBezTo>
                  <a:pt x="105227" y="293612"/>
                  <a:pt x="105227" y="293612"/>
                  <a:pt x="104920" y="293612"/>
                </a:cubicBezTo>
                <a:cubicBezTo>
                  <a:pt x="104920" y="293612"/>
                  <a:pt x="104920" y="293612"/>
                  <a:pt x="104306" y="293612"/>
                </a:cubicBezTo>
                <a:cubicBezTo>
                  <a:pt x="104306" y="293612"/>
                  <a:pt x="104306" y="293612"/>
                  <a:pt x="104306" y="293305"/>
                </a:cubicBezTo>
                <a:cubicBezTo>
                  <a:pt x="104306" y="293305"/>
                  <a:pt x="104306" y="293305"/>
                  <a:pt x="104306" y="292999"/>
                </a:cubicBezTo>
                <a:cubicBezTo>
                  <a:pt x="104306" y="292999"/>
                  <a:pt x="104306" y="292999"/>
                  <a:pt x="104306" y="292692"/>
                </a:cubicBezTo>
                <a:close/>
                <a:moveTo>
                  <a:pt x="117812" y="291159"/>
                </a:moveTo>
                <a:cubicBezTo>
                  <a:pt x="117812" y="291159"/>
                  <a:pt x="117812" y="291159"/>
                  <a:pt x="117812" y="291772"/>
                </a:cubicBezTo>
                <a:cubicBezTo>
                  <a:pt x="117812" y="291772"/>
                  <a:pt x="117812" y="291772"/>
                  <a:pt x="117812" y="292692"/>
                </a:cubicBezTo>
                <a:cubicBezTo>
                  <a:pt x="117812" y="292692"/>
                  <a:pt x="117812" y="292692"/>
                  <a:pt x="117198" y="292692"/>
                </a:cubicBezTo>
                <a:cubicBezTo>
                  <a:pt x="117198" y="292692"/>
                  <a:pt x="117198" y="292692"/>
                  <a:pt x="117505" y="291772"/>
                </a:cubicBezTo>
                <a:cubicBezTo>
                  <a:pt x="117505" y="291772"/>
                  <a:pt x="117505" y="291772"/>
                  <a:pt x="117812" y="291159"/>
                </a:cubicBezTo>
                <a:close/>
                <a:moveTo>
                  <a:pt x="95098" y="291159"/>
                </a:moveTo>
                <a:cubicBezTo>
                  <a:pt x="95098" y="291159"/>
                  <a:pt x="95098" y="291159"/>
                  <a:pt x="95405" y="291159"/>
                </a:cubicBezTo>
                <a:cubicBezTo>
                  <a:pt x="95405" y="291159"/>
                  <a:pt x="95405" y="291159"/>
                  <a:pt x="95405" y="291772"/>
                </a:cubicBezTo>
                <a:cubicBezTo>
                  <a:pt x="95405" y="291772"/>
                  <a:pt x="95405" y="291772"/>
                  <a:pt x="95405" y="292692"/>
                </a:cubicBezTo>
                <a:cubicBezTo>
                  <a:pt x="95405" y="292692"/>
                  <a:pt x="95405" y="292692"/>
                  <a:pt x="95098" y="292692"/>
                </a:cubicBezTo>
                <a:cubicBezTo>
                  <a:pt x="95098" y="292692"/>
                  <a:pt x="95098" y="292692"/>
                  <a:pt x="94791" y="292692"/>
                </a:cubicBezTo>
                <a:cubicBezTo>
                  <a:pt x="94791" y="292692"/>
                  <a:pt x="94791" y="292692"/>
                  <a:pt x="94484" y="292692"/>
                </a:cubicBezTo>
                <a:cubicBezTo>
                  <a:pt x="94484" y="292692"/>
                  <a:pt x="94484" y="292692"/>
                  <a:pt x="94791" y="291772"/>
                </a:cubicBezTo>
                <a:cubicBezTo>
                  <a:pt x="94791" y="291772"/>
                  <a:pt x="94791" y="291772"/>
                  <a:pt x="95098" y="291159"/>
                </a:cubicBezTo>
                <a:close/>
                <a:moveTo>
                  <a:pt x="104613" y="290546"/>
                </a:moveTo>
                <a:cubicBezTo>
                  <a:pt x="104613" y="290546"/>
                  <a:pt x="104613" y="290546"/>
                  <a:pt x="104920" y="290546"/>
                </a:cubicBezTo>
                <a:cubicBezTo>
                  <a:pt x="104920" y="290546"/>
                  <a:pt x="104920" y="290546"/>
                  <a:pt x="105534" y="290546"/>
                </a:cubicBezTo>
                <a:cubicBezTo>
                  <a:pt x="105534" y="290546"/>
                  <a:pt x="105841" y="290546"/>
                  <a:pt x="105841" y="290852"/>
                </a:cubicBezTo>
                <a:cubicBezTo>
                  <a:pt x="105841" y="291159"/>
                  <a:pt x="105841" y="291466"/>
                  <a:pt x="105841" y="291466"/>
                </a:cubicBezTo>
                <a:cubicBezTo>
                  <a:pt x="105534" y="291466"/>
                  <a:pt x="105534" y="291466"/>
                  <a:pt x="105227" y="291466"/>
                </a:cubicBezTo>
                <a:cubicBezTo>
                  <a:pt x="105227" y="291466"/>
                  <a:pt x="105227" y="291466"/>
                  <a:pt x="104613" y="291466"/>
                </a:cubicBezTo>
                <a:cubicBezTo>
                  <a:pt x="104613" y="291159"/>
                  <a:pt x="104613" y="291159"/>
                  <a:pt x="104613" y="291159"/>
                </a:cubicBezTo>
                <a:cubicBezTo>
                  <a:pt x="104613" y="290852"/>
                  <a:pt x="104613" y="290852"/>
                  <a:pt x="104613" y="290852"/>
                </a:cubicBezTo>
                <a:cubicBezTo>
                  <a:pt x="104613" y="290852"/>
                  <a:pt x="104613" y="290852"/>
                  <a:pt x="104613" y="290546"/>
                </a:cubicBezTo>
                <a:close/>
                <a:moveTo>
                  <a:pt x="129476" y="289626"/>
                </a:moveTo>
                <a:cubicBezTo>
                  <a:pt x="129476" y="289932"/>
                  <a:pt x="129476" y="289932"/>
                  <a:pt x="129476" y="289932"/>
                </a:cubicBezTo>
                <a:cubicBezTo>
                  <a:pt x="128555" y="294532"/>
                  <a:pt x="128555" y="294532"/>
                  <a:pt x="128555" y="294532"/>
                </a:cubicBezTo>
                <a:cubicBezTo>
                  <a:pt x="128555" y="294532"/>
                  <a:pt x="128555" y="294532"/>
                  <a:pt x="128862" y="294532"/>
                </a:cubicBezTo>
                <a:cubicBezTo>
                  <a:pt x="131624" y="294532"/>
                  <a:pt x="131624" y="294532"/>
                  <a:pt x="131624" y="294532"/>
                </a:cubicBezTo>
                <a:cubicBezTo>
                  <a:pt x="131931" y="294532"/>
                  <a:pt x="131931" y="294532"/>
                  <a:pt x="131931" y="294532"/>
                </a:cubicBezTo>
                <a:cubicBezTo>
                  <a:pt x="131931" y="293918"/>
                  <a:pt x="131931" y="293918"/>
                  <a:pt x="131931" y="293918"/>
                </a:cubicBezTo>
                <a:cubicBezTo>
                  <a:pt x="131931" y="293612"/>
                  <a:pt x="131931" y="293612"/>
                  <a:pt x="131931" y="293612"/>
                </a:cubicBezTo>
                <a:cubicBezTo>
                  <a:pt x="130090" y="293612"/>
                  <a:pt x="130090" y="293612"/>
                  <a:pt x="130090" y="293612"/>
                </a:cubicBezTo>
                <a:cubicBezTo>
                  <a:pt x="130090" y="293612"/>
                  <a:pt x="130090" y="293612"/>
                  <a:pt x="129783" y="293612"/>
                </a:cubicBezTo>
                <a:cubicBezTo>
                  <a:pt x="129783" y="293305"/>
                  <a:pt x="129783" y="293305"/>
                  <a:pt x="129783" y="293305"/>
                </a:cubicBezTo>
                <a:cubicBezTo>
                  <a:pt x="130090" y="292692"/>
                  <a:pt x="130090" y="292692"/>
                  <a:pt x="130090" y="292692"/>
                </a:cubicBezTo>
                <a:cubicBezTo>
                  <a:pt x="131624" y="292692"/>
                  <a:pt x="131624" y="292692"/>
                  <a:pt x="131624" y="292692"/>
                </a:cubicBezTo>
                <a:cubicBezTo>
                  <a:pt x="131624" y="292692"/>
                  <a:pt x="131624" y="292385"/>
                  <a:pt x="131931" y="292385"/>
                </a:cubicBezTo>
                <a:cubicBezTo>
                  <a:pt x="131931" y="291772"/>
                  <a:pt x="131931" y="291772"/>
                  <a:pt x="131931" y="291772"/>
                </a:cubicBezTo>
                <a:cubicBezTo>
                  <a:pt x="131931" y="291772"/>
                  <a:pt x="131931" y="291466"/>
                  <a:pt x="131624" y="291466"/>
                </a:cubicBezTo>
                <a:cubicBezTo>
                  <a:pt x="130397" y="291466"/>
                  <a:pt x="130397" y="291466"/>
                  <a:pt x="130397" y="291466"/>
                </a:cubicBezTo>
                <a:cubicBezTo>
                  <a:pt x="130397" y="291159"/>
                  <a:pt x="130397" y="291159"/>
                  <a:pt x="130397" y="291159"/>
                </a:cubicBezTo>
                <a:cubicBezTo>
                  <a:pt x="130397" y="290852"/>
                  <a:pt x="130397" y="290852"/>
                  <a:pt x="130397" y="290852"/>
                </a:cubicBezTo>
                <a:cubicBezTo>
                  <a:pt x="130397" y="290546"/>
                  <a:pt x="130397" y="290546"/>
                  <a:pt x="130397" y="290546"/>
                </a:cubicBezTo>
                <a:cubicBezTo>
                  <a:pt x="130397" y="290546"/>
                  <a:pt x="130397" y="290546"/>
                  <a:pt x="130703" y="290546"/>
                </a:cubicBezTo>
                <a:cubicBezTo>
                  <a:pt x="132238" y="290546"/>
                  <a:pt x="132238" y="290546"/>
                  <a:pt x="132238" y="290546"/>
                </a:cubicBezTo>
                <a:cubicBezTo>
                  <a:pt x="132238" y="290546"/>
                  <a:pt x="132238" y="290546"/>
                  <a:pt x="132545" y="290546"/>
                </a:cubicBezTo>
                <a:cubicBezTo>
                  <a:pt x="132545" y="289932"/>
                  <a:pt x="132545" y="289932"/>
                  <a:pt x="132545" y="289932"/>
                </a:cubicBezTo>
                <a:cubicBezTo>
                  <a:pt x="132545" y="289626"/>
                  <a:pt x="132545" y="289626"/>
                  <a:pt x="132238" y="289626"/>
                </a:cubicBezTo>
                <a:cubicBezTo>
                  <a:pt x="129783" y="289626"/>
                  <a:pt x="129783" y="289626"/>
                  <a:pt x="129783" y="289626"/>
                </a:cubicBezTo>
                <a:cubicBezTo>
                  <a:pt x="129476" y="289626"/>
                  <a:pt x="129476" y="289626"/>
                  <a:pt x="129476" y="289626"/>
                </a:cubicBezTo>
                <a:close/>
                <a:moveTo>
                  <a:pt x="126099" y="289626"/>
                </a:moveTo>
                <a:cubicBezTo>
                  <a:pt x="125792" y="289626"/>
                  <a:pt x="125792" y="289932"/>
                  <a:pt x="125485" y="289932"/>
                </a:cubicBezTo>
                <a:cubicBezTo>
                  <a:pt x="125485" y="290239"/>
                  <a:pt x="125485" y="290239"/>
                  <a:pt x="125178" y="290546"/>
                </a:cubicBezTo>
                <a:cubicBezTo>
                  <a:pt x="125178" y="290852"/>
                  <a:pt x="125178" y="290852"/>
                  <a:pt x="125178" y="291159"/>
                </a:cubicBezTo>
                <a:cubicBezTo>
                  <a:pt x="124565" y="292999"/>
                  <a:pt x="124565" y="292999"/>
                  <a:pt x="124565" y="292999"/>
                </a:cubicBezTo>
                <a:cubicBezTo>
                  <a:pt x="124565" y="293305"/>
                  <a:pt x="124565" y="293612"/>
                  <a:pt x="124565" y="293612"/>
                </a:cubicBezTo>
                <a:cubicBezTo>
                  <a:pt x="124872" y="293918"/>
                  <a:pt x="124872" y="293918"/>
                  <a:pt x="124872" y="294225"/>
                </a:cubicBezTo>
                <a:cubicBezTo>
                  <a:pt x="125178" y="294225"/>
                  <a:pt x="125178" y="294532"/>
                  <a:pt x="125485" y="294532"/>
                </a:cubicBezTo>
                <a:cubicBezTo>
                  <a:pt x="125792" y="294532"/>
                  <a:pt x="125792" y="294532"/>
                  <a:pt x="126099" y="294532"/>
                </a:cubicBezTo>
                <a:cubicBezTo>
                  <a:pt x="126406" y="294532"/>
                  <a:pt x="126713" y="294532"/>
                  <a:pt x="127020" y="294532"/>
                </a:cubicBezTo>
                <a:cubicBezTo>
                  <a:pt x="127327" y="294532"/>
                  <a:pt x="127634" y="294225"/>
                  <a:pt x="127941" y="294225"/>
                </a:cubicBezTo>
                <a:cubicBezTo>
                  <a:pt x="127941" y="293918"/>
                  <a:pt x="127941" y="293918"/>
                  <a:pt x="127941" y="293918"/>
                </a:cubicBezTo>
                <a:cubicBezTo>
                  <a:pt x="127327" y="293305"/>
                  <a:pt x="127327" y="293305"/>
                  <a:pt x="127327" y="293305"/>
                </a:cubicBezTo>
                <a:cubicBezTo>
                  <a:pt x="127327" y="293305"/>
                  <a:pt x="127020" y="293305"/>
                  <a:pt x="127020" y="293305"/>
                </a:cubicBezTo>
                <a:cubicBezTo>
                  <a:pt x="127020" y="293305"/>
                  <a:pt x="126713" y="293612"/>
                  <a:pt x="126713" y="293612"/>
                </a:cubicBezTo>
                <a:cubicBezTo>
                  <a:pt x="126713" y="293612"/>
                  <a:pt x="126406" y="293612"/>
                  <a:pt x="126406" y="293612"/>
                </a:cubicBezTo>
                <a:cubicBezTo>
                  <a:pt x="126099" y="293612"/>
                  <a:pt x="126099" y="293612"/>
                  <a:pt x="126099" y="293612"/>
                </a:cubicBezTo>
                <a:cubicBezTo>
                  <a:pt x="125792" y="293305"/>
                  <a:pt x="125792" y="293305"/>
                  <a:pt x="125792" y="293305"/>
                </a:cubicBezTo>
                <a:cubicBezTo>
                  <a:pt x="125792" y="292999"/>
                  <a:pt x="125792" y="292999"/>
                  <a:pt x="125792" y="292999"/>
                </a:cubicBezTo>
                <a:cubicBezTo>
                  <a:pt x="126099" y="291159"/>
                  <a:pt x="126099" y="291159"/>
                  <a:pt x="126099" y="291159"/>
                </a:cubicBezTo>
                <a:cubicBezTo>
                  <a:pt x="126406" y="290852"/>
                  <a:pt x="126406" y="290852"/>
                  <a:pt x="126406" y="290852"/>
                </a:cubicBezTo>
                <a:cubicBezTo>
                  <a:pt x="126406" y="290546"/>
                  <a:pt x="126406" y="290546"/>
                  <a:pt x="126406" y="290546"/>
                </a:cubicBezTo>
                <a:cubicBezTo>
                  <a:pt x="126713" y="290546"/>
                  <a:pt x="126713" y="290546"/>
                  <a:pt x="126713" y="290546"/>
                </a:cubicBezTo>
                <a:cubicBezTo>
                  <a:pt x="127020" y="290546"/>
                  <a:pt x="127020" y="290546"/>
                  <a:pt x="127020" y="290546"/>
                </a:cubicBezTo>
                <a:cubicBezTo>
                  <a:pt x="127327" y="290546"/>
                  <a:pt x="127327" y="290852"/>
                  <a:pt x="127634" y="290852"/>
                </a:cubicBezTo>
                <a:cubicBezTo>
                  <a:pt x="127941" y="290852"/>
                  <a:pt x="127941" y="290852"/>
                  <a:pt x="127941" y="290852"/>
                </a:cubicBezTo>
                <a:cubicBezTo>
                  <a:pt x="128248" y="290546"/>
                  <a:pt x="128248" y="290546"/>
                  <a:pt x="128248" y="290546"/>
                </a:cubicBezTo>
                <a:cubicBezTo>
                  <a:pt x="128248" y="290239"/>
                  <a:pt x="128248" y="290239"/>
                  <a:pt x="128248" y="290239"/>
                </a:cubicBezTo>
                <a:cubicBezTo>
                  <a:pt x="128248" y="289932"/>
                  <a:pt x="127941" y="289626"/>
                  <a:pt x="127634" y="289626"/>
                </a:cubicBezTo>
                <a:cubicBezTo>
                  <a:pt x="127327" y="289626"/>
                  <a:pt x="127020" y="289626"/>
                  <a:pt x="127020" y="289626"/>
                </a:cubicBezTo>
                <a:cubicBezTo>
                  <a:pt x="126713" y="289626"/>
                  <a:pt x="126406" y="289626"/>
                  <a:pt x="126099" y="289626"/>
                </a:cubicBezTo>
                <a:close/>
                <a:moveTo>
                  <a:pt x="120881" y="289626"/>
                </a:moveTo>
                <a:cubicBezTo>
                  <a:pt x="120881" y="289626"/>
                  <a:pt x="120574" y="289626"/>
                  <a:pt x="120574" y="289932"/>
                </a:cubicBezTo>
                <a:cubicBezTo>
                  <a:pt x="119653" y="294532"/>
                  <a:pt x="119653" y="294532"/>
                  <a:pt x="119653" y="294532"/>
                </a:cubicBezTo>
                <a:cubicBezTo>
                  <a:pt x="119960" y="294532"/>
                  <a:pt x="119960" y="294532"/>
                  <a:pt x="119960" y="294532"/>
                </a:cubicBezTo>
                <a:cubicBezTo>
                  <a:pt x="120574" y="294532"/>
                  <a:pt x="120574" y="294532"/>
                  <a:pt x="120574" y="294532"/>
                </a:cubicBezTo>
                <a:cubicBezTo>
                  <a:pt x="120881" y="294532"/>
                  <a:pt x="120881" y="294532"/>
                  <a:pt x="120881" y="294532"/>
                </a:cubicBezTo>
                <a:cubicBezTo>
                  <a:pt x="121495" y="292079"/>
                  <a:pt x="121495" y="292079"/>
                  <a:pt x="121495" y="292079"/>
                </a:cubicBezTo>
                <a:cubicBezTo>
                  <a:pt x="122416" y="294532"/>
                  <a:pt x="122416" y="294532"/>
                  <a:pt x="122416" y="294532"/>
                </a:cubicBezTo>
                <a:cubicBezTo>
                  <a:pt x="122723" y="294532"/>
                  <a:pt x="122723" y="294532"/>
                  <a:pt x="122723" y="294532"/>
                </a:cubicBezTo>
                <a:cubicBezTo>
                  <a:pt x="123337" y="294532"/>
                  <a:pt x="123337" y="294532"/>
                  <a:pt x="123337" y="294532"/>
                </a:cubicBezTo>
                <a:cubicBezTo>
                  <a:pt x="124258" y="289932"/>
                  <a:pt x="124258" y="289932"/>
                  <a:pt x="124258" y="289932"/>
                </a:cubicBezTo>
                <a:cubicBezTo>
                  <a:pt x="124258" y="289626"/>
                  <a:pt x="124258" y="289626"/>
                  <a:pt x="124258" y="289626"/>
                </a:cubicBezTo>
                <a:cubicBezTo>
                  <a:pt x="123337" y="289626"/>
                  <a:pt x="123337" y="289626"/>
                  <a:pt x="123337" y="289626"/>
                </a:cubicBezTo>
                <a:cubicBezTo>
                  <a:pt x="123337" y="289626"/>
                  <a:pt x="123337" y="289626"/>
                  <a:pt x="123337" y="289932"/>
                </a:cubicBezTo>
                <a:cubicBezTo>
                  <a:pt x="122723" y="292385"/>
                  <a:pt x="122723" y="292385"/>
                  <a:pt x="122723" y="292385"/>
                </a:cubicBezTo>
                <a:cubicBezTo>
                  <a:pt x="121802" y="289932"/>
                  <a:pt x="121802" y="289932"/>
                  <a:pt x="121802" y="289932"/>
                </a:cubicBezTo>
                <a:cubicBezTo>
                  <a:pt x="121495" y="289626"/>
                  <a:pt x="121495" y="289626"/>
                  <a:pt x="121495" y="289626"/>
                </a:cubicBezTo>
                <a:cubicBezTo>
                  <a:pt x="120881" y="289626"/>
                  <a:pt x="120881" y="289626"/>
                  <a:pt x="120881" y="289626"/>
                </a:cubicBezTo>
                <a:close/>
                <a:moveTo>
                  <a:pt x="117198" y="289626"/>
                </a:moveTo>
                <a:cubicBezTo>
                  <a:pt x="115356" y="294532"/>
                  <a:pt x="115356" y="294532"/>
                  <a:pt x="115356" y="294532"/>
                </a:cubicBezTo>
                <a:cubicBezTo>
                  <a:pt x="116277" y="294532"/>
                  <a:pt x="116277" y="294532"/>
                  <a:pt x="116277" y="294532"/>
                </a:cubicBezTo>
                <a:cubicBezTo>
                  <a:pt x="116584" y="294532"/>
                  <a:pt x="116584" y="294532"/>
                  <a:pt x="116584" y="294532"/>
                </a:cubicBezTo>
                <a:cubicBezTo>
                  <a:pt x="116584" y="293918"/>
                  <a:pt x="116584" y="293918"/>
                  <a:pt x="116584" y="293918"/>
                </a:cubicBezTo>
                <a:cubicBezTo>
                  <a:pt x="116891" y="293612"/>
                  <a:pt x="116891" y="293612"/>
                  <a:pt x="116891" y="293612"/>
                </a:cubicBezTo>
                <a:cubicBezTo>
                  <a:pt x="117812" y="293612"/>
                  <a:pt x="117812" y="293612"/>
                  <a:pt x="117812" y="293612"/>
                </a:cubicBezTo>
                <a:cubicBezTo>
                  <a:pt x="118119" y="293918"/>
                  <a:pt x="118119" y="293918"/>
                  <a:pt x="118119" y="293918"/>
                </a:cubicBezTo>
                <a:cubicBezTo>
                  <a:pt x="118119" y="294532"/>
                  <a:pt x="118119" y="294532"/>
                  <a:pt x="118119" y="294532"/>
                </a:cubicBezTo>
                <a:cubicBezTo>
                  <a:pt x="119040" y="294532"/>
                  <a:pt x="119040" y="294532"/>
                  <a:pt x="119040" y="294532"/>
                </a:cubicBezTo>
                <a:cubicBezTo>
                  <a:pt x="119040" y="289626"/>
                  <a:pt x="119040" y="289626"/>
                  <a:pt x="119040" y="289626"/>
                </a:cubicBezTo>
                <a:cubicBezTo>
                  <a:pt x="118733" y="289626"/>
                  <a:pt x="118733" y="289626"/>
                  <a:pt x="118733" y="289626"/>
                </a:cubicBezTo>
                <a:cubicBezTo>
                  <a:pt x="117505" y="289626"/>
                  <a:pt x="117505" y="289626"/>
                  <a:pt x="117505" y="289626"/>
                </a:cubicBezTo>
                <a:cubicBezTo>
                  <a:pt x="117198" y="289626"/>
                  <a:pt x="117198" y="289626"/>
                  <a:pt x="117198" y="289626"/>
                </a:cubicBezTo>
                <a:close/>
                <a:moveTo>
                  <a:pt x="112901" y="289626"/>
                </a:moveTo>
                <a:cubicBezTo>
                  <a:pt x="112901" y="289932"/>
                  <a:pt x="112901" y="289932"/>
                  <a:pt x="112901" y="289932"/>
                </a:cubicBezTo>
                <a:cubicBezTo>
                  <a:pt x="111980" y="294532"/>
                  <a:pt x="111980" y="294532"/>
                  <a:pt x="111980" y="294532"/>
                </a:cubicBezTo>
                <a:cubicBezTo>
                  <a:pt x="114742" y="294532"/>
                  <a:pt x="114742" y="294532"/>
                  <a:pt x="114742" y="294532"/>
                </a:cubicBezTo>
                <a:cubicBezTo>
                  <a:pt x="115049" y="294532"/>
                  <a:pt x="115049" y="294532"/>
                  <a:pt x="115049" y="294532"/>
                </a:cubicBezTo>
                <a:cubicBezTo>
                  <a:pt x="115356" y="293918"/>
                  <a:pt x="115356" y="293918"/>
                  <a:pt x="115356" y="293918"/>
                </a:cubicBezTo>
                <a:cubicBezTo>
                  <a:pt x="115049" y="293612"/>
                  <a:pt x="115049" y="293612"/>
                  <a:pt x="115049" y="293612"/>
                </a:cubicBezTo>
                <a:cubicBezTo>
                  <a:pt x="113515" y="293612"/>
                  <a:pt x="113515" y="293612"/>
                  <a:pt x="113515" y="293612"/>
                </a:cubicBezTo>
                <a:cubicBezTo>
                  <a:pt x="113208" y="293612"/>
                  <a:pt x="113208" y="293612"/>
                  <a:pt x="113208" y="293612"/>
                </a:cubicBezTo>
                <a:cubicBezTo>
                  <a:pt x="113208" y="293305"/>
                  <a:pt x="113208" y="293305"/>
                  <a:pt x="113208" y="293305"/>
                </a:cubicBezTo>
                <a:cubicBezTo>
                  <a:pt x="113821" y="289932"/>
                  <a:pt x="113821" y="289932"/>
                  <a:pt x="113821" y="289932"/>
                </a:cubicBezTo>
                <a:cubicBezTo>
                  <a:pt x="113821" y="289626"/>
                  <a:pt x="113821" y="289626"/>
                  <a:pt x="113821" y="289626"/>
                </a:cubicBezTo>
                <a:cubicBezTo>
                  <a:pt x="112901" y="289626"/>
                  <a:pt x="112901" y="289626"/>
                  <a:pt x="112901" y="289626"/>
                </a:cubicBezTo>
                <a:close/>
                <a:moveTo>
                  <a:pt x="108296" y="289626"/>
                </a:moveTo>
                <a:cubicBezTo>
                  <a:pt x="108296" y="289932"/>
                  <a:pt x="108296" y="289932"/>
                  <a:pt x="108296" y="289932"/>
                </a:cubicBezTo>
                <a:cubicBezTo>
                  <a:pt x="107683" y="292999"/>
                  <a:pt x="107683" y="292999"/>
                  <a:pt x="107683" y="292999"/>
                </a:cubicBezTo>
                <a:cubicBezTo>
                  <a:pt x="107683" y="293305"/>
                  <a:pt x="107376" y="293305"/>
                  <a:pt x="107683" y="293612"/>
                </a:cubicBezTo>
                <a:cubicBezTo>
                  <a:pt x="107683" y="293918"/>
                  <a:pt x="107683" y="293918"/>
                  <a:pt x="107989" y="294225"/>
                </a:cubicBezTo>
                <a:cubicBezTo>
                  <a:pt x="107989" y="294225"/>
                  <a:pt x="108296" y="294532"/>
                  <a:pt x="108296" y="294532"/>
                </a:cubicBezTo>
                <a:cubicBezTo>
                  <a:pt x="108603" y="294532"/>
                  <a:pt x="108910" y="294532"/>
                  <a:pt x="109217" y="294532"/>
                </a:cubicBezTo>
                <a:cubicBezTo>
                  <a:pt x="109524" y="294532"/>
                  <a:pt x="109831" y="294532"/>
                  <a:pt x="110138" y="294532"/>
                </a:cubicBezTo>
                <a:cubicBezTo>
                  <a:pt x="110138" y="294532"/>
                  <a:pt x="110445" y="294225"/>
                  <a:pt x="110445" y="294225"/>
                </a:cubicBezTo>
                <a:cubicBezTo>
                  <a:pt x="110752" y="293918"/>
                  <a:pt x="110752" y="293918"/>
                  <a:pt x="111059" y="293612"/>
                </a:cubicBezTo>
                <a:cubicBezTo>
                  <a:pt x="111059" y="293305"/>
                  <a:pt x="111059" y="293305"/>
                  <a:pt x="111059" y="292999"/>
                </a:cubicBezTo>
                <a:cubicBezTo>
                  <a:pt x="111673" y="289932"/>
                  <a:pt x="111673" y="289932"/>
                  <a:pt x="111673" y="289932"/>
                </a:cubicBezTo>
                <a:cubicBezTo>
                  <a:pt x="111673" y="289626"/>
                  <a:pt x="111673" y="289626"/>
                  <a:pt x="111673" y="289626"/>
                </a:cubicBezTo>
                <a:cubicBezTo>
                  <a:pt x="110752" y="289626"/>
                  <a:pt x="110752" y="289626"/>
                  <a:pt x="110752" y="289626"/>
                </a:cubicBezTo>
                <a:cubicBezTo>
                  <a:pt x="110445" y="289932"/>
                  <a:pt x="110445" y="289932"/>
                  <a:pt x="110445" y="289932"/>
                </a:cubicBezTo>
                <a:cubicBezTo>
                  <a:pt x="109831" y="292999"/>
                  <a:pt x="109831" y="292999"/>
                  <a:pt x="109831" y="292999"/>
                </a:cubicBezTo>
                <a:cubicBezTo>
                  <a:pt x="109831" y="293305"/>
                  <a:pt x="109831" y="293305"/>
                  <a:pt x="109831" y="293612"/>
                </a:cubicBezTo>
                <a:cubicBezTo>
                  <a:pt x="109524" y="293612"/>
                  <a:pt x="109524" y="293612"/>
                  <a:pt x="109217" y="293612"/>
                </a:cubicBezTo>
                <a:cubicBezTo>
                  <a:pt x="108910" y="293612"/>
                  <a:pt x="108910" y="293612"/>
                  <a:pt x="108910" y="293612"/>
                </a:cubicBezTo>
                <a:cubicBezTo>
                  <a:pt x="108603" y="293305"/>
                  <a:pt x="108603" y="293305"/>
                  <a:pt x="108603" y="292999"/>
                </a:cubicBezTo>
                <a:cubicBezTo>
                  <a:pt x="109217" y="289932"/>
                  <a:pt x="109217" y="289932"/>
                  <a:pt x="109217" y="289932"/>
                </a:cubicBezTo>
                <a:cubicBezTo>
                  <a:pt x="109217" y="289626"/>
                  <a:pt x="109217" y="289626"/>
                  <a:pt x="109217" y="289626"/>
                </a:cubicBezTo>
                <a:cubicBezTo>
                  <a:pt x="108296" y="289626"/>
                  <a:pt x="108296" y="289626"/>
                  <a:pt x="108296" y="289626"/>
                </a:cubicBezTo>
                <a:close/>
                <a:moveTo>
                  <a:pt x="103692" y="289626"/>
                </a:moveTo>
                <a:cubicBezTo>
                  <a:pt x="103692" y="289932"/>
                  <a:pt x="103692" y="289932"/>
                  <a:pt x="103692" y="289932"/>
                </a:cubicBezTo>
                <a:cubicBezTo>
                  <a:pt x="102771" y="294532"/>
                  <a:pt x="102771" y="294532"/>
                  <a:pt x="102771" y="294532"/>
                </a:cubicBezTo>
                <a:cubicBezTo>
                  <a:pt x="102771" y="294532"/>
                  <a:pt x="102771" y="294532"/>
                  <a:pt x="103078" y="294532"/>
                </a:cubicBezTo>
                <a:cubicBezTo>
                  <a:pt x="105227" y="294532"/>
                  <a:pt x="105227" y="294532"/>
                  <a:pt x="105227" y="294532"/>
                </a:cubicBezTo>
                <a:cubicBezTo>
                  <a:pt x="105227" y="294532"/>
                  <a:pt x="105534" y="294532"/>
                  <a:pt x="105841" y="294532"/>
                </a:cubicBezTo>
                <a:cubicBezTo>
                  <a:pt x="105841" y="294532"/>
                  <a:pt x="106148" y="294225"/>
                  <a:pt x="106148" y="294225"/>
                </a:cubicBezTo>
                <a:cubicBezTo>
                  <a:pt x="106455" y="293918"/>
                  <a:pt x="106455" y="293918"/>
                  <a:pt x="106762" y="293612"/>
                </a:cubicBezTo>
                <a:cubicBezTo>
                  <a:pt x="106762" y="293305"/>
                  <a:pt x="106762" y="293305"/>
                  <a:pt x="106762" y="292999"/>
                </a:cubicBezTo>
                <a:cubicBezTo>
                  <a:pt x="106762" y="292692"/>
                  <a:pt x="106762" y="292692"/>
                  <a:pt x="106762" y="292385"/>
                </a:cubicBezTo>
                <a:cubicBezTo>
                  <a:pt x="106455" y="292385"/>
                  <a:pt x="106455" y="292079"/>
                  <a:pt x="106148" y="292079"/>
                </a:cubicBezTo>
                <a:cubicBezTo>
                  <a:pt x="106455" y="292079"/>
                  <a:pt x="106455" y="291772"/>
                  <a:pt x="106762" y="291772"/>
                </a:cubicBezTo>
                <a:cubicBezTo>
                  <a:pt x="106762" y="291772"/>
                  <a:pt x="106762" y="291772"/>
                  <a:pt x="106762" y="291466"/>
                </a:cubicBezTo>
                <a:cubicBezTo>
                  <a:pt x="107069" y="291466"/>
                  <a:pt x="107069" y="291159"/>
                  <a:pt x="107069" y="291159"/>
                </a:cubicBezTo>
                <a:cubicBezTo>
                  <a:pt x="107069" y="291159"/>
                  <a:pt x="107069" y="290852"/>
                  <a:pt x="107069" y="290852"/>
                </a:cubicBezTo>
                <a:cubicBezTo>
                  <a:pt x="107069" y="290546"/>
                  <a:pt x="107069" y="290239"/>
                  <a:pt x="106762" y="289932"/>
                </a:cubicBezTo>
                <a:cubicBezTo>
                  <a:pt x="106455" y="289626"/>
                  <a:pt x="106148" y="289626"/>
                  <a:pt x="105534" y="289626"/>
                </a:cubicBezTo>
                <a:cubicBezTo>
                  <a:pt x="103999" y="289626"/>
                  <a:pt x="103999" y="289626"/>
                  <a:pt x="103999" y="289626"/>
                </a:cubicBezTo>
                <a:cubicBezTo>
                  <a:pt x="103692" y="289626"/>
                  <a:pt x="103692" y="289626"/>
                  <a:pt x="103692" y="289626"/>
                </a:cubicBezTo>
                <a:close/>
                <a:moveTo>
                  <a:pt x="98167" y="289626"/>
                </a:moveTo>
                <a:cubicBezTo>
                  <a:pt x="98167" y="289932"/>
                  <a:pt x="98167" y="289932"/>
                  <a:pt x="98167" y="289932"/>
                </a:cubicBezTo>
                <a:cubicBezTo>
                  <a:pt x="97860" y="290546"/>
                  <a:pt x="97860" y="291466"/>
                  <a:pt x="97553" y="292079"/>
                </a:cubicBezTo>
                <a:cubicBezTo>
                  <a:pt x="97553" y="292999"/>
                  <a:pt x="97246" y="293612"/>
                  <a:pt x="97246" y="294532"/>
                </a:cubicBezTo>
                <a:cubicBezTo>
                  <a:pt x="98167" y="294532"/>
                  <a:pt x="98167" y="294532"/>
                  <a:pt x="98167" y="294532"/>
                </a:cubicBezTo>
                <a:cubicBezTo>
                  <a:pt x="98474" y="294225"/>
                  <a:pt x="98474" y="293918"/>
                  <a:pt x="98474" y="293612"/>
                </a:cubicBezTo>
                <a:cubicBezTo>
                  <a:pt x="98474" y="292999"/>
                  <a:pt x="98474" y="292692"/>
                  <a:pt x="98781" y="292385"/>
                </a:cubicBezTo>
                <a:cubicBezTo>
                  <a:pt x="98781" y="293305"/>
                  <a:pt x="98781" y="293305"/>
                  <a:pt x="98781" y="293305"/>
                </a:cubicBezTo>
                <a:cubicBezTo>
                  <a:pt x="99088" y="294225"/>
                  <a:pt x="99088" y="294225"/>
                  <a:pt x="99088" y="294225"/>
                </a:cubicBezTo>
                <a:cubicBezTo>
                  <a:pt x="99088" y="294532"/>
                  <a:pt x="99088" y="294532"/>
                  <a:pt x="99088" y="294532"/>
                </a:cubicBezTo>
                <a:cubicBezTo>
                  <a:pt x="99395" y="294532"/>
                  <a:pt x="99395" y="294532"/>
                  <a:pt x="99395" y="294532"/>
                </a:cubicBezTo>
                <a:cubicBezTo>
                  <a:pt x="99702" y="294532"/>
                  <a:pt x="99702" y="294532"/>
                  <a:pt x="99702" y="294532"/>
                </a:cubicBezTo>
                <a:cubicBezTo>
                  <a:pt x="100009" y="294225"/>
                  <a:pt x="100009" y="294225"/>
                  <a:pt x="100009" y="294225"/>
                </a:cubicBezTo>
                <a:cubicBezTo>
                  <a:pt x="100623" y="293305"/>
                  <a:pt x="100623" y="293305"/>
                  <a:pt x="100623" y="293305"/>
                </a:cubicBezTo>
                <a:cubicBezTo>
                  <a:pt x="100930" y="292385"/>
                  <a:pt x="100930" y="292385"/>
                  <a:pt x="100930" y="292385"/>
                </a:cubicBezTo>
                <a:cubicBezTo>
                  <a:pt x="101237" y="292385"/>
                  <a:pt x="101237" y="292385"/>
                  <a:pt x="101237" y="292385"/>
                </a:cubicBezTo>
                <a:cubicBezTo>
                  <a:pt x="100930" y="292692"/>
                  <a:pt x="100930" y="292999"/>
                  <a:pt x="100930" y="293305"/>
                </a:cubicBezTo>
                <a:cubicBezTo>
                  <a:pt x="100930" y="293918"/>
                  <a:pt x="100623" y="294225"/>
                  <a:pt x="100623" y="294532"/>
                </a:cubicBezTo>
                <a:cubicBezTo>
                  <a:pt x="100930" y="294532"/>
                  <a:pt x="100930" y="294532"/>
                  <a:pt x="100930" y="294532"/>
                </a:cubicBezTo>
                <a:cubicBezTo>
                  <a:pt x="101544" y="294532"/>
                  <a:pt x="101544" y="294532"/>
                  <a:pt x="101544" y="294532"/>
                </a:cubicBezTo>
                <a:cubicBezTo>
                  <a:pt x="101851" y="294532"/>
                  <a:pt x="101851" y="294532"/>
                  <a:pt x="101851" y="294532"/>
                </a:cubicBezTo>
                <a:cubicBezTo>
                  <a:pt x="102771" y="289932"/>
                  <a:pt x="102771" y="289932"/>
                  <a:pt x="102771" y="289932"/>
                </a:cubicBezTo>
                <a:cubicBezTo>
                  <a:pt x="102771" y="289626"/>
                  <a:pt x="102771" y="289626"/>
                  <a:pt x="102771" y="289626"/>
                </a:cubicBezTo>
                <a:cubicBezTo>
                  <a:pt x="102464" y="289626"/>
                  <a:pt x="102464" y="289626"/>
                  <a:pt x="102464" y="289626"/>
                </a:cubicBezTo>
                <a:cubicBezTo>
                  <a:pt x="101851" y="289626"/>
                  <a:pt x="101851" y="289626"/>
                  <a:pt x="101851" y="289626"/>
                </a:cubicBezTo>
                <a:cubicBezTo>
                  <a:pt x="101851" y="289626"/>
                  <a:pt x="101851" y="289626"/>
                  <a:pt x="101544" y="289626"/>
                </a:cubicBezTo>
                <a:cubicBezTo>
                  <a:pt x="101544" y="289626"/>
                  <a:pt x="101544" y="289626"/>
                  <a:pt x="101544" y="289932"/>
                </a:cubicBezTo>
                <a:cubicBezTo>
                  <a:pt x="100623" y="291466"/>
                  <a:pt x="100623" y="291466"/>
                  <a:pt x="100623" y="291466"/>
                </a:cubicBezTo>
                <a:cubicBezTo>
                  <a:pt x="100316" y="291466"/>
                  <a:pt x="100316" y="291772"/>
                  <a:pt x="100316" y="292079"/>
                </a:cubicBezTo>
                <a:cubicBezTo>
                  <a:pt x="100009" y="292079"/>
                  <a:pt x="100009" y="292385"/>
                  <a:pt x="99702" y="292692"/>
                </a:cubicBezTo>
                <a:cubicBezTo>
                  <a:pt x="99395" y="291466"/>
                  <a:pt x="99395" y="291466"/>
                  <a:pt x="99395" y="291466"/>
                </a:cubicBezTo>
                <a:cubicBezTo>
                  <a:pt x="99088" y="289932"/>
                  <a:pt x="99088" y="289932"/>
                  <a:pt x="99088" y="289932"/>
                </a:cubicBezTo>
                <a:cubicBezTo>
                  <a:pt x="99088" y="289626"/>
                  <a:pt x="99088" y="289626"/>
                  <a:pt x="99088" y="289626"/>
                </a:cubicBezTo>
                <a:cubicBezTo>
                  <a:pt x="99088" y="289626"/>
                  <a:pt x="99088" y="289626"/>
                  <a:pt x="98781" y="289626"/>
                </a:cubicBezTo>
                <a:cubicBezTo>
                  <a:pt x="98167" y="289626"/>
                  <a:pt x="98167" y="289626"/>
                  <a:pt x="98167" y="289626"/>
                </a:cubicBezTo>
                <a:close/>
                <a:moveTo>
                  <a:pt x="94791" y="289626"/>
                </a:moveTo>
                <a:cubicBezTo>
                  <a:pt x="92642" y="294532"/>
                  <a:pt x="92642" y="294532"/>
                  <a:pt x="92642" y="294532"/>
                </a:cubicBezTo>
                <a:cubicBezTo>
                  <a:pt x="92642" y="294532"/>
                  <a:pt x="92642" y="294532"/>
                  <a:pt x="92949" y="294532"/>
                </a:cubicBezTo>
                <a:cubicBezTo>
                  <a:pt x="93563" y="294532"/>
                  <a:pt x="93563" y="294532"/>
                  <a:pt x="93563" y="294532"/>
                </a:cubicBezTo>
                <a:cubicBezTo>
                  <a:pt x="93870" y="294532"/>
                  <a:pt x="93870" y="294532"/>
                  <a:pt x="93870" y="294532"/>
                </a:cubicBezTo>
                <a:cubicBezTo>
                  <a:pt x="94177" y="293918"/>
                  <a:pt x="94177" y="293918"/>
                  <a:pt x="94177" y="293918"/>
                </a:cubicBezTo>
                <a:cubicBezTo>
                  <a:pt x="94177" y="293612"/>
                  <a:pt x="94177" y="293612"/>
                  <a:pt x="94177" y="293612"/>
                </a:cubicBezTo>
                <a:cubicBezTo>
                  <a:pt x="95098" y="293612"/>
                  <a:pt x="95098" y="293612"/>
                  <a:pt x="95098" y="293612"/>
                </a:cubicBezTo>
                <a:cubicBezTo>
                  <a:pt x="95405" y="293612"/>
                  <a:pt x="95405" y="293612"/>
                  <a:pt x="95405" y="293612"/>
                </a:cubicBezTo>
                <a:cubicBezTo>
                  <a:pt x="95405" y="293918"/>
                  <a:pt x="95405" y="293918"/>
                  <a:pt x="95405" y="293918"/>
                </a:cubicBezTo>
                <a:cubicBezTo>
                  <a:pt x="95405" y="294532"/>
                  <a:pt x="95405" y="294532"/>
                  <a:pt x="95405" y="294532"/>
                </a:cubicBezTo>
                <a:cubicBezTo>
                  <a:pt x="95712" y="294532"/>
                  <a:pt x="95712" y="294532"/>
                  <a:pt x="95712" y="294532"/>
                </a:cubicBezTo>
                <a:cubicBezTo>
                  <a:pt x="96326" y="294532"/>
                  <a:pt x="96326" y="294532"/>
                  <a:pt x="96326" y="294532"/>
                </a:cubicBezTo>
                <a:cubicBezTo>
                  <a:pt x="96632" y="294532"/>
                  <a:pt x="96632" y="294532"/>
                  <a:pt x="96632" y="294532"/>
                </a:cubicBezTo>
                <a:cubicBezTo>
                  <a:pt x="96326" y="289626"/>
                  <a:pt x="96326" y="289626"/>
                  <a:pt x="96326" y="289626"/>
                </a:cubicBezTo>
                <a:cubicBezTo>
                  <a:pt x="96019" y="289626"/>
                  <a:pt x="96019" y="289626"/>
                  <a:pt x="96019" y="289626"/>
                </a:cubicBezTo>
                <a:cubicBezTo>
                  <a:pt x="95098" y="289626"/>
                  <a:pt x="95098" y="289626"/>
                  <a:pt x="95098" y="289626"/>
                </a:cubicBezTo>
                <a:cubicBezTo>
                  <a:pt x="94791" y="289626"/>
                  <a:pt x="94791" y="289626"/>
                  <a:pt x="94791" y="289626"/>
                </a:cubicBezTo>
                <a:close/>
                <a:moveTo>
                  <a:pt x="191034" y="283383"/>
                </a:moveTo>
                <a:lnTo>
                  <a:pt x="192828" y="292905"/>
                </a:lnTo>
                <a:lnTo>
                  <a:pt x="192432" y="291723"/>
                </a:lnTo>
                <a:lnTo>
                  <a:pt x="191466" y="286111"/>
                </a:lnTo>
                <a:close/>
                <a:moveTo>
                  <a:pt x="289502" y="279549"/>
                </a:moveTo>
                <a:cubicBezTo>
                  <a:pt x="289196" y="279549"/>
                  <a:pt x="289196" y="279855"/>
                  <a:pt x="289196" y="279855"/>
                </a:cubicBezTo>
                <a:cubicBezTo>
                  <a:pt x="289196" y="280162"/>
                  <a:pt x="289196" y="280162"/>
                  <a:pt x="289502" y="280162"/>
                </a:cubicBezTo>
                <a:cubicBezTo>
                  <a:pt x="295301" y="280162"/>
                  <a:pt x="295301" y="280162"/>
                  <a:pt x="295301" y="280162"/>
                </a:cubicBezTo>
                <a:cubicBezTo>
                  <a:pt x="295606" y="280162"/>
                  <a:pt x="295911" y="280162"/>
                  <a:pt x="295911" y="279855"/>
                </a:cubicBezTo>
                <a:cubicBezTo>
                  <a:pt x="295911" y="279855"/>
                  <a:pt x="295606" y="279549"/>
                  <a:pt x="295301" y="279549"/>
                </a:cubicBezTo>
                <a:cubicBezTo>
                  <a:pt x="289502" y="279549"/>
                  <a:pt x="289502" y="279549"/>
                  <a:pt x="289502" y="279549"/>
                </a:cubicBezTo>
                <a:close/>
                <a:moveTo>
                  <a:pt x="190141" y="277736"/>
                </a:moveTo>
                <a:lnTo>
                  <a:pt x="191034" y="283383"/>
                </a:lnTo>
                <a:lnTo>
                  <a:pt x="190585" y="280999"/>
                </a:lnTo>
                <a:close/>
                <a:moveTo>
                  <a:pt x="289502" y="275870"/>
                </a:moveTo>
                <a:cubicBezTo>
                  <a:pt x="289196" y="275870"/>
                  <a:pt x="289196" y="276177"/>
                  <a:pt x="289196" y="276177"/>
                </a:cubicBezTo>
                <a:cubicBezTo>
                  <a:pt x="289196" y="276483"/>
                  <a:pt x="289196" y="276790"/>
                  <a:pt x="289502" y="276790"/>
                </a:cubicBezTo>
                <a:cubicBezTo>
                  <a:pt x="295301" y="276790"/>
                  <a:pt x="295301" y="276790"/>
                  <a:pt x="295301" y="276790"/>
                </a:cubicBezTo>
                <a:cubicBezTo>
                  <a:pt x="295606" y="276790"/>
                  <a:pt x="295911" y="276483"/>
                  <a:pt x="295911" y="276177"/>
                </a:cubicBezTo>
                <a:cubicBezTo>
                  <a:pt x="295911" y="276177"/>
                  <a:pt x="295606" y="275870"/>
                  <a:pt x="295301" y="275870"/>
                </a:cubicBezTo>
                <a:cubicBezTo>
                  <a:pt x="289502" y="275870"/>
                  <a:pt x="289502" y="275870"/>
                  <a:pt x="289502" y="275870"/>
                </a:cubicBezTo>
                <a:close/>
                <a:moveTo>
                  <a:pt x="371594" y="274689"/>
                </a:moveTo>
                <a:lnTo>
                  <a:pt x="376166" y="282575"/>
                </a:lnTo>
                <a:lnTo>
                  <a:pt x="380738" y="274689"/>
                </a:lnTo>
                <a:close/>
                <a:moveTo>
                  <a:pt x="289502" y="272498"/>
                </a:moveTo>
                <a:cubicBezTo>
                  <a:pt x="289196" y="272498"/>
                  <a:pt x="289196" y="272498"/>
                  <a:pt x="289196" y="272804"/>
                </a:cubicBezTo>
                <a:cubicBezTo>
                  <a:pt x="289196" y="273111"/>
                  <a:pt x="289196" y="273111"/>
                  <a:pt x="289502" y="273111"/>
                </a:cubicBezTo>
                <a:cubicBezTo>
                  <a:pt x="295301" y="273111"/>
                  <a:pt x="295301" y="273111"/>
                  <a:pt x="295301" y="273111"/>
                </a:cubicBezTo>
                <a:cubicBezTo>
                  <a:pt x="295606" y="273111"/>
                  <a:pt x="295911" y="273111"/>
                  <a:pt x="295911" y="272804"/>
                </a:cubicBezTo>
                <a:cubicBezTo>
                  <a:pt x="295911" y="272498"/>
                  <a:pt x="295606" y="272498"/>
                  <a:pt x="295301" y="272498"/>
                </a:cubicBezTo>
                <a:cubicBezTo>
                  <a:pt x="289502" y="272498"/>
                  <a:pt x="289502" y="272498"/>
                  <a:pt x="289502" y="272498"/>
                </a:cubicBezTo>
                <a:close/>
                <a:moveTo>
                  <a:pt x="289502" y="269126"/>
                </a:moveTo>
                <a:cubicBezTo>
                  <a:pt x="289196" y="269126"/>
                  <a:pt x="289196" y="269126"/>
                  <a:pt x="289196" y="269432"/>
                </a:cubicBezTo>
                <a:cubicBezTo>
                  <a:pt x="289196" y="269739"/>
                  <a:pt x="289196" y="269739"/>
                  <a:pt x="289502" y="269739"/>
                </a:cubicBezTo>
                <a:cubicBezTo>
                  <a:pt x="295301" y="269739"/>
                  <a:pt x="295301" y="269739"/>
                  <a:pt x="295301" y="269739"/>
                </a:cubicBezTo>
                <a:cubicBezTo>
                  <a:pt x="295606" y="269739"/>
                  <a:pt x="295911" y="269739"/>
                  <a:pt x="295911" y="269432"/>
                </a:cubicBezTo>
                <a:cubicBezTo>
                  <a:pt x="295911" y="269126"/>
                  <a:pt x="295606" y="269126"/>
                  <a:pt x="295301" y="269126"/>
                </a:cubicBezTo>
                <a:cubicBezTo>
                  <a:pt x="289502" y="269126"/>
                  <a:pt x="289502" y="269126"/>
                  <a:pt x="289502" y="269126"/>
                </a:cubicBezTo>
                <a:close/>
                <a:moveTo>
                  <a:pt x="2454" y="269052"/>
                </a:moveTo>
                <a:cubicBezTo>
                  <a:pt x="1841" y="269052"/>
                  <a:pt x="1227" y="269665"/>
                  <a:pt x="1227" y="270278"/>
                </a:cubicBezTo>
                <a:cubicBezTo>
                  <a:pt x="1227" y="294794"/>
                  <a:pt x="1227" y="294794"/>
                  <a:pt x="1227" y="294794"/>
                </a:cubicBezTo>
                <a:cubicBezTo>
                  <a:pt x="1227" y="295713"/>
                  <a:pt x="1841" y="296326"/>
                  <a:pt x="2454" y="296326"/>
                </a:cubicBezTo>
                <a:cubicBezTo>
                  <a:pt x="36512" y="296326"/>
                  <a:pt x="36512" y="296326"/>
                  <a:pt x="36512" y="296326"/>
                </a:cubicBezTo>
                <a:cubicBezTo>
                  <a:pt x="37126" y="296326"/>
                  <a:pt x="37739" y="295713"/>
                  <a:pt x="37739" y="294794"/>
                </a:cubicBezTo>
                <a:cubicBezTo>
                  <a:pt x="37739" y="270278"/>
                  <a:pt x="37739" y="270278"/>
                  <a:pt x="37739" y="270278"/>
                </a:cubicBezTo>
                <a:cubicBezTo>
                  <a:pt x="37739" y="269665"/>
                  <a:pt x="37126" y="269052"/>
                  <a:pt x="36512" y="269052"/>
                </a:cubicBezTo>
                <a:close/>
                <a:moveTo>
                  <a:pt x="133830" y="267309"/>
                </a:moveTo>
                <a:cubicBezTo>
                  <a:pt x="135988" y="267309"/>
                  <a:pt x="135988" y="267309"/>
                  <a:pt x="135988" y="267309"/>
                </a:cubicBezTo>
                <a:cubicBezTo>
                  <a:pt x="136297" y="267309"/>
                  <a:pt x="136605" y="267614"/>
                  <a:pt x="136605" y="267919"/>
                </a:cubicBezTo>
                <a:cubicBezTo>
                  <a:pt x="136605" y="272193"/>
                  <a:pt x="136605" y="272193"/>
                  <a:pt x="136605" y="272193"/>
                </a:cubicBezTo>
                <a:cubicBezTo>
                  <a:pt x="140922" y="272193"/>
                  <a:pt x="140922" y="272193"/>
                  <a:pt x="140922" y="272193"/>
                </a:cubicBezTo>
                <a:cubicBezTo>
                  <a:pt x="141538" y="272193"/>
                  <a:pt x="141847" y="272499"/>
                  <a:pt x="141847" y="273109"/>
                </a:cubicBezTo>
                <a:cubicBezTo>
                  <a:pt x="141847" y="274941"/>
                  <a:pt x="141847" y="274941"/>
                  <a:pt x="141847" y="274941"/>
                </a:cubicBezTo>
                <a:cubicBezTo>
                  <a:pt x="141847" y="275551"/>
                  <a:pt x="141538" y="275857"/>
                  <a:pt x="140922" y="275857"/>
                </a:cubicBezTo>
                <a:cubicBezTo>
                  <a:pt x="136605" y="275857"/>
                  <a:pt x="136605" y="275857"/>
                  <a:pt x="136605" y="275857"/>
                </a:cubicBezTo>
                <a:cubicBezTo>
                  <a:pt x="136605" y="280130"/>
                  <a:pt x="136605" y="280130"/>
                  <a:pt x="136605" y="280130"/>
                </a:cubicBezTo>
                <a:cubicBezTo>
                  <a:pt x="136605" y="280436"/>
                  <a:pt x="136297" y="280741"/>
                  <a:pt x="135988" y="280741"/>
                </a:cubicBezTo>
                <a:cubicBezTo>
                  <a:pt x="133830" y="280741"/>
                  <a:pt x="133830" y="280741"/>
                  <a:pt x="133830" y="280741"/>
                </a:cubicBezTo>
                <a:cubicBezTo>
                  <a:pt x="133522" y="280741"/>
                  <a:pt x="133213" y="280436"/>
                  <a:pt x="133213" y="280130"/>
                </a:cubicBezTo>
                <a:cubicBezTo>
                  <a:pt x="133213" y="275857"/>
                  <a:pt x="133213" y="275857"/>
                  <a:pt x="133213" y="275857"/>
                </a:cubicBezTo>
                <a:cubicBezTo>
                  <a:pt x="128588" y="275857"/>
                  <a:pt x="128588" y="275857"/>
                  <a:pt x="128588" y="275857"/>
                </a:cubicBezTo>
                <a:cubicBezTo>
                  <a:pt x="128280" y="275857"/>
                  <a:pt x="127972" y="275551"/>
                  <a:pt x="127972" y="274941"/>
                </a:cubicBezTo>
                <a:cubicBezTo>
                  <a:pt x="127972" y="273109"/>
                  <a:pt x="127972" y="273109"/>
                  <a:pt x="127972" y="273109"/>
                </a:cubicBezTo>
                <a:cubicBezTo>
                  <a:pt x="127972" y="272499"/>
                  <a:pt x="128280" y="272193"/>
                  <a:pt x="128588" y="272193"/>
                </a:cubicBezTo>
                <a:cubicBezTo>
                  <a:pt x="133213" y="272193"/>
                  <a:pt x="133213" y="272193"/>
                  <a:pt x="133213" y="272193"/>
                </a:cubicBezTo>
                <a:cubicBezTo>
                  <a:pt x="133213" y="267919"/>
                  <a:pt x="133213" y="267919"/>
                  <a:pt x="133213" y="267919"/>
                </a:cubicBezTo>
                <a:cubicBezTo>
                  <a:pt x="133213" y="267614"/>
                  <a:pt x="133522" y="267309"/>
                  <a:pt x="133830" y="267309"/>
                </a:cubicBezTo>
                <a:close/>
                <a:moveTo>
                  <a:pt x="289502" y="265447"/>
                </a:moveTo>
                <a:cubicBezTo>
                  <a:pt x="289196" y="265447"/>
                  <a:pt x="289196" y="265753"/>
                  <a:pt x="289196" y="266060"/>
                </a:cubicBezTo>
                <a:cubicBezTo>
                  <a:pt x="289196" y="266060"/>
                  <a:pt x="289196" y="266367"/>
                  <a:pt x="289502" y="266367"/>
                </a:cubicBezTo>
                <a:cubicBezTo>
                  <a:pt x="295301" y="266367"/>
                  <a:pt x="295301" y="266367"/>
                  <a:pt x="295301" y="266367"/>
                </a:cubicBezTo>
                <a:cubicBezTo>
                  <a:pt x="295606" y="266367"/>
                  <a:pt x="295911" y="266060"/>
                  <a:pt x="295911" y="266060"/>
                </a:cubicBezTo>
                <a:cubicBezTo>
                  <a:pt x="295911" y="265753"/>
                  <a:pt x="295606" y="265447"/>
                  <a:pt x="295301" y="265447"/>
                </a:cubicBezTo>
                <a:cubicBezTo>
                  <a:pt x="289502" y="265447"/>
                  <a:pt x="289502" y="265447"/>
                  <a:pt x="289502" y="265447"/>
                </a:cubicBezTo>
                <a:close/>
                <a:moveTo>
                  <a:pt x="366202" y="265390"/>
                </a:moveTo>
                <a:lnTo>
                  <a:pt x="366203" y="265390"/>
                </a:lnTo>
                <a:lnTo>
                  <a:pt x="386128" y="265390"/>
                </a:lnTo>
                <a:lnTo>
                  <a:pt x="386117" y="265410"/>
                </a:lnTo>
                <a:lnTo>
                  <a:pt x="386129" y="265390"/>
                </a:lnTo>
                <a:lnTo>
                  <a:pt x="394099" y="269670"/>
                </a:lnTo>
                <a:lnTo>
                  <a:pt x="381431" y="291656"/>
                </a:lnTo>
                <a:lnTo>
                  <a:pt x="394099" y="313508"/>
                </a:lnTo>
                <a:lnTo>
                  <a:pt x="386129" y="318084"/>
                </a:lnTo>
                <a:lnTo>
                  <a:pt x="376166" y="300793"/>
                </a:lnTo>
                <a:lnTo>
                  <a:pt x="366203" y="318084"/>
                </a:lnTo>
                <a:lnTo>
                  <a:pt x="358232" y="313508"/>
                </a:lnTo>
                <a:lnTo>
                  <a:pt x="370901" y="291656"/>
                </a:lnTo>
                <a:lnTo>
                  <a:pt x="358232" y="269670"/>
                </a:lnTo>
                <a:lnTo>
                  <a:pt x="366202" y="265390"/>
                </a:lnTo>
                <a:close/>
                <a:moveTo>
                  <a:pt x="255242" y="265156"/>
                </a:moveTo>
                <a:lnTo>
                  <a:pt x="256863" y="277787"/>
                </a:lnTo>
                <a:lnTo>
                  <a:pt x="257817" y="278581"/>
                </a:lnTo>
                <a:cubicBezTo>
                  <a:pt x="257817" y="280111"/>
                  <a:pt x="257817" y="281642"/>
                  <a:pt x="257817" y="282866"/>
                </a:cubicBezTo>
                <a:cubicBezTo>
                  <a:pt x="258124" y="287765"/>
                  <a:pt x="258430" y="291821"/>
                  <a:pt x="256936" y="294959"/>
                </a:cubicBezTo>
                <a:lnTo>
                  <a:pt x="246556" y="300804"/>
                </a:lnTo>
                <a:lnTo>
                  <a:pt x="247394" y="304703"/>
                </a:lnTo>
                <a:cubicBezTo>
                  <a:pt x="247702" y="305317"/>
                  <a:pt x="247702" y="305317"/>
                  <a:pt x="247702" y="305317"/>
                </a:cubicBezTo>
                <a:cubicBezTo>
                  <a:pt x="248932" y="308383"/>
                  <a:pt x="249239" y="308689"/>
                  <a:pt x="251699" y="311142"/>
                </a:cubicBezTo>
                <a:cubicBezTo>
                  <a:pt x="252314" y="311449"/>
                  <a:pt x="252622" y="311755"/>
                  <a:pt x="252929" y="312062"/>
                </a:cubicBezTo>
                <a:cubicBezTo>
                  <a:pt x="255389" y="313595"/>
                  <a:pt x="256312" y="314208"/>
                  <a:pt x="259694" y="314208"/>
                </a:cubicBezTo>
                <a:cubicBezTo>
                  <a:pt x="262462" y="314208"/>
                  <a:pt x="264922" y="313901"/>
                  <a:pt x="267075" y="312982"/>
                </a:cubicBezTo>
                <a:cubicBezTo>
                  <a:pt x="269227" y="311755"/>
                  <a:pt x="271380" y="310222"/>
                  <a:pt x="272917" y="308383"/>
                </a:cubicBezTo>
                <a:cubicBezTo>
                  <a:pt x="276300" y="304703"/>
                  <a:pt x="277530" y="300411"/>
                  <a:pt x="277837" y="296119"/>
                </a:cubicBezTo>
                <a:cubicBezTo>
                  <a:pt x="277837" y="291520"/>
                  <a:pt x="276607" y="286614"/>
                  <a:pt x="273840" y="282321"/>
                </a:cubicBezTo>
                <a:cubicBezTo>
                  <a:pt x="272302" y="280175"/>
                  <a:pt x="270765" y="278029"/>
                  <a:pt x="268920" y="275883"/>
                </a:cubicBezTo>
                <a:lnTo>
                  <a:pt x="266578" y="273771"/>
                </a:lnTo>
                <a:lnTo>
                  <a:pt x="264553" y="279826"/>
                </a:lnTo>
                <a:cubicBezTo>
                  <a:pt x="264553" y="283810"/>
                  <a:pt x="266091" y="288100"/>
                  <a:pt x="267936" y="291471"/>
                </a:cubicBezTo>
                <a:lnTo>
                  <a:pt x="270830" y="295509"/>
                </a:lnTo>
                <a:lnTo>
                  <a:pt x="271949" y="295509"/>
                </a:lnTo>
                <a:cubicBezTo>
                  <a:pt x="274680" y="298842"/>
                  <a:pt x="274680" y="298842"/>
                  <a:pt x="274680" y="298842"/>
                </a:cubicBezTo>
                <a:cubicBezTo>
                  <a:pt x="274983" y="299145"/>
                  <a:pt x="274680" y="299448"/>
                  <a:pt x="274376" y="299751"/>
                </a:cubicBezTo>
                <a:cubicBezTo>
                  <a:pt x="273770" y="300660"/>
                  <a:pt x="273770" y="300660"/>
                  <a:pt x="273770" y="300660"/>
                </a:cubicBezTo>
                <a:cubicBezTo>
                  <a:pt x="273163" y="300963"/>
                  <a:pt x="272860" y="300660"/>
                  <a:pt x="272556" y="300357"/>
                </a:cubicBezTo>
                <a:cubicBezTo>
                  <a:pt x="269826" y="297327"/>
                  <a:pt x="269826" y="297327"/>
                  <a:pt x="269826" y="297327"/>
                </a:cubicBezTo>
                <a:cubicBezTo>
                  <a:pt x="269522" y="297024"/>
                  <a:pt x="269522" y="296418"/>
                  <a:pt x="269826" y="296115"/>
                </a:cubicBezTo>
                <a:lnTo>
                  <a:pt x="270080" y="295945"/>
                </a:lnTo>
                <a:lnTo>
                  <a:pt x="267013" y="291778"/>
                </a:lnTo>
                <a:cubicBezTo>
                  <a:pt x="265168" y="288407"/>
                  <a:pt x="263631" y="284116"/>
                  <a:pt x="263323" y="279826"/>
                </a:cubicBezTo>
                <a:lnTo>
                  <a:pt x="265779" y="273049"/>
                </a:lnTo>
                <a:lnTo>
                  <a:pt x="262462" y="270057"/>
                </a:lnTo>
                <a:cubicBezTo>
                  <a:pt x="261232" y="268831"/>
                  <a:pt x="260002" y="267911"/>
                  <a:pt x="258464" y="266991"/>
                </a:cubicBezTo>
                <a:close/>
                <a:moveTo>
                  <a:pt x="134694" y="264484"/>
                </a:moveTo>
                <a:cubicBezTo>
                  <a:pt x="129476" y="264484"/>
                  <a:pt x="125178" y="268776"/>
                  <a:pt x="125178" y="273989"/>
                </a:cubicBezTo>
                <a:cubicBezTo>
                  <a:pt x="125178" y="279508"/>
                  <a:pt x="129476" y="283800"/>
                  <a:pt x="134694" y="283800"/>
                </a:cubicBezTo>
                <a:cubicBezTo>
                  <a:pt x="140219" y="283800"/>
                  <a:pt x="144516" y="279508"/>
                  <a:pt x="144516" y="273989"/>
                </a:cubicBezTo>
                <a:cubicBezTo>
                  <a:pt x="144516" y="268776"/>
                  <a:pt x="140219" y="264484"/>
                  <a:pt x="134694" y="264484"/>
                </a:cubicBezTo>
                <a:close/>
                <a:moveTo>
                  <a:pt x="75146" y="264484"/>
                </a:moveTo>
                <a:cubicBezTo>
                  <a:pt x="73612" y="264484"/>
                  <a:pt x="72384" y="264790"/>
                  <a:pt x="71770" y="265403"/>
                </a:cubicBezTo>
                <a:cubicBezTo>
                  <a:pt x="57036" y="280121"/>
                  <a:pt x="57036" y="280121"/>
                  <a:pt x="57036" y="280121"/>
                </a:cubicBezTo>
                <a:cubicBezTo>
                  <a:pt x="56729" y="280427"/>
                  <a:pt x="56423" y="281041"/>
                  <a:pt x="56423" y="281347"/>
                </a:cubicBezTo>
                <a:cubicBezTo>
                  <a:pt x="56423" y="281961"/>
                  <a:pt x="56423" y="281961"/>
                  <a:pt x="56423" y="281961"/>
                </a:cubicBezTo>
                <a:cubicBezTo>
                  <a:pt x="56423" y="282267"/>
                  <a:pt x="56423" y="282267"/>
                  <a:pt x="56423" y="282267"/>
                </a:cubicBezTo>
                <a:cubicBezTo>
                  <a:pt x="56423" y="283494"/>
                  <a:pt x="58264" y="283494"/>
                  <a:pt x="60413" y="283494"/>
                </a:cubicBezTo>
                <a:cubicBezTo>
                  <a:pt x="77295" y="283494"/>
                  <a:pt x="77295" y="283494"/>
                  <a:pt x="77295" y="283494"/>
                </a:cubicBezTo>
                <a:cubicBezTo>
                  <a:pt x="77295" y="264484"/>
                  <a:pt x="77295" y="264484"/>
                  <a:pt x="77295" y="264484"/>
                </a:cubicBezTo>
                <a:cubicBezTo>
                  <a:pt x="75146" y="264484"/>
                  <a:pt x="75146" y="264484"/>
                  <a:pt x="75146" y="264484"/>
                </a:cubicBezTo>
                <a:close/>
                <a:moveTo>
                  <a:pt x="84969" y="263870"/>
                </a:moveTo>
                <a:cubicBezTo>
                  <a:pt x="84355" y="263870"/>
                  <a:pt x="83434" y="264484"/>
                  <a:pt x="83434" y="265403"/>
                </a:cubicBezTo>
                <a:cubicBezTo>
                  <a:pt x="83434" y="281961"/>
                  <a:pt x="83434" y="281961"/>
                  <a:pt x="83434" y="281961"/>
                </a:cubicBezTo>
                <a:cubicBezTo>
                  <a:pt x="83434" y="282880"/>
                  <a:pt x="84355" y="283494"/>
                  <a:pt x="84969" y="283494"/>
                </a:cubicBezTo>
                <a:cubicBezTo>
                  <a:pt x="112594" y="283494"/>
                  <a:pt x="112594" y="283494"/>
                  <a:pt x="112594" y="283494"/>
                </a:cubicBezTo>
                <a:cubicBezTo>
                  <a:pt x="113515" y="283494"/>
                  <a:pt x="114128" y="282880"/>
                  <a:pt x="114128" y="281961"/>
                </a:cubicBezTo>
                <a:cubicBezTo>
                  <a:pt x="114128" y="265403"/>
                  <a:pt x="114128" y="265403"/>
                  <a:pt x="114128" y="265403"/>
                </a:cubicBezTo>
                <a:cubicBezTo>
                  <a:pt x="114128" y="264484"/>
                  <a:pt x="113515" y="263870"/>
                  <a:pt x="112594" y="263870"/>
                </a:cubicBezTo>
                <a:cubicBezTo>
                  <a:pt x="84969" y="263870"/>
                  <a:pt x="84969" y="263870"/>
                  <a:pt x="84969" y="263870"/>
                </a:cubicBezTo>
                <a:close/>
                <a:moveTo>
                  <a:pt x="245549" y="262392"/>
                </a:moveTo>
                <a:cubicBezTo>
                  <a:pt x="243089" y="262086"/>
                  <a:pt x="240322" y="262392"/>
                  <a:pt x="237862" y="263006"/>
                </a:cubicBezTo>
                <a:lnTo>
                  <a:pt x="236595" y="263848"/>
                </a:lnTo>
                <a:lnTo>
                  <a:pt x="236421" y="264568"/>
                </a:lnTo>
                <a:lnTo>
                  <a:pt x="234660" y="278095"/>
                </a:lnTo>
                <a:lnTo>
                  <a:pt x="235146" y="278581"/>
                </a:lnTo>
                <a:cubicBezTo>
                  <a:pt x="235146" y="280417"/>
                  <a:pt x="235146" y="281642"/>
                  <a:pt x="235146" y="283173"/>
                </a:cubicBezTo>
                <a:cubicBezTo>
                  <a:pt x="234840" y="287152"/>
                  <a:pt x="234609" y="290520"/>
                  <a:pt x="235836" y="293122"/>
                </a:cubicBezTo>
                <a:lnTo>
                  <a:pt x="244951" y="298298"/>
                </a:lnTo>
                <a:lnTo>
                  <a:pt x="253947" y="293122"/>
                </a:lnTo>
                <a:cubicBezTo>
                  <a:pt x="255135" y="290520"/>
                  <a:pt x="254905" y="287152"/>
                  <a:pt x="254751" y="283173"/>
                </a:cubicBezTo>
                <a:cubicBezTo>
                  <a:pt x="254751" y="281642"/>
                  <a:pt x="254445" y="280417"/>
                  <a:pt x="254445" y="278581"/>
                </a:cubicBezTo>
                <a:lnTo>
                  <a:pt x="255583" y="277444"/>
                </a:lnTo>
                <a:lnTo>
                  <a:pt x="253895" y="264568"/>
                </a:lnTo>
                <a:lnTo>
                  <a:pt x="253868" y="264466"/>
                </a:lnTo>
                <a:close/>
                <a:moveTo>
                  <a:pt x="289502" y="262075"/>
                </a:moveTo>
                <a:cubicBezTo>
                  <a:pt x="289196" y="262075"/>
                  <a:pt x="289196" y="262075"/>
                  <a:pt x="289196" y="262381"/>
                </a:cubicBezTo>
                <a:cubicBezTo>
                  <a:pt x="289196" y="262381"/>
                  <a:pt x="289196" y="262688"/>
                  <a:pt x="289502" y="262688"/>
                </a:cubicBezTo>
                <a:cubicBezTo>
                  <a:pt x="295301" y="262688"/>
                  <a:pt x="295301" y="262688"/>
                  <a:pt x="295301" y="262688"/>
                </a:cubicBezTo>
                <a:cubicBezTo>
                  <a:pt x="295606" y="262688"/>
                  <a:pt x="295911" y="262381"/>
                  <a:pt x="295911" y="262381"/>
                </a:cubicBezTo>
                <a:cubicBezTo>
                  <a:pt x="295911" y="262075"/>
                  <a:pt x="295606" y="262075"/>
                  <a:pt x="295301" y="262075"/>
                </a:cubicBezTo>
                <a:cubicBezTo>
                  <a:pt x="289502" y="262075"/>
                  <a:pt x="289502" y="262075"/>
                  <a:pt x="289502" y="262075"/>
                </a:cubicBezTo>
                <a:close/>
                <a:moveTo>
                  <a:pt x="187888" y="261809"/>
                </a:moveTo>
                <a:lnTo>
                  <a:pt x="186980" y="262458"/>
                </a:lnTo>
                <a:lnTo>
                  <a:pt x="187958" y="261809"/>
                </a:lnTo>
                <a:close/>
                <a:moveTo>
                  <a:pt x="156502" y="260519"/>
                </a:moveTo>
                <a:cubicBezTo>
                  <a:pt x="156502" y="260519"/>
                  <a:pt x="156502" y="263888"/>
                  <a:pt x="156502" y="267870"/>
                </a:cubicBezTo>
                <a:cubicBezTo>
                  <a:pt x="156808" y="273077"/>
                  <a:pt x="157115" y="279815"/>
                  <a:pt x="157421" y="280734"/>
                </a:cubicBezTo>
                <a:cubicBezTo>
                  <a:pt x="157421" y="281960"/>
                  <a:pt x="157421" y="282878"/>
                  <a:pt x="157727" y="284104"/>
                </a:cubicBezTo>
                <a:cubicBezTo>
                  <a:pt x="158033" y="287473"/>
                  <a:pt x="158339" y="290842"/>
                  <a:pt x="158645" y="294211"/>
                </a:cubicBezTo>
                <a:cubicBezTo>
                  <a:pt x="158952" y="295130"/>
                  <a:pt x="158952" y="295743"/>
                  <a:pt x="158952" y="296662"/>
                </a:cubicBezTo>
                <a:cubicBezTo>
                  <a:pt x="158952" y="297274"/>
                  <a:pt x="159258" y="298806"/>
                  <a:pt x="159564" y="300950"/>
                </a:cubicBezTo>
                <a:cubicBezTo>
                  <a:pt x="159870" y="298806"/>
                  <a:pt x="159870" y="297274"/>
                  <a:pt x="160176" y="296662"/>
                </a:cubicBezTo>
                <a:cubicBezTo>
                  <a:pt x="160176" y="295743"/>
                  <a:pt x="160176" y="295130"/>
                  <a:pt x="160176" y="294211"/>
                </a:cubicBezTo>
                <a:cubicBezTo>
                  <a:pt x="160482" y="290842"/>
                  <a:pt x="161095" y="287473"/>
                  <a:pt x="161401" y="284104"/>
                </a:cubicBezTo>
                <a:cubicBezTo>
                  <a:pt x="161401" y="282878"/>
                  <a:pt x="161707" y="281960"/>
                  <a:pt x="161707" y="280734"/>
                </a:cubicBezTo>
                <a:cubicBezTo>
                  <a:pt x="161707" y="279815"/>
                  <a:pt x="162319" y="273077"/>
                  <a:pt x="162319" y="267870"/>
                </a:cubicBezTo>
                <a:cubicBezTo>
                  <a:pt x="162625" y="263888"/>
                  <a:pt x="162625" y="260519"/>
                  <a:pt x="162625" y="260519"/>
                </a:cubicBezTo>
                <a:cubicBezTo>
                  <a:pt x="163544" y="260825"/>
                  <a:pt x="162625" y="286554"/>
                  <a:pt x="162319" y="289004"/>
                </a:cubicBezTo>
                <a:cubicBezTo>
                  <a:pt x="162013" y="291148"/>
                  <a:pt x="162013" y="293292"/>
                  <a:pt x="161707" y="295436"/>
                </a:cubicBezTo>
                <a:cubicBezTo>
                  <a:pt x="161707" y="296049"/>
                  <a:pt x="161707" y="296662"/>
                  <a:pt x="161401" y="296968"/>
                </a:cubicBezTo>
                <a:cubicBezTo>
                  <a:pt x="161401" y="297274"/>
                  <a:pt x="161095" y="297274"/>
                  <a:pt x="161095" y="297581"/>
                </a:cubicBezTo>
                <a:cubicBezTo>
                  <a:pt x="160176" y="301562"/>
                  <a:pt x="160176" y="304932"/>
                  <a:pt x="160176" y="308301"/>
                </a:cubicBezTo>
                <a:cubicBezTo>
                  <a:pt x="160176" y="311364"/>
                  <a:pt x="160176" y="313508"/>
                  <a:pt x="159564" y="313508"/>
                </a:cubicBezTo>
                <a:cubicBezTo>
                  <a:pt x="158645" y="313508"/>
                  <a:pt x="158645" y="311364"/>
                  <a:pt x="158952" y="308301"/>
                </a:cubicBezTo>
                <a:cubicBezTo>
                  <a:pt x="158645" y="304932"/>
                  <a:pt x="158645" y="301562"/>
                  <a:pt x="158033" y="297581"/>
                </a:cubicBezTo>
                <a:cubicBezTo>
                  <a:pt x="158033" y="297274"/>
                  <a:pt x="157727" y="297274"/>
                  <a:pt x="157421" y="296968"/>
                </a:cubicBezTo>
                <a:cubicBezTo>
                  <a:pt x="157421" y="296662"/>
                  <a:pt x="157421" y="296049"/>
                  <a:pt x="157421" y="295436"/>
                </a:cubicBezTo>
                <a:cubicBezTo>
                  <a:pt x="157115" y="293292"/>
                  <a:pt x="156808" y="291148"/>
                  <a:pt x="156808" y="289004"/>
                </a:cubicBezTo>
                <a:cubicBezTo>
                  <a:pt x="156502" y="286554"/>
                  <a:pt x="155278" y="260825"/>
                  <a:pt x="156502" y="260519"/>
                </a:cubicBezTo>
                <a:close/>
                <a:moveTo>
                  <a:pt x="289502" y="258396"/>
                </a:moveTo>
                <a:cubicBezTo>
                  <a:pt x="289196" y="258396"/>
                  <a:pt x="289196" y="258703"/>
                  <a:pt x="289196" y="258703"/>
                </a:cubicBezTo>
                <a:cubicBezTo>
                  <a:pt x="289196" y="259009"/>
                  <a:pt x="289196" y="259316"/>
                  <a:pt x="289502" y="259316"/>
                </a:cubicBezTo>
                <a:cubicBezTo>
                  <a:pt x="295301" y="259316"/>
                  <a:pt x="295301" y="259316"/>
                  <a:pt x="295301" y="259316"/>
                </a:cubicBezTo>
                <a:cubicBezTo>
                  <a:pt x="295606" y="259316"/>
                  <a:pt x="295911" y="259009"/>
                  <a:pt x="295911" y="258703"/>
                </a:cubicBezTo>
                <a:cubicBezTo>
                  <a:pt x="295911" y="258703"/>
                  <a:pt x="295606" y="258396"/>
                  <a:pt x="295301" y="258396"/>
                </a:cubicBezTo>
                <a:cubicBezTo>
                  <a:pt x="289502" y="258396"/>
                  <a:pt x="289502" y="258396"/>
                  <a:pt x="289502" y="258396"/>
                </a:cubicBezTo>
                <a:close/>
                <a:moveTo>
                  <a:pt x="289502" y="255024"/>
                </a:moveTo>
                <a:cubicBezTo>
                  <a:pt x="289196" y="255024"/>
                  <a:pt x="289196" y="255024"/>
                  <a:pt x="289196" y="255330"/>
                </a:cubicBezTo>
                <a:cubicBezTo>
                  <a:pt x="289196" y="255637"/>
                  <a:pt x="289196" y="255637"/>
                  <a:pt x="289502" y="255637"/>
                </a:cubicBezTo>
                <a:cubicBezTo>
                  <a:pt x="295301" y="255637"/>
                  <a:pt x="295301" y="255637"/>
                  <a:pt x="295301" y="255637"/>
                </a:cubicBezTo>
                <a:cubicBezTo>
                  <a:pt x="295606" y="255637"/>
                  <a:pt x="295911" y="255637"/>
                  <a:pt x="295911" y="255330"/>
                </a:cubicBezTo>
                <a:cubicBezTo>
                  <a:pt x="295911" y="255024"/>
                  <a:pt x="295606" y="255024"/>
                  <a:pt x="295301" y="255024"/>
                </a:cubicBezTo>
                <a:cubicBezTo>
                  <a:pt x="289502" y="255024"/>
                  <a:pt x="289502" y="255024"/>
                  <a:pt x="289502" y="255024"/>
                </a:cubicBezTo>
                <a:close/>
                <a:moveTo>
                  <a:pt x="84355" y="253139"/>
                </a:moveTo>
                <a:cubicBezTo>
                  <a:pt x="88038" y="253139"/>
                  <a:pt x="88038" y="253139"/>
                  <a:pt x="88038" y="253139"/>
                </a:cubicBezTo>
                <a:cubicBezTo>
                  <a:pt x="89880" y="253139"/>
                  <a:pt x="91721" y="254672"/>
                  <a:pt x="91721" y="256818"/>
                </a:cubicBezTo>
                <a:cubicBezTo>
                  <a:pt x="91721" y="259271"/>
                  <a:pt x="91721" y="259271"/>
                  <a:pt x="91721" y="259271"/>
                </a:cubicBezTo>
                <a:cubicBezTo>
                  <a:pt x="146665" y="259271"/>
                  <a:pt x="146665" y="259271"/>
                  <a:pt x="146665" y="259271"/>
                </a:cubicBezTo>
                <a:cubicBezTo>
                  <a:pt x="149734" y="259271"/>
                  <a:pt x="151883" y="261724"/>
                  <a:pt x="151883" y="264484"/>
                </a:cubicBezTo>
                <a:cubicBezTo>
                  <a:pt x="151883" y="302197"/>
                  <a:pt x="151883" y="302197"/>
                  <a:pt x="151883" y="302197"/>
                </a:cubicBezTo>
                <a:cubicBezTo>
                  <a:pt x="151883" y="305263"/>
                  <a:pt x="149734" y="307409"/>
                  <a:pt x="146665" y="307409"/>
                </a:cubicBezTo>
                <a:cubicBezTo>
                  <a:pt x="139298" y="307409"/>
                  <a:pt x="139298" y="307409"/>
                  <a:pt x="139298" y="307409"/>
                </a:cubicBezTo>
                <a:cubicBezTo>
                  <a:pt x="139298" y="312622"/>
                  <a:pt x="135308" y="316608"/>
                  <a:pt x="130397" y="316608"/>
                </a:cubicBezTo>
                <a:cubicBezTo>
                  <a:pt x="125485" y="316608"/>
                  <a:pt x="121495" y="312622"/>
                  <a:pt x="121495" y="307409"/>
                </a:cubicBezTo>
                <a:cubicBezTo>
                  <a:pt x="80364" y="307409"/>
                  <a:pt x="80364" y="307409"/>
                  <a:pt x="80364" y="307409"/>
                </a:cubicBezTo>
                <a:cubicBezTo>
                  <a:pt x="72691" y="307409"/>
                  <a:pt x="72691" y="307409"/>
                  <a:pt x="72691" y="307409"/>
                </a:cubicBezTo>
                <a:cubicBezTo>
                  <a:pt x="72691" y="312622"/>
                  <a:pt x="68700" y="316608"/>
                  <a:pt x="63789" y="316608"/>
                </a:cubicBezTo>
                <a:cubicBezTo>
                  <a:pt x="58878" y="316608"/>
                  <a:pt x="54581" y="312622"/>
                  <a:pt x="54581" y="307409"/>
                </a:cubicBezTo>
                <a:cubicBezTo>
                  <a:pt x="50898" y="307409"/>
                  <a:pt x="50898" y="307409"/>
                  <a:pt x="50898" y="307409"/>
                </a:cubicBezTo>
                <a:cubicBezTo>
                  <a:pt x="46907" y="307409"/>
                  <a:pt x="43838" y="305263"/>
                  <a:pt x="43838" y="302197"/>
                </a:cubicBezTo>
                <a:cubicBezTo>
                  <a:pt x="43838" y="301277"/>
                  <a:pt x="43838" y="301277"/>
                  <a:pt x="43838" y="301277"/>
                </a:cubicBezTo>
                <a:cubicBezTo>
                  <a:pt x="43838" y="291466"/>
                  <a:pt x="43838" y="291466"/>
                  <a:pt x="43838" y="291466"/>
                </a:cubicBezTo>
                <a:cubicBezTo>
                  <a:pt x="43838" y="290546"/>
                  <a:pt x="44452" y="289319"/>
                  <a:pt x="45372" y="288399"/>
                </a:cubicBezTo>
                <a:cubicBezTo>
                  <a:pt x="70849" y="261417"/>
                  <a:pt x="70849" y="261417"/>
                  <a:pt x="70849" y="261417"/>
                </a:cubicBezTo>
                <a:cubicBezTo>
                  <a:pt x="72077" y="260191"/>
                  <a:pt x="73918" y="259271"/>
                  <a:pt x="76374" y="259271"/>
                </a:cubicBezTo>
                <a:cubicBezTo>
                  <a:pt x="80364" y="259271"/>
                  <a:pt x="80364" y="259271"/>
                  <a:pt x="80364" y="259271"/>
                </a:cubicBezTo>
                <a:cubicBezTo>
                  <a:pt x="80671" y="259271"/>
                  <a:pt x="80671" y="259271"/>
                  <a:pt x="80671" y="259271"/>
                </a:cubicBezTo>
                <a:cubicBezTo>
                  <a:pt x="80671" y="256818"/>
                  <a:pt x="80671" y="256818"/>
                  <a:pt x="80671" y="256818"/>
                </a:cubicBezTo>
                <a:cubicBezTo>
                  <a:pt x="80671" y="254672"/>
                  <a:pt x="82513" y="253139"/>
                  <a:pt x="84355" y="253139"/>
                </a:cubicBezTo>
                <a:close/>
                <a:moveTo>
                  <a:pt x="337952" y="252548"/>
                </a:moveTo>
                <a:cubicBezTo>
                  <a:pt x="337952" y="252548"/>
                  <a:pt x="337952" y="252548"/>
                  <a:pt x="340407" y="252548"/>
                </a:cubicBezTo>
                <a:cubicBezTo>
                  <a:pt x="340714" y="252854"/>
                  <a:pt x="341021" y="253467"/>
                  <a:pt x="341021" y="253773"/>
                </a:cubicBezTo>
                <a:cubicBezTo>
                  <a:pt x="341021" y="253773"/>
                  <a:pt x="341021" y="253773"/>
                  <a:pt x="342555" y="275213"/>
                </a:cubicBezTo>
                <a:cubicBezTo>
                  <a:pt x="342862" y="278276"/>
                  <a:pt x="344704" y="280727"/>
                  <a:pt x="347466" y="281952"/>
                </a:cubicBezTo>
                <a:cubicBezTo>
                  <a:pt x="354218" y="285015"/>
                  <a:pt x="358822" y="292059"/>
                  <a:pt x="358822" y="299410"/>
                </a:cubicBezTo>
                <a:cubicBezTo>
                  <a:pt x="358822" y="307068"/>
                  <a:pt x="354525" y="313500"/>
                  <a:pt x="348387" y="316869"/>
                </a:cubicBezTo>
                <a:cubicBezTo>
                  <a:pt x="346852" y="317482"/>
                  <a:pt x="345625" y="317788"/>
                  <a:pt x="344090" y="317788"/>
                </a:cubicBezTo>
                <a:cubicBezTo>
                  <a:pt x="344090" y="317788"/>
                  <a:pt x="344090" y="317788"/>
                  <a:pt x="335189" y="317788"/>
                </a:cubicBezTo>
                <a:cubicBezTo>
                  <a:pt x="333655" y="317788"/>
                  <a:pt x="332120" y="317482"/>
                  <a:pt x="330892" y="316869"/>
                </a:cubicBezTo>
                <a:cubicBezTo>
                  <a:pt x="324447" y="313500"/>
                  <a:pt x="320150" y="307068"/>
                  <a:pt x="320150" y="299410"/>
                </a:cubicBezTo>
                <a:cubicBezTo>
                  <a:pt x="320150" y="292059"/>
                  <a:pt x="324754" y="285321"/>
                  <a:pt x="331199" y="282258"/>
                </a:cubicBezTo>
                <a:cubicBezTo>
                  <a:pt x="333655" y="281033"/>
                  <a:pt x="335496" y="278583"/>
                  <a:pt x="335803" y="275520"/>
                </a:cubicBezTo>
                <a:cubicBezTo>
                  <a:pt x="335803" y="275520"/>
                  <a:pt x="335803" y="275520"/>
                  <a:pt x="337338" y="253773"/>
                </a:cubicBezTo>
                <a:cubicBezTo>
                  <a:pt x="337338" y="253467"/>
                  <a:pt x="337645" y="252854"/>
                  <a:pt x="337952" y="252548"/>
                </a:cubicBezTo>
                <a:close/>
                <a:moveTo>
                  <a:pt x="289502" y="251039"/>
                </a:moveTo>
                <a:cubicBezTo>
                  <a:pt x="289196" y="251039"/>
                  <a:pt x="289196" y="251345"/>
                  <a:pt x="289196" y="251652"/>
                </a:cubicBezTo>
                <a:cubicBezTo>
                  <a:pt x="289196" y="251652"/>
                  <a:pt x="289196" y="251958"/>
                  <a:pt x="289502" y="251958"/>
                </a:cubicBezTo>
                <a:cubicBezTo>
                  <a:pt x="295301" y="251958"/>
                  <a:pt x="295301" y="251958"/>
                  <a:pt x="295301" y="251958"/>
                </a:cubicBezTo>
                <a:cubicBezTo>
                  <a:pt x="295606" y="251958"/>
                  <a:pt x="295911" y="251652"/>
                  <a:pt x="295911" y="251652"/>
                </a:cubicBezTo>
                <a:cubicBezTo>
                  <a:pt x="295911" y="251345"/>
                  <a:pt x="295606" y="251039"/>
                  <a:pt x="295301" y="251039"/>
                </a:cubicBezTo>
                <a:cubicBezTo>
                  <a:pt x="289502" y="251039"/>
                  <a:pt x="289502" y="251039"/>
                  <a:pt x="289502" y="251039"/>
                </a:cubicBezTo>
                <a:close/>
                <a:moveTo>
                  <a:pt x="187885" y="250936"/>
                </a:moveTo>
                <a:lnTo>
                  <a:pt x="187885" y="261504"/>
                </a:lnTo>
                <a:lnTo>
                  <a:pt x="187888" y="261503"/>
                </a:lnTo>
                <a:lnTo>
                  <a:pt x="187888" y="251081"/>
                </a:lnTo>
                <a:close/>
                <a:moveTo>
                  <a:pt x="185683" y="250402"/>
                </a:moveTo>
                <a:lnTo>
                  <a:pt x="185684" y="250433"/>
                </a:lnTo>
                <a:lnTo>
                  <a:pt x="185684" y="250433"/>
                </a:lnTo>
                <a:close/>
                <a:moveTo>
                  <a:pt x="351931" y="248299"/>
                </a:moveTo>
                <a:lnTo>
                  <a:pt x="352344" y="249826"/>
                </a:lnTo>
                <a:cubicBezTo>
                  <a:pt x="354493" y="253201"/>
                  <a:pt x="357562" y="255963"/>
                  <a:pt x="360938" y="257804"/>
                </a:cubicBezTo>
                <a:cubicBezTo>
                  <a:pt x="381196" y="257804"/>
                  <a:pt x="381196" y="257804"/>
                  <a:pt x="381196" y="257804"/>
                </a:cubicBezTo>
                <a:cubicBezTo>
                  <a:pt x="384879" y="255963"/>
                  <a:pt x="387949" y="253201"/>
                  <a:pt x="389790" y="249826"/>
                </a:cubicBezTo>
                <a:lnTo>
                  <a:pt x="389800" y="249791"/>
                </a:lnTo>
                <a:lnTo>
                  <a:pt x="381264" y="257714"/>
                </a:lnTo>
                <a:cubicBezTo>
                  <a:pt x="381264" y="257714"/>
                  <a:pt x="381264" y="257714"/>
                  <a:pt x="361020" y="257714"/>
                </a:cubicBezTo>
                <a:cubicBezTo>
                  <a:pt x="357646" y="255875"/>
                  <a:pt x="354579" y="253116"/>
                  <a:pt x="352432" y="249743"/>
                </a:cubicBezTo>
                <a:close/>
                <a:moveTo>
                  <a:pt x="289502" y="247360"/>
                </a:moveTo>
                <a:cubicBezTo>
                  <a:pt x="289196" y="247360"/>
                  <a:pt x="289196" y="247666"/>
                  <a:pt x="289196" y="247973"/>
                </a:cubicBezTo>
                <a:cubicBezTo>
                  <a:pt x="289196" y="247973"/>
                  <a:pt x="289196" y="248279"/>
                  <a:pt x="289502" y="248279"/>
                </a:cubicBezTo>
                <a:cubicBezTo>
                  <a:pt x="295301" y="248279"/>
                  <a:pt x="295301" y="248279"/>
                  <a:pt x="295301" y="248279"/>
                </a:cubicBezTo>
                <a:cubicBezTo>
                  <a:pt x="295606" y="248279"/>
                  <a:pt x="295911" y="247973"/>
                  <a:pt x="295911" y="247973"/>
                </a:cubicBezTo>
                <a:cubicBezTo>
                  <a:pt x="295911" y="247666"/>
                  <a:pt x="295606" y="247360"/>
                  <a:pt x="295301" y="247360"/>
                </a:cubicBezTo>
                <a:cubicBezTo>
                  <a:pt x="289502" y="247360"/>
                  <a:pt x="289502" y="247360"/>
                  <a:pt x="289502" y="247360"/>
                </a:cubicBezTo>
                <a:close/>
                <a:moveTo>
                  <a:pt x="289502" y="243988"/>
                </a:moveTo>
                <a:cubicBezTo>
                  <a:pt x="289196" y="243988"/>
                  <a:pt x="289196" y="244294"/>
                  <a:pt x="289196" y="244601"/>
                </a:cubicBezTo>
                <a:cubicBezTo>
                  <a:pt x="289196" y="244601"/>
                  <a:pt x="289196" y="244907"/>
                  <a:pt x="289502" y="244907"/>
                </a:cubicBezTo>
                <a:cubicBezTo>
                  <a:pt x="295301" y="244907"/>
                  <a:pt x="295301" y="244907"/>
                  <a:pt x="295301" y="244907"/>
                </a:cubicBezTo>
                <a:cubicBezTo>
                  <a:pt x="295606" y="244907"/>
                  <a:pt x="295911" y="244601"/>
                  <a:pt x="295911" y="244601"/>
                </a:cubicBezTo>
                <a:cubicBezTo>
                  <a:pt x="295911" y="244294"/>
                  <a:pt x="295606" y="243988"/>
                  <a:pt x="295301" y="243988"/>
                </a:cubicBezTo>
                <a:cubicBezTo>
                  <a:pt x="289502" y="243988"/>
                  <a:pt x="289502" y="243988"/>
                  <a:pt x="289502" y="243988"/>
                </a:cubicBezTo>
                <a:close/>
                <a:moveTo>
                  <a:pt x="245054" y="240858"/>
                </a:moveTo>
                <a:lnTo>
                  <a:pt x="241012" y="245557"/>
                </a:lnTo>
                <a:lnTo>
                  <a:pt x="237393" y="260542"/>
                </a:lnTo>
                <a:lnTo>
                  <a:pt x="245857" y="259939"/>
                </a:lnTo>
                <a:lnTo>
                  <a:pt x="253201" y="261892"/>
                </a:lnTo>
                <a:lnTo>
                  <a:pt x="248963" y="245557"/>
                </a:lnTo>
                <a:close/>
                <a:moveTo>
                  <a:pt x="289502" y="240309"/>
                </a:moveTo>
                <a:cubicBezTo>
                  <a:pt x="289196" y="240309"/>
                  <a:pt x="289196" y="240309"/>
                  <a:pt x="289196" y="240615"/>
                </a:cubicBezTo>
                <a:cubicBezTo>
                  <a:pt x="289196" y="240922"/>
                  <a:pt x="289196" y="240922"/>
                  <a:pt x="289502" y="240922"/>
                </a:cubicBezTo>
                <a:cubicBezTo>
                  <a:pt x="295301" y="240922"/>
                  <a:pt x="295301" y="240922"/>
                  <a:pt x="295301" y="240922"/>
                </a:cubicBezTo>
                <a:cubicBezTo>
                  <a:pt x="295606" y="240922"/>
                  <a:pt x="295911" y="240922"/>
                  <a:pt x="295911" y="240615"/>
                </a:cubicBezTo>
                <a:cubicBezTo>
                  <a:pt x="295911" y="240309"/>
                  <a:pt x="295606" y="240309"/>
                  <a:pt x="295301" y="240309"/>
                </a:cubicBezTo>
                <a:cubicBezTo>
                  <a:pt x="289502" y="240309"/>
                  <a:pt x="289502" y="240309"/>
                  <a:pt x="289502" y="240309"/>
                </a:cubicBezTo>
                <a:close/>
                <a:moveTo>
                  <a:pt x="205020" y="238723"/>
                </a:moveTo>
                <a:lnTo>
                  <a:pt x="204103" y="239395"/>
                </a:lnTo>
                <a:cubicBezTo>
                  <a:pt x="202262" y="242151"/>
                  <a:pt x="201342" y="243683"/>
                  <a:pt x="202262" y="247053"/>
                </a:cubicBezTo>
                <a:cubicBezTo>
                  <a:pt x="202569" y="248891"/>
                  <a:pt x="202876" y="248891"/>
                  <a:pt x="204103" y="250729"/>
                </a:cubicBezTo>
                <a:lnTo>
                  <a:pt x="205040" y="251633"/>
                </a:lnTo>
                <a:lnTo>
                  <a:pt x="205040" y="248268"/>
                </a:lnTo>
                <a:lnTo>
                  <a:pt x="205020" y="248268"/>
                </a:lnTo>
                <a:close/>
                <a:moveTo>
                  <a:pt x="11966" y="236875"/>
                </a:moveTo>
                <a:cubicBezTo>
                  <a:pt x="27307" y="236875"/>
                  <a:pt x="27307" y="236875"/>
                  <a:pt x="27307" y="236875"/>
                </a:cubicBezTo>
                <a:cubicBezTo>
                  <a:pt x="27614" y="241166"/>
                  <a:pt x="27001" y="241472"/>
                  <a:pt x="29762" y="244843"/>
                </a:cubicBezTo>
                <a:cubicBezTo>
                  <a:pt x="36819" y="251585"/>
                  <a:pt x="38967" y="261698"/>
                  <a:pt x="38967" y="270891"/>
                </a:cubicBezTo>
                <a:cubicBezTo>
                  <a:pt x="38660" y="314407"/>
                  <a:pt x="38660" y="314407"/>
                  <a:pt x="38660" y="314407"/>
                </a:cubicBezTo>
                <a:cubicBezTo>
                  <a:pt x="38660" y="316552"/>
                  <a:pt x="36819" y="318084"/>
                  <a:pt x="34978" y="318084"/>
                </a:cubicBezTo>
                <a:cubicBezTo>
                  <a:pt x="3988" y="318084"/>
                  <a:pt x="3988" y="318084"/>
                  <a:pt x="3988" y="318084"/>
                </a:cubicBezTo>
                <a:cubicBezTo>
                  <a:pt x="2148" y="318084"/>
                  <a:pt x="307" y="316552"/>
                  <a:pt x="307" y="314407"/>
                </a:cubicBezTo>
                <a:cubicBezTo>
                  <a:pt x="0" y="270891"/>
                  <a:pt x="0" y="270891"/>
                  <a:pt x="0" y="270891"/>
                </a:cubicBezTo>
                <a:cubicBezTo>
                  <a:pt x="0" y="261698"/>
                  <a:pt x="2148" y="251585"/>
                  <a:pt x="9205" y="244843"/>
                </a:cubicBezTo>
                <a:cubicBezTo>
                  <a:pt x="11966" y="241472"/>
                  <a:pt x="11352" y="241166"/>
                  <a:pt x="11966" y="236875"/>
                </a:cubicBezTo>
                <a:close/>
                <a:moveTo>
                  <a:pt x="184543" y="231534"/>
                </a:moveTo>
                <a:lnTo>
                  <a:pt x="185354" y="239304"/>
                </a:lnTo>
                <a:lnTo>
                  <a:pt x="185094" y="233901"/>
                </a:lnTo>
                <a:cubicBezTo>
                  <a:pt x="184799" y="232983"/>
                  <a:pt x="184799" y="232370"/>
                  <a:pt x="184799" y="232064"/>
                </a:cubicBezTo>
                <a:close/>
                <a:moveTo>
                  <a:pt x="186969" y="230851"/>
                </a:moveTo>
                <a:cubicBezTo>
                  <a:pt x="187275" y="230851"/>
                  <a:pt x="187275" y="231157"/>
                  <a:pt x="187275" y="231157"/>
                </a:cubicBezTo>
                <a:lnTo>
                  <a:pt x="187270" y="231157"/>
                </a:lnTo>
                <a:lnTo>
                  <a:pt x="187307" y="231287"/>
                </a:lnTo>
                <a:lnTo>
                  <a:pt x="187275" y="231157"/>
                </a:lnTo>
                <a:cubicBezTo>
                  <a:pt x="187581" y="231464"/>
                  <a:pt x="187581" y="231770"/>
                  <a:pt x="187888" y="232077"/>
                </a:cubicBezTo>
                <a:cubicBezTo>
                  <a:pt x="187888" y="232690"/>
                  <a:pt x="187888" y="232997"/>
                  <a:pt x="187888" y="233303"/>
                </a:cubicBezTo>
                <a:cubicBezTo>
                  <a:pt x="188194" y="239433"/>
                  <a:pt x="188194" y="245257"/>
                  <a:pt x="188194" y="251081"/>
                </a:cubicBezTo>
                <a:cubicBezTo>
                  <a:pt x="188194" y="254453"/>
                  <a:pt x="188194" y="258131"/>
                  <a:pt x="188194" y="261809"/>
                </a:cubicBezTo>
                <a:lnTo>
                  <a:pt x="188135" y="261809"/>
                </a:lnTo>
                <a:lnTo>
                  <a:pt x="189007" y="269397"/>
                </a:lnTo>
                <a:lnTo>
                  <a:pt x="190141" y="277736"/>
                </a:lnTo>
                <a:lnTo>
                  <a:pt x="188895" y="269852"/>
                </a:lnTo>
                <a:lnTo>
                  <a:pt x="187840" y="262193"/>
                </a:lnTo>
                <a:lnTo>
                  <a:pt x="188122" y="262006"/>
                </a:lnTo>
                <a:cubicBezTo>
                  <a:pt x="187815" y="262006"/>
                  <a:pt x="187815" y="262006"/>
                  <a:pt x="187815" y="262006"/>
                </a:cubicBezTo>
                <a:lnTo>
                  <a:pt x="187840" y="262193"/>
                </a:lnTo>
                <a:lnTo>
                  <a:pt x="187839" y="262194"/>
                </a:lnTo>
                <a:lnTo>
                  <a:pt x="188824" y="269402"/>
                </a:lnTo>
                <a:lnTo>
                  <a:pt x="188895" y="269852"/>
                </a:lnTo>
                <a:lnTo>
                  <a:pt x="190008" y="277937"/>
                </a:lnTo>
                <a:lnTo>
                  <a:pt x="190585" y="280999"/>
                </a:lnTo>
                <a:lnTo>
                  <a:pt x="190585" y="281001"/>
                </a:lnTo>
                <a:lnTo>
                  <a:pt x="191466" y="286111"/>
                </a:lnTo>
                <a:lnTo>
                  <a:pt x="192347" y="291685"/>
                </a:lnTo>
                <a:lnTo>
                  <a:pt x="192846" y="293001"/>
                </a:lnTo>
                <a:lnTo>
                  <a:pt x="192828" y="292905"/>
                </a:lnTo>
                <a:lnTo>
                  <a:pt x="192967" y="293318"/>
                </a:lnTo>
                <a:lnTo>
                  <a:pt x="194444" y="297210"/>
                </a:lnTo>
                <a:lnTo>
                  <a:pt x="194587" y="297544"/>
                </a:lnTo>
                <a:lnTo>
                  <a:pt x="194548" y="297485"/>
                </a:lnTo>
                <a:lnTo>
                  <a:pt x="194569" y="297540"/>
                </a:lnTo>
                <a:lnTo>
                  <a:pt x="194587" y="297544"/>
                </a:lnTo>
                <a:lnTo>
                  <a:pt x="195686" y="297763"/>
                </a:lnTo>
                <a:lnTo>
                  <a:pt x="196127" y="297544"/>
                </a:lnTo>
                <a:cubicBezTo>
                  <a:pt x="197974" y="296931"/>
                  <a:pt x="199513" y="296319"/>
                  <a:pt x="201360" y="296319"/>
                </a:cubicBezTo>
                <a:cubicBezTo>
                  <a:pt x="201360" y="296319"/>
                  <a:pt x="201360" y="296319"/>
                  <a:pt x="201668" y="296319"/>
                </a:cubicBezTo>
                <a:cubicBezTo>
                  <a:pt x="203515" y="296625"/>
                  <a:pt x="205055" y="296931"/>
                  <a:pt x="206286" y="299382"/>
                </a:cubicBezTo>
                <a:cubicBezTo>
                  <a:pt x="205055" y="297238"/>
                  <a:pt x="203515" y="296931"/>
                  <a:pt x="201668" y="296625"/>
                </a:cubicBezTo>
                <a:lnTo>
                  <a:pt x="201641" y="296625"/>
                </a:lnTo>
                <a:lnTo>
                  <a:pt x="206242" y="299379"/>
                </a:lnTo>
                <a:lnTo>
                  <a:pt x="207154" y="305898"/>
                </a:lnTo>
                <a:lnTo>
                  <a:pt x="207825" y="304897"/>
                </a:lnTo>
                <a:lnTo>
                  <a:pt x="207164" y="305970"/>
                </a:lnTo>
                <a:lnTo>
                  <a:pt x="207432" y="307882"/>
                </a:lnTo>
                <a:lnTo>
                  <a:pt x="202676" y="313257"/>
                </a:lnTo>
                <a:lnTo>
                  <a:pt x="201976" y="314394"/>
                </a:lnTo>
                <a:cubicBezTo>
                  <a:pt x="201360" y="314394"/>
                  <a:pt x="201052" y="314394"/>
                  <a:pt x="200745" y="314394"/>
                </a:cubicBezTo>
                <a:cubicBezTo>
                  <a:pt x="200437" y="314394"/>
                  <a:pt x="200129" y="314394"/>
                  <a:pt x="199821" y="314394"/>
                </a:cubicBezTo>
                <a:lnTo>
                  <a:pt x="196025" y="311197"/>
                </a:lnTo>
                <a:lnTo>
                  <a:pt x="195798" y="311023"/>
                </a:lnTo>
                <a:lnTo>
                  <a:pt x="195695" y="310594"/>
                </a:lnTo>
                <a:lnTo>
                  <a:pt x="193972" y="304590"/>
                </a:lnTo>
                <a:lnTo>
                  <a:pt x="193972" y="302562"/>
                </a:lnTo>
                <a:lnTo>
                  <a:pt x="193955" y="302443"/>
                </a:lnTo>
                <a:cubicBezTo>
                  <a:pt x="193955" y="302137"/>
                  <a:pt x="193955" y="301830"/>
                  <a:pt x="193647" y="301524"/>
                </a:cubicBezTo>
                <a:lnTo>
                  <a:pt x="192114" y="299689"/>
                </a:lnTo>
                <a:lnTo>
                  <a:pt x="190893" y="299689"/>
                </a:lnTo>
                <a:cubicBezTo>
                  <a:pt x="190277" y="299689"/>
                  <a:pt x="189662" y="299689"/>
                  <a:pt x="188738" y="299995"/>
                </a:cubicBezTo>
                <a:cubicBezTo>
                  <a:pt x="188430" y="299995"/>
                  <a:pt x="188122" y="299995"/>
                  <a:pt x="188122" y="299995"/>
                </a:cubicBezTo>
                <a:cubicBezTo>
                  <a:pt x="187507" y="299995"/>
                  <a:pt x="187199" y="299995"/>
                  <a:pt x="187199" y="299689"/>
                </a:cubicBezTo>
                <a:cubicBezTo>
                  <a:pt x="186891" y="299382"/>
                  <a:pt x="186891" y="298769"/>
                  <a:pt x="186891" y="297850"/>
                </a:cubicBezTo>
                <a:cubicBezTo>
                  <a:pt x="187199" y="298769"/>
                  <a:pt x="187199" y="299076"/>
                  <a:pt x="187199" y="299382"/>
                </a:cubicBezTo>
                <a:cubicBezTo>
                  <a:pt x="187507" y="299689"/>
                  <a:pt x="187507" y="299689"/>
                  <a:pt x="188122" y="299689"/>
                </a:cubicBezTo>
                <a:cubicBezTo>
                  <a:pt x="188122" y="299689"/>
                  <a:pt x="188430" y="299689"/>
                  <a:pt x="188738" y="299689"/>
                </a:cubicBezTo>
                <a:lnTo>
                  <a:pt x="188761" y="299685"/>
                </a:lnTo>
                <a:lnTo>
                  <a:pt x="188733" y="299685"/>
                </a:lnTo>
                <a:lnTo>
                  <a:pt x="186892" y="297849"/>
                </a:lnTo>
                <a:lnTo>
                  <a:pt x="186891" y="297850"/>
                </a:lnTo>
                <a:lnTo>
                  <a:pt x="186892" y="297849"/>
                </a:lnTo>
                <a:lnTo>
                  <a:pt x="186890" y="297847"/>
                </a:lnTo>
                <a:lnTo>
                  <a:pt x="186894" y="297844"/>
                </a:lnTo>
                <a:lnTo>
                  <a:pt x="187199" y="297238"/>
                </a:lnTo>
                <a:lnTo>
                  <a:pt x="187806" y="297238"/>
                </a:lnTo>
                <a:lnTo>
                  <a:pt x="187811" y="297234"/>
                </a:lnTo>
                <a:lnTo>
                  <a:pt x="187862" y="297228"/>
                </a:lnTo>
                <a:lnTo>
                  <a:pt x="189354" y="296931"/>
                </a:lnTo>
                <a:cubicBezTo>
                  <a:pt x="189970" y="296931"/>
                  <a:pt x="190585" y="296931"/>
                  <a:pt x="190585" y="296625"/>
                </a:cubicBezTo>
                <a:cubicBezTo>
                  <a:pt x="191201" y="296625"/>
                  <a:pt x="191201" y="296012"/>
                  <a:pt x="191201" y="295400"/>
                </a:cubicBezTo>
                <a:cubicBezTo>
                  <a:pt x="191201" y="295093"/>
                  <a:pt x="191201" y="294787"/>
                  <a:pt x="191201" y="294787"/>
                </a:cubicBezTo>
                <a:lnTo>
                  <a:pt x="189694" y="284887"/>
                </a:lnTo>
                <a:lnTo>
                  <a:pt x="189654" y="284670"/>
                </a:lnTo>
                <a:lnTo>
                  <a:pt x="186993" y="267539"/>
                </a:lnTo>
                <a:lnTo>
                  <a:pt x="186318" y="263203"/>
                </a:lnTo>
                <a:lnTo>
                  <a:pt x="186320" y="263202"/>
                </a:lnTo>
                <a:lnTo>
                  <a:pt x="186296" y="263046"/>
                </a:lnTo>
                <a:lnTo>
                  <a:pt x="186281" y="262957"/>
                </a:lnTo>
                <a:lnTo>
                  <a:pt x="186280" y="262958"/>
                </a:lnTo>
                <a:lnTo>
                  <a:pt x="186318" y="263203"/>
                </a:lnTo>
                <a:lnTo>
                  <a:pt x="186275" y="263232"/>
                </a:lnTo>
                <a:lnTo>
                  <a:pt x="186275" y="262961"/>
                </a:lnTo>
                <a:lnTo>
                  <a:pt x="185743" y="263342"/>
                </a:lnTo>
                <a:cubicBezTo>
                  <a:pt x="185436" y="267020"/>
                  <a:pt x="185130" y="271311"/>
                  <a:pt x="184211" y="275296"/>
                </a:cubicBezTo>
                <a:cubicBezTo>
                  <a:pt x="183904" y="277442"/>
                  <a:pt x="183292" y="279587"/>
                  <a:pt x="182985" y="281733"/>
                </a:cubicBezTo>
                <a:cubicBezTo>
                  <a:pt x="182372" y="284798"/>
                  <a:pt x="181759" y="288170"/>
                  <a:pt x="181147" y="291235"/>
                </a:cubicBezTo>
                <a:lnTo>
                  <a:pt x="181398" y="289676"/>
                </a:lnTo>
                <a:lnTo>
                  <a:pt x="181114" y="291136"/>
                </a:lnTo>
                <a:lnTo>
                  <a:pt x="180590" y="293741"/>
                </a:lnTo>
                <a:lnTo>
                  <a:pt x="181147" y="291235"/>
                </a:lnTo>
                <a:cubicBezTo>
                  <a:pt x="181147" y="292155"/>
                  <a:pt x="180840" y="293074"/>
                  <a:pt x="180840" y="294300"/>
                </a:cubicBezTo>
                <a:cubicBezTo>
                  <a:pt x="180534" y="294913"/>
                  <a:pt x="180534" y="295220"/>
                  <a:pt x="180534" y="295833"/>
                </a:cubicBezTo>
                <a:lnTo>
                  <a:pt x="180534" y="296182"/>
                </a:lnTo>
                <a:lnTo>
                  <a:pt x="181114" y="296951"/>
                </a:lnTo>
                <a:cubicBezTo>
                  <a:pt x="181114" y="296951"/>
                  <a:pt x="181422" y="296951"/>
                  <a:pt x="181729" y="296951"/>
                </a:cubicBezTo>
                <a:cubicBezTo>
                  <a:pt x="182653" y="297257"/>
                  <a:pt x="183268" y="297257"/>
                  <a:pt x="183884" y="297257"/>
                </a:cubicBezTo>
                <a:cubicBezTo>
                  <a:pt x="184192" y="297257"/>
                  <a:pt x="184192" y="297257"/>
                  <a:pt x="184500" y="297257"/>
                </a:cubicBezTo>
                <a:lnTo>
                  <a:pt x="184500" y="297365"/>
                </a:lnTo>
                <a:lnTo>
                  <a:pt x="184517" y="297365"/>
                </a:lnTo>
                <a:cubicBezTo>
                  <a:pt x="184824" y="297365"/>
                  <a:pt x="184824" y="297365"/>
                  <a:pt x="185130" y="297672"/>
                </a:cubicBezTo>
                <a:cubicBezTo>
                  <a:pt x="185130" y="297978"/>
                  <a:pt x="185130" y="297978"/>
                  <a:pt x="185130" y="298285"/>
                </a:cubicBezTo>
                <a:cubicBezTo>
                  <a:pt x="185130" y="298591"/>
                  <a:pt x="185130" y="298898"/>
                  <a:pt x="185130" y="299204"/>
                </a:cubicBezTo>
                <a:cubicBezTo>
                  <a:pt x="184824" y="299204"/>
                  <a:pt x="184824" y="299511"/>
                  <a:pt x="184824" y="299511"/>
                </a:cubicBezTo>
                <a:cubicBezTo>
                  <a:pt x="184824" y="299511"/>
                  <a:pt x="184824" y="299511"/>
                  <a:pt x="184517" y="299511"/>
                </a:cubicBezTo>
                <a:cubicBezTo>
                  <a:pt x="184517" y="299511"/>
                  <a:pt x="184824" y="299204"/>
                  <a:pt x="184824" y="299204"/>
                </a:cubicBezTo>
                <a:cubicBezTo>
                  <a:pt x="184824" y="298898"/>
                  <a:pt x="184824" y="298591"/>
                  <a:pt x="184824" y="298285"/>
                </a:cubicBezTo>
                <a:cubicBezTo>
                  <a:pt x="184824" y="298285"/>
                  <a:pt x="184824" y="297978"/>
                  <a:pt x="184824" y="297672"/>
                </a:cubicBezTo>
                <a:cubicBezTo>
                  <a:pt x="184824" y="297672"/>
                  <a:pt x="184517" y="297672"/>
                  <a:pt x="184517" y="297672"/>
                </a:cubicBezTo>
                <a:lnTo>
                  <a:pt x="184500" y="297672"/>
                </a:lnTo>
                <a:lnTo>
                  <a:pt x="184500" y="299399"/>
                </a:lnTo>
                <a:lnTo>
                  <a:pt x="184316" y="299486"/>
                </a:lnTo>
                <a:lnTo>
                  <a:pt x="184517" y="299511"/>
                </a:lnTo>
                <a:lnTo>
                  <a:pt x="184263" y="299511"/>
                </a:lnTo>
                <a:lnTo>
                  <a:pt x="178575" y="302204"/>
                </a:lnTo>
                <a:lnTo>
                  <a:pt x="178389" y="302576"/>
                </a:lnTo>
                <a:cubicBezTo>
                  <a:pt x="178389" y="303189"/>
                  <a:pt x="178389" y="303496"/>
                  <a:pt x="178389" y="304109"/>
                </a:cubicBezTo>
                <a:cubicBezTo>
                  <a:pt x="178389" y="307787"/>
                  <a:pt x="177470" y="310546"/>
                  <a:pt x="175018" y="312998"/>
                </a:cubicBezTo>
                <a:lnTo>
                  <a:pt x="171630" y="314450"/>
                </a:lnTo>
                <a:lnTo>
                  <a:pt x="174986" y="318380"/>
                </a:lnTo>
                <a:cubicBezTo>
                  <a:pt x="174986" y="318380"/>
                  <a:pt x="174986" y="318380"/>
                  <a:pt x="174986" y="337389"/>
                </a:cubicBezTo>
                <a:cubicBezTo>
                  <a:pt x="174986" y="337389"/>
                  <a:pt x="174986" y="337389"/>
                  <a:pt x="175605" y="337389"/>
                </a:cubicBezTo>
                <a:cubicBezTo>
                  <a:pt x="176224" y="337389"/>
                  <a:pt x="176533" y="337696"/>
                  <a:pt x="176533" y="338309"/>
                </a:cubicBezTo>
                <a:cubicBezTo>
                  <a:pt x="176533" y="338309"/>
                  <a:pt x="176533" y="338309"/>
                  <a:pt x="176533" y="338922"/>
                </a:cubicBezTo>
                <a:cubicBezTo>
                  <a:pt x="176533" y="339229"/>
                  <a:pt x="176224" y="339842"/>
                  <a:pt x="175605" y="339842"/>
                </a:cubicBezTo>
                <a:cubicBezTo>
                  <a:pt x="175605" y="339842"/>
                  <a:pt x="175605" y="339842"/>
                  <a:pt x="174057" y="339842"/>
                </a:cubicBezTo>
                <a:cubicBezTo>
                  <a:pt x="174057" y="339842"/>
                  <a:pt x="174057" y="339842"/>
                  <a:pt x="174367" y="377247"/>
                </a:cubicBezTo>
                <a:cubicBezTo>
                  <a:pt x="174367" y="377247"/>
                  <a:pt x="174367" y="377247"/>
                  <a:pt x="172510" y="393804"/>
                </a:cubicBezTo>
                <a:cubicBezTo>
                  <a:pt x="172510" y="393804"/>
                  <a:pt x="172510" y="393804"/>
                  <a:pt x="170963" y="393804"/>
                </a:cubicBezTo>
                <a:cubicBezTo>
                  <a:pt x="170963" y="393804"/>
                  <a:pt x="170963" y="393804"/>
                  <a:pt x="169106" y="377247"/>
                </a:cubicBezTo>
                <a:cubicBezTo>
                  <a:pt x="169106" y="377247"/>
                  <a:pt x="169106" y="377247"/>
                  <a:pt x="169415" y="339842"/>
                </a:cubicBezTo>
                <a:lnTo>
                  <a:pt x="167868" y="339842"/>
                </a:lnTo>
                <a:cubicBezTo>
                  <a:pt x="167249" y="339842"/>
                  <a:pt x="166939" y="339229"/>
                  <a:pt x="166939" y="338922"/>
                </a:cubicBezTo>
                <a:cubicBezTo>
                  <a:pt x="166939" y="338922"/>
                  <a:pt x="166939" y="338922"/>
                  <a:pt x="166939" y="338309"/>
                </a:cubicBezTo>
                <a:cubicBezTo>
                  <a:pt x="166939" y="337696"/>
                  <a:pt x="167249" y="337389"/>
                  <a:pt x="167868" y="337389"/>
                </a:cubicBezTo>
                <a:cubicBezTo>
                  <a:pt x="167868" y="337389"/>
                  <a:pt x="167868" y="337389"/>
                  <a:pt x="168487" y="337389"/>
                </a:cubicBezTo>
                <a:cubicBezTo>
                  <a:pt x="168487" y="337389"/>
                  <a:pt x="168487" y="337389"/>
                  <a:pt x="168487" y="318380"/>
                </a:cubicBezTo>
                <a:lnTo>
                  <a:pt x="171492" y="314509"/>
                </a:lnTo>
                <a:lnTo>
                  <a:pt x="170728" y="314837"/>
                </a:lnTo>
                <a:cubicBezTo>
                  <a:pt x="170728" y="314837"/>
                  <a:pt x="170728" y="314837"/>
                  <a:pt x="170422" y="314837"/>
                </a:cubicBezTo>
                <a:cubicBezTo>
                  <a:pt x="169503" y="314837"/>
                  <a:pt x="168584" y="314224"/>
                  <a:pt x="167664" y="313917"/>
                </a:cubicBezTo>
                <a:lnTo>
                  <a:pt x="165941" y="310327"/>
                </a:lnTo>
                <a:lnTo>
                  <a:pt x="164107" y="306782"/>
                </a:lnTo>
                <a:lnTo>
                  <a:pt x="164162" y="306621"/>
                </a:lnTo>
                <a:lnTo>
                  <a:pt x="163987" y="306254"/>
                </a:lnTo>
                <a:lnTo>
                  <a:pt x="165883" y="301617"/>
                </a:lnTo>
                <a:lnTo>
                  <a:pt x="166647" y="299399"/>
                </a:lnTo>
                <a:lnTo>
                  <a:pt x="167414" y="299254"/>
                </a:lnTo>
                <a:lnTo>
                  <a:pt x="170728" y="297978"/>
                </a:lnTo>
                <a:lnTo>
                  <a:pt x="172788" y="298236"/>
                </a:lnTo>
                <a:lnTo>
                  <a:pt x="173111" y="298175"/>
                </a:lnTo>
                <a:cubicBezTo>
                  <a:pt x="174958" y="298787"/>
                  <a:pt x="175265" y="299093"/>
                  <a:pt x="176189" y="298787"/>
                </a:cubicBezTo>
                <a:lnTo>
                  <a:pt x="177981" y="297005"/>
                </a:lnTo>
                <a:lnTo>
                  <a:pt x="178082" y="296752"/>
                </a:lnTo>
                <a:cubicBezTo>
                  <a:pt x="179308" y="293381"/>
                  <a:pt x="179921" y="288783"/>
                  <a:pt x="180534" y="285411"/>
                </a:cubicBezTo>
                <a:lnTo>
                  <a:pt x="183861" y="265440"/>
                </a:lnTo>
                <a:lnTo>
                  <a:pt x="184192" y="263289"/>
                </a:lnTo>
                <a:lnTo>
                  <a:pt x="184208" y="262977"/>
                </a:lnTo>
                <a:lnTo>
                  <a:pt x="184208" y="244010"/>
                </a:lnTo>
                <a:lnTo>
                  <a:pt x="184208" y="243997"/>
                </a:lnTo>
                <a:lnTo>
                  <a:pt x="183913" y="236350"/>
                </a:lnTo>
                <a:cubicBezTo>
                  <a:pt x="183913" y="234513"/>
                  <a:pt x="183913" y="232983"/>
                  <a:pt x="184208" y="232064"/>
                </a:cubicBezTo>
                <a:cubicBezTo>
                  <a:pt x="184208" y="231758"/>
                  <a:pt x="184208" y="231452"/>
                  <a:pt x="184208" y="231452"/>
                </a:cubicBezTo>
                <a:cubicBezTo>
                  <a:pt x="184208" y="231146"/>
                  <a:pt x="184504" y="231146"/>
                  <a:pt x="184504" y="231146"/>
                </a:cubicBezTo>
                <a:cubicBezTo>
                  <a:pt x="184799" y="231146"/>
                  <a:pt x="184799" y="231146"/>
                  <a:pt x="184799" y="231146"/>
                </a:cubicBezTo>
                <a:cubicBezTo>
                  <a:pt x="184799" y="231146"/>
                  <a:pt x="185094" y="231758"/>
                  <a:pt x="185094" y="232370"/>
                </a:cubicBezTo>
                <a:cubicBezTo>
                  <a:pt x="185389" y="234207"/>
                  <a:pt x="185537" y="238340"/>
                  <a:pt x="185647" y="242205"/>
                </a:cubicBezTo>
                <a:lnTo>
                  <a:pt x="185971" y="250240"/>
                </a:lnTo>
                <a:lnTo>
                  <a:pt x="186355" y="249856"/>
                </a:lnTo>
                <a:lnTo>
                  <a:pt x="186356" y="249819"/>
                </a:lnTo>
                <a:lnTo>
                  <a:pt x="186356" y="240046"/>
                </a:lnTo>
                <a:lnTo>
                  <a:pt x="186654" y="234673"/>
                </a:lnTo>
                <a:lnTo>
                  <a:pt x="186654" y="231463"/>
                </a:lnTo>
                <a:lnTo>
                  <a:pt x="186672" y="231454"/>
                </a:lnTo>
                <a:lnTo>
                  <a:pt x="186969" y="231157"/>
                </a:lnTo>
                <a:lnTo>
                  <a:pt x="186969" y="231307"/>
                </a:lnTo>
                <a:lnTo>
                  <a:pt x="187269" y="231157"/>
                </a:lnTo>
                <a:lnTo>
                  <a:pt x="186969" y="231157"/>
                </a:lnTo>
                <a:cubicBezTo>
                  <a:pt x="186969" y="231157"/>
                  <a:pt x="186969" y="231157"/>
                  <a:pt x="186969" y="230851"/>
                </a:cubicBezTo>
                <a:close/>
                <a:moveTo>
                  <a:pt x="133540" y="228046"/>
                </a:moveTo>
                <a:cubicBezTo>
                  <a:pt x="135687" y="228046"/>
                  <a:pt x="135687" y="228046"/>
                  <a:pt x="135687" y="228046"/>
                </a:cubicBezTo>
                <a:cubicBezTo>
                  <a:pt x="136301" y="228046"/>
                  <a:pt x="136608" y="228353"/>
                  <a:pt x="136608" y="228966"/>
                </a:cubicBezTo>
                <a:cubicBezTo>
                  <a:pt x="136608" y="233875"/>
                  <a:pt x="136608" y="233875"/>
                  <a:pt x="136608" y="233875"/>
                </a:cubicBezTo>
                <a:cubicBezTo>
                  <a:pt x="141516" y="233875"/>
                  <a:pt x="141516" y="233875"/>
                  <a:pt x="141516" y="233875"/>
                </a:cubicBezTo>
                <a:cubicBezTo>
                  <a:pt x="142130" y="233875"/>
                  <a:pt x="142437" y="234182"/>
                  <a:pt x="142437" y="234488"/>
                </a:cubicBezTo>
                <a:cubicBezTo>
                  <a:pt x="142437" y="236943"/>
                  <a:pt x="142437" y="236943"/>
                  <a:pt x="142437" y="236943"/>
                </a:cubicBezTo>
                <a:cubicBezTo>
                  <a:pt x="142437" y="237556"/>
                  <a:pt x="142130" y="237863"/>
                  <a:pt x="141516" y="237863"/>
                </a:cubicBezTo>
                <a:cubicBezTo>
                  <a:pt x="136608" y="237863"/>
                  <a:pt x="136608" y="237863"/>
                  <a:pt x="136608" y="237863"/>
                </a:cubicBezTo>
                <a:cubicBezTo>
                  <a:pt x="136608" y="242772"/>
                  <a:pt x="136608" y="242772"/>
                  <a:pt x="136608" y="242772"/>
                </a:cubicBezTo>
                <a:cubicBezTo>
                  <a:pt x="136608" y="243078"/>
                  <a:pt x="136301" y="243692"/>
                  <a:pt x="135687" y="243692"/>
                </a:cubicBezTo>
                <a:cubicBezTo>
                  <a:pt x="133540" y="243692"/>
                  <a:pt x="133540" y="243692"/>
                  <a:pt x="133540" y="243692"/>
                </a:cubicBezTo>
                <a:cubicBezTo>
                  <a:pt x="132926" y="243692"/>
                  <a:pt x="132620" y="243078"/>
                  <a:pt x="132620" y="242772"/>
                </a:cubicBezTo>
                <a:cubicBezTo>
                  <a:pt x="132620" y="237863"/>
                  <a:pt x="132620" y="237863"/>
                  <a:pt x="132620" y="237863"/>
                </a:cubicBezTo>
                <a:cubicBezTo>
                  <a:pt x="127711" y="237863"/>
                  <a:pt x="127711" y="237863"/>
                  <a:pt x="127711" y="237863"/>
                </a:cubicBezTo>
                <a:cubicBezTo>
                  <a:pt x="127098" y="237863"/>
                  <a:pt x="126791" y="237556"/>
                  <a:pt x="126791" y="236943"/>
                </a:cubicBezTo>
                <a:cubicBezTo>
                  <a:pt x="126791" y="234488"/>
                  <a:pt x="126791" y="234488"/>
                  <a:pt x="126791" y="234488"/>
                </a:cubicBezTo>
                <a:cubicBezTo>
                  <a:pt x="126791" y="234182"/>
                  <a:pt x="127098" y="233875"/>
                  <a:pt x="127711" y="233875"/>
                </a:cubicBezTo>
                <a:cubicBezTo>
                  <a:pt x="132620" y="233875"/>
                  <a:pt x="132620" y="233875"/>
                  <a:pt x="132620" y="233875"/>
                </a:cubicBezTo>
                <a:cubicBezTo>
                  <a:pt x="132620" y="228966"/>
                  <a:pt x="132620" y="228966"/>
                  <a:pt x="132620" y="228966"/>
                </a:cubicBezTo>
                <a:cubicBezTo>
                  <a:pt x="132620" y="228353"/>
                  <a:pt x="132926" y="228046"/>
                  <a:pt x="133540" y="228046"/>
                </a:cubicBezTo>
                <a:close/>
                <a:moveTo>
                  <a:pt x="437421" y="225537"/>
                </a:moveTo>
                <a:cubicBezTo>
                  <a:pt x="439530" y="225537"/>
                  <a:pt x="441037" y="227073"/>
                  <a:pt x="441037" y="229225"/>
                </a:cubicBezTo>
                <a:cubicBezTo>
                  <a:pt x="441037" y="230454"/>
                  <a:pt x="440434" y="231376"/>
                  <a:pt x="439832" y="231990"/>
                </a:cubicBezTo>
                <a:lnTo>
                  <a:pt x="439832" y="236017"/>
                </a:lnTo>
                <a:lnTo>
                  <a:pt x="442929" y="236017"/>
                </a:lnTo>
                <a:cubicBezTo>
                  <a:pt x="443238" y="236017"/>
                  <a:pt x="443546" y="236312"/>
                  <a:pt x="443546" y="236312"/>
                </a:cubicBezTo>
                <a:cubicBezTo>
                  <a:pt x="443546" y="236608"/>
                  <a:pt x="443238" y="236903"/>
                  <a:pt x="442929" y="236903"/>
                </a:cubicBezTo>
                <a:lnTo>
                  <a:pt x="439832" y="236903"/>
                </a:lnTo>
                <a:lnTo>
                  <a:pt x="439832" y="239707"/>
                </a:lnTo>
                <a:lnTo>
                  <a:pt x="441170" y="239707"/>
                </a:lnTo>
                <a:cubicBezTo>
                  <a:pt x="441479" y="239707"/>
                  <a:pt x="441479" y="240002"/>
                  <a:pt x="441479" y="240002"/>
                </a:cubicBezTo>
                <a:cubicBezTo>
                  <a:pt x="441479" y="240297"/>
                  <a:pt x="441479" y="240297"/>
                  <a:pt x="441170" y="240297"/>
                </a:cubicBezTo>
                <a:lnTo>
                  <a:pt x="439832" y="240297"/>
                </a:lnTo>
                <a:lnTo>
                  <a:pt x="439832" y="243692"/>
                </a:lnTo>
                <a:lnTo>
                  <a:pt x="442929" y="243692"/>
                </a:lnTo>
                <a:cubicBezTo>
                  <a:pt x="443238" y="243692"/>
                  <a:pt x="443546" y="243987"/>
                  <a:pt x="443546" y="244283"/>
                </a:cubicBezTo>
                <a:cubicBezTo>
                  <a:pt x="443546" y="244283"/>
                  <a:pt x="443238" y="244578"/>
                  <a:pt x="442929" y="244578"/>
                </a:cubicBezTo>
                <a:lnTo>
                  <a:pt x="439832" y="244578"/>
                </a:lnTo>
                <a:lnTo>
                  <a:pt x="439832" y="247382"/>
                </a:lnTo>
                <a:lnTo>
                  <a:pt x="441170" y="247382"/>
                </a:lnTo>
                <a:cubicBezTo>
                  <a:pt x="441479" y="247382"/>
                  <a:pt x="441479" y="247677"/>
                  <a:pt x="441479" y="247677"/>
                </a:cubicBezTo>
                <a:cubicBezTo>
                  <a:pt x="441479" y="247972"/>
                  <a:pt x="441479" y="247972"/>
                  <a:pt x="441170" y="247972"/>
                </a:cubicBezTo>
                <a:lnTo>
                  <a:pt x="439832" y="247972"/>
                </a:lnTo>
                <a:lnTo>
                  <a:pt x="439832" y="251368"/>
                </a:lnTo>
                <a:lnTo>
                  <a:pt x="442929" y="251368"/>
                </a:lnTo>
                <a:cubicBezTo>
                  <a:pt x="443238" y="251368"/>
                  <a:pt x="443546" y="251663"/>
                  <a:pt x="443546" y="251663"/>
                </a:cubicBezTo>
                <a:cubicBezTo>
                  <a:pt x="443546" y="251958"/>
                  <a:pt x="443238" y="251958"/>
                  <a:pt x="442929" y="251958"/>
                </a:cubicBezTo>
                <a:lnTo>
                  <a:pt x="439832" y="251958"/>
                </a:lnTo>
                <a:lnTo>
                  <a:pt x="439832" y="255058"/>
                </a:lnTo>
                <a:lnTo>
                  <a:pt x="441170" y="255058"/>
                </a:lnTo>
                <a:cubicBezTo>
                  <a:pt x="441479" y="255058"/>
                  <a:pt x="441479" y="255058"/>
                  <a:pt x="441479" y="255353"/>
                </a:cubicBezTo>
                <a:cubicBezTo>
                  <a:pt x="441479" y="255648"/>
                  <a:pt x="441479" y="255648"/>
                  <a:pt x="441170" y="255648"/>
                </a:cubicBezTo>
                <a:lnTo>
                  <a:pt x="439832" y="255648"/>
                </a:lnTo>
                <a:lnTo>
                  <a:pt x="439832" y="259338"/>
                </a:lnTo>
                <a:lnTo>
                  <a:pt x="442929" y="259338"/>
                </a:lnTo>
                <a:cubicBezTo>
                  <a:pt x="443238" y="259338"/>
                  <a:pt x="443546" y="259338"/>
                  <a:pt x="443546" y="259633"/>
                </a:cubicBezTo>
                <a:cubicBezTo>
                  <a:pt x="443546" y="259633"/>
                  <a:pt x="443238" y="259928"/>
                  <a:pt x="442929" y="259928"/>
                </a:cubicBezTo>
                <a:lnTo>
                  <a:pt x="439832" y="259928"/>
                </a:lnTo>
                <a:lnTo>
                  <a:pt x="439832" y="263028"/>
                </a:lnTo>
                <a:lnTo>
                  <a:pt x="439856" y="263028"/>
                </a:lnTo>
                <a:lnTo>
                  <a:pt x="441170" y="263028"/>
                </a:lnTo>
                <a:cubicBezTo>
                  <a:pt x="441479" y="263028"/>
                  <a:pt x="441479" y="263028"/>
                  <a:pt x="441479" y="263323"/>
                </a:cubicBezTo>
                <a:cubicBezTo>
                  <a:pt x="441479" y="263323"/>
                  <a:pt x="441479" y="263618"/>
                  <a:pt x="441170" y="263618"/>
                </a:cubicBezTo>
                <a:lnTo>
                  <a:pt x="439856" y="263618"/>
                </a:lnTo>
                <a:lnTo>
                  <a:pt x="439856" y="266718"/>
                </a:lnTo>
                <a:lnTo>
                  <a:pt x="442929" y="266718"/>
                </a:lnTo>
                <a:cubicBezTo>
                  <a:pt x="443238" y="266718"/>
                  <a:pt x="443546" y="266718"/>
                  <a:pt x="443546" y="267013"/>
                </a:cubicBezTo>
                <a:cubicBezTo>
                  <a:pt x="443546" y="267013"/>
                  <a:pt x="443238" y="267308"/>
                  <a:pt x="442929" y="267308"/>
                </a:cubicBezTo>
                <a:lnTo>
                  <a:pt x="439856" y="267308"/>
                </a:lnTo>
                <a:lnTo>
                  <a:pt x="439856" y="269965"/>
                </a:lnTo>
                <a:lnTo>
                  <a:pt x="441170" y="269965"/>
                </a:lnTo>
                <a:cubicBezTo>
                  <a:pt x="441479" y="269965"/>
                  <a:pt x="441479" y="270309"/>
                  <a:pt x="441479" y="270654"/>
                </a:cubicBezTo>
                <a:cubicBezTo>
                  <a:pt x="441479" y="270654"/>
                  <a:pt x="441479" y="270998"/>
                  <a:pt x="441170" y="270998"/>
                </a:cubicBezTo>
                <a:lnTo>
                  <a:pt x="439856" y="270998"/>
                </a:lnTo>
                <a:lnTo>
                  <a:pt x="439856" y="274246"/>
                </a:lnTo>
                <a:lnTo>
                  <a:pt x="442929" y="274246"/>
                </a:lnTo>
                <a:cubicBezTo>
                  <a:pt x="443238" y="274246"/>
                  <a:pt x="443546" y="274246"/>
                  <a:pt x="443546" y="274615"/>
                </a:cubicBezTo>
                <a:cubicBezTo>
                  <a:pt x="443546" y="274984"/>
                  <a:pt x="443238" y="274984"/>
                  <a:pt x="442929" y="274984"/>
                </a:cubicBezTo>
                <a:lnTo>
                  <a:pt x="439856" y="274984"/>
                </a:lnTo>
                <a:lnTo>
                  <a:pt x="439856" y="277936"/>
                </a:lnTo>
                <a:lnTo>
                  <a:pt x="441170" y="277936"/>
                </a:lnTo>
                <a:cubicBezTo>
                  <a:pt x="441479" y="277936"/>
                  <a:pt x="441479" y="277936"/>
                  <a:pt x="441479" y="278305"/>
                </a:cubicBezTo>
                <a:cubicBezTo>
                  <a:pt x="441479" y="278305"/>
                  <a:pt x="441479" y="278674"/>
                  <a:pt x="441170" y="278674"/>
                </a:cubicBezTo>
                <a:lnTo>
                  <a:pt x="439856" y="278674"/>
                </a:lnTo>
                <a:lnTo>
                  <a:pt x="439856" y="281921"/>
                </a:lnTo>
                <a:lnTo>
                  <a:pt x="442929" y="281921"/>
                </a:lnTo>
                <a:cubicBezTo>
                  <a:pt x="443238" y="281921"/>
                  <a:pt x="443546" y="281921"/>
                  <a:pt x="443546" y="282290"/>
                </a:cubicBezTo>
                <a:cubicBezTo>
                  <a:pt x="443546" y="282290"/>
                  <a:pt x="443238" y="282659"/>
                  <a:pt x="442929" y="282659"/>
                </a:cubicBezTo>
                <a:lnTo>
                  <a:pt x="439856" y="282659"/>
                </a:lnTo>
                <a:lnTo>
                  <a:pt x="439856" y="285316"/>
                </a:lnTo>
                <a:lnTo>
                  <a:pt x="441170" y="285316"/>
                </a:lnTo>
                <a:cubicBezTo>
                  <a:pt x="441479" y="285316"/>
                  <a:pt x="441479" y="285611"/>
                  <a:pt x="441479" y="285611"/>
                </a:cubicBezTo>
                <a:cubicBezTo>
                  <a:pt x="441479" y="285907"/>
                  <a:pt x="441479" y="286202"/>
                  <a:pt x="441170" y="286202"/>
                </a:cubicBezTo>
                <a:lnTo>
                  <a:pt x="439856" y="286202"/>
                </a:lnTo>
                <a:lnTo>
                  <a:pt x="439856" y="289597"/>
                </a:lnTo>
                <a:lnTo>
                  <a:pt x="442929" y="289597"/>
                </a:lnTo>
                <a:cubicBezTo>
                  <a:pt x="443238" y="289597"/>
                  <a:pt x="443546" y="289597"/>
                  <a:pt x="443546" y="289892"/>
                </a:cubicBezTo>
                <a:cubicBezTo>
                  <a:pt x="443546" y="289892"/>
                  <a:pt x="443238" y="290187"/>
                  <a:pt x="442929" y="290187"/>
                </a:cubicBezTo>
                <a:lnTo>
                  <a:pt x="439856" y="290187"/>
                </a:lnTo>
                <a:lnTo>
                  <a:pt x="439856" y="292275"/>
                </a:lnTo>
                <a:lnTo>
                  <a:pt x="439856" y="293287"/>
                </a:lnTo>
                <a:lnTo>
                  <a:pt x="441170" y="293287"/>
                </a:lnTo>
                <a:cubicBezTo>
                  <a:pt x="441479" y="293287"/>
                  <a:pt x="441479" y="293287"/>
                  <a:pt x="441479" y="293582"/>
                </a:cubicBezTo>
                <a:cubicBezTo>
                  <a:pt x="441479" y="293582"/>
                  <a:pt x="441479" y="293877"/>
                  <a:pt x="441170" y="293877"/>
                </a:cubicBezTo>
                <a:lnTo>
                  <a:pt x="439856" y="293877"/>
                </a:lnTo>
                <a:lnTo>
                  <a:pt x="439856" y="296453"/>
                </a:lnTo>
                <a:cubicBezTo>
                  <a:pt x="439856" y="297680"/>
                  <a:pt x="438636" y="298600"/>
                  <a:pt x="437416" y="298600"/>
                </a:cubicBezTo>
                <a:cubicBezTo>
                  <a:pt x="436195" y="298600"/>
                  <a:pt x="435280" y="297680"/>
                  <a:pt x="435280" y="296453"/>
                </a:cubicBezTo>
                <a:lnTo>
                  <a:pt x="435280" y="293877"/>
                </a:lnTo>
                <a:lnTo>
                  <a:pt x="433058" y="293877"/>
                </a:lnTo>
                <a:cubicBezTo>
                  <a:pt x="431899" y="293877"/>
                  <a:pt x="431899" y="293877"/>
                  <a:pt x="431899" y="293877"/>
                </a:cubicBezTo>
                <a:cubicBezTo>
                  <a:pt x="431899" y="293877"/>
                  <a:pt x="431590" y="293582"/>
                  <a:pt x="431590" y="293582"/>
                </a:cubicBezTo>
                <a:cubicBezTo>
                  <a:pt x="431590" y="293287"/>
                  <a:pt x="431899" y="293287"/>
                  <a:pt x="431899" y="293287"/>
                </a:cubicBezTo>
                <a:lnTo>
                  <a:pt x="435280" y="293287"/>
                </a:lnTo>
                <a:lnTo>
                  <a:pt x="435280" y="290187"/>
                </a:lnTo>
                <a:lnTo>
                  <a:pt x="434827" y="290187"/>
                </a:lnTo>
                <a:cubicBezTo>
                  <a:pt x="433670" y="290187"/>
                  <a:pt x="433670" y="290187"/>
                  <a:pt x="433670" y="290187"/>
                </a:cubicBezTo>
                <a:cubicBezTo>
                  <a:pt x="433670" y="290187"/>
                  <a:pt x="433361" y="289892"/>
                  <a:pt x="433361" y="289892"/>
                </a:cubicBezTo>
                <a:cubicBezTo>
                  <a:pt x="433361" y="289597"/>
                  <a:pt x="433670" y="289597"/>
                  <a:pt x="433670" y="289597"/>
                </a:cubicBezTo>
                <a:lnTo>
                  <a:pt x="435280" y="289597"/>
                </a:lnTo>
                <a:lnTo>
                  <a:pt x="435280" y="286202"/>
                </a:lnTo>
                <a:lnTo>
                  <a:pt x="433058" y="286202"/>
                </a:lnTo>
                <a:cubicBezTo>
                  <a:pt x="431899" y="286202"/>
                  <a:pt x="431899" y="286202"/>
                  <a:pt x="431899" y="286202"/>
                </a:cubicBezTo>
                <a:cubicBezTo>
                  <a:pt x="431899" y="286202"/>
                  <a:pt x="431590" y="285907"/>
                  <a:pt x="431590" y="285611"/>
                </a:cubicBezTo>
                <a:cubicBezTo>
                  <a:pt x="431590" y="285611"/>
                  <a:pt x="431899" y="285316"/>
                  <a:pt x="431899" y="285316"/>
                </a:cubicBezTo>
                <a:lnTo>
                  <a:pt x="435280" y="285316"/>
                </a:lnTo>
                <a:lnTo>
                  <a:pt x="435280" y="282659"/>
                </a:lnTo>
                <a:lnTo>
                  <a:pt x="434827" y="282659"/>
                </a:lnTo>
                <a:cubicBezTo>
                  <a:pt x="433670" y="282659"/>
                  <a:pt x="433670" y="282659"/>
                  <a:pt x="433670" y="282659"/>
                </a:cubicBezTo>
                <a:cubicBezTo>
                  <a:pt x="433670" y="282659"/>
                  <a:pt x="433361" y="282290"/>
                  <a:pt x="433361" y="282290"/>
                </a:cubicBezTo>
                <a:cubicBezTo>
                  <a:pt x="433361" y="281921"/>
                  <a:pt x="433670" y="281921"/>
                  <a:pt x="433670" y="281921"/>
                </a:cubicBezTo>
                <a:lnTo>
                  <a:pt x="435280" y="281921"/>
                </a:lnTo>
                <a:lnTo>
                  <a:pt x="435280" y="278674"/>
                </a:lnTo>
                <a:lnTo>
                  <a:pt x="433058" y="278674"/>
                </a:lnTo>
                <a:cubicBezTo>
                  <a:pt x="431899" y="278674"/>
                  <a:pt x="431899" y="278674"/>
                  <a:pt x="431899" y="278674"/>
                </a:cubicBezTo>
                <a:cubicBezTo>
                  <a:pt x="431899" y="278674"/>
                  <a:pt x="431590" y="278305"/>
                  <a:pt x="431590" y="278305"/>
                </a:cubicBezTo>
                <a:cubicBezTo>
                  <a:pt x="431590" y="277936"/>
                  <a:pt x="431899" y="277936"/>
                  <a:pt x="431899" y="277936"/>
                </a:cubicBezTo>
                <a:lnTo>
                  <a:pt x="435280" y="277936"/>
                </a:lnTo>
                <a:lnTo>
                  <a:pt x="435280" y="274984"/>
                </a:lnTo>
                <a:lnTo>
                  <a:pt x="434827" y="274984"/>
                </a:lnTo>
                <a:cubicBezTo>
                  <a:pt x="433670" y="274984"/>
                  <a:pt x="433670" y="274984"/>
                  <a:pt x="433670" y="274984"/>
                </a:cubicBezTo>
                <a:cubicBezTo>
                  <a:pt x="433670" y="274984"/>
                  <a:pt x="433361" y="274984"/>
                  <a:pt x="433361" y="274615"/>
                </a:cubicBezTo>
                <a:cubicBezTo>
                  <a:pt x="433361" y="274246"/>
                  <a:pt x="433670" y="274246"/>
                  <a:pt x="433670" y="274246"/>
                </a:cubicBezTo>
                <a:lnTo>
                  <a:pt x="435280" y="274246"/>
                </a:lnTo>
                <a:lnTo>
                  <a:pt x="435280" y="270998"/>
                </a:lnTo>
                <a:lnTo>
                  <a:pt x="433058" y="270998"/>
                </a:lnTo>
                <a:cubicBezTo>
                  <a:pt x="431899" y="270998"/>
                  <a:pt x="431899" y="270998"/>
                  <a:pt x="431899" y="270998"/>
                </a:cubicBezTo>
                <a:cubicBezTo>
                  <a:pt x="431899" y="270998"/>
                  <a:pt x="431590" y="270654"/>
                  <a:pt x="431590" y="270654"/>
                </a:cubicBezTo>
                <a:cubicBezTo>
                  <a:pt x="431590" y="270309"/>
                  <a:pt x="431899" y="269965"/>
                  <a:pt x="431899" y="269965"/>
                </a:cubicBezTo>
                <a:lnTo>
                  <a:pt x="435280" y="269965"/>
                </a:lnTo>
                <a:lnTo>
                  <a:pt x="435280" y="267308"/>
                </a:lnTo>
                <a:lnTo>
                  <a:pt x="434827" y="267308"/>
                </a:lnTo>
                <a:cubicBezTo>
                  <a:pt x="433670" y="267308"/>
                  <a:pt x="433670" y="267308"/>
                  <a:pt x="433670" y="267308"/>
                </a:cubicBezTo>
                <a:cubicBezTo>
                  <a:pt x="433670" y="267308"/>
                  <a:pt x="433361" y="267013"/>
                  <a:pt x="433361" y="267013"/>
                </a:cubicBezTo>
                <a:cubicBezTo>
                  <a:pt x="433361" y="266718"/>
                  <a:pt x="433670" y="266718"/>
                  <a:pt x="433670" y="266718"/>
                </a:cubicBezTo>
                <a:lnTo>
                  <a:pt x="435280" y="266718"/>
                </a:lnTo>
                <a:lnTo>
                  <a:pt x="435280" y="263618"/>
                </a:lnTo>
                <a:lnTo>
                  <a:pt x="433058" y="263618"/>
                </a:lnTo>
                <a:cubicBezTo>
                  <a:pt x="431899" y="263618"/>
                  <a:pt x="431899" y="263618"/>
                  <a:pt x="431899" y="263618"/>
                </a:cubicBezTo>
                <a:cubicBezTo>
                  <a:pt x="431899" y="263618"/>
                  <a:pt x="431590" y="263323"/>
                  <a:pt x="431590" y="263323"/>
                </a:cubicBezTo>
                <a:cubicBezTo>
                  <a:pt x="431590" y="263028"/>
                  <a:pt x="431899" y="263028"/>
                  <a:pt x="431899" y="263028"/>
                </a:cubicBezTo>
                <a:lnTo>
                  <a:pt x="435280" y="263028"/>
                </a:lnTo>
                <a:lnTo>
                  <a:pt x="435311" y="263028"/>
                </a:lnTo>
                <a:lnTo>
                  <a:pt x="435311" y="259928"/>
                </a:lnTo>
                <a:lnTo>
                  <a:pt x="434827" y="259928"/>
                </a:lnTo>
                <a:cubicBezTo>
                  <a:pt x="433670" y="259928"/>
                  <a:pt x="433670" y="259928"/>
                  <a:pt x="433670" y="259928"/>
                </a:cubicBezTo>
                <a:cubicBezTo>
                  <a:pt x="433670" y="259928"/>
                  <a:pt x="433361" y="259633"/>
                  <a:pt x="433361" y="259633"/>
                </a:cubicBezTo>
                <a:cubicBezTo>
                  <a:pt x="433361" y="259338"/>
                  <a:pt x="433670" y="259338"/>
                  <a:pt x="433670" y="259338"/>
                </a:cubicBezTo>
                <a:lnTo>
                  <a:pt x="435311" y="259338"/>
                </a:lnTo>
                <a:lnTo>
                  <a:pt x="435311" y="255648"/>
                </a:lnTo>
                <a:lnTo>
                  <a:pt x="433058" y="255648"/>
                </a:lnTo>
                <a:cubicBezTo>
                  <a:pt x="431899" y="255648"/>
                  <a:pt x="431899" y="255648"/>
                  <a:pt x="431899" y="255648"/>
                </a:cubicBezTo>
                <a:cubicBezTo>
                  <a:pt x="431899" y="255648"/>
                  <a:pt x="431590" y="255648"/>
                  <a:pt x="431590" y="255353"/>
                </a:cubicBezTo>
                <a:cubicBezTo>
                  <a:pt x="431590" y="255058"/>
                  <a:pt x="431899" y="255058"/>
                  <a:pt x="431899" y="255058"/>
                </a:cubicBezTo>
                <a:lnTo>
                  <a:pt x="435311" y="255058"/>
                </a:lnTo>
                <a:lnTo>
                  <a:pt x="435311" y="251958"/>
                </a:lnTo>
                <a:lnTo>
                  <a:pt x="434827" y="251958"/>
                </a:lnTo>
                <a:cubicBezTo>
                  <a:pt x="433670" y="251958"/>
                  <a:pt x="433670" y="251958"/>
                  <a:pt x="433670" y="251958"/>
                </a:cubicBezTo>
                <a:cubicBezTo>
                  <a:pt x="433670" y="251958"/>
                  <a:pt x="433361" y="251958"/>
                  <a:pt x="433361" y="251663"/>
                </a:cubicBezTo>
                <a:cubicBezTo>
                  <a:pt x="433361" y="251663"/>
                  <a:pt x="433670" y="251368"/>
                  <a:pt x="433670" y="251368"/>
                </a:cubicBezTo>
                <a:lnTo>
                  <a:pt x="435311" y="251368"/>
                </a:lnTo>
                <a:lnTo>
                  <a:pt x="435311" y="247972"/>
                </a:lnTo>
                <a:lnTo>
                  <a:pt x="433058" y="247972"/>
                </a:lnTo>
                <a:cubicBezTo>
                  <a:pt x="431899" y="247972"/>
                  <a:pt x="431899" y="247972"/>
                  <a:pt x="431899" y="247972"/>
                </a:cubicBezTo>
                <a:cubicBezTo>
                  <a:pt x="431899" y="247972"/>
                  <a:pt x="431590" y="247972"/>
                  <a:pt x="431590" y="247677"/>
                </a:cubicBezTo>
                <a:cubicBezTo>
                  <a:pt x="431590" y="247677"/>
                  <a:pt x="431899" y="247382"/>
                  <a:pt x="431899" y="247382"/>
                </a:cubicBezTo>
                <a:lnTo>
                  <a:pt x="435311" y="247382"/>
                </a:lnTo>
                <a:lnTo>
                  <a:pt x="435311" y="245084"/>
                </a:lnTo>
                <a:lnTo>
                  <a:pt x="435311" y="244578"/>
                </a:lnTo>
                <a:lnTo>
                  <a:pt x="434827" y="244578"/>
                </a:lnTo>
                <a:cubicBezTo>
                  <a:pt x="433670" y="244578"/>
                  <a:pt x="433670" y="244578"/>
                  <a:pt x="433670" y="244578"/>
                </a:cubicBezTo>
                <a:cubicBezTo>
                  <a:pt x="433670" y="244578"/>
                  <a:pt x="433361" y="244283"/>
                  <a:pt x="433361" y="244283"/>
                </a:cubicBezTo>
                <a:cubicBezTo>
                  <a:pt x="433361" y="243987"/>
                  <a:pt x="433670" y="243692"/>
                  <a:pt x="433670" y="243692"/>
                </a:cubicBezTo>
                <a:lnTo>
                  <a:pt x="435311" y="243692"/>
                </a:lnTo>
                <a:lnTo>
                  <a:pt x="435311" y="240297"/>
                </a:lnTo>
                <a:lnTo>
                  <a:pt x="433058" y="240297"/>
                </a:lnTo>
                <a:cubicBezTo>
                  <a:pt x="431899" y="240297"/>
                  <a:pt x="431899" y="240297"/>
                  <a:pt x="431899" y="240297"/>
                </a:cubicBezTo>
                <a:cubicBezTo>
                  <a:pt x="431899" y="240297"/>
                  <a:pt x="431590" y="240297"/>
                  <a:pt x="431590" y="240002"/>
                </a:cubicBezTo>
                <a:cubicBezTo>
                  <a:pt x="431590" y="240002"/>
                  <a:pt x="431899" y="239707"/>
                  <a:pt x="431899" y="239707"/>
                </a:cubicBezTo>
                <a:lnTo>
                  <a:pt x="435311" y="239707"/>
                </a:lnTo>
                <a:lnTo>
                  <a:pt x="435311" y="236903"/>
                </a:lnTo>
                <a:lnTo>
                  <a:pt x="434827" y="236903"/>
                </a:lnTo>
                <a:cubicBezTo>
                  <a:pt x="433670" y="236903"/>
                  <a:pt x="433670" y="236903"/>
                  <a:pt x="433670" y="236903"/>
                </a:cubicBezTo>
                <a:cubicBezTo>
                  <a:pt x="433670" y="236903"/>
                  <a:pt x="433361" y="236608"/>
                  <a:pt x="433361" y="236312"/>
                </a:cubicBezTo>
                <a:cubicBezTo>
                  <a:pt x="433361" y="236312"/>
                  <a:pt x="433670" y="236017"/>
                  <a:pt x="433670" y="236017"/>
                </a:cubicBezTo>
                <a:lnTo>
                  <a:pt x="435311" y="236017"/>
                </a:lnTo>
                <a:lnTo>
                  <a:pt x="435311" y="235870"/>
                </a:lnTo>
                <a:cubicBezTo>
                  <a:pt x="435311" y="231990"/>
                  <a:pt x="435311" y="231990"/>
                  <a:pt x="435311" y="231990"/>
                </a:cubicBezTo>
                <a:cubicBezTo>
                  <a:pt x="434407" y="231376"/>
                  <a:pt x="433804" y="230454"/>
                  <a:pt x="433804" y="229225"/>
                </a:cubicBezTo>
                <a:cubicBezTo>
                  <a:pt x="433804" y="227073"/>
                  <a:pt x="435612" y="225537"/>
                  <a:pt x="437421" y="225537"/>
                </a:cubicBezTo>
                <a:close/>
                <a:moveTo>
                  <a:pt x="49373" y="225537"/>
                </a:moveTo>
                <a:cubicBezTo>
                  <a:pt x="50596" y="225537"/>
                  <a:pt x="51513" y="226455"/>
                  <a:pt x="51513" y="227679"/>
                </a:cubicBezTo>
                <a:cubicBezTo>
                  <a:pt x="51513" y="238083"/>
                  <a:pt x="51513" y="238083"/>
                  <a:pt x="51513" y="238083"/>
                </a:cubicBezTo>
                <a:lnTo>
                  <a:pt x="53826" y="238083"/>
                </a:lnTo>
                <a:cubicBezTo>
                  <a:pt x="55288" y="238083"/>
                  <a:pt x="55288" y="238083"/>
                  <a:pt x="55288" y="238083"/>
                </a:cubicBezTo>
                <a:cubicBezTo>
                  <a:pt x="56211" y="238083"/>
                  <a:pt x="56827" y="238394"/>
                  <a:pt x="56827" y="239327"/>
                </a:cubicBezTo>
                <a:cubicBezTo>
                  <a:pt x="56827" y="245548"/>
                  <a:pt x="56827" y="245548"/>
                  <a:pt x="56827" y="245548"/>
                </a:cubicBezTo>
                <a:cubicBezTo>
                  <a:pt x="56827" y="246170"/>
                  <a:pt x="56211" y="246792"/>
                  <a:pt x="55288" y="246792"/>
                </a:cubicBezTo>
                <a:lnTo>
                  <a:pt x="54053" y="246792"/>
                </a:lnTo>
                <a:cubicBezTo>
                  <a:pt x="55895" y="246792"/>
                  <a:pt x="57123" y="248014"/>
                  <a:pt x="57123" y="249848"/>
                </a:cubicBezTo>
                <a:cubicBezTo>
                  <a:pt x="57123" y="269714"/>
                  <a:pt x="57123" y="269714"/>
                  <a:pt x="57123" y="269714"/>
                </a:cubicBezTo>
                <a:cubicBezTo>
                  <a:pt x="57123" y="271547"/>
                  <a:pt x="55895" y="272770"/>
                  <a:pt x="54053" y="272770"/>
                </a:cubicBezTo>
                <a:cubicBezTo>
                  <a:pt x="44842" y="272770"/>
                  <a:pt x="44842" y="272770"/>
                  <a:pt x="44842" y="272770"/>
                </a:cubicBezTo>
                <a:cubicBezTo>
                  <a:pt x="43307" y="272770"/>
                  <a:pt x="41772" y="271547"/>
                  <a:pt x="41772" y="269714"/>
                </a:cubicBezTo>
                <a:cubicBezTo>
                  <a:pt x="41772" y="249848"/>
                  <a:pt x="41772" y="249848"/>
                  <a:pt x="41772" y="249848"/>
                </a:cubicBezTo>
                <a:cubicBezTo>
                  <a:pt x="41772" y="248014"/>
                  <a:pt x="43307" y="246792"/>
                  <a:pt x="44842" y="246792"/>
                </a:cubicBezTo>
                <a:lnTo>
                  <a:pt x="43593" y="246792"/>
                </a:lnTo>
                <a:cubicBezTo>
                  <a:pt x="42977" y="246792"/>
                  <a:pt x="42362" y="246170"/>
                  <a:pt x="42362" y="245548"/>
                </a:cubicBezTo>
                <a:cubicBezTo>
                  <a:pt x="42362" y="239327"/>
                  <a:pt x="42362" y="239327"/>
                  <a:pt x="42362" y="239327"/>
                </a:cubicBezTo>
                <a:cubicBezTo>
                  <a:pt x="42362" y="238394"/>
                  <a:pt x="42977" y="238083"/>
                  <a:pt x="43593" y="238083"/>
                </a:cubicBezTo>
                <a:lnTo>
                  <a:pt x="47233" y="238083"/>
                </a:lnTo>
                <a:cubicBezTo>
                  <a:pt x="47233" y="227679"/>
                  <a:pt x="47233" y="227679"/>
                  <a:pt x="47233" y="227679"/>
                </a:cubicBezTo>
                <a:cubicBezTo>
                  <a:pt x="47233" y="226455"/>
                  <a:pt x="48150" y="225537"/>
                  <a:pt x="49373" y="225537"/>
                </a:cubicBezTo>
                <a:close/>
                <a:moveTo>
                  <a:pt x="14421" y="225537"/>
                </a:moveTo>
                <a:cubicBezTo>
                  <a:pt x="24853" y="225537"/>
                  <a:pt x="24853" y="225537"/>
                  <a:pt x="24853" y="225537"/>
                </a:cubicBezTo>
                <a:cubicBezTo>
                  <a:pt x="26694" y="225537"/>
                  <a:pt x="28535" y="227069"/>
                  <a:pt x="28535" y="228908"/>
                </a:cubicBezTo>
                <a:cubicBezTo>
                  <a:pt x="28535" y="235956"/>
                  <a:pt x="28535" y="235956"/>
                  <a:pt x="28535" y="235956"/>
                </a:cubicBezTo>
                <a:cubicBezTo>
                  <a:pt x="10739" y="235956"/>
                  <a:pt x="10739" y="235956"/>
                  <a:pt x="10739" y="235956"/>
                </a:cubicBezTo>
                <a:cubicBezTo>
                  <a:pt x="10739" y="229214"/>
                  <a:pt x="10739" y="229214"/>
                  <a:pt x="10739" y="229214"/>
                </a:cubicBezTo>
                <a:cubicBezTo>
                  <a:pt x="10739" y="227069"/>
                  <a:pt x="12580" y="225537"/>
                  <a:pt x="14421" y="225537"/>
                </a:cubicBezTo>
                <a:close/>
                <a:moveTo>
                  <a:pt x="134460" y="225001"/>
                </a:moveTo>
                <a:cubicBezTo>
                  <a:pt x="128631" y="225001"/>
                  <a:pt x="123723" y="229898"/>
                  <a:pt x="123723" y="235712"/>
                </a:cubicBezTo>
                <a:cubicBezTo>
                  <a:pt x="123723" y="241833"/>
                  <a:pt x="128631" y="246424"/>
                  <a:pt x="134460" y="246424"/>
                </a:cubicBezTo>
                <a:cubicBezTo>
                  <a:pt x="140595" y="246424"/>
                  <a:pt x="145504" y="241833"/>
                  <a:pt x="145504" y="235712"/>
                </a:cubicBezTo>
                <a:cubicBezTo>
                  <a:pt x="145504" y="229898"/>
                  <a:pt x="140595" y="225001"/>
                  <a:pt x="134460" y="225001"/>
                </a:cubicBezTo>
                <a:close/>
                <a:moveTo>
                  <a:pt x="133846" y="223471"/>
                </a:moveTo>
                <a:cubicBezTo>
                  <a:pt x="150106" y="223471"/>
                  <a:pt x="164831" y="229592"/>
                  <a:pt x="173728" y="239385"/>
                </a:cubicBezTo>
                <a:cubicBezTo>
                  <a:pt x="173728" y="239385"/>
                  <a:pt x="173728" y="239385"/>
                  <a:pt x="163297" y="256829"/>
                </a:cubicBezTo>
                <a:cubicBezTo>
                  <a:pt x="155934" y="251626"/>
                  <a:pt x="145504" y="248260"/>
                  <a:pt x="133846" y="248260"/>
                </a:cubicBezTo>
                <a:cubicBezTo>
                  <a:pt x="123109" y="248260"/>
                  <a:pt x="113292" y="251320"/>
                  <a:pt x="106236" y="255911"/>
                </a:cubicBezTo>
                <a:cubicBezTo>
                  <a:pt x="106236" y="255911"/>
                  <a:pt x="106236" y="255911"/>
                  <a:pt x="95499" y="237855"/>
                </a:cubicBezTo>
                <a:cubicBezTo>
                  <a:pt x="104702" y="228980"/>
                  <a:pt x="118507" y="223471"/>
                  <a:pt x="133846" y="223471"/>
                </a:cubicBezTo>
                <a:close/>
                <a:moveTo>
                  <a:pt x="83458" y="219838"/>
                </a:moveTo>
                <a:cubicBezTo>
                  <a:pt x="85340" y="219570"/>
                  <a:pt x="87031" y="219877"/>
                  <a:pt x="87799" y="221869"/>
                </a:cubicBezTo>
                <a:cubicBezTo>
                  <a:pt x="88414" y="224015"/>
                  <a:pt x="87799" y="226468"/>
                  <a:pt x="86877" y="228613"/>
                </a:cubicBezTo>
                <a:cubicBezTo>
                  <a:pt x="86262" y="229840"/>
                  <a:pt x="85648" y="230453"/>
                  <a:pt x="85033" y="231372"/>
                </a:cubicBezTo>
                <a:cubicBezTo>
                  <a:pt x="83804" y="233518"/>
                  <a:pt x="84726" y="239343"/>
                  <a:pt x="84418" y="241795"/>
                </a:cubicBezTo>
                <a:cubicBezTo>
                  <a:pt x="84111" y="244248"/>
                  <a:pt x="83804" y="245474"/>
                  <a:pt x="83189" y="248233"/>
                </a:cubicBezTo>
                <a:cubicBezTo>
                  <a:pt x="82574" y="250072"/>
                  <a:pt x="81960" y="251912"/>
                  <a:pt x="81345" y="252525"/>
                </a:cubicBezTo>
                <a:cubicBezTo>
                  <a:pt x="81038" y="252525"/>
                  <a:pt x="80423" y="253138"/>
                  <a:pt x="80423" y="252831"/>
                </a:cubicBezTo>
                <a:cubicBezTo>
                  <a:pt x="79808" y="251605"/>
                  <a:pt x="79808" y="247007"/>
                  <a:pt x="79501" y="243328"/>
                </a:cubicBezTo>
                <a:cubicBezTo>
                  <a:pt x="79193" y="242102"/>
                  <a:pt x="78886" y="239956"/>
                  <a:pt x="78271" y="238423"/>
                </a:cubicBezTo>
                <a:cubicBezTo>
                  <a:pt x="77964" y="238117"/>
                  <a:pt x="77657" y="237810"/>
                  <a:pt x="77349" y="237810"/>
                </a:cubicBezTo>
                <a:cubicBezTo>
                  <a:pt x="76735" y="237810"/>
                  <a:pt x="76427" y="238117"/>
                  <a:pt x="76120" y="238423"/>
                </a:cubicBezTo>
                <a:cubicBezTo>
                  <a:pt x="75505" y="239956"/>
                  <a:pt x="75198" y="242102"/>
                  <a:pt x="75198" y="243328"/>
                </a:cubicBezTo>
                <a:cubicBezTo>
                  <a:pt x="74583" y="247007"/>
                  <a:pt x="74583" y="251605"/>
                  <a:pt x="73969" y="252831"/>
                </a:cubicBezTo>
                <a:cubicBezTo>
                  <a:pt x="73969" y="253138"/>
                  <a:pt x="73354" y="252525"/>
                  <a:pt x="73047" y="252525"/>
                </a:cubicBezTo>
                <a:cubicBezTo>
                  <a:pt x="72432" y="251912"/>
                  <a:pt x="71817" y="250072"/>
                  <a:pt x="71510" y="248233"/>
                </a:cubicBezTo>
                <a:cubicBezTo>
                  <a:pt x="70588" y="245474"/>
                  <a:pt x="70281" y="244248"/>
                  <a:pt x="69973" y="241795"/>
                </a:cubicBezTo>
                <a:cubicBezTo>
                  <a:pt x="69973" y="239343"/>
                  <a:pt x="70588" y="233518"/>
                  <a:pt x="69359" y="231372"/>
                </a:cubicBezTo>
                <a:cubicBezTo>
                  <a:pt x="68744" y="230453"/>
                  <a:pt x="68129" y="229840"/>
                  <a:pt x="67514" y="228613"/>
                </a:cubicBezTo>
                <a:cubicBezTo>
                  <a:pt x="66592" y="226468"/>
                  <a:pt x="65978" y="224015"/>
                  <a:pt x="66900" y="221869"/>
                </a:cubicBezTo>
                <a:cubicBezTo>
                  <a:pt x="68436" y="217271"/>
                  <a:pt x="73969" y="221869"/>
                  <a:pt x="77964" y="221256"/>
                </a:cubicBezTo>
                <a:cubicBezTo>
                  <a:pt x="79501" y="220950"/>
                  <a:pt x="81576" y="220106"/>
                  <a:pt x="83458" y="219838"/>
                </a:cubicBezTo>
                <a:close/>
                <a:moveTo>
                  <a:pt x="399708" y="215205"/>
                </a:moveTo>
                <a:lnTo>
                  <a:pt x="407089" y="228636"/>
                </a:lnTo>
                <a:lnTo>
                  <a:pt x="416831" y="228636"/>
                </a:lnTo>
                <a:lnTo>
                  <a:pt x="417716" y="238083"/>
                </a:lnTo>
                <a:lnTo>
                  <a:pt x="418371" y="238083"/>
                </a:lnTo>
                <a:cubicBezTo>
                  <a:pt x="420904" y="238083"/>
                  <a:pt x="420904" y="238083"/>
                  <a:pt x="420904" y="238083"/>
                </a:cubicBezTo>
                <a:cubicBezTo>
                  <a:pt x="421825" y="238083"/>
                  <a:pt x="422439" y="238703"/>
                  <a:pt x="422439" y="239323"/>
                </a:cubicBezTo>
                <a:cubicBezTo>
                  <a:pt x="422439" y="239943"/>
                  <a:pt x="422439" y="239943"/>
                  <a:pt x="422439" y="239943"/>
                </a:cubicBezTo>
                <a:cubicBezTo>
                  <a:pt x="422439" y="240873"/>
                  <a:pt x="421825" y="241183"/>
                  <a:pt x="420904" y="241183"/>
                </a:cubicBezTo>
                <a:lnTo>
                  <a:pt x="420223" y="241183"/>
                </a:lnTo>
                <a:cubicBezTo>
                  <a:pt x="422677" y="244250"/>
                  <a:pt x="423597" y="247318"/>
                  <a:pt x="424210" y="250692"/>
                </a:cubicBezTo>
                <a:cubicBezTo>
                  <a:pt x="424210" y="250692"/>
                  <a:pt x="424210" y="250692"/>
                  <a:pt x="424210" y="314800"/>
                </a:cubicBezTo>
                <a:cubicBezTo>
                  <a:pt x="424210" y="317561"/>
                  <a:pt x="422063" y="319708"/>
                  <a:pt x="419610" y="319708"/>
                </a:cubicBezTo>
                <a:cubicBezTo>
                  <a:pt x="419610" y="319708"/>
                  <a:pt x="419610" y="319708"/>
                  <a:pt x="410409" y="319708"/>
                </a:cubicBezTo>
                <a:cubicBezTo>
                  <a:pt x="410409" y="319708"/>
                  <a:pt x="410409" y="319708"/>
                  <a:pt x="401209" y="319708"/>
                </a:cubicBezTo>
                <a:cubicBezTo>
                  <a:pt x="398755" y="319708"/>
                  <a:pt x="396608" y="317561"/>
                  <a:pt x="396608" y="314800"/>
                </a:cubicBezTo>
                <a:cubicBezTo>
                  <a:pt x="396608" y="314800"/>
                  <a:pt x="396608" y="314800"/>
                  <a:pt x="396608" y="250692"/>
                </a:cubicBezTo>
                <a:cubicBezTo>
                  <a:pt x="397222" y="247318"/>
                  <a:pt x="398448" y="244250"/>
                  <a:pt x="400595" y="241183"/>
                </a:cubicBezTo>
                <a:lnTo>
                  <a:pt x="400641" y="241183"/>
                </a:lnTo>
                <a:cubicBezTo>
                  <a:pt x="400027" y="241183"/>
                  <a:pt x="399413" y="240873"/>
                  <a:pt x="399413" y="239943"/>
                </a:cubicBezTo>
                <a:cubicBezTo>
                  <a:pt x="399413" y="239323"/>
                  <a:pt x="399413" y="239323"/>
                  <a:pt x="399413" y="239323"/>
                </a:cubicBezTo>
                <a:cubicBezTo>
                  <a:pt x="399413" y="238703"/>
                  <a:pt x="400027" y="238083"/>
                  <a:pt x="400641" y="238083"/>
                </a:cubicBezTo>
                <a:lnTo>
                  <a:pt x="403694" y="238083"/>
                </a:lnTo>
                <a:lnTo>
                  <a:pt x="404284" y="229522"/>
                </a:lnTo>
                <a:lnTo>
                  <a:pt x="397494" y="216386"/>
                </a:lnTo>
                <a:close/>
                <a:moveTo>
                  <a:pt x="136532" y="213286"/>
                </a:moveTo>
                <a:lnTo>
                  <a:pt x="136975" y="213286"/>
                </a:lnTo>
                <a:lnTo>
                  <a:pt x="137270" y="213286"/>
                </a:lnTo>
                <a:lnTo>
                  <a:pt x="137270" y="213876"/>
                </a:lnTo>
                <a:lnTo>
                  <a:pt x="136532" y="213876"/>
                </a:lnTo>
                <a:close/>
                <a:moveTo>
                  <a:pt x="434047" y="212400"/>
                </a:moveTo>
                <a:lnTo>
                  <a:pt x="434047" y="214023"/>
                </a:lnTo>
                <a:cubicBezTo>
                  <a:pt x="434047" y="216092"/>
                  <a:pt x="434047" y="216092"/>
                  <a:pt x="434047" y="216092"/>
                </a:cubicBezTo>
                <a:cubicBezTo>
                  <a:pt x="434047" y="216705"/>
                  <a:pt x="434047" y="217318"/>
                  <a:pt x="433433" y="217932"/>
                </a:cubicBezTo>
                <a:cubicBezTo>
                  <a:pt x="433126" y="218545"/>
                  <a:pt x="432820" y="218851"/>
                  <a:pt x="432206" y="219158"/>
                </a:cubicBezTo>
                <a:cubicBezTo>
                  <a:pt x="430979" y="219771"/>
                  <a:pt x="430059" y="220691"/>
                  <a:pt x="429446" y="221917"/>
                </a:cubicBezTo>
                <a:cubicBezTo>
                  <a:pt x="428832" y="222837"/>
                  <a:pt x="428525" y="224063"/>
                  <a:pt x="428525" y="225596"/>
                </a:cubicBezTo>
                <a:cubicBezTo>
                  <a:pt x="428525" y="267445"/>
                  <a:pt x="428525" y="288370"/>
                  <a:pt x="428525" y="298832"/>
                </a:cubicBezTo>
                <a:lnTo>
                  <a:pt x="428525" y="299252"/>
                </a:lnTo>
                <a:lnTo>
                  <a:pt x="440799" y="306253"/>
                </a:lnTo>
                <a:lnTo>
                  <a:pt x="446316" y="304876"/>
                </a:lnTo>
                <a:lnTo>
                  <a:pt x="446316" y="281667"/>
                </a:lnTo>
                <a:cubicBezTo>
                  <a:pt x="446316" y="225596"/>
                  <a:pt x="446316" y="225596"/>
                  <a:pt x="446316" y="225596"/>
                </a:cubicBezTo>
                <a:cubicBezTo>
                  <a:pt x="446316" y="224370"/>
                  <a:pt x="446009" y="223144"/>
                  <a:pt x="445396" y="221917"/>
                </a:cubicBezTo>
                <a:cubicBezTo>
                  <a:pt x="444782" y="220691"/>
                  <a:pt x="443862" y="219771"/>
                  <a:pt x="442635" y="219158"/>
                </a:cubicBezTo>
                <a:cubicBezTo>
                  <a:pt x="442022" y="218851"/>
                  <a:pt x="441715" y="218545"/>
                  <a:pt x="441408" y="217932"/>
                </a:cubicBezTo>
                <a:cubicBezTo>
                  <a:pt x="441102" y="217625"/>
                  <a:pt x="440795" y="217012"/>
                  <a:pt x="440795" y="216399"/>
                </a:cubicBezTo>
                <a:lnTo>
                  <a:pt x="440795" y="212400"/>
                </a:lnTo>
                <a:lnTo>
                  <a:pt x="434764" y="212400"/>
                </a:lnTo>
                <a:close/>
                <a:moveTo>
                  <a:pt x="307625" y="212400"/>
                </a:moveTo>
                <a:cubicBezTo>
                  <a:pt x="309763" y="213013"/>
                  <a:pt x="309763" y="213320"/>
                  <a:pt x="311595" y="214546"/>
                </a:cubicBezTo>
                <a:cubicBezTo>
                  <a:pt x="315870" y="220065"/>
                  <a:pt x="313733" y="230182"/>
                  <a:pt x="313427" y="236928"/>
                </a:cubicBezTo>
                <a:cubicBezTo>
                  <a:pt x="313427" y="236928"/>
                  <a:pt x="313427" y="236928"/>
                  <a:pt x="312816" y="236928"/>
                </a:cubicBezTo>
                <a:cubicBezTo>
                  <a:pt x="312816" y="236928"/>
                  <a:pt x="312816" y="236928"/>
                  <a:pt x="312816" y="246432"/>
                </a:cubicBezTo>
                <a:cubicBezTo>
                  <a:pt x="313427" y="246432"/>
                  <a:pt x="313733" y="246432"/>
                  <a:pt x="314038" y="246739"/>
                </a:cubicBezTo>
                <a:cubicBezTo>
                  <a:pt x="314343" y="247045"/>
                  <a:pt x="314649" y="247658"/>
                  <a:pt x="314343" y="247965"/>
                </a:cubicBezTo>
                <a:cubicBezTo>
                  <a:pt x="314038" y="258389"/>
                  <a:pt x="313733" y="268813"/>
                  <a:pt x="313427" y="279238"/>
                </a:cubicBezTo>
                <a:cubicBezTo>
                  <a:pt x="313427" y="280158"/>
                  <a:pt x="313733" y="281077"/>
                  <a:pt x="313733" y="282304"/>
                </a:cubicBezTo>
                <a:cubicBezTo>
                  <a:pt x="313733" y="282304"/>
                  <a:pt x="313733" y="282304"/>
                  <a:pt x="315259" y="308978"/>
                </a:cubicBezTo>
                <a:cubicBezTo>
                  <a:pt x="315259" y="310817"/>
                  <a:pt x="313122" y="311737"/>
                  <a:pt x="311290" y="311737"/>
                </a:cubicBezTo>
                <a:cubicBezTo>
                  <a:pt x="309457" y="311737"/>
                  <a:pt x="307014" y="310817"/>
                  <a:pt x="307014" y="308978"/>
                </a:cubicBezTo>
                <a:cubicBezTo>
                  <a:pt x="307625" y="299780"/>
                  <a:pt x="308236" y="290888"/>
                  <a:pt x="308541" y="281997"/>
                </a:cubicBezTo>
                <a:cubicBezTo>
                  <a:pt x="308541" y="281077"/>
                  <a:pt x="308541" y="280158"/>
                  <a:pt x="308541" y="279238"/>
                </a:cubicBezTo>
                <a:cubicBezTo>
                  <a:pt x="308541" y="279238"/>
                  <a:pt x="308541" y="279238"/>
                  <a:pt x="307930" y="247965"/>
                </a:cubicBezTo>
                <a:cubicBezTo>
                  <a:pt x="307625" y="247658"/>
                  <a:pt x="307930" y="247045"/>
                  <a:pt x="308236" y="246739"/>
                </a:cubicBezTo>
                <a:cubicBezTo>
                  <a:pt x="308541" y="246432"/>
                  <a:pt x="308847" y="246432"/>
                  <a:pt x="309457" y="246432"/>
                </a:cubicBezTo>
                <a:cubicBezTo>
                  <a:pt x="309457" y="246432"/>
                  <a:pt x="309457" y="246432"/>
                  <a:pt x="309457" y="236928"/>
                </a:cubicBezTo>
                <a:cubicBezTo>
                  <a:pt x="309457" y="236928"/>
                  <a:pt x="309457" y="236928"/>
                  <a:pt x="309152" y="236928"/>
                </a:cubicBezTo>
                <a:cubicBezTo>
                  <a:pt x="308847" y="235088"/>
                  <a:pt x="308541" y="233248"/>
                  <a:pt x="308236" y="231102"/>
                </a:cubicBezTo>
                <a:cubicBezTo>
                  <a:pt x="307625" y="227730"/>
                  <a:pt x="307320" y="225583"/>
                  <a:pt x="307320" y="221904"/>
                </a:cubicBezTo>
                <a:cubicBezTo>
                  <a:pt x="307014" y="219452"/>
                  <a:pt x="307320" y="217305"/>
                  <a:pt x="307320" y="215159"/>
                </a:cubicBezTo>
                <a:cubicBezTo>
                  <a:pt x="307320" y="214239"/>
                  <a:pt x="307625" y="213320"/>
                  <a:pt x="307625" y="212400"/>
                </a:cubicBezTo>
                <a:close/>
                <a:moveTo>
                  <a:pt x="68707" y="212130"/>
                </a:moveTo>
                <a:cubicBezTo>
                  <a:pt x="68400" y="212130"/>
                  <a:pt x="68400" y="212437"/>
                  <a:pt x="68400" y="212437"/>
                </a:cubicBezTo>
                <a:cubicBezTo>
                  <a:pt x="68400" y="212745"/>
                  <a:pt x="68400" y="212745"/>
                  <a:pt x="68707" y="212745"/>
                </a:cubicBezTo>
                <a:lnTo>
                  <a:pt x="81921" y="212745"/>
                </a:lnTo>
                <a:cubicBezTo>
                  <a:pt x="82228" y="212745"/>
                  <a:pt x="82228" y="212745"/>
                  <a:pt x="82228" y="212437"/>
                </a:cubicBezTo>
                <a:cubicBezTo>
                  <a:pt x="82228" y="212437"/>
                  <a:pt x="82228" y="212130"/>
                  <a:pt x="81921" y="212130"/>
                </a:cubicBezTo>
                <a:cubicBezTo>
                  <a:pt x="81921" y="212130"/>
                  <a:pt x="81921" y="212130"/>
                  <a:pt x="68707" y="212130"/>
                </a:cubicBezTo>
                <a:close/>
                <a:moveTo>
                  <a:pt x="151905" y="212052"/>
                </a:moveTo>
                <a:lnTo>
                  <a:pt x="155056" y="215205"/>
                </a:lnTo>
                <a:lnTo>
                  <a:pt x="156679" y="213581"/>
                </a:lnTo>
                <a:lnTo>
                  <a:pt x="153462" y="213581"/>
                </a:lnTo>
                <a:cubicBezTo>
                  <a:pt x="153152" y="213581"/>
                  <a:pt x="152843" y="213275"/>
                  <a:pt x="152843" y="212969"/>
                </a:cubicBezTo>
                <a:cubicBezTo>
                  <a:pt x="152843" y="212052"/>
                  <a:pt x="152843" y="212052"/>
                  <a:pt x="152843" y="212052"/>
                </a:cubicBezTo>
                <a:close/>
                <a:moveTo>
                  <a:pt x="138746" y="211809"/>
                </a:moveTo>
                <a:lnTo>
                  <a:pt x="138451" y="213285"/>
                </a:lnTo>
                <a:lnTo>
                  <a:pt x="139927" y="213285"/>
                </a:lnTo>
                <a:lnTo>
                  <a:pt x="140222" y="211809"/>
                </a:lnTo>
                <a:close/>
                <a:moveTo>
                  <a:pt x="134170" y="211514"/>
                </a:moveTo>
                <a:lnTo>
                  <a:pt x="134170" y="211809"/>
                </a:lnTo>
                <a:lnTo>
                  <a:pt x="134170" y="213285"/>
                </a:lnTo>
                <a:lnTo>
                  <a:pt x="133580" y="213581"/>
                </a:lnTo>
                <a:lnTo>
                  <a:pt x="133580" y="213285"/>
                </a:lnTo>
                <a:lnTo>
                  <a:pt x="133580" y="211809"/>
                </a:lnTo>
                <a:close/>
                <a:moveTo>
                  <a:pt x="138451" y="211219"/>
                </a:moveTo>
                <a:lnTo>
                  <a:pt x="138746" y="211219"/>
                </a:lnTo>
                <a:lnTo>
                  <a:pt x="140665" y="211219"/>
                </a:lnTo>
                <a:lnTo>
                  <a:pt x="140665" y="211514"/>
                </a:lnTo>
                <a:lnTo>
                  <a:pt x="140961" y="211514"/>
                </a:lnTo>
                <a:lnTo>
                  <a:pt x="140961" y="211809"/>
                </a:lnTo>
                <a:lnTo>
                  <a:pt x="140665" y="213285"/>
                </a:lnTo>
                <a:lnTo>
                  <a:pt x="140222" y="213581"/>
                </a:lnTo>
                <a:lnTo>
                  <a:pt x="139927" y="213876"/>
                </a:lnTo>
                <a:lnTo>
                  <a:pt x="138451" y="213876"/>
                </a:lnTo>
                <a:lnTo>
                  <a:pt x="138156" y="213581"/>
                </a:lnTo>
                <a:lnTo>
                  <a:pt x="137861" y="213285"/>
                </a:lnTo>
                <a:lnTo>
                  <a:pt x="138156" y="211809"/>
                </a:lnTo>
                <a:lnTo>
                  <a:pt x="138451" y="211514"/>
                </a:lnTo>
                <a:close/>
                <a:moveTo>
                  <a:pt x="134170" y="211219"/>
                </a:moveTo>
                <a:lnTo>
                  <a:pt x="134465" y="211219"/>
                </a:lnTo>
                <a:lnTo>
                  <a:pt x="135941" y="211219"/>
                </a:lnTo>
                <a:lnTo>
                  <a:pt x="136237" y="211219"/>
                </a:lnTo>
                <a:lnTo>
                  <a:pt x="136237" y="211514"/>
                </a:lnTo>
                <a:lnTo>
                  <a:pt x="136532" y="211809"/>
                </a:lnTo>
                <a:lnTo>
                  <a:pt x="136237" y="213285"/>
                </a:lnTo>
                <a:lnTo>
                  <a:pt x="135941" y="213581"/>
                </a:lnTo>
                <a:lnTo>
                  <a:pt x="135646" y="213876"/>
                </a:lnTo>
                <a:lnTo>
                  <a:pt x="135351" y="213876"/>
                </a:lnTo>
                <a:lnTo>
                  <a:pt x="133875" y="213876"/>
                </a:lnTo>
                <a:lnTo>
                  <a:pt x="133875" y="213581"/>
                </a:lnTo>
                <a:lnTo>
                  <a:pt x="134170" y="213285"/>
                </a:lnTo>
                <a:lnTo>
                  <a:pt x="135646" y="213285"/>
                </a:lnTo>
                <a:lnTo>
                  <a:pt x="135941" y="211809"/>
                </a:lnTo>
                <a:lnTo>
                  <a:pt x="134465" y="211809"/>
                </a:lnTo>
                <a:lnTo>
                  <a:pt x="134170" y="211514"/>
                </a:lnTo>
                <a:close/>
                <a:moveTo>
                  <a:pt x="130481" y="211219"/>
                </a:moveTo>
                <a:lnTo>
                  <a:pt x="131071" y="211219"/>
                </a:lnTo>
                <a:lnTo>
                  <a:pt x="132547" y="211219"/>
                </a:lnTo>
                <a:lnTo>
                  <a:pt x="132990" y="211219"/>
                </a:lnTo>
                <a:lnTo>
                  <a:pt x="132990" y="211514"/>
                </a:lnTo>
                <a:lnTo>
                  <a:pt x="133286" y="211809"/>
                </a:lnTo>
                <a:lnTo>
                  <a:pt x="132990" y="213285"/>
                </a:lnTo>
                <a:lnTo>
                  <a:pt x="132547" y="213581"/>
                </a:lnTo>
                <a:lnTo>
                  <a:pt x="132252" y="213876"/>
                </a:lnTo>
                <a:lnTo>
                  <a:pt x="130481" y="213876"/>
                </a:lnTo>
                <a:lnTo>
                  <a:pt x="130186" y="213581"/>
                </a:lnTo>
                <a:lnTo>
                  <a:pt x="130481" y="213285"/>
                </a:lnTo>
                <a:lnTo>
                  <a:pt x="132252" y="213285"/>
                </a:lnTo>
                <a:lnTo>
                  <a:pt x="132547" y="211809"/>
                </a:lnTo>
                <a:lnTo>
                  <a:pt x="130776" y="211809"/>
                </a:lnTo>
                <a:lnTo>
                  <a:pt x="130481" y="211514"/>
                </a:lnTo>
                <a:close/>
                <a:moveTo>
                  <a:pt x="157492" y="210263"/>
                </a:moveTo>
                <a:lnTo>
                  <a:pt x="157492" y="212767"/>
                </a:lnTo>
                <a:lnTo>
                  <a:pt x="158743" y="211515"/>
                </a:lnTo>
                <a:close/>
                <a:moveTo>
                  <a:pt x="152843" y="210039"/>
                </a:moveTo>
                <a:lnTo>
                  <a:pt x="152053" y="210829"/>
                </a:lnTo>
                <a:lnTo>
                  <a:pt x="152843" y="210829"/>
                </a:lnTo>
                <a:close/>
                <a:moveTo>
                  <a:pt x="138746" y="209005"/>
                </a:moveTo>
                <a:lnTo>
                  <a:pt x="139042" y="209300"/>
                </a:lnTo>
                <a:lnTo>
                  <a:pt x="138746" y="210924"/>
                </a:lnTo>
                <a:lnTo>
                  <a:pt x="138451" y="211219"/>
                </a:lnTo>
                <a:lnTo>
                  <a:pt x="138156" y="210924"/>
                </a:lnTo>
                <a:lnTo>
                  <a:pt x="138451" y="209300"/>
                </a:lnTo>
                <a:close/>
                <a:moveTo>
                  <a:pt x="139337" y="208710"/>
                </a:moveTo>
                <a:lnTo>
                  <a:pt x="140961" y="208710"/>
                </a:lnTo>
                <a:lnTo>
                  <a:pt x="141256" y="209005"/>
                </a:lnTo>
                <a:lnTo>
                  <a:pt x="140961" y="209300"/>
                </a:lnTo>
                <a:lnTo>
                  <a:pt x="139042" y="209300"/>
                </a:lnTo>
                <a:lnTo>
                  <a:pt x="139042" y="209005"/>
                </a:lnTo>
                <a:close/>
                <a:moveTo>
                  <a:pt x="134761" y="208710"/>
                </a:moveTo>
                <a:lnTo>
                  <a:pt x="136532" y="208710"/>
                </a:lnTo>
                <a:lnTo>
                  <a:pt x="136975" y="209005"/>
                </a:lnTo>
                <a:lnTo>
                  <a:pt x="136532" y="209300"/>
                </a:lnTo>
                <a:lnTo>
                  <a:pt x="134761" y="209300"/>
                </a:lnTo>
                <a:lnTo>
                  <a:pt x="134465" y="210924"/>
                </a:lnTo>
                <a:lnTo>
                  <a:pt x="134170" y="211219"/>
                </a:lnTo>
                <a:lnTo>
                  <a:pt x="133875" y="210924"/>
                </a:lnTo>
                <a:lnTo>
                  <a:pt x="134170" y="209300"/>
                </a:lnTo>
                <a:lnTo>
                  <a:pt x="134465" y="209005"/>
                </a:lnTo>
                <a:close/>
                <a:moveTo>
                  <a:pt x="131367" y="208710"/>
                </a:moveTo>
                <a:lnTo>
                  <a:pt x="133286" y="208710"/>
                </a:lnTo>
                <a:lnTo>
                  <a:pt x="133286" y="209005"/>
                </a:lnTo>
                <a:lnTo>
                  <a:pt x="133581" y="209005"/>
                </a:lnTo>
                <a:lnTo>
                  <a:pt x="133581" y="209300"/>
                </a:lnTo>
                <a:lnTo>
                  <a:pt x="133286" y="210924"/>
                </a:lnTo>
                <a:lnTo>
                  <a:pt x="132990" y="211219"/>
                </a:lnTo>
                <a:lnTo>
                  <a:pt x="132547" y="210924"/>
                </a:lnTo>
                <a:lnTo>
                  <a:pt x="132990" y="209300"/>
                </a:lnTo>
                <a:lnTo>
                  <a:pt x="131367" y="209300"/>
                </a:lnTo>
                <a:lnTo>
                  <a:pt x="131071" y="209005"/>
                </a:lnTo>
                <a:close/>
                <a:moveTo>
                  <a:pt x="155056" y="207825"/>
                </a:moveTo>
                <a:lnTo>
                  <a:pt x="153581" y="209301"/>
                </a:lnTo>
                <a:lnTo>
                  <a:pt x="156531" y="209301"/>
                </a:lnTo>
                <a:close/>
                <a:moveTo>
                  <a:pt x="128629" y="207825"/>
                </a:moveTo>
                <a:cubicBezTo>
                  <a:pt x="128014" y="207825"/>
                  <a:pt x="127400" y="208132"/>
                  <a:pt x="127400" y="208747"/>
                </a:cubicBezTo>
                <a:cubicBezTo>
                  <a:pt x="127400" y="208747"/>
                  <a:pt x="127400" y="208747"/>
                  <a:pt x="127400" y="214282"/>
                </a:cubicBezTo>
                <a:cubicBezTo>
                  <a:pt x="127400" y="214590"/>
                  <a:pt x="128014" y="215205"/>
                  <a:pt x="128629" y="215205"/>
                </a:cubicBezTo>
                <a:cubicBezTo>
                  <a:pt x="128629" y="215205"/>
                  <a:pt x="128629" y="215205"/>
                  <a:pt x="142764" y="215205"/>
                </a:cubicBezTo>
                <a:cubicBezTo>
                  <a:pt x="143379" y="215205"/>
                  <a:pt x="143993" y="214590"/>
                  <a:pt x="143993" y="214282"/>
                </a:cubicBezTo>
                <a:cubicBezTo>
                  <a:pt x="143993" y="214282"/>
                  <a:pt x="143993" y="214282"/>
                  <a:pt x="143993" y="208747"/>
                </a:cubicBezTo>
                <a:cubicBezTo>
                  <a:pt x="143993" y="208132"/>
                  <a:pt x="143379" y="207825"/>
                  <a:pt x="142764" y="207825"/>
                </a:cubicBezTo>
                <a:cubicBezTo>
                  <a:pt x="142764" y="207825"/>
                  <a:pt x="142764" y="207825"/>
                  <a:pt x="128629" y="207825"/>
                </a:cubicBezTo>
                <a:close/>
                <a:moveTo>
                  <a:pt x="191847" y="205020"/>
                </a:moveTo>
                <a:cubicBezTo>
                  <a:pt x="191847" y="205020"/>
                  <a:pt x="192462" y="205020"/>
                  <a:pt x="192462" y="205325"/>
                </a:cubicBezTo>
                <a:cubicBezTo>
                  <a:pt x="192769" y="205630"/>
                  <a:pt x="192462" y="205935"/>
                  <a:pt x="192154" y="206240"/>
                </a:cubicBezTo>
                <a:cubicBezTo>
                  <a:pt x="191847" y="206240"/>
                  <a:pt x="191847" y="206545"/>
                  <a:pt x="191847" y="207155"/>
                </a:cubicBezTo>
                <a:cubicBezTo>
                  <a:pt x="191847" y="207460"/>
                  <a:pt x="191847" y="208071"/>
                  <a:pt x="191539" y="208681"/>
                </a:cubicBezTo>
                <a:cubicBezTo>
                  <a:pt x="191232" y="208986"/>
                  <a:pt x="190924" y="208986"/>
                  <a:pt x="190617" y="209291"/>
                </a:cubicBezTo>
                <a:cubicBezTo>
                  <a:pt x="190309" y="209291"/>
                  <a:pt x="190309" y="209291"/>
                  <a:pt x="190002" y="209596"/>
                </a:cubicBezTo>
                <a:cubicBezTo>
                  <a:pt x="189694" y="209596"/>
                  <a:pt x="189387" y="209596"/>
                  <a:pt x="189387" y="209291"/>
                </a:cubicBezTo>
                <a:cubicBezTo>
                  <a:pt x="189079" y="208681"/>
                  <a:pt x="189387" y="208376"/>
                  <a:pt x="189694" y="208376"/>
                </a:cubicBezTo>
                <a:cubicBezTo>
                  <a:pt x="189694" y="208376"/>
                  <a:pt x="190002" y="208376"/>
                  <a:pt x="190002" y="208071"/>
                </a:cubicBezTo>
                <a:cubicBezTo>
                  <a:pt x="190309" y="208071"/>
                  <a:pt x="190309" y="208071"/>
                  <a:pt x="190309" y="208071"/>
                </a:cubicBezTo>
                <a:cubicBezTo>
                  <a:pt x="190617" y="207765"/>
                  <a:pt x="190617" y="207460"/>
                  <a:pt x="190617" y="207155"/>
                </a:cubicBezTo>
                <a:cubicBezTo>
                  <a:pt x="190617" y="206240"/>
                  <a:pt x="190617" y="205630"/>
                  <a:pt x="191847" y="205020"/>
                </a:cubicBezTo>
                <a:close/>
                <a:moveTo>
                  <a:pt x="49064" y="204421"/>
                </a:moveTo>
                <a:cubicBezTo>
                  <a:pt x="49064" y="204421"/>
                  <a:pt x="49064" y="204421"/>
                  <a:pt x="49371" y="204421"/>
                </a:cubicBezTo>
                <a:cubicBezTo>
                  <a:pt x="49371" y="204421"/>
                  <a:pt x="49371" y="204421"/>
                  <a:pt x="49678" y="205953"/>
                </a:cubicBezTo>
                <a:cubicBezTo>
                  <a:pt x="49678" y="205953"/>
                  <a:pt x="49678" y="205953"/>
                  <a:pt x="49984" y="207484"/>
                </a:cubicBezTo>
                <a:cubicBezTo>
                  <a:pt x="49984" y="207484"/>
                  <a:pt x="49984" y="207484"/>
                  <a:pt x="49678" y="207484"/>
                </a:cubicBezTo>
                <a:cubicBezTo>
                  <a:pt x="49678" y="207484"/>
                  <a:pt x="49678" y="207484"/>
                  <a:pt x="48758" y="207484"/>
                </a:cubicBezTo>
                <a:cubicBezTo>
                  <a:pt x="48758" y="207484"/>
                  <a:pt x="48758" y="207484"/>
                  <a:pt x="49064" y="205953"/>
                </a:cubicBezTo>
                <a:cubicBezTo>
                  <a:pt x="49064" y="205953"/>
                  <a:pt x="49064" y="205953"/>
                  <a:pt x="49064" y="204421"/>
                </a:cubicBezTo>
                <a:close/>
                <a:moveTo>
                  <a:pt x="115108" y="204135"/>
                </a:moveTo>
                <a:cubicBezTo>
                  <a:pt x="115108" y="204135"/>
                  <a:pt x="115108" y="204135"/>
                  <a:pt x="164582" y="204135"/>
                </a:cubicBezTo>
                <a:cubicBezTo>
                  <a:pt x="166733" y="204135"/>
                  <a:pt x="168577" y="205057"/>
                  <a:pt x="169806" y="206287"/>
                </a:cubicBezTo>
                <a:cubicBezTo>
                  <a:pt x="171343" y="207517"/>
                  <a:pt x="171957" y="209362"/>
                  <a:pt x="171957" y="211515"/>
                </a:cubicBezTo>
                <a:cubicBezTo>
                  <a:pt x="171957" y="213360"/>
                  <a:pt x="171343" y="215205"/>
                  <a:pt x="169806" y="216742"/>
                </a:cubicBezTo>
                <a:cubicBezTo>
                  <a:pt x="168577" y="217972"/>
                  <a:pt x="166733" y="218895"/>
                  <a:pt x="164582" y="218895"/>
                </a:cubicBezTo>
                <a:cubicBezTo>
                  <a:pt x="164582" y="218895"/>
                  <a:pt x="164582" y="218895"/>
                  <a:pt x="114801" y="218587"/>
                </a:cubicBezTo>
                <a:cubicBezTo>
                  <a:pt x="114801" y="218587"/>
                  <a:pt x="114801" y="218587"/>
                  <a:pt x="90832" y="214282"/>
                </a:cubicBezTo>
                <a:cubicBezTo>
                  <a:pt x="87145" y="213975"/>
                  <a:pt x="83765" y="213667"/>
                  <a:pt x="80692" y="213667"/>
                </a:cubicBezTo>
                <a:cubicBezTo>
                  <a:pt x="77312" y="213360"/>
                  <a:pt x="73931" y="213360"/>
                  <a:pt x="70244" y="213360"/>
                </a:cubicBezTo>
                <a:cubicBezTo>
                  <a:pt x="69629" y="213360"/>
                  <a:pt x="68400" y="213360"/>
                  <a:pt x="67478" y="213052"/>
                </a:cubicBezTo>
                <a:cubicBezTo>
                  <a:pt x="67171" y="212745"/>
                  <a:pt x="66864" y="212437"/>
                  <a:pt x="66864" y="212130"/>
                </a:cubicBezTo>
                <a:cubicBezTo>
                  <a:pt x="66864" y="211822"/>
                  <a:pt x="67171" y="211515"/>
                  <a:pt x="67478" y="211515"/>
                </a:cubicBezTo>
                <a:cubicBezTo>
                  <a:pt x="68400" y="210900"/>
                  <a:pt x="69629" y="210900"/>
                  <a:pt x="70244" y="210900"/>
                </a:cubicBezTo>
                <a:cubicBezTo>
                  <a:pt x="73931" y="210900"/>
                  <a:pt x="77312" y="210592"/>
                  <a:pt x="80692" y="210285"/>
                </a:cubicBezTo>
                <a:cubicBezTo>
                  <a:pt x="83765" y="210285"/>
                  <a:pt x="87145" y="209670"/>
                  <a:pt x="90832" y="209362"/>
                </a:cubicBezTo>
                <a:cubicBezTo>
                  <a:pt x="90832" y="209362"/>
                  <a:pt x="90832" y="209362"/>
                  <a:pt x="115108" y="204135"/>
                </a:cubicBezTo>
                <a:close/>
                <a:moveTo>
                  <a:pt x="31274" y="203809"/>
                </a:moveTo>
                <a:cubicBezTo>
                  <a:pt x="31274" y="203809"/>
                  <a:pt x="31274" y="203809"/>
                  <a:pt x="31581" y="203809"/>
                </a:cubicBezTo>
                <a:cubicBezTo>
                  <a:pt x="31581" y="203809"/>
                  <a:pt x="31581" y="203809"/>
                  <a:pt x="32501" y="203809"/>
                </a:cubicBezTo>
                <a:cubicBezTo>
                  <a:pt x="32501" y="203809"/>
                  <a:pt x="32808" y="203809"/>
                  <a:pt x="33115" y="204115"/>
                </a:cubicBezTo>
                <a:cubicBezTo>
                  <a:pt x="33115" y="204115"/>
                  <a:pt x="33115" y="204421"/>
                  <a:pt x="33115" y="204728"/>
                </a:cubicBezTo>
                <a:cubicBezTo>
                  <a:pt x="33115" y="204728"/>
                  <a:pt x="33115" y="205034"/>
                  <a:pt x="33115" y="205340"/>
                </a:cubicBezTo>
                <a:cubicBezTo>
                  <a:pt x="32808" y="205340"/>
                  <a:pt x="32501" y="205340"/>
                  <a:pt x="32501" y="205340"/>
                </a:cubicBezTo>
                <a:cubicBezTo>
                  <a:pt x="32501" y="205340"/>
                  <a:pt x="32501" y="205340"/>
                  <a:pt x="31581" y="205340"/>
                </a:cubicBezTo>
                <a:cubicBezTo>
                  <a:pt x="31581" y="205340"/>
                  <a:pt x="31581" y="205340"/>
                  <a:pt x="31274" y="205340"/>
                </a:cubicBezTo>
                <a:cubicBezTo>
                  <a:pt x="31274" y="205340"/>
                  <a:pt x="31274" y="205340"/>
                  <a:pt x="31274" y="205034"/>
                </a:cubicBezTo>
                <a:cubicBezTo>
                  <a:pt x="31274" y="205034"/>
                  <a:pt x="31274" y="205034"/>
                  <a:pt x="31274" y="204115"/>
                </a:cubicBezTo>
                <a:cubicBezTo>
                  <a:pt x="31274" y="204115"/>
                  <a:pt x="31274" y="204115"/>
                  <a:pt x="31274" y="203809"/>
                </a:cubicBezTo>
                <a:close/>
                <a:moveTo>
                  <a:pt x="16858" y="203503"/>
                </a:moveTo>
                <a:cubicBezTo>
                  <a:pt x="17165" y="203503"/>
                  <a:pt x="17471" y="203809"/>
                  <a:pt x="17471" y="203809"/>
                </a:cubicBezTo>
                <a:cubicBezTo>
                  <a:pt x="17778" y="204115"/>
                  <a:pt x="17778" y="204421"/>
                  <a:pt x="17778" y="204728"/>
                </a:cubicBezTo>
                <a:cubicBezTo>
                  <a:pt x="17778" y="204728"/>
                  <a:pt x="17778" y="204728"/>
                  <a:pt x="17778" y="208097"/>
                </a:cubicBezTo>
                <a:cubicBezTo>
                  <a:pt x="17778" y="208403"/>
                  <a:pt x="17778" y="208709"/>
                  <a:pt x="17471" y="208709"/>
                </a:cubicBezTo>
                <a:cubicBezTo>
                  <a:pt x="17471" y="209016"/>
                  <a:pt x="17165" y="209016"/>
                  <a:pt x="16858" y="209016"/>
                </a:cubicBezTo>
                <a:cubicBezTo>
                  <a:pt x="16245" y="209016"/>
                  <a:pt x="16245" y="209016"/>
                  <a:pt x="15938" y="208709"/>
                </a:cubicBezTo>
                <a:cubicBezTo>
                  <a:pt x="15631" y="208709"/>
                  <a:pt x="15631" y="208403"/>
                  <a:pt x="15631" y="208097"/>
                </a:cubicBezTo>
                <a:cubicBezTo>
                  <a:pt x="15631" y="208097"/>
                  <a:pt x="15631" y="208097"/>
                  <a:pt x="15631" y="204728"/>
                </a:cubicBezTo>
                <a:cubicBezTo>
                  <a:pt x="15631" y="204421"/>
                  <a:pt x="15631" y="204115"/>
                  <a:pt x="15938" y="203809"/>
                </a:cubicBezTo>
                <a:cubicBezTo>
                  <a:pt x="16245" y="203809"/>
                  <a:pt x="16551" y="203503"/>
                  <a:pt x="16858" y="203503"/>
                </a:cubicBezTo>
                <a:close/>
                <a:moveTo>
                  <a:pt x="53972" y="201971"/>
                </a:moveTo>
                <a:cubicBezTo>
                  <a:pt x="53972" y="202277"/>
                  <a:pt x="53972" y="202277"/>
                  <a:pt x="53972" y="202277"/>
                </a:cubicBezTo>
                <a:cubicBezTo>
                  <a:pt x="53972" y="210547"/>
                  <a:pt x="53972" y="210547"/>
                  <a:pt x="53972" y="210547"/>
                </a:cubicBezTo>
                <a:cubicBezTo>
                  <a:pt x="53972" y="210853"/>
                  <a:pt x="53972" y="210853"/>
                  <a:pt x="54279" y="210853"/>
                </a:cubicBezTo>
                <a:cubicBezTo>
                  <a:pt x="59186" y="210853"/>
                  <a:pt x="59186" y="210853"/>
                  <a:pt x="59186" y="210853"/>
                </a:cubicBezTo>
                <a:cubicBezTo>
                  <a:pt x="59493" y="210853"/>
                  <a:pt x="59493" y="210853"/>
                  <a:pt x="59493" y="210547"/>
                </a:cubicBezTo>
                <a:cubicBezTo>
                  <a:pt x="59493" y="209322"/>
                  <a:pt x="59493" y="209322"/>
                  <a:pt x="59493" y="209322"/>
                </a:cubicBezTo>
                <a:cubicBezTo>
                  <a:pt x="59493" y="209016"/>
                  <a:pt x="59493" y="209016"/>
                  <a:pt x="59493" y="209016"/>
                </a:cubicBezTo>
                <a:lnTo>
                  <a:pt x="59186" y="209016"/>
                </a:lnTo>
                <a:cubicBezTo>
                  <a:pt x="56119" y="209016"/>
                  <a:pt x="56119" y="209016"/>
                  <a:pt x="56119" y="209016"/>
                </a:cubicBezTo>
                <a:cubicBezTo>
                  <a:pt x="55812" y="209016"/>
                  <a:pt x="55812" y="209016"/>
                  <a:pt x="55812" y="209016"/>
                </a:cubicBezTo>
                <a:cubicBezTo>
                  <a:pt x="55812" y="208709"/>
                  <a:pt x="55812" y="208709"/>
                  <a:pt x="55812" y="208709"/>
                </a:cubicBezTo>
                <a:cubicBezTo>
                  <a:pt x="55812" y="202277"/>
                  <a:pt x="55812" y="202277"/>
                  <a:pt x="55812" y="202277"/>
                </a:cubicBezTo>
                <a:cubicBezTo>
                  <a:pt x="55812" y="201971"/>
                  <a:pt x="55812" y="201971"/>
                  <a:pt x="55812" y="201971"/>
                </a:cubicBezTo>
                <a:cubicBezTo>
                  <a:pt x="55506" y="201971"/>
                  <a:pt x="55506" y="201971"/>
                  <a:pt x="55506" y="201971"/>
                </a:cubicBezTo>
                <a:cubicBezTo>
                  <a:pt x="54279" y="201971"/>
                  <a:pt x="54279" y="201971"/>
                  <a:pt x="54279" y="201971"/>
                </a:cubicBezTo>
                <a:cubicBezTo>
                  <a:pt x="53972" y="201971"/>
                  <a:pt x="53972" y="201971"/>
                  <a:pt x="53972" y="201971"/>
                </a:cubicBezTo>
                <a:close/>
                <a:moveTo>
                  <a:pt x="48144" y="201971"/>
                </a:moveTo>
                <a:cubicBezTo>
                  <a:pt x="48144" y="201971"/>
                  <a:pt x="47837" y="201971"/>
                  <a:pt x="47837" y="202277"/>
                </a:cubicBezTo>
                <a:cubicBezTo>
                  <a:pt x="45690" y="210547"/>
                  <a:pt x="45690" y="210547"/>
                  <a:pt x="45690" y="210547"/>
                </a:cubicBezTo>
                <a:cubicBezTo>
                  <a:pt x="45690" y="210853"/>
                  <a:pt x="45690" y="210853"/>
                  <a:pt x="45690" y="210853"/>
                </a:cubicBezTo>
                <a:cubicBezTo>
                  <a:pt x="45997" y="210853"/>
                  <a:pt x="45997" y="210853"/>
                  <a:pt x="45997" y="210853"/>
                </a:cubicBezTo>
                <a:cubicBezTo>
                  <a:pt x="47531" y="210853"/>
                  <a:pt x="47531" y="210853"/>
                  <a:pt x="47531" y="210853"/>
                </a:cubicBezTo>
                <a:cubicBezTo>
                  <a:pt x="47837" y="210853"/>
                  <a:pt x="47837" y="210853"/>
                  <a:pt x="47837" y="210853"/>
                </a:cubicBezTo>
                <a:cubicBezTo>
                  <a:pt x="47837" y="210547"/>
                  <a:pt x="47837" y="210547"/>
                  <a:pt x="47837" y="210547"/>
                </a:cubicBezTo>
                <a:cubicBezTo>
                  <a:pt x="48144" y="209628"/>
                  <a:pt x="48144" y="209628"/>
                  <a:pt x="48144" y="209628"/>
                </a:cubicBezTo>
                <a:cubicBezTo>
                  <a:pt x="48144" y="209322"/>
                  <a:pt x="48144" y="209322"/>
                  <a:pt x="48144" y="209322"/>
                </a:cubicBezTo>
                <a:cubicBezTo>
                  <a:pt x="48451" y="209322"/>
                  <a:pt x="48451" y="209322"/>
                  <a:pt x="48451" y="209322"/>
                </a:cubicBezTo>
                <a:cubicBezTo>
                  <a:pt x="50291" y="209322"/>
                  <a:pt x="50291" y="209322"/>
                  <a:pt x="50291" y="209322"/>
                </a:cubicBezTo>
                <a:cubicBezTo>
                  <a:pt x="50291" y="209628"/>
                  <a:pt x="50291" y="209628"/>
                  <a:pt x="50291" y="209628"/>
                </a:cubicBezTo>
                <a:cubicBezTo>
                  <a:pt x="50598" y="210547"/>
                  <a:pt x="50598" y="210547"/>
                  <a:pt x="50598" y="210547"/>
                </a:cubicBezTo>
                <a:cubicBezTo>
                  <a:pt x="50905" y="210853"/>
                  <a:pt x="50905" y="210853"/>
                  <a:pt x="50905" y="210853"/>
                </a:cubicBezTo>
                <a:cubicBezTo>
                  <a:pt x="52438" y="210853"/>
                  <a:pt x="52438" y="210853"/>
                  <a:pt x="52438" y="210853"/>
                </a:cubicBezTo>
                <a:cubicBezTo>
                  <a:pt x="52745" y="210853"/>
                  <a:pt x="52745" y="210853"/>
                  <a:pt x="52745" y="210547"/>
                </a:cubicBezTo>
                <a:cubicBezTo>
                  <a:pt x="50598" y="202277"/>
                  <a:pt x="50598" y="202277"/>
                  <a:pt x="50598" y="202277"/>
                </a:cubicBezTo>
                <a:cubicBezTo>
                  <a:pt x="50598" y="201971"/>
                  <a:pt x="50598" y="201971"/>
                  <a:pt x="50598" y="201971"/>
                </a:cubicBezTo>
                <a:cubicBezTo>
                  <a:pt x="50291" y="201971"/>
                  <a:pt x="50291" y="201971"/>
                  <a:pt x="50291" y="201971"/>
                </a:cubicBezTo>
                <a:cubicBezTo>
                  <a:pt x="48144" y="201971"/>
                  <a:pt x="48144" y="201971"/>
                  <a:pt x="48144" y="201971"/>
                </a:cubicBezTo>
                <a:close/>
                <a:moveTo>
                  <a:pt x="39863" y="201971"/>
                </a:moveTo>
                <a:cubicBezTo>
                  <a:pt x="39863" y="202277"/>
                  <a:pt x="39863" y="202277"/>
                  <a:pt x="39863" y="202277"/>
                </a:cubicBezTo>
                <a:cubicBezTo>
                  <a:pt x="39863" y="203503"/>
                  <a:pt x="39863" y="203503"/>
                  <a:pt x="39863" y="203503"/>
                </a:cubicBezTo>
                <a:cubicBezTo>
                  <a:pt x="39863" y="203809"/>
                  <a:pt x="39863" y="203809"/>
                  <a:pt x="39863" y="203809"/>
                </a:cubicBezTo>
                <a:cubicBezTo>
                  <a:pt x="40169" y="203809"/>
                  <a:pt x="40169" y="203809"/>
                  <a:pt x="40169" y="203809"/>
                </a:cubicBezTo>
                <a:cubicBezTo>
                  <a:pt x="41396" y="203809"/>
                  <a:pt x="41396" y="203809"/>
                  <a:pt x="41396" y="203809"/>
                </a:cubicBezTo>
                <a:cubicBezTo>
                  <a:pt x="41703" y="203809"/>
                  <a:pt x="41703" y="203809"/>
                  <a:pt x="41703" y="203809"/>
                </a:cubicBezTo>
                <a:cubicBezTo>
                  <a:pt x="41703" y="204115"/>
                  <a:pt x="41703" y="204115"/>
                  <a:pt x="41703" y="204115"/>
                </a:cubicBezTo>
                <a:cubicBezTo>
                  <a:pt x="41703" y="210547"/>
                  <a:pt x="41703" y="210547"/>
                  <a:pt x="41703" y="210547"/>
                </a:cubicBezTo>
                <a:cubicBezTo>
                  <a:pt x="42010" y="210853"/>
                  <a:pt x="42010" y="210853"/>
                  <a:pt x="42010" y="210853"/>
                </a:cubicBezTo>
                <a:cubicBezTo>
                  <a:pt x="43543" y="210853"/>
                  <a:pt x="43543" y="210853"/>
                  <a:pt x="43543" y="210853"/>
                </a:cubicBezTo>
                <a:cubicBezTo>
                  <a:pt x="43850" y="210853"/>
                  <a:pt x="43850" y="210853"/>
                  <a:pt x="43850" y="210547"/>
                </a:cubicBezTo>
                <a:cubicBezTo>
                  <a:pt x="43850" y="204115"/>
                  <a:pt x="43850" y="204115"/>
                  <a:pt x="43850" y="204115"/>
                </a:cubicBezTo>
                <a:cubicBezTo>
                  <a:pt x="43850" y="203809"/>
                  <a:pt x="43850" y="203809"/>
                  <a:pt x="43850" y="203809"/>
                </a:cubicBezTo>
                <a:cubicBezTo>
                  <a:pt x="44157" y="203809"/>
                  <a:pt x="44157" y="203809"/>
                  <a:pt x="44157" y="203809"/>
                </a:cubicBezTo>
                <a:cubicBezTo>
                  <a:pt x="45690" y="203809"/>
                  <a:pt x="45690" y="203809"/>
                  <a:pt x="45690" y="203809"/>
                </a:cubicBezTo>
                <a:cubicBezTo>
                  <a:pt x="45997" y="203809"/>
                  <a:pt x="45997" y="203809"/>
                  <a:pt x="45997" y="203809"/>
                </a:cubicBezTo>
                <a:cubicBezTo>
                  <a:pt x="45997" y="203503"/>
                  <a:pt x="45997" y="203503"/>
                  <a:pt x="45997" y="203503"/>
                </a:cubicBezTo>
                <a:cubicBezTo>
                  <a:pt x="45997" y="202277"/>
                  <a:pt x="45997" y="202277"/>
                  <a:pt x="45997" y="202277"/>
                </a:cubicBezTo>
                <a:cubicBezTo>
                  <a:pt x="45997" y="201971"/>
                  <a:pt x="45997" y="201971"/>
                  <a:pt x="45690" y="201971"/>
                </a:cubicBezTo>
                <a:cubicBezTo>
                  <a:pt x="40169" y="201971"/>
                  <a:pt x="40169" y="201971"/>
                  <a:pt x="40169" y="201971"/>
                </a:cubicBezTo>
                <a:cubicBezTo>
                  <a:pt x="39863" y="201971"/>
                  <a:pt x="39863" y="201971"/>
                  <a:pt x="39863" y="201971"/>
                </a:cubicBezTo>
                <a:close/>
                <a:moveTo>
                  <a:pt x="36795" y="201971"/>
                </a:moveTo>
                <a:cubicBezTo>
                  <a:pt x="36795" y="201971"/>
                  <a:pt x="36489" y="201971"/>
                  <a:pt x="36489" y="202277"/>
                </a:cubicBezTo>
                <a:cubicBezTo>
                  <a:pt x="36489" y="210547"/>
                  <a:pt x="36489" y="210547"/>
                  <a:pt x="36489" y="210547"/>
                </a:cubicBezTo>
                <a:cubicBezTo>
                  <a:pt x="36489" y="210853"/>
                  <a:pt x="36795" y="210853"/>
                  <a:pt x="36795" y="210853"/>
                </a:cubicBezTo>
                <a:cubicBezTo>
                  <a:pt x="38329" y="210853"/>
                  <a:pt x="38329" y="210853"/>
                  <a:pt x="38329" y="210853"/>
                </a:cubicBezTo>
                <a:cubicBezTo>
                  <a:pt x="38636" y="210853"/>
                  <a:pt x="38636" y="210853"/>
                  <a:pt x="38636" y="210547"/>
                </a:cubicBezTo>
                <a:cubicBezTo>
                  <a:pt x="38636" y="202277"/>
                  <a:pt x="38636" y="202277"/>
                  <a:pt x="38636" y="202277"/>
                </a:cubicBezTo>
                <a:cubicBezTo>
                  <a:pt x="38636" y="201971"/>
                  <a:pt x="38636" y="201971"/>
                  <a:pt x="38636" y="201971"/>
                </a:cubicBezTo>
                <a:cubicBezTo>
                  <a:pt x="38329" y="201971"/>
                  <a:pt x="38329" y="201971"/>
                  <a:pt x="38329" y="201971"/>
                </a:cubicBezTo>
                <a:cubicBezTo>
                  <a:pt x="36795" y="201971"/>
                  <a:pt x="36795" y="201971"/>
                  <a:pt x="36795" y="201971"/>
                </a:cubicBezTo>
                <a:close/>
                <a:moveTo>
                  <a:pt x="29434" y="201971"/>
                </a:moveTo>
                <a:cubicBezTo>
                  <a:pt x="29127" y="201971"/>
                  <a:pt x="29127" y="201971"/>
                  <a:pt x="29127" y="202277"/>
                </a:cubicBezTo>
                <a:cubicBezTo>
                  <a:pt x="29127" y="210547"/>
                  <a:pt x="29127" y="210547"/>
                  <a:pt x="29127" y="210547"/>
                </a:cubicBezTo>
                <a:cubicBezTo>
                  <a:pt x="29127" y="210853"/>
                  <a:pt x="29127" y="210853"/>
                  <a:pt x="29434" y="210853"/>
                </a:cubicBezTo>
                <a:cubicBezTo>
                  <a:pt x="30967" y="210853"/>
                  <a:pt x="30967" y="210853"/>
                  <a:pt x="30967" y="210853"/>
                </a:cubicBezTo>
                <a:cubicBezTo>
                  <a:pt x="30967" y="210853"/>
                  <a:pt x="31274" y="210853"/>
                  <a:pt x="31274" y="210547"/>
                </a:cubicBezTo>
                <a:cubicBezTo>
                  <a:pt x="31274" y="207484"/>
                  <a:pt x="31274" y="207484"/>
                  <a:pt x="31274" y="207484"/>
                </a:cubicBezTo>
                <a:cubicBezTo>
                  <a:pt x="31274" y="207178"/>
                  <a:pt x="31274" y="207178"/>
                  <a:pt x="31274" y="207178"/>
                </a:cubicBezTo>
                <a:cubicBezTo>
                  <a:pt x="31581" y="207178"/>
                  <a:pt x="31581" y="207178"/>
                  <a:pt x="31581" y="207178"/>
                </a:cubicBezTo>
                <a:cubicBezTo>
                  <a:pt x="32501" y="207178"/>
                  <a:pt x="32501" y="207178"/>
                  <a:pt x="32501" y="207178"/>
                </a:cubicBezTo>
                <a:cubicBezTo>
                  <a:pt x="32808" y="207178"/>
                  <a:pt x="33115" y="207178"/>
                  <a:pt x="33421" y="207178"/>
                </a:cubicBezTo>
                <a:cubicBezTo>
                  <a:pt x="34035" y="206872"/>
                  <a:pt x="34341" y="206872"/>
                  <a:pt x="34341" y="206565"/>
                </a:cubicBezTo>
                <a:cubicBezTo>
                  <a:pt x="34648" y="206259"/>
                  <a:pt x="34955" y="205953"/>
                  <a:pt x="34955" y="205647"/>
                </a:cubicBezTo>
                <a:cubicBezTo>
                  <a:pt x="35262" y="205340"/>
                  <a:pt x="35262" y="205034"/>
                  <a:pt x="35262" y="204728"/>
                </a:cubicBezTo>
                <a:cubicBezTo>
                  <a:pt x="35262" y="204421"/>
                  <a:pt x="35262" y="203809"/>
                  <a:pt x="34955" y="203503"/>
                </a:cubicBezTo>
                <a:cubicBezTo>
                  <a:pt x="34955" y="203196"/>
                  <a:pt x="34648" y="202890"/>
                  <a:pt x="34341" y="202584"/>
                </a:cubicBezTo>
                <a:cubicBezTo>
                  <a:pt x="34341" y="202584"/>
                  <a:pt x="34035" y="202277"/>
                  <a:pt x="33421" y="202277"/>
                </a:cubicBezTo>
                <a:cubicBezTo>
                  <a:pt x="33115" y="201971"/>
                  <a:pt x="32808" y="201971"/>
                  <a:pt x="32501" y="201971"/>
                </a:cubicBezTo>
                <a:cubicBezTo>
                  <a:pt x="29434" y="201971"/>
                  <a:pt x="29434" y="201971"/>
                  <a:pt x="29434" y="201971"/>
                </a:cubicBezTo>
                <a:close/>
                <a:moveTo>
                  <a:pt x="23299" y="201971"/>
                </a:moveTo>
                <a:cubicBezTo>
                  <a:pt x="22993" y="202277"/>
                  <a:pt x="22686" y="202277"/>
                  <a:pt x="22379" y="202584"/>
                </a:cubicBezTo>
                <a:cubicBezTo>
                  <a:pt x="22072" y="202890"/>
                  <a:pt x="22072" y="203196"/>
                  <a:pt x="21766" y="203503"/>
                </a:cubicBezTo>
                <a:cubicBezTo>
                  <a:pt x="21766" y="203809"/>
                  <a:pt x="21459" y="204115"/>
                  <a:pt x="21459" y="204421"/>
                </a:cubicBezTo>
                <a:cubicBezTo>
                  <a:pt x="21459" y="204728"/>
                  <a:pt x="21766" y="205034"/>
                  <a:pt x="21766" y="205340"/>
                </a:cubicBezTo>
                <a:cubicBezTo>
                  <a:pt x="21766" y="205647"/>
                  <a:pt x="22072" y="205953"/>
                  <a:pt x="22072" y="206259"/>
                </a:cubicBezTo>
                <a:cubicBezTo>
                  <a:pt x="22379" y="206259"/>
                  <a:pt x="22686" y="206565"/>
                  <a:pt x="22686" y="206565"/>
                </a:cubicBezTo>
                <a:cubicBezTo>
                  <a:pt x="22993" y="206872"/>
                  <a:pt x="23299" y="206872"/>
                  <a:pt x="23606" y="206872"/>
                </a:cubicBezTo>
                <a:cubicBezTo>
                  <a:pt x="24219" y="207178"/>
                  <a:pt x="24833" y="207484"/>
                  <a:pt x="25140" y="207484"/>
                </a:cubicBezTo>
                <a:cubicBezTo>
                  <a:pt x="25446" y="207791"/>
                  <a:pt x="25753" y="208097"/>
                  <a:pt x="25753" y="208403"/>
                </a:cubicBezTo>
                <a:cubicBezTo>
                  <a:pt x="25753" y="208709"/>
                  <a:pt x="25753" y="208709"/>
                  <a:pt x="25753" y="208709"/>
                </a:cubicBezTo>
                <a:cubicBezTo>
                  <a:pt x="25446" y="208709"/>
                  <a:pt x="25446" y="208709"/>
                  <a:pt x="25446" y="208709"/>
                </a:cubicBezTo>
                <a:cubicBezTo>
                  <a:pt x="25446" y="209016"/>
                  <a:pt x="25446" y="209016"/>
                  <a:pt x="25140" y="209016"/>
                </a:cubicBezTo>
                <a:cubicBezTo>
                  <a:pt x="25140" y="209016"/>
                  <a:pt x="24833" y="209016"/>
                  <a:pt x="24526" y="209016"/>
                </a:cubicBezTo>
                <a:cubicBezTo>
                  <a:pt x="24526" y="209016"/>
                  <a:pt x="24219" y="209016"/>
                  <a:pt x="24219" y="209016"/>
                </a:cubicBezTo>
                <a:cubicBezTo>
                  <a:pt x="23913" y="209016"/>
                  <a:pt x="23913" y="209016"/>
                  <a:pt x="23606" y="209016"/>
                </a:cubicBezTo>
                <a:cubicBezTo>
                  <a:pt x="23606" y="208709"/>
                  <a:pt x="23299" y="208709"/>
                  <a:pt x="22993" y="208709"/>
                </a:cubicBezTo>
                <a:cubicBezTo>
                  <a:pt x="22993" y="208709"/>
                  <a:pt x="22686" y="208403"/>
                  <a:pt x="22686" y="208403"/>
                </a:cubicBezTo>
                <a:cubicBezTo>
                  <a:pt x="22379" y="208097"/>
                  <a:pt x="22379" y="208097"/>
                  <a:pt x="22379" y="208097"/>
                </a:cubicBezTo>
                <a:cubicBezTo>
                  <a:pt x="22379" y="208097"/>
                  <a:pt x="22072" y="208403"/>
                  <a:pt x="22072" y="208403"/>
                </a:cubicBezTo>
                <a:cubicBezTo>
                  <a:pt x="21459" y="209322"/>
                  <a:pt x="21459" y="209322"/>
                  <a:pt x="21459" y="209322"/>
                </a:cubicBezTo>
                <a:cubicBezTo>
                  <a:pt x="21459" y="209322"/>
                  <a:pt x="21152" y="209322"/>
                  <a:pt x="21459" y="209628"/>
                </a:cubicBezTo>
                <a:cubicBezTo>
                  <a:pt x="21459" y="209935"/>
                  <a:pt x="21459" y="209935"/>
                  <a:pt x="21459" y="209935"/>
                </a:cubicBezTo>
                <a:cubicBezTo>
                  <a:pt x="22072" y="210241"/>
                  <a:pt x="22379" y="210547"/>
                  <a:pt x="22993" y="210547"/>
                </a:cubicBezTo>
                <a:cubicBezTo>
                  <a:pt x="23606" y="210853"/>
                  <a:pt x="24219" y="210853"/>
                  <a:pt x="24526" y="210853"/>
                </a:cubicBezTo>
                <a:cubicBezTo>
                  <a:pt x="25140" y="210853"/>
                  <a:pt x="25446" y="210853"/>
                  <a:pt x="25753" y="210853"/>
                </a:cubicBezTo>
                <a:cubicBezTo>
                  <a:pt x="26367" y="210547"/>
                  <a:pt x="26673" y="210547"/>
                  <a:pt x="26980" y="210241"/>
                </a:cubicBezTo>
                <a:cubicBezTo>
                  <a:pt x="27287" y="209935"/>
                  <a:pt x="27287" y="209628"/>
                  <a:pt x="27593" y="209322"/>
                </a:cubicBezTo>
                <a:cubicBezTo>
                  <a:pt x="27593" y="209016"/>
                  <a:pt x="27900" y="208709"/>
                  <a:pt x="27900" y="208097"/>
                </a:cubicBezTo>
                <a:cubicBezTo>
                  <a:pt x="27900" y="207791"/>
                  <a:pt x="27593" y="207484"/>
                  <a:pt x="27593" y="207178"/>
                </a:cubicBezTo>
                <a:cubicBezTo>
                  <a:pt x="27287" y="206872"/>
                  <a:pt x="26980" y="206565"/>
                  <a:pt x="26673" y="206259"/>
                </a:cubicBezTo>
                <a:cubicBezTo>
                  <a:pt x="26673" y="205953"/>
                  <a:pt x="26367" y="205953"/>
                  <a:pt x="25753" y="205647"/>
                </a:cubicBezTo>
                <a:cubicBezTo>
                  <a:pt x="25446" y="205647"/>
                  <a:pt x="25140" y="205647"/>
                  <a:pt x="24833" y="205340"/>
                </a:cubicBezTo>
                <a:cubicBezTo>
                  <a:pt x="24833" y="205340"/>
                  <a:pt x="24833" y="205340"/>
                  <a:pt x="24526" y="205340"/>
                </a:cubicBezTo>
                <a:cubicBezTo>
                  <a:pt x="24526" y="205340"/>
                  <a:pt x="24219" y="205340"/>
                  <a:pt x="24219" y="205034"/>
                </a:cubicBezTo>
                <a:cubicBezTo>
                  <a:pt x="23913" y="204728"/>
                  <a:pt x="23913" y="204728"/>
                  <a:pt x="23913" y="204728"/>
                </a:cubicBezTo>
                <a:cubicBezTo>
                  <a:pt x="23606" y="204728"/>
                  <a:pt x="23606" y="204728"/>
                  <a:pt x="23606" y="204421"/>
                </a:cubicBezTo>
                <a:cubicBezTo>
                  <a:pt x="23606" y="204115"/>
                  <a:pt x="23606" y="203809"/>
                  <a:pt x="23913" y="203809"/>
                </a:cubicBezTo>
                <a:cubicBezTo>
                  <a:pt x="24219" y="203809"/>
                  <a:pt x="24526" y="203503"/>
                  <a:pt x="24526" y="203503"/>
                </a:cubicBezTo>
                <a:cubicBezTo>
                  <a:pt x="24833" y="203503"/>
                  <a:pt x="25140" y="203809"/>
                  <a:pt x="25446" y="203809"/>
                </a:cubicBezTo>
                <a:cubicBezTo>
                  <a:pt x="25753" y="203809"/>
                  <a:pt x="26060" y="204115"/>
                  <a:pt x="26367" y="204115"/>
                </a:cubicBezTo>
                <a:cubicBezTo>
                  <a:pt x="26673" y="204115"/>
                  <a:pt x="26673" y="204115"/>
                  <a:pt x="26673" y="203809"/>
                </a:cubicBezTo>
                <a:cubicBezTo>
                  <a:pt x="27287" y="203196"/>
                  <a:pt x="27287" y="203196"/>
                  <a:pt x="27287" y="203196"/>
                </a:cubicBezTo>
                <a:cubicBezTo>
                  <a:pt x="27287" y="202890"/>
                  <a:pt x="27287" y="202890"/>
                  <a:pt x="27287" y="202584"/>
                </a:cubicBezTo>
                <a:cubicBezTo>
                  <a:pt x="26980" y="202584"/>
                  <a:pt x="26980" y="202584"/>
                  <a:pt x="26980" y="202584"/>
                </a:cubicBezTo>
                <a:cubicBezTo>
                  <a:pt x="26980" y="202277"/>
                  <a:pt x="26367" y="202277"/>
                  <a:pt x="26060" y="201971"/>
                </a:cubicBezTo>
                <a:cubicBezTo>
                  <a:pt x="25753" y="201971"/>
                  <a:pt x="25140" y="201971"/>
                  <a:pt x="24526" y="201971"/>
                </a:cubicBezTo>
                <a:cubicBezTo>
                  <a:pt x="24219" y="201971"/>
                  <a:pt x="23913" y="201971"/>
                  <a:pt x="23299" y="201971"/>
                </a:cubicBezTo>
                <a:close/>
                <a:moveTo>
                  <a:pt x="15631" y="201971"/>
                </a:moveTo>
                <a:cubicBezTo>
                  <a:pt x="15018" y="202277"/>
                  <a:pt x="14711" y="202277"/>
                  <a:pt x="14404" y="202584"/>
                </a:cubicBezTo>
                <a:cubicBezTo>
                  <a:pt x="14097" y="202890"/>
                  <a:pt x="14097" y="203196"/>
                  <a:pt x="13791" y="203503"/>
                </a:cubicBezTo>
                <a:cubicBezTo>
                  <a:pt x="13791" y="203809"/>
                  <a:pt x="13484" y="204115"/>
                  <a:pt x="13484" y="204728"/>
                </a:cubicBezTo>
                <a:cubicBezTo>
                  <a:pt x="13484" y="208097"/>
                  <a:pt x="13484" y="208097"/>
                  <a:pt x="13484" y="208097"/>
                </a:cubicBezTo>
                <a:cubicBezTo>
                  <a:pt x="13484" y="208709"/>
                  <a:pt x="13791" y="209016"/>
                  <a:pt x="13791" y="209322"/>
                </a:cubicBezTo>
                <a:cubicBezTo>
                  <a:pt x="14097" y="209628"/>
                  <a:pt x="14097" y="209935"/>
                  <a:pt x="14404" y="210241"/>
                </a:cubicBezTo>
                <a:cubicBezTo>
                  <a:pt x="14711" y="210547"/>
                  <a:pt x="15018" y="210547"/>
                  <a:pt x="15631" y="210853"/>
                </a:cubicBezTo>
                <a:cubicBezTo>
                  <a:pt x="15938" y="210853"/>
                  <a:pt x="16245" y="210853"/>
                  <a:pt x="16858" y="210853"/>
                </a:cubicBezTo>
                <a:cubicBezTo>
                  <a:pt x="17165" y="210853"/>
                  <a:pt x="17778" y="210853"/>
                  <a:pt x="18085" y="210853"/>
                </a:cubicBezTo>
                <a:cubicBezTo>
                  <a:pt x="18392" y="210547"/>
                  <a:pt x="18698" y="210547"/>
                  <a:pt x="19005" y="210241"/>
                </a:cubicBezTo>
                <a:cubicBezTo>
                  <a:pt x="19312" y="209935"/>
                  <a:pt x="19619" y="209628"/>
                  <a:pt x="19619" y="209322"/>
                </a:cubicBezTo>
                <a:cubicBezTo>
                  <a:pt x="19925" y="209016"/>
                  <a:pt x="19925" y="208709"/>
                  <a:pt x="19925" y="208097"/>
                </a:cubicBezTo>
                <a:cubicBezTo>
                  <a:pt x="19925" y="204728"/>
                  <a:pt x="19925" y="204728"/>
                  <a:pt x="19925" y="204728"/>
                </a:cubicBezTo>
                <a:cubicBezTo>
                  <a:pt x="19925" y="204115"/>
                  <a:pt x="19925" y="203809"/>
                  <a:pt x="19619" y="203503"/>
                </a:cubicBezTo>
                <a:cubicBezTo>
                  <a:pt x="19619" y="203196"/>
                  <a:pt x="19312" y="202890"/>
                  <a:pt x="19005" y="202584"/>
                </a:cubicBezTo>
                <a:cubicBezTo>
                  <a:pt x="18698" y="202277"/>
                  <a:pt x="18392" y="202277"/>
                  <a:pt x="18085" y="201971"/>
                </a:cubicBezTo>
                <a:cubicBezTo>
                  <a:pt x="17778" y="201971"/>
                  <a:pt x="17165" y="201971"/>
                  <a:pt x="16858" y="201971"/>
                </a:cubicBezTo>
                <a:cubicBezTo>
                  <a:pt x="16245" y="201971"/>
                  <a:pt x="15938" y="201971"/>
                  <a:pt x="15631" y="201971"/>
                </a:cubicBezTo>
                <a:close/>
                <a:moveTo>
                  <a:pt x="5509" y="201971"/>
                </a:moveTo>
                <a:cubicBezTo>
                  <a:pt x="5202" y="202277"/>
                  <a:pt x="5202" y="202277"/>
                  <a:pt x="5202" y="202277"/>
                </a:cubicBezTo>
                <a:cubicBezTo>
                  <a:pt x="5202" y="210547"/>
                  <a:pt x="5202" y="210547"/>
                  <a:pt x="5202" y="210547"/>
                </a:cubicBezTo>
                <a:cubicBezTo>
                  <a:pt x="5202" y="210853"/>
                  <a:pt x="5509" y="210853"/>
                  <a:pt x="5509" y="210853"/>
                </a:cubicBezTo>
                <a:cubicBezTo>
                  <a:pt x="7043" y="210853"/>
                  <a:pt x="7043" y="210853"/>
                  <a:pt x="7043" y="210853"/>
                </a:cubicBezTo>
                <a:cubicBezTo>
                  <a:pt x="7349" y="210853"/>
                  <a:pt x="7349" y="210853"/>
                  <a:pt x="7349" y="210547"/>
                </a:cubicBezTo>
                <a:cubicBezTo>
                  <a:pt x="7349" y="207484"/>
                  <a:pt x="7349" y="207484"/>
                  <a:pt x="7349" y="207484"/>
                </a:cubicBezTo>
                <a:cubicBezTo>
                  <a:pt x="7349" y="207178"/>
                  <a:pt x="7349" y="207178"/>
                  <a:pt x="7349" y="207178"/>
                </a:cubicBezTo>
                <a:cubicBezTo>
                  <a:pt x="7349" y="207178"/>
                  <a:pt x="7656" y="207178"/>
                  <a:pt x="7656" y="207178"/>
                </a:cubicBezTo>
                <a:cubicBezTo>
                  <a:pt x="9497" y="207178"/>
                  <a:pt x="9497" y="207178"/>
                  <a:pt x="9497" y="207178"/>
                </a:cubicBezTo>
                <a:cubicBezTo>
                  <a:pt x="9803" y="207178"/>
                  <a:pt x="9803" y="207178"/>
                  <a:pt x="9803" y="207178"/>
                </a:cubicBezTo>
                <a:cubicBezTo>
                  <a:pt x="9803" y="207484"/>
                  <a:pt x="9803" y="207484"/>
                  <a:pt x="9803" y="207484"/>
                </a:cubicBezTo>
                <a:cubicBezTo>
                  <a:pt x="9803" y="210547"/>
                  <a:pt x="9803" y="210547"/>
                  <a:pt x="9803" y="210547"/>
                </a:cubicBezTo>
                <a:cubicBezTo>
                  <a:pt x="9803" y="210853"/>
                  <a:pt x="9803" y="210853"/>
                  <a:pt x="10110" y="210853"/>
                </a:cubicBezTo>
                <a:cubicBezTo>
                  <a:pt x="11644" y="210853"/>
                  <a:pt x="11644" y="210853"/>
                  <a:pt x="11644" y="210853"/>
                </a:cubicBezTo>
                <a:cubicBezTo>
                  <a:pt x="11644" y="210853"/>
                  <a:pt x="11950" y="210853"/>
                  <a:pt x="11950" y="210547"/>
                </a:cubicBezTo>
                <a:cubicBezTo>
                  <a:pt x="11950" y="202277"/>
                  <a:pt x="11950" y="202277"/>
                  <a:pt x="11950" y="202277"/>
                </a:cubicBezTo>
                <a:cubicBezTo>
                  <a:pt x="11644" y="201971"/>
                  <a:pt x="11644" y="201971"/>
                  <a:pt x="11644" y="201971"/>
                </a:cubicBezTo>
                <a:cubicBezTo>
                  <a:pt x="10110" y="201971"/>
                  <a:pt x="10110" y="201971"/>
                  <a:pt x="10110" y="201971"/>
                </a:cubicBezTo>
                <a:cubicBezTo>
                  <a:pt x="9803" y="201971"/>
                  <a:pt x="9803" y="201971"/>
                  <a:pt x="9803" y="201971"/>
                </a:cubicBezTo>
                <a:cubicBezTo>
                  <a:pt x="9803" y="202277"/>
                  <a:pt x="9803" y="202277"/>
                  <a:pt x="9803" y="202277"/>
                </a:cubicBezTo>
                <a:cubicBezTo>
                  <a:pt x="9803" y="205034"/>
                  <a:pt x="9803" y="205034"/>
                  <a:pt x="9803" y="205034"/>
                </a:cubicBezTo>
                <a:cubicBezTo>
                  <a:pt x="9803" y="205034"/>
                  <a:pt x="9803" y="205340"/>
                  <a:pt x="9803" y="205340"/>
                </a:cubicBezTo>
                <a:cubicBezTo>
                  <a:pt x="9497" y="205340"/>
                  <a:pt x="9497" y="205340"/>
                  <a:pt x="9497" y="205340"/>
                </a:cubicBezTo>
                <a:cubicBezTo>
                  <a:pt x="7656" y="205340"/>
                  <a:pt x="7656" y="205340"/>
                  <a:pt x="7656" y="205340"/>
                </a:cubicBezTo>
                <a:cubicBezTo>
                  <a:pt x="7349" y="205340"/>
                  <a:pt x="7349" y="205340"/>
                  <a:pt x="7349" y="205340"/>
                </a:cubicBezTo>
                <a:cubicBezTo>
                  <a:pt x="7349" y="205340"/>
                  <a:pt x="7349" y="205034"/>
                  <a:pt x="7349" y="205034"/>
                </a:cubicBezTo>
                <a:cubicBezTo>
                  <a:pt x="7349" y="202277"/>
                  <a:pt x="7349" y="202277"/>
                  <a:pt x="7349" y="202277"/>
                </a:cubicBezTo>
                <a:cubicBezTo>
                  <a:pt x="7349" y="201971"/>
                  <a:pt x="7349" y="201971"/>
                  <a:pt x="7349" y="201971"/>
                </a:cubicBezTo>
                <a:cubicBezTo>
                  <a:pt x="7043" y="201971"/>
                  <a:pt x="7043" y="201971"/>
                  <a:pt x="7043" y="201971"/>
                </a:cubicBezTo>
                <a:cubicBezTo>
                  <a:pt x="5509" y="201971"/>
                  <a:pt x="5509" y="201971"/>
                  <a:pt x="5509" y="201971"/>
                </a:cubicBezTo>
                <a:close/>
                <a:moveTo>
                  <a:pt x="421101" y="200777"/>
                </a:moveTo>
                <a:cubicBezTo>
                  <a:pt x="424170" y="200777"/>
                  <a:pt x="429081" y="204128"/>
                  <a:pt x="429081" y="206870"/>
                </a:cubicBezTo>
                <a:cubicBezTo>
                  <a:pt x="429081" y="209307"/>
                  <a:pt x="424170" y="212963"/>
                  <a:pt x="421101" y="212963"/>
                </a:cubicBezTo>
                <a:cubicBezTo>
                  <a:pt x="418339" y="212963"/>
                  <a:pt x="415883" y="212049"/>
                  <a:pt x="414348" y="211135"/>
                </a:cubicBezTo>
                <a:cubicBezTo>
                  <a:pt x="412507" y="209917"/>
                  <a:pt x="411586" y="208393"/>
                  <a:pt x="411586" y="206870"/>
                </a:cubicBezTo>
                <a:cubicBezTo>
                  <a:pt x="411586" y="203519"/>
                  <a:pt x="415883" y="200777"/>
                  <a:pt x="421101" y="200777"/>
                </a:cubicBezTo>
                <a:close/>
                <a:moveTo>
                  <a:pt x="418339" y="199559"/>
                </a:moveTo>
                <a:cubicBezTo>
                  <a:pt x="419259" y="199559"/>
                  <a:pt x="420180" y="199864"/>
                  <a:pt x="421101" y="199864"/>
                </a:cubicBezTo>
                <a:cubicBezTo>
                  <a:pt x="415269" y="199864"/>
                  <a:pt x="410665" y="202910"/>
                  <a:pt x="410665" y="206870"/>
                </a:cubicBezTo>
                <a:cubicBezTo>
                  <a:pt x="410665" y="208698"/>
                  <a:pt x="411893" y="210526"/>
                  <a:pt x="413735" y="211744"/>
                </a:cubicBezTo>
                <a:cubicBezTo>
                  <a:pt x="415576" y="212963"/>
                  <a:pt x="418339" y="213572"/>
                  <a:pt x="421101" y="213572"/>
                </a:cubicBezTo>
                <a:cubicBezTo>
                  <a:pt x="420180" y="213877"/>
                  <a:pt x="419259" y="213877"/>
                  <a:pt x="418339" y="213877"/>
                </a:cubicBezTo>
                <a:cubicBezTo>
                  <a:pt x="413735" y="213877"/>
                  <a:pt x="409744" y="212049"/>
                  <a:pt x="408210" y="209307"/>
                </a:cubicBezTo>
                <a:cubicBezTo>
                  <a:pt x="384269" y="209307"/>
                  <a:pt x="384269" y="209307"/>
                  <a:pt x="384269" y="209307"/>
                </a:cubicBezTo>
                <a:cubicBezTo>
                  <a:pt x="383348" y="209307"/>
                  <a:pt x="382734" y="208698"/>
                  <a:pt x="382734" y="207784"/>
                </a:cubicBezTo>
                <a:cubicBezTo>
                  <a:pt x="382734" y="205652"/>
                  <a:pt x="382734" y="205652"/>
                  <a:pt x="382734" y="205652"/>
                </a:cubicBezTo>
                <a:cubicBezTo>
                  <a:pt x="382734" y="205042"/>
                  <a:pt x="383348" y="204128"/>
                  <a:pt x="384269" y="204128"/>
                </a:cubicBezTo>
                <a:lnTo>
                  <a:pt x="408210" y="204128"/>
                </a:lnTo>
                <a:cubicBezTo>
                  <a:pt x="409744" y="201691"/>
                  <a:pt x="413735" y="199559"/>
                  <a:pt x="418339" y="199559"/>
                </a:cubicBezTo>
                <a:close/>
                <a:moveTo>
                  <a:pt x="266736" y="198876"/>
                </a:moveTo>
                <a:cubicBezTo>
                  <a:pt x="266736" y="198876"/>
                  <a:pt x="266430" y="198876"/>
                  <a:pt x="266430" y="199182"/>
                </a:cubicBezTo>
                <a:cubicBezTo>
                  <a:pt x="266430" y="199182"/>
                  <a:pt x="266736" y="199489"/>
                  <a:pt x="266736" y="199489"/>
                </a:cubicBezTo>
                <a:cubicBezTo>
                  <a:pt x="274080" y="199489"/>
                  <a:pt x="274080" y="199489"/>
                  <a:pt x="274080" y="199489"/>
                </a:cubicBezTo>
                <a:cubicBezTo>
                  <a:pt x="274080" y="199489"/>
                  <a:pt x="274386" y="199182"/>
                  <a:pt x="274386" y="199182"/>
                </a:cubicBezTo>
                <a:cubicBezTo>
                  <a:pt x="274386" y="198876"/>
                  <a:pt x="274080" y="198876"/>
                  <a:pt x="274080" y="198876"/>
                </a:cubicBezTo>
                <a:cubicBezTo>
                  <a:pt x="266736" y="198876"/>
                  <a:pt x="266736" y="198876"/>
                  <a:pt x="266736" y="198876"/>
                </a:cubicBezTo>
                <a:close/>
                <a:moveTo>
                  <a:pt x="438409" y="198605"/>
                </a:moveTo>
                <a:cubicBezTo>
                  <a:pt x="438409" y="198605"/>
                  <a:pt x="438102" y="198911"/>
                  <a:pt x="438102" y="199218"/>
                </a:cubicBezTo>
                <a:cubicBezTo>
                  <a:pt x="438102" y="210561"/>
                  <a:pt x="438102" y="210561"/>
                  <a:pt x="438102" y="210561"/>
                </a:cubicBezTo>
                <a:cubicBezTo>
                  <a:pt x="438102" y="210867"/>
                  <a:pt x="438409" y="210867"/>
                  <a:pt x="438409" y="210867"/>
                </a:cubicBezTo>
                <a:cubicBezTo>
                  <a:pt x="438716" y="210867"/>
                  <a:pt x="439023" y="210867"/>
                  <a:pt x="439023" y="210561"/>
                </a:cubicBezTo>
                <a:cubicBezTo>
                  <a:pt x="439023" y="199218"/>
                  <a:pt x="439023" y="199218"/>
                  <a:pt x="439023" y="199218"/>
                </a:cubicBezTo>
                <a:cubicBezTo>
                  <a:pt x="439023" y="198911"/>
                  <a:pt x="438716" y="198605"/>
                  <a:pt x="438409" y="198605"/>
                </a:cubicBezTo>
                <a:close/>
                <a:moveTo>
                  <a:pt x="439383" y="197431"/>
                </a:moveTo>
                <a:lnTo>
                  <a:pt x="440447" y="198494"/>
                </a:lnTo>
                <a:lnTo>
                  <a:pt x="440181" y="197697"/>
                </a:lnTo>
                <a:close/>
                <a:moveTo>
                  <a:pt x="435791" y="197320"/>
                </a:moveTo>
                <a:lnTo>
                  <a:pt x="434660" y="197697"/>
                </a:lnTo>
                <a:lnTo>
                  <a:pt x="434196" y="199090"/>
                </a:lnTo>
                <a:close/>
                <a:moveTo>
                  <a:pt x="266736" y="196425"/>
                </a:moveTo>
                <a:cubicBezTo>
                  <a:pt x="266736" y="196425"/>
                  <a:pt x="266430" y="196732"/>
                  <a:pt x="266430" y="196732"/>
                </a:cubicBezTo>
                <a:cubicBezTo>
                  <a:pt x="266430" y="197038"/>
                  <a:pt x="266736" y="197038"/>
                  <a:pt x="266736" y="197038"/>
                </a:cubicBezTo>
                <a:cubicBezTo>
                  <a:pt x="274080" y="197038"/>
                  <a:pt x="274080" y="197038"/>
                  <a:pt x="274080" y="197038"/>
                </a:cubicBezTo>
                <a:cubicBezTo>
                  <a:pt x="274080" y="197038"/>
                  <a:pt x="274386" y="197038"/>
                  <a:pt x="274386" y="196732"/>
                </a:cubicBezTo>
                <a:cubicBezTo>
                  <a:pt x="274386" y="196732"/>
                  <a:pt x="274080" y="196425"/>
                  <a:pt x="274080" y="196425"/>
                </a:cubicBezTo>
                <a:cubicBezTo>
                  <a:pt x="266736" y="196425"/>
                  <a:pt x="266736" y="196425"/>
                  <a:pt x="266736" y="196425"/>
                </a:cubicBezTo>
                <a:close/>
                <a:moveTo>
                  <a:pt x="436501" y="196164"/>
                </a:moveTo>
                <a:cubicBezTo>
                  <a:pt x="438341" y="196164"/>
                  <a:pt x="438341" y="196164"/>
                  <a:pt x="438341" y="196164"/>
                </a:cubicBezTo>
                <a:cubicBezTo>
                  <a:pt x="439261" y="196164"/>
                  <a:pt x="440181" y="196470"/>
                  <a:pt x="440795" y="197084"/>
                </a:cubicBezTo>
                <a:cubicBezTo>
                  <a:pt x="441408" y="197697"/>
                  <a:pt x="441715" y="198617"/>
                  <a:pt x="441715" y="199536"/>
                </a:cubicBezTo>
                <a:cubicBezTo>
                  <a:pt x="441715" y="216399"/>
                  <a:pt x="441715" y="216399"/>
                  <a:pt x="441715" y="216399"/>
                </a:cubicBezTo>
                <a:cubicBezTo>
                  <a:pt x="441715" y="216705"/>
                  <a:pt x="442022" y="217318"/>
                  <a:pt x="442022" y="217625"/>
                </a:cubicBezTo>
                <a:cubicBezTo>
                  <a:pt x="442328" y="217932"/>
                  <a:pt x="442635" y="218238"/>
                  <a:pt x="443249" y="218545"/>
                </a:cubicBezTo>
                <a:cubicBezTo>
                  <a:pt x="444476" y="219158"/>
                  <a:pt x="445396" y="220078"/>
                  <a:pt x="446316" y="221611"/>
                </a:cubicBezTo>
                <a:cubicBezTo>
                  <a:pt x="446930" y="222837"/>
                  <a:pt x="447236" y="224063"/>
                  <a:pt x="447236" y="225596"/>
                </a:cubicBezTo>
                <a:cubicBezTo>
                  <a:pt x="447236" y="309294"/>
                  <a:pt x="447236" y="309294"/>
                  <a:pt x="447236" y="309294"/>
                </a:cubicBezTo>
                <a:cubicBezTo>
                  <a:pt x="447236" y="312054"/>
                  <a:pt x="446316" y="314506"/>
                  <a:pt x="444476" y="316346"/>
                </a:cubicBezTo>
                <a:cubicBezTo>
                  <a:pt x="442635" y="318186"/>
                  <a:pt x="440181" y="319412"/>
                  <a:pt x="437421" y="319412"/>
                </a:cubicBezTo>
                <a:cubicBezTo>
                  <a:pt x="434660" y="319412"/>
                  <a:pt x="432206" y="318186"/>
                  <a:pt x="430366" y="316346"/>
                </a:cubicBezTo>
                <a:cubicBezTo>
                  <a:pt x="428832" y="314506"/>
                  <a:pt x="427605" y="312054"/>
                  <a:pt x="427605" y="309294"/>
                </a:cubicBezTo>
                <a:cubicBezTo>
                  <a:pt x="427605" y="225596"/>
                  <a:pt x="427605" y="225596"/>
                  <a:pt x="427605" y="225596"/>
                </a:cubicBezTo>
                <a:cubicBezTo>
                  <a:pt x="427605" y="224063"/>
                  <a:pt x="427912" y="222530"/>
                  <a:pt x="428832" y="221304"/>
                </a:cubicBezTo>
                <a:cubicBezTo>
                  <a:pt x="429446" y="220078"/>
                  <a:pt x="430673" y="219158"/>
                  <a:pt x="431900" y="218545"/>
                </a:cubicBezTo>
                <a:cubicBezTo>
                  <a:pt x="432206" y="218238"/>
                  <a:pt x="432513" y="217932"/>
                  <a:pt x="432820" y="217625"/>
                </a:cubicBezTo>
                <a:cubicBezTo>
                  <a:pt x="433126" y="217012"/>
                  <a:pt x="433126" y="216705"/>
                  <a:pt x="433126" y="216092"/>
                </a:cubicBezTo>
                <a:cubicBezTo>
                  <a:pt x="433126" y="199536"/>
                  <a:pt x="433126" y="199536"/>
                  <a:pt x="433126" y="199536"/>
                </a:cubicBezTo>
                <a:cubicBezTo>
                  <a:pt x="433126" y="198617"/>
                  <a:pt x="433433" y="197697"/>
                  <a:pt x="434047" y="197084"/>
                </a:cubicBezTo>
                <a:cubicBezTo>
                  <a:pt x="434660" y="196470"/>
                  <a:pt x="435580" y="196164"/>
                  <a:pt x="436501" y="196164"/>
                </a:cubicBezTo>
                <a:close/>
                <a:moveTo>
                  <a:pt x="247684" y="194983"/>
                </a:moveTo>
                <a:cubicBezTo>
                  <a:pt x="249524" y="206302"/>
                  <a:pt x="255353" y="212114"/>
                  <a:pt x="255353" y="217621"/>
                </a:cubicBezTo>
                <a:cubicBezTo>
                  <a:pt x="255353" y="232917"/>
                  <a:pt x="239707" y="232917"/>
                  <a:pt x="239707" y="217621"/>
                </a:cubicBezTo>
                <a:cubicBezTo>
                  <a:pt x="239707" y="212114"/>
                  <a:pt x="245536" y="206302"/>
                  <a:pt x="247684" y="194983"/>
                </a:cubicBezTo>
                <a:close/>
                <a:moveTo>
                  <a:pt x="266736" y="194281"/>
                </a:moveTo>
                <a:cubicBezTo>
                  <a:pt x="266736" y="194281"/>
                  <a:pt x="266430" y="194281"/>
                  <a:pt x="266430" y="194587"/>
                </a:cubicBezTo>
                <a:cubicBezTo>
                  <a:pt x="266430" y="194587"/>
                  <a:pt x="266736" y="194894"/>
                  <a:pt x="266736" y="194894"/>
                </a:cubicBezTo>
                <a:cubicBezTo>
                  <a:pt x="274080" y="194894"/>
                  <a:pt x="274080" y="194894"/>
                  <a:pt x="274080" y="194894"/>
                </a:cubicBezTo>
                <a:cubicBezTo>
                  <a:pt x="274080" y="194894"/>
                  <a:pt x="274386" y="194587"/>
                  <a:pt x="274386" y="194587"/>
                </a:cubicBezTo>
                <a:cubicBezTo>
                  <a:pt x="274386" y="194281"/>
                  <a:pt x="274080" y="194281"/>
                  <a:pt x="274080" y="194281"/>
                </a:cubicBezTo>
                <a:cubicBezTo>
                  <a:pt x="266736" y="194281"/>
                  <a:pt x="266736" y="194281"/>
                  <a:pt x="266736" y="194281"/>
                </a:cubicBezTo>
                <a:close/>
                <a:moveTo>
                  <a:pt x="292844" y="193360"/>
                </a:moveTo>
                <a:lnTo>
                  <a:pt x="292844" y="220076"/>
                </a:lnTo>
                <a:lnTo>
                  <a:pt x="293775" y="220076"/>
                </a:lnTo>
                <a:cubicBezTo>
                  <a:pt x="294080" y="220076"/>
                  <a:pt x="294385" y="220382"/>
                  <a:pt x="294385" y="220689"/>
                </a:cubicBezTo>
                <a:cubicBezTo>
                  <a:pt x="294385" y="226820"/>
                  <a:pt x="294385" y="226820"/>
                  <a:pt x="294385" y="226820"/>
                </a:cubicBezTo>
                <a:cubicBezTo>
                  <a:pt x="294690" y="226820"/>
                  <a:pt x="294690" y="226820"/>
                  <a:pt x="294690" y="226820"/>
                </a:cubicBezTo>
                <a:cubicBezTo>
                  <a:pt x="295301" y="226820"/>
                  <a:pt x="295606" y="227127"/>
                  <a:pt x="295606" y="227740"/>
                </a:cubicBezTo>
                <a:cubicBezTo>
                  <a:pt x="295606" y="232951"/>
                  <a:pt x="295606" y="232951"/>
                  <a:pt x="295606" y="232951"/>
                </a:cubicBezTo>
                <a:lnTo>
                  <a:pt x="297132" y="232951"/>
                </a:lnTo>
                <a:cubicBezTo>
                  <a:pt x="297437" y="232951"/>
                  <a:pt x="297437" y="232951"/>
                  <a:pt x="297437" y="232951"/>
                </a:cubicBezTo>
                <a:cubicBezTo>
                  <a:pt x="297437" y="232951"/>
                  <a:pt x="297743" y="232951"/>
                  <a:pt x="297743" y="232951"/>
                </a:cubicBezTo>
                <a:cubicBezTo>
                  <a:pt x="298048" y="232951"/>
                  <a:pt x="298048" y="232951"/>
                  <a:pt x="298048" y="232951"/>
                </a:cubicBezTo>
                <a:cubicBezTo>
                  <a:pt x="298048" y="232951"/>
                  <a:pt x="298048" y="232951"/>
                  <a:pt x="298048" y="233258"/>
                </a:cubicBezTo>
                <a:cubicBezTo>
                  <a:pt x="298353" y="233258"/>
                  <a:pt x="298353" y="233258"/>
                  <a:pt x="298353" y="233258"/>
                </a:cubicBezTo>
                <a:cubicBezTo>
                  <a:pt x="298353" y="233565"/>
                  <a:pt x="298353" y="233565"/>
                  <a:pt x="298353" y="233565"/>
                </a:cubicBezTo>
                <a:cubicBezTo>
                  <a:pt x="298353" y="233871"/>
                  <a:pt x="298353" y="233871"/>
                  <a:pt x="298353" y="234178"/>
                </a:cubicBezTo>
                <a:cubicBezTo>
                  <a:pt x="298353" y="253184"/>
                  <a:pt x="298353" y="253184"/>
                  <a:pt x="298353" y="253184"/>
                </a:cubicBezTo>
                <a:cubicBezTo>
                  <a:pt x="298353" y="284147"/>
                  <a:pt x="298353" y="284147"/>
                  <a:pt x="298353" y="284147"/>
                </a:cubicBezTo>
                <a:cubicBezTo>
                  <a:pt x="299879" y="284147"/>
                  <a:pt x="299879" y="284147"/>
                  <a:pt x="299879" y="284147"/>
                </a:cubicBezTo>
                <a:cubicBezTo>
                  <a:pt x="300795" y="284147"/>
                  <a:pt x="301405" y="284760"/>
                  <a:pt x="301405" y="285680"/>
                </a:cubicBezTo>
                <a:cubicBezTo>
                  <a:pt x="301405" y="285987"/>
                  <a:pt x="301405" y="285987"/>
                  <a:pt x="301405" y="285987"/>
                </a:cubicBezTo>
                <a:cubicBezTo>
                  <a:pt x="301405" y="286906"/>
                  <a:pt x="300795" y="287826"/>
                  <a:pt x="299879" y="287826"/>
                </a:cubicBezTo>
                <a:lnTo>
                  <a:pt x="296827" y="287826"/>
                </a:lnTo>
                <a:lnTo>
                  <a:pt x="296827" y="290022"/>
                </a:lnTo>
                <a:cubicBezTo>
                  <a:pt x="296827" y="292514"/>
                  <a:pt x="296827" y="297498"/>
                  <a:pt x="296827" y="307465"/>
                </a:cubicBezTo>
                <a:cubicBezTo>
                  <a:pt x="296827" y="307465"/>
                  <a:pt x="296827" y="307465"/>
                  <a:pt x="299574" y="307465"/>
                </a:cubicBezTo>
                <a:cubicBezTo>
                  <a:pt x="300795" y="307465"/>
                  <a:pt x="301405" y="308386"/>
                  <a:pt x="301405" y="309306"/>
                </a:cubicBezTo>
                <a:cubicBezTo>
                  <a:pt x="301405" y="310532"/>
                  <a:pt x="300795" y="311146"/>
                  <a:pt x="299574" y="311146"/>
                </a:cubicBezTo>
                <a:cubicBezTo>
                  <a:pt x="299574" y="311146"/>
                  <a:pt x="299574" y="311146"/>
                  <a:pt x="285229" y="311146"/>
                </a:cubicBezTo>
                <a:cubicBezTo>
                  <a:pt x="284313" y="311146"/>
                  <a:pt x="283397" y="310532"/>
                  <a:pt x="283397" y="309306"/>
                </a:cubicBezTo>
                <a:cubicBezTo>
                  <a:pt x="283397" y="308386"/>
                  <a:pt x="284313" y="307465"/>
                  <a:pt x="285229" y="307465"/>
                </a:cubicBezTo>
                <a:cubicBezTo>
                  <a:pt x="285229" y="307465"/>
                  <a:pt x="285229" y="307465"/>
                  <a:pt x="288281" y="307465"/>
                </a:cubicBezTo>
                <a:cubicBezTo>
                  <a:pt x="288281" y="307465"/>
                  <a:pt x="288281" y="307465"/>
                  <a:pt x="288281" y="304973"/>
                </a:cubicBezTo>
                <a:lnTo>
                  <a:pt x="288281" y="287826"/>
                </a:lnTo>
                <a:lnTo>
                  <a:pt x="287060" y="287826"/>
                </a:lnTo>
                <a:cubicBezTo>
                  <a:pt x="285229" y="287826"/>
                  <a:pt x="285229" y="287826"/>
                  <a:pt x="285229" y="287826"/>
                </a:cubicBezTo>
                <a:cubicBezTo>
                  <a:pt x="284313" y="287826"/>
                  <a:pt x="283397" y="286906"/>
                  <a:pt x="283397" y="285987"/>
                </a:cubicBezTo>
                <a:cubicBezTo>
                  <a:pt x="283397" y="285680"/>
                  <a:pt x="283397" y="285680"/>
                  <a:pt x="283397" y="285680"/>
                </a:cubicBezTo>
                <a:cubicBezTo>
                  <a:pt x="283397" y="284760"/>
                  <a:pt x="284313" y="284147"/>
                  <a:pt x="285229" y="284147"/>
                </a:cubicBezTo>
                <a:cubicBezTo>
                  <a:pt x="286449" y="284147"/>
                  <a:pt x="286449" y="284147"/>
                  <a:pt x="286449" y="284147"/>
                </a:cubicBezTo>
                <a:cubicBezTo>
                  <a:pt x="286449" y="253184"/>
                  <a:pt x="286449" y="253184"/>
                  <a:pt x="286449" y="253184"/>
                </a:cubicBezTo>
                <a:cubicBezTo>
                  <a:pt x="286449" y="234178"/>
                  <a:pt x="286449" y="234178"/>
                  <a:pt x="286449" y="234178"/>
                </a:cubicBezTo>
                <a:cubicBezTo>
                  <a:pt x="286449" y="233871"/>
                  <a:pt x="286449" y="233871"/>
                  <a:pt x="286449" y="233565"/>
                </a:cubicBezTo>
                <a:cubicBezTo>
                  <a:pt x="286449" y="233565"/>
                  <a:pt x="286755" y="233565"/>
                  <a:pt x="286755" y="233258"/>
                </a:cubicBezTo>
                <a:cubicBezTo>
                  <a:pt x="286755" y="233258"/>
                  <a:pt x="287060" y="233258"/>
                  <a:pt x="287060" y="233258"/>
                </a:cubicBezTo>
                <a:cubicBezTo>
                  <a:pt x="287060" y="232951"/>
                  <a:pt x="287060" y="232951"/>
                  <a:pt x="287060" y="232951"/>
                </a:cubicBezTo>
                <a:cubicBezTo>
                  <a:pt x="287365" y="232951"/>
                  <a:pt x="287365" y="232951"/>
                  <a:pt x="287670" y="232951"/>
                </a:cubicBezTo>
                <a:cubicBezTo>
                  <a:pt x="289196" y="232951"/>
                  <a:pt x="289196" y="232951"/>
                  <a:pt x="289196" y="232951"/>
                </a:cubicBezTo>
                <a:cubicBezTo>
                  <a:pt x="289196" y="227740"/>
                  <a:pt x="289196" y="227740"/>
                  <a:pt x="289196" y="227740"/>
                </a:cubicBezTo>
                <a:cubicBezTo>
                  <a:pt x="289196" y="227127"/>
                  <a:pt x="289807" y="226820"/>
                  <a:pt x="290112" y="226820"/>
                </a:cubicBezTo>
                <a:cubicBezTo>
                  <a:pt x="290417" y="226820"/>
                  <a:pt x="290417" y="226820"/>
                  <a:pt x="290417" y="226820"/>
                </a:cubicBezTo>
                <a:cubicBezTo>
                  <a:pt x="290417" y="220689"/>
                  <a:pt x="290417" y="220689"/>
                  <a:pt x="290417" y="220689"/>
                </a:cubicBezTo>
                <a:cubicBezTo>
                  <a:pt x="290417" y="220382"/>
                  <a:pt x="290723" y="220076"/>
                  <a:pt x="291333" y="220076"/>
                </a:cubicBezTo>
                <a:lnTo>
                  <a:pt x="291958" y="220076"/>
                </a:lnTo>
                <a:lnTo>
                  <a:pt x="291958" y="194983"/>
                </a:lnTo>
                <a:close/>
                <a:moveTo>
                  <a:pt x="220318" y="191945"/>
                </a:moveTo>
                <a:cubicBezTo>
                  <a:pt x="225405" y="193518"/>
                  <a:pt x="229666" y="196748"/>
                  <a:pt x="231888" y="201314"/>
                </a:cubicBezTo>
                <a:lnTo>
                  <a:pt x="233065" y="210629"/>
                </a:lnTo>
                <a:lnTo>
                  <a:pt x="236064" y="210629"/>
                </a:lnTo>
                <a:cubicBezTo>
                  <a:pt x="237003" y="210629"/>
                  <a:pt x="237003" y="210629"/>
                  <a:pt x="237003" y="210629"/>
                </a:cubicBezTo>
                <a:cubicBezTo>
                  <a:pt x="237617" y="210629"/>
                  <a:pt x="238230" y="211238"/>
                  <a:pt x="238230" y="211847"/>
                </a:cubicBezTo>
                <a:cubicBezTo>
                  <a:pt x="238230" y="212760"/>
                  <a:pt x="237617" y="213369"/>
                  <a:pt x="237003" y="213369"/>
                </a:cubicBezTo>
                <a:cubicBezTo>
                  <a:pt x="236390" y="213369"/>
                  <a:pt x="236390" y="213369"/>
                  <a:pt x="236390" y="213369"/>
                </a:cubicBezTo>
                <a:cubicBezTo>
                  <a:pt x="236236" y="216718"/>
                  <a:pt x="232862" y="219686"/>
                  <a:pt x="227531" y="221817"/>
                </a:cubicBezTo>
                <a:lnTo>
                  <a:pt x="227046" y="221898"/>
                </a:lnTo>
                <a:lnTo>
                  <a:pt x="223128" y="228060"/>
                </a:lnTo>
                <a:cubicBezTo>
                  <a:pt x="219446" y="230817"/>
                  <a:pt x="215764" y="232349"/>
                  <a:pt x="211468" y="234493"/>
                </a:cubicBezTo>
                <a:lnTo>
                  <a:pt x="208712" y="236022"/>
                </a:lnTo>
                <a:lnTo>
                  <a:pt x="208712" y="244141"/>
                </a:lnTo>
                <a:cubicBezTo>
                  <a:pt x="208712" y="248487"/>
                  <a:pt x="208712" y="251384"/>
                  <a:pt x="208712" y="253316"/>
                </a:cubicBezTo>
                <a:lnTo>
                  <a:pt x="208712" y="255181"/>
                </a:lnTo>
                <a:lnTo>
                  <a:pt x="213616" y="259918"/>
                </a:lnTo>
                <a:lnTo>
                  <a:pt x="212633" y="261941"/>
                </a:lnTo>
                <a:lnTo>
                  <a:pt x="212995" y="262380"/>
                </a:lnTo>
                <a:cubicBezTo>
                  <a:pt x="217891" y="263298"/>
                  <a:pt x="221256" y="265440"/>
                  <a:pt x="221256" y="267888"/>
                </a:cubicBezTo>
                <a:cubicBezTo>
                  <a:pt x="221256" y="268194"/>
                  <a:pt x="221256" y="268194"/>
                  <a:pt x="221256" y="268194"/>
                </a:cubicBezTo>
                <a:lnTo>
                  <a:pt x="209597" y="268194"/>
                </a:lnTo>
                <a:lnTo>
                  <a:pt x="208706" y="270027"/>
                </a:lnTo>
                <a:cubicBezTo>
                  <a:pt x="208092" y="270333"/>
                  <a:pt x="207479" y="270946"/>
                  <a:pt x="206865" y="271252"/>
                </a:cubicBezTo>
                <a:cubicBezTo>
                  <a:pt x="205331" y="272171"/>
                  <a:pt x="202876" y="273090"/>
                  <a:pt x="201955" y="274928"/>
                </a:cubicBezTo>
                <a:cubicBezTo>
                  <a:pt x="201955" y="275235"/>
                  <a:pt x="201342" y="276460"/>
                  <a:pt x="201035" y="276460"/>
                </a:cubicBezTo>
                <a:cubicBezTo>
                  <a:pt x="200421" y="276154"/>
                  <a:pt x="200728" y="275235"/>
                  <a:pt x="201342" y="274316"/>
                </a:cubicBezTo>
                <a:cubicBezTo>
                  <a:pt x="201955" y="273703"/>
                  <a:pt x="202569" y="273090"/>
                  <a:pt x="203183" y="272784"/>
                </a:cubicBezTo>
                <a:cubicBezTo>
                  <a:pt x="204103" y="271865"/>
                  <a:pt x="205024" y="271252"/>
                  <a:pt x="205331" y="270946"/>
                </a:cubicBezTo>
                <a:lnTo>
                  <a:pt x="208088" y="268194"/>
                </a:lnTo>
                <a:lnTo>
                  <a:pt x="204452" y="268194"/>
                </a:lnTo>
                <a:cubicBezTo>
                  <a:pt x="192189" y="268194"/>
                  <a:pt x="192189" y="268194"/>
                  <a:pt x="192189" y="268194"/>
                </a:cubicBezTo>
                <a:cubicBezTo>
                  <a:pt x="191883" y="268194"/>
                  <a:pt x="191883" y="268194"/>
                  <a:pt x="191883" y="267888"/>
                </a:cubicBezTo>
                <a:cubicBezTo>
                  <a:pt x="191883" y="265440"/>
                  <a:pt x="195555" y="263298"/>
                  <a:pt x="200756" y="262380"/>
                </a:cubicBezTo>
                <a:cubicBezTo>
                  <a:pt x="203204" y="261768"/>
                  <a:pt x="205040" y="259626"/>
                  <a:pt x="205040" y="257179"/>
                </a:cubicBezTo>
                <a:lnTo>
                  <a:pt x="205040" y="254737"/>
                </a:lnTo>
                <a:lnTo>
                  <a:pt x="201342" y="251954"/>
                </a:lnTo>
                <a:cubicBezTo>
                  <a:pt x="198580" y="249197"/>
                  <a:pt x="197046" y="246134"/>
                  <a:pt x="197966" y="242151"/>
                </a:cubicBezTo>
                <a:lnTo>
                  <a:pt x="205020" y="234006"/>
                </a:lnTo>
                <a:lnTo>
                  <a:pt x="205020" y="230851"/>
                </a:lnTo>
                <a:lnTo>
                  <a:pt x="205040" y="230851"/>
                </a:lnTo>
                <a:lnTo>
                  <a:pt x="205040" y="226275"/>
                </a:lnTo>
                <a:cubicBezTo>
                  <a:pt x="208712" y="226275"/>
                  <a:pt x="208712" y="226275"/>
                  <a:pt x="208712" y="226275"/>
                </a:cubicBezTo>
                <a:lnTo>
                  <a:pt x="208712" y="231824"/>
                </a:lnTo>
                <a:lnTo>
                  <a:pt x="215150" y="228060"/>
                </a:lnTo>
                <a:cubicBezTo>
                  <a:pt x="216684" y="227141"/>
                  <a:pt x="217912" y="226223"/>
                  <a:pt x="219446" y="225304"/>
                </a:cubicBezTo>
                <a:lnTo>
                  <a:pt x="221267" y="222859"/>
                </a:lnTo>
                <a:lnTo>
                  <a:pt x="206939" y="225242"/>
                </a:lnTo>
                <a:cubicBezTo>
                  <a:pt x="190986" y="225242"/>
                  <a:pt x="177795" y="220066"/>
                  <a:pt x="177181" y="213369"/>
                </a:cubicBezTo>
                <a:cubicBezTo>
                  <a:pt x="176874" y="213369"/>
                  <a:pt x="176874" y="213369"/>
                  <a:pt x="176874" y="213369"/>
                </a:cubicBezTo>
                <a:cubicBezTo>
                  <a:pt x="176261" y="213369"/>
                  <a:pt x="175647" y="212760"/>
                  <a:pt x="175647" y="211847"/>
                </a:cubicBezTo>
                <a:cubicBezTo>
                  <a:pt x="175647" y="211238"/>
                  <a:pt x="176261" y="210629"/>
                  <a:pt x="176874" y="210629"/>
                </a:cubicBezTo>
                <a:cubicBezTo>
                  <a:pt x="191907" y="210629"/>
                  <a:pt x="203181" y="210629"/>
                  <a:pt x="211636" y="210629"/>
                </a:cubicBezTo>
                <a:lnTo>
                  <a:pt x="228345" y="210629"/>
                </a:lnTo>
                <a:lnTo>
                  <a:pt x="228345" y="207537"/>
                </a:lnTo>
                <a:cubicBezTo>
                  <a:pt x="227117" y="200798"/>
                  <a:pt x="222515" y="195896"/>
                  <a:pt x="215150" y="194977"/>
                </a:cubicBezTo>
                <a:cubicBezTo>
                  <a:pt x="213923" y="194977"/>
                  <a:pt x="212695" y="194977"/>
                  <a:pt x="211468" y="195284"/>
                </a:cubicBezTo>
                <a:cubicBezTo>
                  <a:pt x="208706" y="195590"/>
                  <a:pt x="206558" y="196203"/>
                  <a:pt x="204103" y="198347"/>
                </a:cubicBezTo>
                <a:cubicBezTo>
                  <a:pt x="202876" y="202023"/>
                  <a:pt x="197966" y="207537"/>
                  <a:pt x="193670" y="206618"/>
                </a:cubicBezTo>
                <a:cubicBezTo>
                  <a:pt x="189681" y="206005"/>
                  <a:pt x="189374" y="198960"/>
                  <a:pt x="198887" y="194365"/>
                </a:cubicBezTo>
                <a:cubicBezTo>
                  <a:pt x="200421" y="193752"/>
                  <a:pt x="202262" y="193139"/>
                  <a:pt x="203796" y="192527"/>
                </a:cubicBezTo>
                <a:cubicBezTo>
                  <a:pt x="209320" y="190459"/>
                  <a:pt x="215232" y="190373"/>
                  <a:pt x="220318" y="191945"/>
                </a:cubicBezTo>
                <a:close/>
                <a:moveTo>
                  <a:pt x="263982" y="191830"/>
                </a:moveTo>
                <a:cubicBezTo>
                  <a:pt x="263982" y="191830"/>
                  <a:pt x="263676" y="191830"/>
                  <a:pt x="263676" y="192137"/>
                </a:cubicBezTo>
                <a:cubicBezTo>
                  <a:pt x="263676" y="192137"/>
                  <a:pt x="263982" y="192443"/>
                  <a:pt x="263982" y="192443"/>
                </a:cubicBezTo>
                <a:cubicBezTo>
                  <a:pt x="276834" y="192443"/>
                  <a:pt x="276834" y="192443"/>
                  <a:pt x="276834" y="192443"/>
                </a:cubicBezTo>
                <a:cubicBezTo>
                  <a:pt x="276834" y="192443"/>
                  <a:pt x="277140" y="192137"/>
                  <a:pt x="277140" y="192137"/>
                </a:cubicBezTo>
                <a:cubicBezTo>
                  <a:pt x="277140" y="191830"/>
                  <a:pt x="276834" y="191830"/>
                  <a:pt x="276834" y="191830"/>
                </a:cubicBezTo>
                <a:cubicBezTo>
                  <a:pt x="263982" y="191830"/>
                  <a:pt x="263982" y="191830"/>
                  <a:pt x="263982" y="191830"/>
                </a:cubicBezTo>
                <a:close/>
                <a:moveTo>
                  <a:pt x="107509" y="189745"/>
                </a:moveTo>
                <a:lnTo>
                  <a:pt x="106691" y="190811"/>
                </a:lnTo>
                <a:lnTo>
                  <a:pt x="107118" y="190622"/>
                </a:lnTo>
                <a:close/>
                <a:moveTo>
                  <a:pt x="266736" y="189379"/>
                </a:moveTo>
                <a:cubicBezTo>
                  <a:pt x="266736" y="189379"/>
                  <a:pt x="266430" y="189379"/>
                  <a:pt x="266430" y="189686"/>
                </a:cubicBezTo>
                <a:cubicBezTo>
                  <a:pt x="266430" y="189686"/>
                  <a:pt x="266736" y="189992"/>
                  <a:pt x="266736" y="189992"/>
                </a:cubicBezTo>
                <a:cubicBezTo>
                  <a:pt x="274080" y="189992"/>
                  <a:pt x="274080" y="189992"/>
                  <a:pt x="274080" y="189992"/>
                </a:cubicBezTo>
                <a:cubicBezTo>
                  <a:pt x="274080" y="189992"/>
                  <a:pt x="274386" y="189686"/>
                  <a:pt x="274386" y="189686"/>
                </a:cubicBezTo>
                <a:cubicBezTo>
                  <a:pt x="274386" y="189379"/>
                  <a:pt x="274080" y="189379"/>
                  <a:pt x="274080" y="189379"/>
                </a:cubicBezTo>
                <a:cubicBezTo>
                  <a:pt x="266736" y="189379"/>
                  <a:pt x="266736" y="189379"/>
                  <a:pt x="266736" y="189379"/>
                </a:cubicBezTo>
                <a:close/>
                <a:moveTo>
                  <a:pt x="77477" y="189257"/>
                </a:moveTo>
                <a:lnTo>
                  <a:pt x="76169" y="190961"/>
                </a:lnTo>
                <a:lnTo>
                  <a:pt x="77020" y="190622"/>
                </a:lnTo>
                <a:close/>
                <a:moveTo>
                  <a:pt x="92769" y="189067"/>
                </a:moveTo>
                <a:lnTo>
                  <a:pt x="91527" y="190865"/>
                </a:lnTo>
                <a:lnTo>
                  <a:pt x="92075" y="190622"/>
                </a:lnTo>
                <a:close/>
                <a:moveTo>
                  <a:pt x="123178" y="189063"/>
                </a:moveTo>
                <a:lnTo>
                  <a:pt x="121933" y="190865"/>
                </a:lnTo>
                <a:lnTo>
                  <a:pt x="122482" y="190622"/>
                </a:lnTo>
                <a:close/>
                <a:moveTo>
                  <a:pt x="115991" y="188699"/>
                </a:moveTo>
                <a:lnTo>
                  <a:pt x="116634" y="190622"/>
                </a:lnTo>
                <a:lnTo>
                  <a:pt x="119094" y="191603"/>
                </a:lnTo>
                <a:close/>
                <a:moveTo>
                  <a:pt x="85584" y="188697"/>
                </a:moveTo>
                <a:lnTo>
                  <a:pt x="86227" y="190622"/>
                </a:lnTo>
                <a:lnTo>
                  <a:pt x="88689" y="191603"/>
                </a:lnTo>
                <a:close/>
                <a:moveTo>
                  <a:pt x="70187" y="188414"/>
                </a:moveTo>
                <a:lnTo>
                  <a:pt x="71172" y="190622"/>
                </a:lnTo>
                <a:lnTo>
                  <a:pt x="73354" y="191589"/>
                </a:lnTo>
                <a:close/>
                <a:moveTo>
                  <a:pt x="100592" y="188412"/>
                </a:moveTo>
                <a:lnTo>
                  <a:pt x="101578" y="190622"/>
                </a:lnTo>
                <a:lnTo>
                  <a:pt x="103762" y="191589"/>
                </a:lnTo>
                <a:close/>
                <a:moveTo>
                  <a:pt x="301115" y="187013"/>
                </a:moveTo>
                <a:cubicBezTo>
                  <a:pt x="301115" y="187013"/>
                  <a:pt x="301115" y="187013"/>
                  <a:pt x="305095" y="187013"/>
                </a:cubicBezTo>
                <a:lnTo>
                  <a:pt x="309075" y="187013"/>
                </a:lnTo>
                <a:cubicBezTo>
                  <a:pt x="309381" y="187013"/>
                  <a:pt x="309687" y="187013"/>
                  <a:pt x="309687" y="187320"/>
                </a:cubicBezTo>
                <a:cubicBezTo>
                  <a:pt x="309994" y="190388"/>
                  <a:pt x="310606" y="192229"/>
                  <a:pt x="311524" y="194377"/>
                </a:cubicBezTo>
                <a:cubicBezTo>
                  <a:pt x="312137" y="195912"/>
                  <a:pt x="312443" y="196525"/>
                  <a:pt x="312749" y="197753"/>
                </a:cubicBezTo>
                <a:cubicBezTo>
                  <a:pt x="313361" y="201742"/>
                  <a:pt x="312749" y="208493"/>
                  <a:pt x="308463" y="210334"/>
                </a:cubicBezTo>
                <a:cubicBezTo>
                  <a:pt x="308463" y="210334"/>
                  <a:pt x="308463" y="210334"/>
                  <a:pt x="305095" y="210334"/>
                </a:cubicBezTo>
                <a:cubicBezTo>
                  <a:pt x="305095" y="210334"/>
                  <a:pt x="305095" y="210334"/>
                  <a:pt x="304789" y="210334"/>
                </a:cubicBezTo>
                <a:cubicBezTo>
                  <a:pt x="304789" y="210334"/>
                  <a:pt x="304789" y="210334"/>
                  <a:pt x="301421" y="210334"/>
                </a:cubicBezTo>
                <a:cubicBezTo>
                  <a:pt x="297135" y="208493"/>
                  <a:pt x="296829" y="201742"/>
                  <a:pt x="297442" y="197753"/>
                </a:cubicBezTo>
                <a:cubicBezTo>
                  <a:pt x="297748" y="196525"/>
                  <a:pt x="298054" y="195912"/>
                  <a:pt x="298360" y="194377"/>
                </a:cubicBezTo>
                <a:cubicBezTo>
                  <a:pt x="299585" y="192229"/>
                  <a:pt x="299891" y="190388"/>
                  <a:pt x="300197" y="187320"/>
                </a:cubicBezTo>
                <a:cubicBezTo>
                  <a:pt x="300197" y="187013"/>
                  <a:pt x="300503" y="187013"/>
                  <a:pt x="301115" y="187013"/>
                </a:cubicBezTo>
                <a:close/>
                <a:moveTo>
                  <a:pt x="266736" y="186929"/>
                </a:moveTo>
                <a:cubicBezTo>
                  <a:pt x="266736" y="186929"/>
                  <a:pt x="266430" y="187235"/>
                  <a:pt x="266430" y="187235"/>
                </a:cubicBezTo>
                <a:cubicBezTo>
                  <a:pt x="266430" y="187541"/>
                  <a:pt x="266736" y="187541"/>
                  <a:pt x="266736" y="187541"/>
                </a:cubicBezTo>
                <a:cubicBezTo>
                  <a:pt x="274080" y="187541"/>
                  <a:pt x="274080" y="187541"/>
                  <a:pt x="274080" y="187541"/>
                </a:cubicBezTo>
                <a:cubicBezTo>
                  <a:pt x="274080" y="187541"/>
                  <a:pt x="274386" y="187541"/>
                  <a:pt x="274386" y="187235"/>
                </a:cubicBezTo>
                <a:cubicBezTo>
                  <a:pt x="274386" y="187235"/>
                  <a:pt x="274080" y="186929"/>
                  <a:pt x="274080" y="186929"/>
                </a:cubicBezTo>
                <a:cubicBezTo>
                  <a:pt x="266736" y="186929"/>
                  <a:pt x="266736" y="186929"/>
                  <a:pt x="266736" y="186929"/>
                </a:cubicBezTo>
                <a:close/>
                <a:moveTo>
                  <a:pt x="266736" y="184784"/>
                </a:moveTo>
                <a:cubicBezTo>
                  <a:pt x="266736" y="184784"/>
                  <a:pt x="266430" y="184784"/>
                  <a:pt x="266430" y="185091"/>
                </a:cubicBezTo>
                <a:cubicBezTo>
                  <a:pt x="266430" y="185091"/>
                  <a:pt x="266736" y="185397"/>
                  <a:pt x="266736" y="185397"/>
                </a:cubicBezTo>
                <a:cubicBezTo>
                  <a:pt x="274080" y="185397"/>
                  <a:pt x="274080" y="185397"/>
                  <a:pt x="274080" y="185397"/>
                </a:cubicBezTo>
                <a:cubicBezTo>
                  <a:pt x="274080" y="185397"/>
                  <a:pt x="274386" y="185091"/>
                  <a:pt x="274386" y="185091"/>
                </a:cubicBezTo>
                <a:cubicBezTo>
                  <a:pt x="274386" y="184784"/>
                  <a:pt x="274080" y="184784"/>
                  <a:pt x="274080" y="184784"/>
                </a:cubicBezTo>
                <a:cubicBezTo>
                  <a:pt x="266736" y="184784"/>
                  <a:pt x="266736" y="184784"/>
                  <a:pt x="266736" y="184784"/>
                </a:cubicBezTo>
                <a:close/>
                <a:moveTo>
                  <a:pt x="340741" y="184417"/>
                </a:moveTo>
                <a:cubicBezTo>
                  <a:pt x="342402" y="184417"/>
                  <a:pt x="344062" y="186102"/>
                  <a:pt x="344062" y="189473"/>
                </a:cubicBezTo>
                <a:cubicBezTo>
                  <a:pt x="344062" y="191617"/>
                  <a:pt x="342553" y="193762"/>
                  <a:pt x="341345" y="197133"/>
                </a:cubicBezTo>
                <a:cubicBezTo>
                  <a:pt x="341345" y="232981"/>
                  <a:pt x="341345" y="232981"/>
                  <a:pt x="341345" y="232981"/>
                </a:cubicBezTo>
                <a:cubicBezTo>
                  <a:pt x="342553" y="236352"/>
                  <a:pt x="344062" y="238496"/>
                  <a:pt x="344062" y="240335"/>
                </a:cubicBezTo>
                <a:cubicBezTo>
                  <a:pt x="344062" y="247382"/>
                  <a:pt x="337420" y="247382"/>
                  <a:pt x="337420" y="240335"/>
                </a:cubicBezTo>
                <a:cubicBezTo>
                  <a:pt x="337420" y="238496"/>
                  <a:pt x="338930" y="236352"/>
                  <a:pt x="340137" y="232981"/>
                </a:cubicBezTo>
                <a:cubicBezTo>
                  <a:pt x="340137" y="197133"/>
                  <a:pt x="340137" y="197133"/>
                  <a:pt x="340137" y="197133"/>
                </a:cubicBezTo>
                <a:cubicBezTo>
                  <a:pt x="338930" y="193762"/>
                  <a:pt x="337420" y="191617"/>
                  <a:pt x="337420" y="189473"/>
                </a:cubicBezTo>
                <a:cubicBezTo>
                  <a:pt x="337420" y="186102"/>
                  <a:pt x="339081" y="184417"/>
                  <a:pt x="340741" y="184417"/>
                </a:cubicBezTo>
                <a:close/>
                <a:moveTo>
                  <a:pt x="263982" y="181721"/>
                </a:moveTo>
                <a:cubicBezTo>
                  <a:pt x="263982" y="181721"/>
                  <a:pt x="263676" y="181721"/>
                  <a:pt x="263676" y="182027"/>
                </a:cubicBezTo>
                <a:cubicBezTo>
                  <a:pt x="263676" y="182027"/>
                  <a:pt x="263982" y="182334"/>
                  <a:pt x="263982" y="182334"/>
                </a:cubicBezTo>
                <a:cubicBezTo>
                  <a:pt x="276834" y="182334"/>
                  <a:pt x="276834" y="182334"/>
                  <a:pt x="276834" y="182334"/>
                </a:cubicBezTo>
                <a:cubicBezTo>
                  <a:pt x="276834" y="182334"/>
                  <a:pt x="277140" y="182027"/>
                  <a:pt x="277140" y="182027"/>
                </a:cubicBezTo>
                <a:cubicBezTo>
                  <a:pt x="277140" y="181721"/>
                  <a:pt x="276834" y="181721"/>
                  <a:pt x="276834" y="181721"/>
                </a:cubicBezTo>
                <a:cubicBezTo>
                  <a:pt x="263982" y="181721"/>
                  <a:pt x="263982" y="181721"/>
                  <a:pt x="263982" y="181721"/>
                </a:cubicBezTo>
                <a:close/>
                <a:moveTo>
                  <a:pt x="136887" y="180801"/>
                </a:moveTo>
                <a:cubicBezTo>
                  <a:pt x="136274" y="181720"/>
                  <a:pt x="135967" y="182638"/>
                  <a:pt x="135660" y="183557"/>
                </a:cubicBezTo>
                <a:cubicBezTo>
                  <a:pt x="158353" y="183557"/>
                  <a:pt x="158353" y="183557"/>
                  <a:pt x="158353" y="183557"/>
                </a:cubicBezTo>
                <a:cubicBezTo>
                  <a:pt x="158046" y="182638"/>
                  <a:pt x="157739" y="181720"/>
                  <a:pt x="157126" y="180801"/>
                </a:cubicBezTo>
                <a:cubicBezTo>
                  <a:pt x="136887" y="180801"/>
                  <a:pt x="136887" y="180801"/>
                  <a:pt x="136887" y="180801"/>
                </a:cubicBezTo>
                <a:close/>
                <a:moveTo>
                  <a:pt x="367752" y="178747"/>
                </a:moveTo>
                <a:cubicBezTo>
                  <a:pt x="368084" y="178747"/>
                  <a:pt x="368416" y="179052"/>
                  <a:pt x="368416" y="179358"/>
                </a:cubicBezTo>
                <a:cubicBezTo>
                  <a:pt x="368416" y="217251"/>
                  <a:pt x="368416" y="217251"/>
                  <a:pt x="368416" y="217251"/>
                </a:cubicBezTo>
                <a:cubicBezTo>
                  <a:pt x="368416" y="217556"/>
                  <a:pt x="368084" y="217862"/>
                  <a:pt x="367752" y="217862"/>
                </a:cubicBezTo>
                <a:cubicBezTo>
                  <a:pt x="367420" y="217862"/>
                  <a:pt x="367088" y="217556"/>
                  <a:pt x="367088" y="217251"/>
                </a:cubicBezTo>
                <a:lnTo>
                  <a:pt x="367088" y="179358"/>
                </a:lnTo>
                <a:cubicBezTo>
                  <a:pt x="367088" y="179052"/>
                  <a:pt x="367420" y="178747"/>
                  <a:pt x="367752" y="178747"/>
                </a:cubicBezTo>
                <a:close/>
                <a:moveTo>
                  <a:pt x="405090" y="176936"/>
                </a:moveTo>
                <a:lnTo>
                  <a:pt x="390798" y="180281"/>
                </a:lnTo>
                <a:cubicBezTo>
                  <a:pt x="390798" y="180281"/>
                  <a:pt x="390798" y="180587"/>
                  <a:pt x="390798" y="180893"/>
                </a:cubicBezTo>
                <a:cubicBezTo>
                  <a:pt x="390798" y="183954"/>
                  <a:pt x="393559" y="187015"/>
                  <a:pt x="397855" y="189157"/>
                </a:cubicBezTo>
                <a:lnTo>
                  <a:pt x="407982" y="191248"/>
                </a:lnTo>
                <a:lnTo>
                  <a:pt x="406739" y="190738"/>
                </a:lnTo>
                <a:cubicBezTo>
                  <a:pt x="404481" y="188468"/>
                  <a:pt x="403103" y="185313"/>
                  <a:pt x="403103" y="181773"/>
                </a:cubicBezTo>
                <a:close/>
                <a:moveTo>
                  <a:pt x="425919" y="176898"/>
                </a:moveTo>
                <a:lnTo>
                  <a:pt x="427900" y="181773"/>
                </a:lnTo>
                <a:cubicBezTo>
                  <a:pt x="427900" y="185313"/>
                  <a:pt x="426523" y="188468"/>
                  <a:pt x="424303" y="190738"/>
                </a:cubicBezTo>
                <a:lnTo>
                  <a:pt x="422887" y="191336"/>
                </a:lnTo>
                <a:lnTo>
                  <a:pt x="433445" y="189157"/>
                </a:lnTo>
                <a:cubicBezTo>
                  <a:pt x="437740" y="187015"/>
                  <a:pt x="440195" y="183954"/>
                  <a:pt x="440195" y="180893"/>
                </a:cubicBezTo>
                <a:cubicBezTo>
                  <a:pt x="440195" y="180587"/>
                  <a:pt x="440195" y="180281"/>
                  <a:pt x="440195" y="180281"/>
                </a:cubicBezTo>
                <a:close/>
                <a:moveTo>
                  <a:pt x="415654" y="176828"/>
                </a:moveTo>
                <a:cubicBezTo>
                  <a:pt x="417787" y="176828"/>
                  <a:pt x="419921" y="178682"/>
                  <a:pt x="420225" y="180845"/>
                </a:cubicBezTo>
                <a:cubicBezTo>
                  <a:pt x="419921" y="180536"/>
                  <a:pt x="419311" y="180536"/>
                  <a:pt x="418702" y="180536"/>
                </a:cubicBezTo>
                <a:cubicBezTo>
                  <a:pt x="417178" y="180536"/>
                  <a:pt x="415959" y="181772"/>
                  <a:pt x="415959" y="183318"/>
                </a:cubicBezTo>
                <a:cubicBezTo>
                  <a:pt x="415959" y="184554"/>
                  <a:pt x="417178" y="185790"/>
                  <a:pt x="418397" y="186099"/>
                </a:cubicBezTo>
                <a:cubicBezTo>
                  <a:pt x="417483" y="186408"/>
                  <a:pt x="416568" y="186717"/>
                  <a:pt x="415654" y="186717"/>
                </a:cubicBezTo>
                <a:cubicBezTo>
                  <a:pt x="412911" y="186717"/>
                  <a:pt x="410778" y="184554"/>
                  <a:pt x="410778" y="181772"/>
                </a:cubicBezTo>
                <a:cubicBezTo>
                  <a:pt x="410778" y="179300"/>
                  <a:pt x="412911" y="176828"/>
                  <a:pt x="415654" y="176828"/>
                </a:cubicBezTo>
                <a:close/>
                <a:moveTo>
                  <a:pt x="352394" y="176238"/>
                </a:moveTo>
                <a:cubicBezTo>
                  <a:pt x="352998" y="176238"/>
                  <a:pt x="352998" y="176238"/>
                  <a:pt x="352998" y="176238"/>
                </a:cubicBezTo>
                <a:cubicBezTo>
                  <a:pt x="354508" y="176238"/>
                  <a:pt x="356017" y="177773"/>
                  <a:pt x="356017" y="179308"/>
                </a:cubicBezTo>
                <a:cubicBezTo>
                  <a:pt x="356017" y="214927"/>
                  <a:pt x="356017" y="214927"/>
                  <a:pt x="356017" y="214927"/>
                </a:cubicBezTo>
                <a:cubicBezTo>
                  <a:pt x="356017" y="216770"/>
                  <a:pt x="354508" y="218305"/>
                  <a:pt x="352998" y="218305"/>
                </a:cubicBezTo>
                <a:cubicBezTo>
                  <a:pt x="352394" y="218305"/>
                  <a:pt x="352394" y="218305"/>
                  <a:pt x="352394" y="218305"/>
                </a:cubicBezTo>
                <a:cubicBezTo>
                  <a:pt x="350583" y="218305"/>
                  <a:pt x="349375" y="216770"/>
                  <a:pt x="349375" y="214927"/>
                </a:cubicBezTo>
                <a:cubicBezTo>
                  <a:pt x="349375" y="179308"/>
                  <a:pt x="349375" y="179308"/>
                  <a:pt x="349375" y="179308"/>
                </a:cubicBezTo>
                <a:cubicBezTo>
                  <a:pt x="349375" y="177773"/>
                  <a:pt x="350583" y="176238"/>
                  <a:pt x="352394" y="176238"/>
                </a:cubicBezTo>
                <a:close/>
                <a:moveTo>
                  <a:pt x="361552" y="174955"/>
                </a:moveTo>
                <a:cubicBezTo>
                  <a:pt x="361245" y="174955"/>
                  <a:pt x="360938" y="175262"/>
                  <a:pt x="360632" y="175262"/>
                </a:cubicBezTo>
                <a:cubicBezTo>
                  <a:pt x="360632" y="175569"/>
                  <a:pt x="360632" y="175876"/>
                  <a:pt x="360632" y="176183"/>
                </a:cubicBezTo>
                <a:cubicBezTo>
                  <a:pt x="360632" y="176796"/>
                  <a:pt x="360632" y="176796"/>
                  <a:pt x="360632" y="176796"/>
                </a:cubicBezTo>
                <a:cubicBezTo>
                  <a:pt x="360632" y="177103"/>
                  <a:pt x="360632" y="177103"/>
                  <a:pt x="360632" y="177410"/>
                </a:cubicBezTo>
                <a:cubicBezTo>
                  <a:pt x="360938" y="177717"/>
                  <a:pt x="361245" y="177717"/>
                  <a:pt x="361552" y="177717"/>
                </a:cubicBezTo>
                <a:cubicBezTo>
                  <a:pt x="364008" y="177717"/>
                  <a:pt x="364008" y="177717"/>
                  <a:pt x="364008" y="177717"/>
                </a:cubicBezTo>
                <a:cubicBezTo>
                  <a:pt x="364622" y="177717"/>
                  <a:pt x="364622" y="177717"/>
                  <a:pt x="364622" y="177717"/>
                </a:cubicBezTo>
                <a:cubicBezTo>
                  <a:pt x="364622" y="178331"/>
                  <a:pt x="364622" y="178331"/>
                  <a:pt x="364622" y="178331"/>
                </a:cubicBezTo>
                <a:cubicBezTo>
                  <a:pt x="364622" y="217300"/>
                  <a:pt x="364622" y="217300"/>
                  <a:pt x="364622" y="217300"/>
                </a:cubicBezTo>
                <a:cubicBezTo>
                  <a:pt x="364622" y="217607"/>
                  <a:pt x="364622" y="217607"/>
                  <a:pt x="364622" y="217607"/>
                </a:cubicBezTo>
                <a:cubicBezTo>
                  <a:pt x="364008" y="217914"/>
                  <a:pt x="364008" y="217914"/>
                  <a:pt x="364008" y="217914"/>
                </a:cubicBezTo>
                <a:cubicBezTo>
                  <a:pt x="359711" y="219448"/>
                  <a:pt x="356028" y="222210"/>
                  <a:pt x="353265" y="225892"/>
                </a:cubicBezTo>
                <a:cubicBezTo>
                  <a:pt x="350810" y="229267"/>
                  <a:pt x="349275" y="233870"/>
                  <a:pt x="349275" y="238472"/>
                </a:cubicBezTo>
                <a:lnTo>
                  <a:pt x="350167" y="241773"/>
                </a:lnTo>
                <a:lnTo>
                  <a:pt x="350347" y="241773"/>
                </a:lnTo>
                <a:cubicBezTo>
                  <a:pt x="351698" y="241773"/>
                  <a:pt x="355753" y="241773"/>
                  <a:pt x="367916" y="241773"/>
                </a:cubicBezTo>
                <a:lnTo>
                  <a:pt x="392185" y="241773"/>
                </a:lnTo>
                <a:lnTo>
                  <a:pt x="393167" y="238472"/>
                </a:lnTo>
                <a:cubicBezTo>
                  <a:pt x="393167" y="233870"/>
                  <a:pt x="391632" y="229267"/>
                  <a:pt x="388869" y="225892"/>
                </a:cubicBezTo>
                <a:cubicBezTo>
                  <a:pt x="386414" y="222210"/>
                  <a:pt x="382731" y="219448"/>
                  <a:pt x="378127" y="217914"/>
                </a:cubicBezTo>
                <a:cubicBezTo>
                  <a:pt x="377820" y="217607"/>
                  <a:pt x="377820" y="217607"/>
                  <a:pt x="377820" y="217607"/>
                </a:cubicBezTo>
                <a:cubicBezTo>
                  <a:pt x="377820" y="217300"/>
                  <a:pt x="377820" y="217300"/>
                  <a:pt x="377820" y="217300"/>
                </a:cubicBezTo>
                <a:cubicBezTo>
                  <a:pt x="377820" y="178331"/>
                  <a:pt x="377820" y="178331"/>
                  <a:pt x="377820" y="178331"/>
                </a:cubicBezTo>
                <a:cubicBezTo>
                  <a:pt x="377820" y="177717"/>
                  <a:pt x="377820" y="177717"/>
                  <a:pt x="377820" y="177717"/>
                </a:cubicBezTo>
                <a:cubicBezTo>
                  <a:pt x="378434" y="177717"/>
                  <a:pt x="378434" y="177717"/>
                  <a:pt x="378434" y="177717"/>
                </a:cubicBezTo>
                <a:cubicBezTo>
                  <a:pt x="380889" y="177717"/>
                  <a:pt x="380889" y="177717"/>
                  <a:pt x="380889" y="177717"/>
                </a:cubicBezTo>
                <a:cubicBezTo>
                  <a:pt x="381196" y="177717"/>
                  <a:pt x="381503" y="177717"/>
                  <a:pt x="381503" y="177410"/>
                </a:cubicBezTo>
                <a:cubicBezTo>
                  <a:pt x="381810" y="177103"/>
                  <a:pt x="381810" y="177103"/>
                  <a:pt x="381810" y="176796"/>
                </a:cubicBezTo>
                <a:cubicBezTo>
                  <a:pt x="381810" y="176183"/>
                  <a:pt x="381810" y="176183"/>
                  <a:pt x="381810" y="176183"/>
                </a:cubicBezTo>
                <a:cubicBezTo>
                  <a:pt x="381810" y="175876"/>
                  <a:pt x="381810" y="175569"/>
                  <a:pt x="381503" y="175262"/>
                </a:cubicBezTo>
                <a:cubicBezTo>
                  <a:pt x="381503" y="175262"/>
                  <a:pt x="381196" y="175262"/>
                  <a:pt x="380889" y="175262"/>
                </a:cubicBezTo>
                <a:cubicBezTo>
                  <a:pt x="361552" y="174955"/>
                  <a:pt x="361552" y="174955"/>
                  <a:pt x="361552" y="174955"/>
                </a:cubicBezTo>
                <a:close/>
                <a:moveTo>
                  <a:pt x="415650" y="174465"/>
                </a:moveTo>
                <a:lnTo>
                  <a:pt x="407144" y="176456"/>
                </a:lnTo>
                <a:lnTo>
                  <a:pt x="404940" y="181773"/>
                </a:lnTo>
                <a:cubicBezTo>
                  <a:pt x="404940" y="184851"/>
                  <a:pt x="406165" y="187621"/>
                  <a:pt x="408001" y="189468"/>
                </a:cubicBezTo>
                <a:cubicBezTo>
                  <a:pt x="410144" y="191315"/>
                  <a:pt x="412593" y="192546"/>
                  <a:pt x="415655" y="192546"/>
                </a:cubicBezTo>
                <a:cubicBezTo>
                  <a:pt x="418410" y="192546"/>
                  <a:pt x="421165" y="191315"/>
                  <a:pt x="423002" y="189468"/>
                </a:cubicBezTo>
                <a:cubicBezTo>
                  <a:pt x="424839" y="187621"/>
                  <a:pt x="426063" y="184851"/>
                  <a:pt x="426063" y="181773"/>
                </a:cubicBezTo>
                <a:lnTo>
                  <a:pt x="423839" y="176405"/>
                </a:lnTo>
                <a:close/>
                <a:moveTo>
                  <a:pt x="361552" y="173728"/>
                </a:moveTo>
                <a:cubicBezTo>
                  <a:pt x="380889" y="173728"/>
                  <a:pt x="380889" y="173728"/>
                  <a:pt x="380889" y="173728"/>
                </a:cubicBezTo>
                <a:cubicBezTo>
                  <a:pt x="381503" y="173728"/>
                  <a:pt x="382117" y="174035"/>
                  <a:pt x="382424" y="174342"/>
                </a:cubicBezTo>
                <a:cubicBezTo>
                  <a:pt x="383038" y="174955"/>
                  <a:pt x="383345" y="175569"/>
                  <a:pt x="383345" y="176183"/>
                </a:cubicBezTo>
                <a:cubicBezTo>
                  <a:pt x="383345" y="176796"/>
                  <a:pt x="383345" y="176796"/>
                  <a:pt x="383345" y="176796"/>
                </a:cubicBezTo>
                <a:cubicBezTo>
                  <a:pt x="383345" y="177410"/>
                  <a:pt x="383038" y="178024"/>
                  <a:pt x="382424" y="178331"/>
                </a:cubicBezTo>
                <a:cubicBezTo>
                  <a:pt x="382117" y="178944"/>
                  <a:pt x="381503" y="178944"/>
                  <a:pt x="380889" y="178944"/>
                </a:cubicBezTo>
                <a:cubicBezTo>
                  <a:pt x="379048" y="178944"/>
                  <a:pt x="379048" y="178944"/>
                  <a:pt x="379048" y="178944"/>
                </a:cubicBezTo>
                <a:cubicBezTo>
                  <a:pt x="379048" y="216686"/>
                  <a:pt x="379048" y="216686"/>
                  <a:pt x="379048" y="216686"/>
                </a:cubicBezTo>
                <a:cubicBezTo>
                  <a:pt x="383652" y="218221"/>
                  <a:pt x="387335" y="221289"/>
                  <a:pt x="390097" y="224971"/>
                </a:cubicBezTo>
                <a:cubicBezTo>
                  <a:pt x="392860" y="228960"/>
                  <a:pt x="394394" y="233563"/>
                  <a:pt x="394394" y="238472"/>
                </a:cubicBezTo>
                <a:cubicBezTo>
                  <a:pt x="394394" y="243075"/>
                  <a:pt x="393167" y="247064"/>
                  <a:pt x="391018" y="250746"/>
                </a:cubicBezTo>
                <a:cubicBezTo>
                  <a:pt x="388869" y="254121"/>
                  <a:pt x="385493" y="257190"/>
                  <a:pt x="381810" y="259031"/>
                </a:cubicBezTo>
                <a:cubicBezTo>
                  <a:pt x="381810" y="259338"/>
                  <a:pt x="381810" y="259338"/>
                  <a:pt x="381810" y="259338"/>
                </a:cubicBezTo>
                <a:cubicBezTo>
                  <a:pt x="381503" y="259338"/>
                  <a:pt x="381503" y="259338"/>
                  <a:pt x="381503" y="259338"/>
                </a:cubicBezTo>
                <a:cubicBezTo>
                  <a:pt x="360938" y="259338"/>
                  <a:pt x="360938" y="259338"/>
                  <a:pt x="360938" y="259338"/>
                </a:cubicBezTo>
                <a:cubicBezTo>
                  <a:pt x="360632" y="259338"/>
                  <a:pt x="360632" y="259338"/>
                  <a:pt x="360632" y="259338"/>
                </a:cubicBezTo>
                <a:cubicBezTo>
                  <a:pt x="360632" y="259031"/>
                  <a:pt x="360632" y="259031"/>
                  <a:pt x="360632" y="259031"/>
                </a:cubicBezTo>
                <a:cubicBezTo>
                  <a:pt x="356641" y="257190"/>
                  <a:pt x="353572" y="254121"/>
                  <a:pt x="351424" y="250746"/>
                </a:cubicBezTo>
                <a:cubicBezTo>
                  <a:pt x="349275" y="247064"/>
                  <a:pt x="348047" y="243075"/>
                  <a:pt x="348047" y="238472"/>
                </a:cubicBezTo>
                <a:cubicBezTo>
                  <a:pt x="348047" y="233563"/>
                  <a:pt x="349582" y="228960"/>
                  <a:pt x="352344" y="224971"/>
                </a:cubicBezTo>
                <a:cubicBezTo>
                  <a:pt x="355107" y="221289"/>
                  <a:pt x="358790" y="218221"/>
                  <a:pt x="363087" y="216686"/>
                </a:cubicBezTo>
                <a:cubicBezTo>
                  <a:pt x="363087" y="178944"/>
                  <a:pt x="363087" y="178944"/>
                  <a:pt x="363087" y="178944"/>
                </a:cubicBezTo>
                <a:cubicBezTo>
                  <a:pt x="361552" y="178944"/>
                  <a:pt x="361552" y="178944"/>
                  <a:pt x="361552" y="178944"/>
                </a:cubicBezTo>
                <a:cubicBezTo>
                  <a:pt x="360938" y="178944"/>
                  <a:pt x="360325" y="178944"/>
                  <a:pt x="359711" y="178331"/>
                </a:cubicBezTo>
                <a:cubicBezTo>
                  <a:pt x="359404" y="178024"/>
                  <a:pt x="359097" y="177410"/>
                  <a:pt x="359097" y="176796"/>
                </a:cubicBezTo>
                <a:cubicBezTo>
                  <a:pt x="359097" y="176183"/>
                  <a:pt x="359097" y="176183"/>
                  <a:pt x="359097" y="176183"/>
                </a:cubicBezTo>
                <a:cubicBezTo>
                  <a:pt x="359097" y="175569"/>
                  <a:pt x="359404" y="174955"/>
                  <a:pt x="359711" y="174342"/>
                </a:cubicBezTo>
                <a:cubicBezTo>
                  <a:pt x="360325" y="174035"/>
                  <a:pt x="360938" y="173728"/>
                  <a:pt x="361552" y="173728"/>
                </a:cubicBezTo>
                <a:close/>
                <a:moveTo>
                  <a:pt x="326338" y="173728"/>
                </a:moveTo>
                <a:cubicBezTo>
                  <a:pt x="339511" y="174649"/>
                  <a:pt x="339511" y="174649"/>
                  <a:pt x="339511" y="174649"/>
                </a:cubicBezTo>
                <a:cubicBezTo>
                  <a:pt x="341350" y="174649"/>
                  <a:pt x="342881" y="176183"/>
                  <a:pt x="342881" y="178025"/>
                </a:cubicBezTo>
                <a:cubicBezTo>
                  <a:pt x="342881" y="178638"/>
                  <a:pt x="342881" y="178638"/>
                  <a:pt x="342881" y="178638"/>
                </a:cubicBezTo>
                <a:cubicBezTo>
                  <a:pt x="342881" y="180480"/>
                  <a:pt x="341350" y="182014"/>
                  <a:pt x="339511" y="182014"/>
                </a:cubicBezTo>
                <a:cubicBezTo>
                  <a:pt x="327870" y="182628"/>
                  <a:pt x="327870" y="182628"/>
                  <a:pt x="327870" y="182628"/>
                </a:cubicBezTo>
                <a:cubicBezTo>
                  <a:pt x="327870" y="217616"/>
                  <a:pt x="327870" y="217616"/>
                  <a:pt x="327870" y="217616"/>
                </a:cubicBezTo>
                <a:cubicBezTo>
                  <a:pt x="328483" y="217616"/>
                  <a:pt x="328483" y="217616"/>
                  <a:pt x="328483" y="217616"/>
                </a:cubicBezTo>
                <a:cubicBezTo>
                  <a:pt x="329708" y="217616"/>
                  <a:pt x="330934" y="218537"/>
                  <a:pt x="330934" y="220071"/>
                </a:cubicBezTo>
                <a:cubicBezTo>
                  <a:pt x="330934" y="235724"/>
                  <a:pt x="330934" y="235724"/>
                  <a:pt x="330934" y="235724"/>
                </a:cubicBezTo>
                <a:cubicBezTo>
                  <a:pt x="332159" y="258742"/>
                  <a:pt x="332159" y="258742"/>
                  <a:pt x="332159" y="258742"/>
                </a:cubicBezTo>
                <a:cubicBezTo>
                  <a:pt x="332159" y="260890"/>
                  <a:pt x="329096" y="262732"/>
                  <a:pt x="326951" y="262732"/>
                </a:cubicBezTo>
                <a:cubicBezTo>
                  <a:pt x="326645" y="262732"/>
                  <a:pt x="326645" y="262732"/>
                  <a:pt x="326645" y="262732"/>
                </a:cubicBezTo>
                <a:cubicBezTo>
                  <a:pt x="324500" y="262732"/>
                  <a:pt x="321130" y="260890"/>
                  <a:pt x="321130" y="258742"/>
                </a:cubicBezTo>
                <a:cubicBezTo>
                  <a:pt x="322662" y="235724"/>
                  <a:pt x="322662" y="235724"/>
                  <a:pt x="322662" y="235724"/>
                </a:cubicBezTo>
                <a:cubicBezTo>
                  <a:pt x="322662" y="219458"/>
                  <a:pt x="322662" y="219458"/>
                  <a:pt x="322662" y="219458"/>
                </a:cubicBezTo>
                <a:cubicBezTo>
                  <a:pt x="322662" y="218537"/>
                  <a:pt x="323581" y="217616"/>
                  <a:pt x="324807" y="217616"/>
                </a:cubicBezTo>
                <a:cubicBezTo>
                  <a:pt x="325726" y="217616"/>
                  <a:pt x="325726" y="217616"/>
                  <a:pt x="325726" y="217616"/>
                </a:cubicBezTo>
                <a:cubicBezTo>
                  <a:pt x="325726" y="182628"/>
                  <a:pt x="325726" y="182628"/>
                  <a:pt x="325726" y="182628"/>
                </a:cubicBezTo>
                <a:cubicBezTo>
                  <a:pt x="313778" y="182014"/>
                  <a:pt x="313778" y="182014"/>
                  <a:pt x="313778" y="182014"/>
                </a:cubicBezTo>
                <a:cubicBezTo>
                  <a:pt x="311940" y="182014"/>
                  <a:pt x="310408" y="180480"/>
                  <a:pt x="310408" y="178638"/>
                </a:cubicBezTo>
                <a:cubicBezTo>
                  <a:pt x="310408" y="178025"/>
                  <a:pt x="310408" y="178025"/>
                  <a:pt x="310408" y="178025"/>
                </a:cubicBezTo>
                <a:cubicBezTo>
                  <a:pt x="310408" y="176183"/>
                  <a:pt x="311940" y="174649"/>
                  <a:pt x="313778" y="174649"/>
                </a:cubicBezTo>
                <a:cubicBezTo>
                  <a:pt x="326338" y="173728"/>
                  <a:pt x="326338" y="173728"/>
                  <a:pt x="326338" y="173728"/>
                </a:cubicBezTo>
                <a:close/>
                <a:moveTo>
                  <a:pt x="304504" y="173433"/>
                </a:moveTo>
                <a:lnTo>
                  <a:pt x="305685" y="173433"/>
                </a:lnTo>
                <a:lnTo>
                  <a:pt x="305980" y="179337"/>
                </a:lnTo>
                <a:lnTo>
                  <a:pt x="306335" y="179337"/>
                </a:lnTo>
                <a:cubicBezTo>
                  <a:pt x="307884" y="180546"/>
                  <a:pt x="307884" y="183568"/>
                  <a:pt x="308194" y="185684"/>
                </a:cubicBezTo>
                <a:lnTo>
                  <a:pt x="309070" y="185684"/>
                </a:lnTo>
                <a:cubicBezTo>
                  <a:pt x="309375" y="185684"/>
                  <a:pt x="309375" y="185684"/>
                  <a:pt x="309375" y="186016"/>
                </a:cubicBezTo>
                <a:cubicBezTo>
                  <a:pt x="309375" y="186348"/>
                  <a:pt x="309375" y="186348"/>
                  <a:pt x="309375" y="186348"/>
                </a:cubicBezTo>
                <a:cubicBezTo>
                  <a:pt x="309375" y="186680"/>
                  <a:pt x="309375" y="187012"/>
                  <a:pt x="309070" y="187012"/>
                </a:cubicBezTo>
                <a:cubicBezTo>
                  <a:pt x="301130" y="187012"/>
                  <a:pt x="301130" y="187012"/>
                  <a:pt x="301130" y="187012"/>
                </a:cubicBezTo>
                <a:cubicBezTo>
                  <a:pt x="300825" y="187012"/>
                  <a:pt x="300519" y="186680"/>
                  <a:pt x="300519" y="186348"/>
                </a:cubicBezTo>
                <a:cubicBezTo>
                  <a:pt x="300519" y="186016"/>
                  <a:pt x="300519" y="186016"/>
                  <a:pt x="300519" y="186016"/>
                </a:cubicBezTo>
                <a:cubicBezTo>
                  <a:pt x="300519" y="185684"/>
                  <a:pt x="300825" y="185684"/>
                  <a:pt x="301130" y="185684"/>
                </a:cubicBezTo>
                <a:lnTo>
                  <a:pt x="301995" y="185684"/>
                </a:lnTo>
                <a:cubicBezTo>
                  <a:pt x="302305" y="183568"/>
                  <a:pt x="301995" y="180546"/>
                  <a:pt x="303855" y="179337"/>
                </a:cubicBezTo>
                <a:lnTo>
                  <a:pt x="304209" y="179337"/>
                </a:lnTo>
                <a:close/>
                <a:moveTo>
                  <a:pt x="19304" y="171088"/>
                </a:moveTo>
                <a:cubicBezTo>
                  <a:pt x="23001" y="170481"/>
                  <a:pt x="30086" y="172301"/>
                  <a:pt x="30702" y="175942"/>
                </a:cubicBezTo>
                <a:cubicBezTo>
                  <a:pt x="26081" y="175942"/>
                  <a:pt x="21460" y="175942"/>
                  <a:pt x="16840" y="175942"/>
                </a:cubicBezTo>
                <a:cubicBezTo>
                  <a:pt x="16532" y="175335"/>
                  <a:pt x="16532" y="174728"/>
                  <a:pt x="16532" y="174425"/>
                </a:cubicBezTo>
                <a:cubicBezTo>
                  <a:pt x="16840" y="172301"/>
                  <a:pt x="16840" y="171391"/>
                  <a:pt x="19304" y="171088"/>
                </a:cubicBezTo>
                <a:close/>
                <a:moveTo>
                  <a:pt x="147006" y="169168"/>
                </a:moveTo>
                <a:cubicBezTo>
                  <a:pt x="144860" y="171004"/>
                  <a:pt x="142407" y="173148"/>
                  <a:pt x="140567" y="175597"/>
                </a:cubicBezTo>
                <a:cubicBezTo>
                  <a:pt x="153446" y="175597"/>
                  <a:pt x="153446" y="175597"/>
                  <a:pt x="153446" y="175597"/>
                </a:cubicBezTo>
                <a:cubicBezTo>
                  <a:pt x="151606" y="173148"/>
                  <a:pt x="149460" y="171004"/>
                  <a:pt x="147006" y="169168"/>
                </a:cubicBezTo>
                <a:close/>
                <a:moveTo>
                  <a:pt x="198303" y="168273"/>
                </a:moveTo>
                <a:cubicBezTo>
                  <a:pt x="199837" y="169190"/>
                  <a:pt x="201678" y="171023"/>
                  <a:pt x="202905" y="170717"/>
                </a:cubicBezTo>
                <a:cubicBezTo>
                  <a:pt x="204132" y="170412"/>
                  <a:pt x="204746" y="170106"/>
                  <a:pt x="205973" y="170106"/>
                </a:cubicBezTo>
                <a:cubicBezTo>
                  <a:pt x="207507" y="170106"/>
                  <a:pt x="208121" y="170412"/>
                  <a:pt x="209348" y="170717"/>
                </a:cubicBezTo>
                <a:cubicBezTo>
                  <a:pt x="210576" y="171023"/>
                  <a:pt x="212416" y="169190"/>
                  <a:pt x="213950" y="168273"/>
                </a:cubicBezTo>
                <a:lnTo>
                  <a:pt x="219578" y="168635"/>
                </a:lnTo>
                <a:lnTo>
                  <a:pt x="213950" y="170412"/>
                </a:lnTo>
                <a:cubicBezTo>
                  <a:pt x="211496" y="172245"/>
                  <a:pt x="211189" y="172856"/>
                  <a:pt x="211496" y="175911"/>
                </a:cubicBezTo>
                <a:cubicBezTo>
                  <a:pt x="211496" y="178049"/>
                  <a:pt x="212416" y="179577"/>
                  <a:pt x="213644" y="181715"/>
                </a:cubicBezTo>
                <a:cubicBezTo>
                  <a:pt x="216712" y="187214"/>
                  <a:pt x="222848" y="188131"/>
                  <a:pt x="228677" y="188131"/>
                </a:cubicBezTo>
                <a:cubicBezTo>
                  <a:pt x="234200" y="188131"/>
                  <a:pt x="239723" y="184465"/>
                  <a:pt x="241564" y="179271"/>
                </a:cubicBezTo>
                <a:cubicBezTo>
                  <a:pt x="241870" y="178049"/>
                  <a:pt x="241870" y="176827"/>
                  <a:pt x="241870" y="175605"/>
                </a:cubicBezTo>
                <a:cubicBezTo>
                  <a:pt x="241870" y="173772"/>
                  <a:pt x="241257" y="172856"/>
                  <a:pt x="240336" y="171328"/>
                </a:cubicBezTo>
                <a:lnTo>
                  <a:pt x="236258" y="169706"/>
                </a:lnTo>
                <a:lnTo>
                  <a:pt x="242484" y="170106"/>
                </a:lnTo>
                <a:cubicBezTo>
                  <a:pt x="244325" y="171023"/>
                  <a:pt x="244939" y="171328"/>
                  <a:pt x="247086" y="171328"/>
                </a:cubicBezTo>
                <a:cubicBezTo>
                  <a:pt x="247086" y="172856"/>
                  <a:pt x="247086" y="174078"/>
                  <a:pt x="247086" y="175605"/>
                </a:cubicBezTo>
                <a:cubicBezTo>
                  <a:pt x="245552" y="175300"/>
                  <a:pt x="244632" y="176522"/>
                  <a:pt x="243711" y="177744"/>
                </a:cubicBezTo>
                <a:cubicBezTo>
                  <a:pt x="243404" y="178355"/>
                  <a:pt x="243098" y="178966"/>
                  <a:pt x="242177" y="181104"/>
                </a:cubicBezTo>
                <a:cubicBezTo>
                  <a:pt x="241257" y="182937"/>
                  <a:pt x="239109" y="185687"/>
                  <a:pt x="236348" y="187520"/>
                </a:cubicBezTo>
                <a:cubicBezTo>
                  <a:pt x="233280" y="189658"/>
                  <a:pt x="230518" y="189964"/>
                  <a:pt x="226837" y="189658"/>
                </a:cubicBezTo>
                <a:cubicBezTo>
                  <a:pt x="222234" y="189658"/>
                  <a:pt x="217632" y="188742"/>
                  <a:pt x="214564" y="185381"/>
                </a:cubicBezTo>
                <a:cubicBezTo>
                  <a:pt x="211189" y="181715"/>
                  <a:pt x="211496" y="180188"/>
                  <a:pt x="209962" y="175911"/>
                </a:cubicBezTo>
                <a:cubicBezTo>
                  <a:pt x="209348" y="174689"/>
                  <a:pt x="209041" y="173467"/>
                  <a:pt x="207814" y="173161"/>
                </a:cubicBezTo>
                <a:cubicBezTo>
                  <a:pt x="207507" y="173161"/>
                  <a:pt x="206894" y="173161"/>
                  <a:pt x="205973" y="173161"/>
                </a:cubicBezTo>
                <a:cubicBezTo>
                  <a:pt x="205360" y="173161"/>
                  <a:pt x="204746" y="173161"/>
                  <a:pt x="204439" y="173161"/>
                </a:cubicBezTo>
                <a:cubicBezTo>
                  <a:pt x="203212" y="173467"/>
                  <a:pt x="202598" y="174689"/>
                  <a:pt x="202292" y="175911"/>
                </a:cubicBezTo>
                <a:cubicBezTo>
                  <a:pt x="200451" y="180188"/>
                  <a:pt x="201064" y="181715"/>
                  <a:pt x="197689" y="185381"/>
                </a:cubicBezTo>
                <a:cubicBezTo>
                  <a:pt x="194621" y="188742"/>
                  <a:pt x="190019" y="189658"/>
                  <a:pt x="185417" y="189658"/>
                </a:cubicBezTo>
                <a:cubicBezTo>
                  <a:pt x="181735" y="189964"/>
                  <a:pt x="178974" y="189658"/>
                  <a:pt x="175906" y="187520"/>
                </a:cubicBezTo>
                <a:cubicBezTo>
                  <a:pt x="172838" y="185687"/>
                  <a:pt x="170997" y="182937"/>
                  <a:pt x="170076" y="181104"/>
                </a:cubicBezTo>
                <a:cubicBezTo>
                  <a:pt x="169156" y="178966"/>
                  <a:pt x="168849" y="178355"/>
                  <a:pt x="168542" y="177744"/>
                </a:cubicBezTo>
                <a:cubicBezTo>
                  <a:pt x="167622" y="176522"/>
                  <a:pt x="166701" y="175300"/>
                  <a:pt x="165167" y="175605"/>
                </a:cubicBezTo>
                <a:cubicBezTo>
                  <a:pt x="165167" y="174078"/>
                  <a:pt x="165167" y="172856"/>
                  <a:pt x="165167" y="171328"/>
                </a:cubicBezTo>
                <a:cubicBezTo>
                  <a:pt x="167008" y="171328"/>
                  <a:pt x="167929" y="171023"/>
                  <a:pt x="169769" y="170106"/>
                </a:cubicBezTo>
                <a:lnTo>
                  <a:pt x="175996" y="169706"/>
                </a:lnTo>
                <a:lnTo>
                  <a:pt x="171917" y="171328"/>
                </a:lnTo>
                <a:cubicBezTo>
                  <a:pt x="170997" y="172856"/>
                  <a:pt x="170383" y="173772"/>
                  <a:pt x="170383" y="175605"/>
                </a:cubicBezTo>
                <a:cubicBezTo>
                  <a:pt x="170076" y="176827"/>
                  <a:pt x="170383" y="178049"/>
                  <a:pt x="170690" y="179271"/>
                </a:cubicBezTo>
                <a:cubicBezTo>
                  <a:pt x="172531" y="184465"/>
                  <a:pt x="178053" y="188131"/>
                  <a:pt x="183269" y="188131"/>
                </a:cubicBezTo>
                <a:cubicBezTo>
                  <a:pt x="189099" y="188131"/>
                  <a:pt x="195542" y="187214"/>
                  <a:pt x="198610" y="181715"/>
                </a:cubicBezTo>
                <a:cubicBezTo>
                  <a:pt x="199837" y="179577"/>
                  <a:pt x="200758" y="178049"/>
                  <a:pt x="200758" y="175911"/>
                </a:cubicBezTo>
                <a:cubicBezTo>
                  <a:pt x="201064" y="172856"/>
                  <a:pt x="200758" y="172245"/>
                  <a:pt x="198303" y="170412"/>
                </a:cubicBezTo>
                <a:lnTo>
                  <a:pt x="192676" y="168635"/>
                </a:lnTo>
                <a:close/>
                <a:moveTo>
                  <a:pt x="270408" y="167935"/>
                </a:moveTo>
                <a:cubicBezTo>
                  <a:pt x="270102" y="167935"/>
                  <a:pt x="269796" y="168242"/>
                  <a:pt x="269796" y="168242"/>
                </a:cubicBezTo>
                <a:cubicBezTo>
                  <a:pt x="269490" y="168548"/>
                  <a:pt x="269490" y="168854"/>
                  <a:pt x="269490" y="169161"/>
                </a:cubicBezTo>
                <a:cubicBezTo>
                  <a:pt x="269490" y="169161"/>
                  <a:pt x="269490" y="169467"/>
                  <a:pt x="269796" y="169773"/>
                </a:cubicBezTo>
                <a:cubicBezTo>
                  <a:pt x="269796" y="169773"/>
                  <a:pt x="270102" y="170080"/>
                  <a:pt x="270408" y="170080"/>
                </a:cubicBezTo>
                <a:cubicBezTo>
                  <a:pt x="270714" y="170080"/>
                  <a:pt x="271020" y="169773"/>
                  <a:pt x="271020" y="169773"/>
                </a:cubicBezTo>
                <a:cubicBezTo>
                  <a:pt x="271326" y="169467"/>
                  <a:pt x="271326" y="169161"/>
                  <a:pt x="271326" y="169161"/>
                </a:cubicBezTo>
                <a:cubicBezTo>
                  <a:pt x="271326" y="168854"/>
                  <a:pt x="271326" y="168548"/>
                  <a:pt x="271020" y="168242"/>
                </a:cubicBezTo>
                <a:cubicBezTo>
                  <a:pt x="271020" y="168242"/>
                  <a:pt x="270714" y="167935"/>
                  <a:pt x="270408" y="167935"/>
                </a:cubicBezTo>
                <a:close/>
                <a:moveTo>
                  <a:pt x="415650" y="166201"/>
                </a:moveTo>
                <a:cubicBezTo>
                  <a:pt x="423013" y="166201"/>
                  <a:pt x="429763" y="167731"/>
                  <a:pt x="434672" y="170486"/>
                </a:cubicBezTo>
                <a:cubicBezTo>
                  <a:pt x="439581" y="172935"/>
                  <a:pt x="442956" y="176608"/>
                  <a:pt x="442956" y="180893"/>
                </a:cubicBezTo>
                <a:cubicBezTo>
                  <a:pt x="442956" y="185178"/>
                  <a:pt x="439581" y="188851"/>
                  <a:pt x="434672" y="191300"/>
                </a:cubicBezTo>
                <a:cubicBezTo>
                  <a:pt x="429763" y="193748"/>
                  <a:pt x="423013" y="195279"/>
                  <a:pt x="415650" y="195279"/>
                </a:cubicBezTo>
                <a:cubicBezTo>
                  <a:pt x="408286" y="195279"/>
                  <a:pt x="401536" y="193748"/>
                  <a:pt x="396627" y="191300"/>
                </a:cubicBezTo>
                <a:cubicBezTo>
                  <a:pt x="391411" y="188851"/>
                  <a:pt x="388343" y="185178"/>
                  <a:pt x="388343" y="180893"/>
                </a:cubicBezTo>
                <a:cubicBezTo>
                  <a:pt x="388343" y="176608"/>
                  <a:pt x="391411" y="172935"/>
                  <a:pt x="396627" y="170486"/>
                </a:cubicBezTo>
                <a:cubicBezTo>
                  <a:pt x="401536" y="167731"/>
                  <a:pt x="408286" y="166201"/>
                  <a:pt x="415650" y="166201"/>
                </a:cubicBezTo>
                <a:close/>
                <a:moveTo>
                  <a:pt x="227374" y="166173"/>
                </a:moveTo>
                <a:lnTo>
                  <a:pt x="236258" y="169706"/>
                </a:lnTo>
                <a:lnTo>
                  <a:pt x="219578" y="168635"/>
                </a:lnTo>
                <a:close/>
                <a:moveTo>
                  <a:pt x="184880" y="166173"/>
                </a:moveTo>
                <a:lnTo>
                  <a:pt x="192676" y="168635"/>
                </a:lnTo>
                <a:lnTo>
                  <a:pt x="175996" y="169706"/>
                </a:lnTo>
                <a:close/>
                <a:moveTo>
                  <a:pt x="270408" y="164872"/>
                </a:moveTo>
                <a:cubicBezTo>
                  <a:pt x="271938" y="164872"/>
                  <a:pt x="272856" y="165485"/>
                  <a:pt x="273468" y="166097"/>
                </a:cubicBezTo>
                <a:cubicBezTo>
                  <a:pt x="274080" y="166710"/>
                  <a:pt x="274692" y="167323"/>
                  <a:pt x="274998" y="168242"/>
                </a:cubicBezTo>
                <a:cubicBezTo>
                  <a:pt x="275304" y="168854"/>
                  <a:pt x="275610" y="169161"/>
                  <a:pt x="275916" y="169467"/>
                </a:cubicBezTo>
                <a:cubicBezTo>
                  <a:pt x="276528" y="169773"/>
                  <a:pt x="277140" y="170080"/>
                  <a:pt x="277752" y="170080"/>
                </a:cubicBezTo>
                <a:cubicBezTo>
                  <a:pt x="278364" y="170080"/>
                  <a:pt x="278976" y="170692"/>
                  <a:pt x="279588" y="170999"/>
                </a:cubicBezTo>
                <a:cubicBezTo>
                  <a:pt x="280200" y="171611"/>
                  <a:pt x="280506" y="172530"/>
                  <a:pt x="280506" y="173450"/>
                </a:cubicBezTo>
                <a:cubicBezTo>
                  <a:pt x="282954" y="207454"/>
                  <a:pt x="282954" y="207454"/>
                  <a:pt x="282954" y="207454"/>
                </a:cubicBezTo>
                <a:cubicBezTo>
                  <a:pt x="282954" y="208373"/>
                  <a:pt x="282648" y="208985"/>
                  <a:pt x="282036" y="209598"/>
                </a:cubicBezTo>
                <a:cubicBezTo>
                  <a:pt x="281424" y="210211"/>
                  <a:pt x="280812" y="210517"/>
                  <a:pt x="279894" y="210517"/>
                </a:cubicBezTo>
                <a:cubicBezTo>
                  <a:pt x="279588" y="210517"/>
                  <a:pt x="279588" y="210517"/>
                  <a:pt x="279588" y="210517"/>
                </a:cubicBezTo>
                <a:cubicBezTo>
                  <a:pt x="277140" y="210517"/>
                  <a:pt x="277140" y="210517"/>
                  <a:pt x="277140" y="210517"/>
                </a:cubicBezTo>
                <a:cubicBezTo>
                  <a:pt x="276222" y="210517"/>
                  <a:pt x="275304" y="211130"/>
                  <a:pt x="274692" y="211743"/>
                </a:cubicBezTo>
                <a:cubicBezTo>
                  <a:pt x="274080" y="212355"/>
                  <a:pt x="273468" y="213274"/>
                  <a:pt x="273468" y="214193"/>
                </a:cubicBezTo>
                <a:cubicBezTo>
                  <a:pt x="273468" y="217563"/>
                  <a:pt x="273468" y="217563"/>
                  <a:pt x="273468" y="217563"/>
                </a:cubicBezTo>
                <a:cubicBezTo>
                  <a:pt x="274998" y="217563"/>
                  <a:pt x="274998" y="217563"/>
                  <a:pt x="274998" y="217563"/>
                </a:cubicBezTo>
                <a:cubicBezTo>
                  <a:pt x="275304" y="217563"/>
                  <a:pt x="275610" y="217869"/>
                  <a:pt x="275610" y="218788"/>
                </a:cubicBezTo>
                <a:cubicBezTo>
                  <a:pt x="275610" y="219401"/>
                  <a:pt x="275304" y="220014"/>
                  <a:pt x="274998" y="220014"/>
                </a:cubicBezTo>
                <a:cubicBezTo>
                  <a:pt x="271938" y="220014"/>
                  <a:pt x="271938" y="220014"/>
                  <a:pt x="271938" y="220014"/>
                </a:cubicBezTo>
                <a:cubicBezTo>
                  <a:pt x="271938" y="228285"/>
                  <a:pt x="271938" y="228285"/>
                  <a:pt x="271938" y="228285"/>
                </a:cubicBezTo>
                <a:lnTo>
                  <a:pt x="271068" y="229156"/>
                </a:lnTo>
                <a:lnTo>
                  <a:pt x="272241" y="230793"/>
                </a:lnTo>
                <a:cubicBezTo>
                  <a:pt x="273471" y="233244"/>
                  <a:pt x="275008" y="235696"/>
                  <a:pt x="276546" y="238148"/>
                </a:cubicBezTo>
                <a:cubicBezTo>
                  <a:pt x="282388" y="249180"/>
                  <a:pt x="285463" y="259600"/>
                  <a:pt x="270088" y="268180"/>
                </a:cubicBezTo>
                <a:cubicBezTo>
                  <a:pt x="269166" y="268487"/>
                  <a:pt x="268551" y="269100"/>
                  <a:pt x="267936" y="269713"/>
                </a:cubicBezTo>
                <a:lnTo>
                  <a:pt x="267441" y="271193"/>
                </a:lnTo>
                <a:lnTo>
                  <a:pt x="270765" y="274350"/>
                </a:lnTo>
                <a:cubicBezTo>
                  <a:pt x="272610" y="276496"/>
                  <a:pt x="274455" y="278949"/>
                  <a:pt x="275992" y="281095"/>
                </a:cubicBezTo>
                <a:cubicBezTo>
                  <a:pt x="278760" y="285694"/>
                  <a:pt x="280297" y="291213"/>
                  <a:pt x="280297" y="296119"/>
                </a:cubicBezTo>
                <a:cubicBezTo>
                  <a:pt x="279990" y="301024"/>
                  <a:pt x="278452" y="305930"/>
                  <a:pt x="274762" y="309916"/>
                </a:cubicBezTo>
                <a:cubicBezTo>
                  <a:pt x="272917" y="312062"/>
                  <a:pt x="270765" y="313901"/>
                  <a:pt x="267997" y="315128"/>
                </a:cubicBezTo>
                <a:cubicBezTo>
                  <a:pt x="265537" y="316048"/>
                  <a:pt x="262769" y="316661"/>
                  <a:pt x="259694" y="316661"/>
                </a:cubicBezTo>
                <a:cubicBezTo>
                  <a:pt x="255389" y="316661"/>
                  <a:pt x="254467" y="315741"/>
                  <a:pt x="251699" y="314208"/>
                </a:cubicBezTo>
                <a:cubicBezTo>
                  <a:pt x="251084" y="313901"/>
                  <a:pt x="250777" y="313595"/>
                  <a:pt x="250469" y="313288"/>
                </a:cubicBezTo>
                <a:cubicBezTo>
                  <a:pt x="250162" y="313288"/>
                  <a:pt x="250162" y="313288"/>
                  <a:pt x="250162" y="313288"/>
                </a:cubicBezTo>
                <a:cubicBezTo>
                  <a:pt x="250162" y="312982"/>
                  <a:pt x="250162" y="312982"/>
                  <a:pt x="250162" y="312982"/>
                </a:cubicBezTo>
                <a:cubicBezTo>
                  <a:pt x="247087" y="309916"/>
                  <a:pt x="247087" y="309916"/>
                  <a:pt x="245549" y="306236"/>
                </a:cubicBezTo>
                <a:cubicBezTo>
                  <a:pt x="245242" y="305623"/>
                  <a:pt x="245242" y="305623"/>
                  <a:pt x="245242" y="305623"/>
                </a:cubicBezTo>
                <a:cubicBezTo>
                  <a:pt x="245242" y="305317"/>
                  <a:pt x="245242" y="305317"/>
                  <a:pt x="245242" y="305317"/>
                </a:cubicBezTo>
                <a:lnTo>
                  <a:pt x="244066" y="301212"/>
                </a:lnTo>
                <a:lnTo>
                  <a:pt x="232807" y="294959"/>
                </a:lnTo>
                <a:cubicBezTo>
                  <a:pt x="231235" y="291821"/>
                  <a:pt x="231465" y="287765"/>
                  <a:pt x="231772" y="282866"/>
                </a:cubicBezTo>
                <a:cubicBezTo>
                  <a:pt x="231772" y="281642"/>
                  <a:pt x="232078" y="280111"/>
                  <a:pt x="232078" y="278581"/>
                </a:cubicBezTo>
                <a:lnTo>
                  <a:pt x="233561" y="277101"/>
                </a:lnTo>
                <a:lnTo>
                  <a:pt x="235125" y="264825"/>
                </a:lnTo>
                <a:lnTo>
                  <a:pt x="227714" y="269751"/>
                </a:lnTo>
                <a:cubicBezTo>
                  <a:pt x="225254" y="272817"/>
                  <a:pt x="223716" y="276803"/>
                  <a:pt x="223716" y="281095"/>
                </a:cubicBezTo>
                <a:cubicBezTo>
                  <a:pt x="223716" y="283548"/>
                  <a:pt x="223716" y="285387"/>
                  <a:pt x="224024" y="287227"/>
                </a:cubicBezTo>
                <a:cubicBezTo>
                  <a:pt x="224331" y="289067"/>
                  <a:pt x="224946" y="290906"/>
                  <a:pt x="225869" y="292746"/>
                </a:cubicBezTo>
                <a:cubicBezTo>
                  <a:pt x="228636" y="298265"/>
                  <a:pt x="232326" y="302864"/>
                  <a:pt x="235709" y="307156"/>
                </a:cubicBezTo>
                <a:cubicBezTo>
                  <a:pt x="240629" y="312982"/>
                  <a:pt x="245242" y="318501"/>
                  <a:pt x="248009" y="326166"/>
                </a:cubicBezTo>
                <a:cubicBezTo>
                  <a:pt x="248009" y="326472"/>
                  <a:pt x="248009" y="326472"/>
                  <a:pt x="248009" y="326472"/>
                </a:cubicBezTo>
                <a:lnTo>
                  <a:pt x="249036" y="335944"/>
                </a:lnTo>
                <a:lnTo>
                  <a:pt x="249867" y="335944"/>
                </a:lnTo>
                <a:cubicBezTo>
                  <a:pt x="250170" y="335944"/>
                  <a:pt x="250474" y="336247"/>
                  <a:pt x="250474" y="336247"/>
                </a:cubicBezTo>
                <a:cubicBezTo>
                  <a:pt x="250777" y="336551"/>
                  <a:pt x="250777" y="336551"/>
                  <a:pt x="250777" y="336854"/>
                </a:cubicBezTo>
                <a:cubicBezTo>
                  <a:pt x="250777" y="340798"/>
                  <a:pt x="250777" y="340798"/>
                  <a:pt x="250777" y="340798"/>
                </a:cubicBezTo>
                <a:cubicBezTo>
                  <a:pt x="250777" y="340798"/>
                  <a:pt x="250777" y="341101"/>
                  <a:pt x="250474" y="341405"/>
                </a:cubicBezTo>
                <a:cubicBezTo>
                  <a:pt x="250474" y="341405"/>
                  <a:pt x="250170" y="341405"/>
                  <a:pt x="249867" y="341405"/>
                </a:cubicBezTo>
                <a:lnTo>
                  <a:pt x="249580" y="341405"/>
                </a:lnTo>
                <a:lnTo>
                  <a:pt x="255989" y="343871"/>
                </a:lnTo>
                <a:cubicBezTo>
                  <a:pt x="257821" y="346010"/>
                  <a:pt x="259043" y="348761"/>
                  <a:pt x="259043" y="351817"/>
                </a:cubicBezTo>
                <a:cubicBezTo>
                  <a:pt x="259043" y="354567"/>
                  <a:pt x="257821" y="357318"/>
                  <a:pt x="255989" y="359457"/>
                </a:cubicBezTo>
                <a:cubicBezTo>
                  <a:pt x="253850" y="361290"/>
                  <a:pt x="251101" y="362513"/>
                  <a:pt x="248047" y="362513"/>
                </a:cubicBezTo>
                <a:cubicBezTo>
                  <a:pt x="244992" y="362513"/>
                  <a:pt x="242243" y="361290"/>
                  <a:pt x="240410" y="359457"/>
                </a:cubicBezTo>
                <a:cubicBezTo>
                  <a:pt x="238272" y="357318"/>
                  <a:pt x="237050" y="354567"/>
                  <a:pt x="237050" y="351817"/>
                </a:cubicBezTo>
                <a:cubicBezTo>
                  <a:pt x="237050" y="348761"/>
                  <a:pt x="238272" y="346010"/>
                  <a:pt x="240410" y="343871"/>
                </a:cubicBezTo>
                <a:lnTo>
                  <a:pt x="246572" y="341405"/>
                </a:lnTo>
                <a:lnTo>
                  <a:pt x="246226" y="341405"/>
                </a:lnTo>
                <a:cubicBezTo>
                  <a:pt x="245923" y="341405"/>
                  <a:pt x="245923" y="341405"/>
                  <a:pt x="245620" y="341405"/>
                </a:cubicBezTo>
                <a:cubicBezTo>
                  <a:pt x="245620" y="341101"/>
                  <a:pt x="245316" y="340798"/>
                  <a:pt x="245316" y="340798"/>
                </a:cubicBezTo>
                <a:cubicBezTo>
                  <a:pt x="245316" y="336854"/>
                  <a:pt x="245316" y="336854"/>
                  <a:pt x="245316" y="336854"/>
                </a:cubicBezTo>
                <a:cubicBezTo>
                  <a:pt x="245316" y="336551"/>
                  <a:pt x="245620" y="336551"/>
                  <a:pt x="245620" y="336247"/>
                </a:cubicBezTo>
                <a:cubicBezTo>
                  <a:pt x="245923" y="336247"/>
                  <a:pt x="245923" y="335944"/>
                  <a:pt x="246226" y="335944"/>
                </a:cubicBezTo>
                <a:lnTo>
                  <a:pt x="246536" y="335944"/>
                </a:lnTo>
                <a:lnTo>
                  <a:pt x="245549" y="327085"/>
                </a:lnTo>
                <a:cubicBezTo>
                  <a:pt x="242782" y="319727"/>
                  <a:pt x="238477" y="314208"/>
                  <a:pt x="233864" y="308689"/>
                </a:cubicBezTo>
                <a:cubicBezTo>
                  <a:pt x="230174" y="304090"/>
                  <a:pt x="226484" y="299491"/>
                  <a:pt x="223716" y="293972"/>
                </a:cubicBezTo>
                <a:cubicBezTo>
                  <a:pt x="223409" y="293972"/>
                  <a:pt x="223409" y="293972"/>
                  <a:pt x="223409" y="293972"/>
                </a:cubicBezTo>
                <a:cubicBezTo>
                  <a:pt x="222794" y="291520"/>
                  <a:pt x="222179" y="289680"/>
                  <a:pt x="221564" y="287840"/>
                </a:cubicBezTo>
                <a:cubicBezTo>
                  <a:pt x="221256" y="285694"/>
                  <a:pt x="221256" y="283548"/>
                  <a:pt x="221256" y="281095"/>
                </a:cubicBezTo>
                <a:cubicBezTo>
                  <a:pt x="221256" y="276189"/>
                  <a:pt x="223101" y="271590"/>
                  <a:pt x="225561" y="268218"/>
                </a:cubicBezTo>
                <a:lnTo>
                  <a:pt x="235916" y="261426"/>
                </a:lnTo>
                <a:lnTo>
                  <a:pt x="240094" y="244943"/>
                </a:lnTo>
                <a:lnTo>
                  <a:pt x="244441" y="240121"/>
                </a:lnTo>
                <a:lnTo>
                  <a:pt x="241565" y="236664"/>
                </a:lnTo>
                <a:cubicBezTo>
                  <a:pt x="241565" y="236664"/>
                  <a:pt x="241257" y="236664"/>
                  <a:pt x="241257" y="236664"/>
                </a:cubicBezTo>
                <a:cubicBezTo>
                  <a:pt x="240641" y="236664"/>
                  <a:pt x="239716" y="236971"/>
                  <a:pt x="239100" y="236971"/>
                </a:cubicBezTo>
                <a:cubicBezTo>
                  <a:pt x="238175" y="237277"/>
                  <a:pt x="237558" y="237584"/>
                  <a:pt x="236634" y="237891"/>
                </a:cubicBezTo>
                <a:lnTo>
                  <a:pt x="236230" y="237088"/>
                </a:lnTo>
                <a:lnTo>
                  <a:pt x="236607" y="238758"/>
                </a:lnTo>
                <a:cubicBezTo>
                  <a:pt x="235379" y="239664"/>
                  <a:pt x="234458" y="240873"/>
                  <a:pt x="233537" y="240873"/>
                </a:cubicBezTo>
                <a:cubicBezTo>
                  <a:pt x="231695" y="241478"/>
                  <a:pt x="229853" y="241176"/>
                  <a:pt x="229546" y="239060"/>
                </a:cubicBezTo>
                <a:cubicBezTo>
                  <a:pt x="228932" y="236944"/>
                  <a:pt x="230467" y="235735"/>
                  <a:pt x="232309" y="235433"/>
                </a:cubicBezTo>
                <a:cubicBezTo>
                  <a:pt x="233230" y="235131"/>
                  <a:pt x="234458" y="235735"/>
                  <a:pt x="235993" y="236038"/>
                </a:cubicBezTo>
                <a:lnTo>
                  <a:pt x="236126" y="236628"/>
                </a:lnTo>
                <a:lnTo>
                  <a:pt x="238791" y="235744"/>
                </a:lnTo>
                <a:cubicBezTo>
                  <a:pt x="239408" y="235744"/>
                  <a:pt x="240333" y="235438"/>
                  <a:pt x="240949" y="235438"/>
                </a:cubicBezTo>
                <a:cubicBezTo>
                  <a:pt x="241257" y="235438"/>
                  <a:pt x="241257" y="235438"/>
                  <a:pt x="241565" y="235438"/>
                </a:cubicBezTo>
                <a:lnTo>
                  <a:pt x="245127" y="239360"/>
                </a:lnTo>
                <a:lnTo>
                  <a:pt x="248663" y="235438"/>
                </a:lnTo>
                <a:cubicBezTo>
                  <a:pt x="248663" y="235438"/>
                  <a:pt x="248969" y="235438"/>
                  <a:pt x="248969" y="235438"/>
                </a:cubicBezTo>
                <a:cubicBezTo>
                  <a:pt x="249887" y="235438"/>
                  <a:pt x="250806" y="235744"/>
                  <a:pt x="251418" y="235744"/>
                </a:cubicBezTo>
                <a:lnTo>
                  <a:pt x="253787" y="236535"/>
                </a:lnTo>
                <a:lnTo>
                  <a:pt x="253899" y="236038"/>
                </a:lnTo>
                <a:cubicBezTo>
                  <a:pt x="255739" y="235735"/>
                  <a:pt x="256659" y="235131"/>
                  <a:pt x="257885" y="235433"/>
                </a:cubicBezTo>
                <a:cubicBezTo>
                  <a:pt x="259724" y="235735"/>
                  <a:pt x="261257" y="236944"/>
                  <a:pt x="260644" y="239060"/>
                </a:cubicBezTo>
                <a:cubicBezTo>
                  <a:pt x="260338" y="241176"/>
                  <a:pt x="258498" y="241478"/>
                  <a:pt x="256659" y="240873"/>
                </a:cubicBezTo>
                <a:cubicBezTo>
                  <a:pt x="255432" y="240873"/>
                  <a:pt x="254819" y="239664"/>
                  <a:pt x="253286" y="238758"/>
                </a:cubicBezTo>
                <a:lnTo>
                  <a:pt x="253488" y="237863"/>
                </a:lnTo>
                <a:lnTo>
                  <a:pt x="251112" y="236971"/>
                </a:lnTo>
                <a:cubicBezTo>
                  <a:pt x="250500" y="236971"/>
                  <a:pt x="249581" y="236664"/>
                  <a:pt x="248969" y="236664"/>
                </a:cubicBezTo>
                <a:cubicBezTo>
                  <a:pt x="248663" y="236664"/>
                  <a:pt x="248663" y="236664"/>
                  <a:pt x="248663" y="236664"/>
                </a:cubicBezTo>
                <a:lnTo>
                  <a:pt x="245751" y="240048"/>
                </a:lnTo>
                <a:lnTo>
                  <a:pt x="250196" y="244943"/>
                </a:lnTo>
                <a:lnTo>
                  <a:pt x="254619" y="262269"/>
                </a:lnTo>
                <a:lnTo>
                  <a:pt x="255082" y="262392"/>
                </a:lnTo>
                <a:cubicBezTo>
                  <a:pt x="256927" y="263006"/>
                  <a:pt x="258464" y="263925"/>
                  <a:pt x="259694" y="264845"/>
                </a:cubicBezTo>
                <a:cubicBezTo>
                  <a:pt x="261232" y="265765"/>
                  <a:pt x="262769" y="266685"/>
                  <a:pt x="264307" y="268218"/>
                </a:cubicBezTo>
                <a:lnTo>
                  <a:pt x="266704" y="270494"/>
                </a:lnTo>
                <a:lnTo>
                  <a:pt x="267321" y="268793"/>
                </a:lnTo>
                <a:cubicBezTo>
                  <a:pt x="267936" y="268180"/>
                  <a:pt x="268858" y="267567"/>
                  <a:pt x="269473" y="267261"/>
                </a:cubicBezTo>
                <a:cubicBezTo>
                  <a:pt x="283926" y="259293"/>
                  <a:pt x="281466" y="249180"/>
                  <a:pt x="275623" y="238454"/>
                </a:cubicBezTo>
                <a:cubicBezTo>
                  <a:pt x="274086" y="236309"/>
                  <a:pt x="272856" y="233857"/>
                  <a:pt x="271318" y="231405"/>
                </a:cubicBezTo>
                <a:cubicBezTo>
                  <a:pt x="271011" y="230793"/>
                  <a:pt x="270396" y="230180"/>
                  <a:pt x="269781" y="229260"/>
                </a:cubicBezTo>
                <a:lnTo>
                  <a:pt x="269805" y="229213"/>
                </a:lnTo>
                <a:lnTo>
                  <a:pt x="268878" y="228285"/>
                </a:lnTo>
                <a:cubicBezTo>
                  <a:pt x="268878" y="220014"/>
                  <a:pt x="268878" y="220014"/>
                  <a:pt x="268878" y="220014"/>
                </a:cubicBezTo>
                <a:cubicBezTo>
                  <a:pt x="265818" y="220014"/>
                  <a:pt x="265818" y="220014"/>
                  <a:pt x="265818" y="220014"/>
                </a:cubicBezTo>
                <a:cubicBezTo>
                  <a:pt x="265512" y="220014"/>
                  <a:pt x="265206" y="219401"/>
                  <a:pt x="265206" y="218788"/>
                </a:cubicBezTo>
                <a:cubicBezTo>
                  <a:pt x="265206" y="217869"/>
                  <a:pt x="265512" y="217563"/>
                  <a:pt x="265818" y="217563"/>
                </a:cubicBezTo>
                <a:cubicBezTo>
                  <a:pt x="267348" y="217563"/>
                  <a:pt x="267348" y="217563"/>
                  <a:pt x="267348" y="217563"/>
                </a:cubicBezTo>
                <a:cubicBezTo>
                  <a:pt x="267348" y="214193"/>
                  <a:pt x="267348" y="214193"/>
                  <a:pt x="267348" y="214193"/>
                </a:cubicBezTo>
                <a:cubicBezTo>
                  <a:pt x="267348" y="213274"/>
                  <a:pt x="266736" y="212355"/>
                  <a:pt x="266124" y="211743"/>
                </a:cubicBezTo>
                <a:cubicBezTo>
                  <a:pt x="265512" y="211130"/>
                  <a:pt x="264594" y="210517"/>
                  <a:pt x="263676" y="210517"/>
                </a:cubicBezTo>
                <a:cubicBezTo>
                  <a:pt x="261228" y="210517"/>
                  <a:pt x="261228" y="210517"/>
                  <a:pt x="261228" y="210517"/>
                </a:cubicBezTo>
                <a:cubicBezTo>
                  <a:pt x="260922" y="210517"/>
                  <a:pt x="260922" y="210517"/>
                  <a:pt x="260922" y="210517"/>
                </a:cubicBezTo>
                <a:cubicBezTo>
                  <a:pt x="260004" y="210517"/>
                  <a:pt x="259392" y="210211"/>
                  <a:pt x="258780" y="209598"/>
                </a:cubicBezTo>
                <a:cubicBezTo>
                  <a:pt x="258168" y="208985"/>
                  <a:pt x="257862" y="208373"/>
                  <a:pt x="257862" y="207454"/>
                </a:cubicBezTo>
                <a:cubicBezTo>
                  <a:pt x="260310" y="173450"/>
                  <a:pt x="260310" y="173450"/>
                  <a:pt x="260310" y="173450"/>
                </a:cubicBezTo>
                <a:cubicBezTo>
                  <a:pt x="260310" y="172530"/>
                  <a:pt x="260616" y="171611"/>
                  <a:pt x="261228" y="171305"/>
                </a:cubicBezTo>
                <a:cubicBezTo>
                  <a:pt x="261840" y="170692"/>
                  <a:pt x="262452" y="170080"/>
                  <a:pt x="263064" y="170080"/>
                </a:cubicBezTo>
                <a:cubicBezTo>
                  <a:pt x="263676" y="170080"/>
                  <a:pt x="264288" y="169773"/>
                  <a:pt x="264900" y="169467"/>
                </a:cubicBezTo>
                <a:cubicBezTo>
                  <a:pt x="265206" y="169161"/>
                  <a:pt x="265512" y="168548"/>
                  <a:pt x="265818" y="168242"/>
                </a:cubicBezTo>
                <a:cubicBezTo>
                  <a:pt x="266124" y="167323"/>
                  <a:pt x="266430" y="166404"/>
                  <a:pt x="267348" y="165791"/>
                </a:cubicBezTo>
                <a:cubicBezTo>
                  <a:pt x="267960" y="165178"/>
                  <a:pt x="268878" y="164872"/>
                  <a:pt x="270408" y="164872"/>
                </a:cubicBezTo>
                <a:close/>
                <a:moveTo>
                  <a:pt x="11995" y="163396"/>
                </a:moveTo>
                <a:cubicBezTo>
                  <a:pt x="14130" y="163396"/>
                  <a:pt x="14130" y="163396"/>
                  <a:pt x="14130" y="163396"/>
                </a:cubicBezTo>
                <a:cubicBezTo>
                  <a:pt x="14741" y="163396"/>
                  <a:pt x="15351" y="164007"/>
                  <a:pt x="15351" y="164619"/>
                </a:cubicBezTo>
                <a:lnTo>
                  <a:pt x="15351" y="177123"/>
                </a:lnTo>
                <a:lnTo>
                  <a:pt x="35270" y="177123"/>
                </a:lnTo>
                <a:cubicBezTo>
                  <a:pt x="42627" y="177123"/>
                  <a:pt x="46305" y="177123"/>
                  <a:pt x="48144" y="177123"/>
                </a:cubicBezTo>
                <a:lnTo>
                  <a:pt x="48857" y="177123"/>
                </a:lnTo>
                <a:lnTo>
                  <a:pt x="48857" y="172554"/>
                </a:lnTo>
                <a:cubicBezTo>
                  <a:pt x="48857" y="170368"/>
                  <a:pt x="48857" y="170368"/>
                  <a:pt x="48857" y="170368"/>
                </a:cubicBezTo>
                <a:cubicBezTo>
                  <a:pt x="48857" y="169755"/>
                  <a:pt x="49470" y="169448"/>
                  <a:pt x="49776" y="169448"/>
                </a:cubicBezTo>
                <a:cubicBezTo>
                  <a:pt x="51616" y="169448"/>
                  <a:pt x="51616" y="169448"/>
                  <a:pt x="51616" y="169448"/>
                </a:cubicBezTo>
                <a:cubicBezTo>
                  <a:pt x="52229" y="169448"/>
                  <a:pt x="52842" y="169755"/>
                  <a:pt x="52842" y="170368"/>
                </a:cubicBezTo>
                <a:cubicBezTo>
                  <a:pt x="52842" y="187852"/>
                  <a:pt x="52842" y="187852"/>
                  <a:pt x="52842" y="187852"/>
                </a:cubicBezTo>
                <a:cubicBezTo>
                  <a:pt x="52842" y="188465"/>
                  <a:pt x="52229" y="189079"/>
                  <a:pt x="51616" y="189079"/>
                </a:cubicBezTo>
                <a:cubicBezTo>
                  <a:pt x="49776" y="189079"/>
                  <a:pt x="49776" y="189079"/>
                  <a:pt x="49776" y="189079"/>
                </a:cubicBezTo>
                <a:cubicBezTo>
                  <a:pt x="49470" y="189079"/>
                  <a:pt x="48857" y="188465"/>
                  <a:pt x="48857" y="187852"/>
                </a:cubicBezTo>
                <a:lnTo>
                  <a:pt x="48857" y="182732"/>
                </a:lnTo>
                <a:lnTo>
                  <a:pt x="29821" y="182732"/>
                </a:lnTo>
                <a:cubicBezTo>
                  <a:pt x="24917" y="182732"/>
                  <a:pt x="21648" y="182732"/>
                  <a:pt x="19468" y="182732"/>
                </a:cubicBezTo>
                <a:lnTo>
                  <a:pt x="15351" y="182732"/>
                </a:lnTo>
                <a:lnTo>
                  <a:pt x="15351" y="184951"/>
                </a:lnTo>
                <a:cubicBezTo>
                  <a:pt x="15351" y="187856"/>
                  <a:pt x="15351" y="187856"/>
                  <a:pt x="15351" y="187856"/>
                </a:cubicBezTo>
                <a:cubicBezTo>
                  <a:pt x="15351" y="188467"/>
                  <a:pt x="14741" y="189079"/>
                  <a:pt x="14130" y="189079"/>
                </a:cubicBezTo>
                <a:cubicBezTo>
                  <a:pt x="11995" y="189079"/>
                  <a:pt x="11995" y="189079"/>
                  <a:pt x="11995" y="189079"/>
                </a:cubicBezTo>
                <a:cubicBezTo>
                  <a:pt x="11385" y="189079"/>
                  <a:pt x="10775" y="188467"/>
                  <a:pt x="10775" y="187856"/>
                </a:cubicBezTo>
                <a:cubicBezTo>
                  <a:pt x="10775" y="164619"/>
                  <a:pt x="10775" y="164619"/>
                  <a:pt x="10775" y="164619"/>
                </a:cubicBezTo>
                <a:cubicBezTo>
                  <a:pt x="10775" y="164007"/>
                  <a:pt x="11385" y="163396"/>
                  <a:pt x="11995" y="163396"/>
                </a:cubicBezTo>
                <a:close/>
                <a:moveTo>
                  <a:pt x="432845" y="157493"/>
                </a:moveTo>
                <a:lnTo>
                  <a:pt x="432855" y="157502"/>
                </a:lnTo>
                <a:lnTo>
                  <a:pt x="432864" y="157493"/>
                </a:lnTo>
                <a:close/>
                <a:moveTo>
                  <a:pt x="414424" y="157493"/>
                </a:moveTo>
                <a:lnTo>
                  <a:pt x="414434" y="157502"/>
                </a:lnTo>
                <a:lnTo>
                  <a:pt x="414444" y="157493"/>
                </a:lnTo>
                <a:close/>
                <a:moveTo>
                  <a:pt x="396617" y="157493"/>
                </a:moveTo>
                <a:lnTo>
                  <a:pt x="396627" y="157502"/>
                </a:lnTo>
                <a:lnTo>
                  <a:pt x="396636" y="157493"/>
                </a:lnTo>
                <a:close/>
                <a:moveTo>
                  <a:pt x="136580" y="153248"/>
                </a:moveTo>
                <a:cubicBezTo>
                  <a:pt x="138727" y="156003"/>
                  <a:pt x="142100" y="158758"/>
                  <a:pt x="145780" y="161514"/>
                </a:cubicBezTo>
                <a:cubicBezTo>
                  <a:pt x="146086" y="162126"/>
                  <a:pt x="146700" y="162432"/>
                  <a:pt x="147006" y="162738"/>
                </a:cubicBezTo>
                <a:cubicBezTo>
                  <a:pt x="147620" y="162432"/>
                  <a:pt x="147926" y="162126"/>
                  <a:pt x="148540" y="161514"/>
                </a:cubicBezTo>
                <a:cubicBezTo>
                  <a:pt x="151913" y="158758"/>
                  <a:pt x="155286" y="156003"/>
                  <a:pt x="157739" y="153248"/>
                </a:cubicBezTo>
                <a:cubicBezTo>
                  <a:pt x="136580" y="153248"/>
                  <a:pt x="136580" y="153248"/>
                  <a:pt x="136580" y="153248"/>
                </a:cubicBezTo>
                <a:close/>
                <a:moveTo>
                  <a:pt x="290072" y="152896"/>
                </a:moveTo>
                <a:cubicBezTo>
                  <a:pt x="290072" y="152896"/>
                  <a:pt x="290072" y="152896"/>
                  <a:pt x="366482" y="152896"/>
                </a:cubicBezTo>
                <a:cubicBezTo>
                  <a:pt x="366482" y="152896"/>
                  <a:pt x="366482" y="152896"/>
                  <a:pt x="366482" y="156572"/>
                </a:cubicBezTo>
                <a:cubicBezTo>
                  <a:pt x="366482" y="156572"/>
                  <a:pt x="366482" y="156572"/>
                  <a:pt x="290072" y="156572"/>
                </a:cubicBezTo>
                <a:cubicBezTo>
                  <a:pt x="290072" y="156572"/>
                  <a:pt x="290072" y="156572"/>
                  <a:pt x="290072" y="152896"/>
                </a:cubicBezTo>
                <a:close/>
                <a:moveTo>
                  <a:pt x="415058" y="150738"/>
                </a:moveTo>
                <a:lnTo>
                  <a:pt x="415058" y="156928"/>
                </a:lnTo>
                <a:lnTo>
                  <a:pt x="418425" y="153833"/>
                </a:lnTo>
                <a:close/>
                <a:moveTo>
                  <a:pt x="414025" y="150571"/>
                </a:moveTo>
                <a:lnTo>
                  <a:pt x="410750" y="153833"/>
                </a:lnTo>
                <a:lnTo>
                  <a:pt x="414025" y="157095"/>
                </a:lnTo>
                <a:close/>
                <a:moveTo>
                  <a:pt x="432476" y="150541"/>
                </a:moveTo>
                <a:lnTo>
                  <a:pt x="429170" y="153833"/>
                </a:lnTo>
                <a:lnTo>
                  <a:pt x="432476" y="157125"/>
                </a:lnTo>
                <a:close/>
                <a:moveTo>
                  <a:pt x="396313" y="150477"/>
                </a:moveTo>
                <a:lnTo>
                  <a:pt x="392943" y="153833"/>
                </a:lnTo>
                <a:lnTo>
                  <a:pt x="396313" y="157190"/>
                </a:lnTo>
                <a:close/>
                <a:moveTo>
                  <a:pt x="396903" y="150440"/>
                </a:moveTo>
                <a:lnTo>
                  <a:pt x="396903" y="157227"/>
                </a:lnTo>
                <a:lnTo>
                  <a:pt x="400311" y="153833"/>
                </a:lnTo>
                <a:close/>
                <a:moveTo>
                  <a:pt x="433066" y="150375"/>
                </a:moveTo>
                <a:lnTo>
                  <a:pt x="433066" y="157292"/>
                </a:lnTo>
                <a:lnTo>
                  <a:pt x="436539" y="153833"/>
                </a:lnTo>
                <a:close/>
                <a:moveTo>
                  <a:pt x="432855" y="150164"/>
                </a:moveTo>
                <a:lnTo>
                  <a:pt x="432759" y="150260"/>
                </a:lnTo>
                <a:lnTo>
                  <a:pt x="432951" y="150260"/>
                </a:lnTo>
                <a:close/>
                <a:moveTo>
                  <a:pt x="414434" y="150164"/>
                </a:moveTo>
                <a:lnTo>
                  <a:pt x="414338" y="150260"/>
                </a:lnTo>
                <a:lnTo>
                  <a:pt x="414538" y="150260"/>
                </a:lnTo>
                <a:close/>
                <a:moveTo>
                  <a:pt x="396627" y="150164"/>
                </a:moveTo>
                <a:lnTo>
                  <a:pt x="396531" y="150260"/>
                </a:lnTo>
                <a:lnTo>
                  <a:pt x="396723" y="150260"/>
                </a:lnTo>
                <a:close/>
                <a:moveTo>
                  <a:pt x="290072" y="148608"/>
                </a:moveTo>
                <a:cubicBezTo>
                  <a:pt x="290072" y="148608"/>
                  <a:pt x="290072" y="148608"/>
                  <a:pt x="366482" y="148608"/>
                </a:cubicBezTo>
                <a:cubicBezTo>
                  <a:pt x="366482" y="148608"/>
                  <a:pt x="366482" y="148608"/>
                  <a:pt x="366482" y="151977"/>
                </a:cubicBezTo>
                <a:cubicBezTo>
                  <a:pt x="366482" y="151977"/>
                  <a:pt x="366482" y="151977"/>
                  <a:pt x="290072" y="151977"/>
                </a:cubicBezTo>
                <a:cubicBezTo>
                  <a:pt x="290072" y="151977"/>
                  <a:pt x="290072" y="151977"/>
                  <a:pt x="290072" y="148608"/>
                </a:cubicBezTo>
                <a:close/>
                <a:moveTo>
                  <a:pt x="133207" y="145594"/>
                </a:moveTo>
                <a:cubicBezTo>
                  <a:pt x="133207" y="146206"/>
                  <a:pt x="133514" y="147124"/>
                  <a:pt x="133514" y="147737"/>
                </a:cubicBezTo>
                <a:cubicBezTo>
                  <a:pt x="160499" y="147737"/>
                  <a:pt x="160499" y="147737"/>
                  <a:pt x="160499" y="147737"/>
                </a:cubicBezTo>
                <a:cubicBezTo>
                  <a:pt x="160806" y="147124"/>
                  <a:pt x="160806" y="146206"/>
                  <a:pt x="160806" y="145594"/>
                </a:cubicBezTo>
                <a:cubicBezTo>
                  <a:pt x="133207" y="145594"/>
                  <a:pt x="133207" y="145594"/>
                  <a:pt x="133207" y="145594"/>
                </a:cubicBezTo>
                <a:close/>
                <a:moveTo>
                  <a:pt x="389565" y="145578"/>
                </a:moveTo>
                <a:cubicBezTo>
                  <a:pt x="388951" y="145578"/>
                  <a:pt x="388644" y="146190"/>
                  <a:pt x="388644" y="146495"/>
                </a:cubicBezTo>
                <a:cubicBezTo>
                  <a:pt x="388644" y="146801"/>
                  <a:pt x="388951" y="147413"/>
                  <a:pt x="389565" y="147413"/>
                </a:cubicBezTo>
                <a:cubicBezTo>
                  <a:pt x="441758" y="147413"/>
                  <a:pt x="441758" y="147413"/>
                  <a:pt x="441758" y="147413"/>
                </a:cubicBezTo>
                <a:cubicBezTo>
                  <a:pt x="442065" y="147413"/>
                  <a:pt x="442372" y="146801"/>
                  <a:pt x="442372" y="146495"/>
                </a:cubicBezTo>
                <a:cubicBezTo>
                  <a:pt x="442372" y="146190"/>
                  <a:pt x="442065" y="145578"/>
                  <a:pt x="441758" y="145578"/>
                </a:cubicBezTo>
                <a:cubicBezTo>
                  <a:pt x="389565" y="145578"/>
                  <a:pt x="389565" y="145578"/>
                  <a:pt x="389565" y="145578"/>
                </a:cubicBezTo>
                <a:close/>
                <a:moveTo>
                  <a:pt x="30427" y="144060"/>
                </a:moveTo>
                <a:cubicBezTo>
                  <a:pt x="33189" y="144060"/>
                  <a:pt x="33189" y="144060"/>
                  <a:pt x="33189" y="144060"/>
                </a:cubicBezTo>
                <a:cubicBezTo>
                  <a:pt x="33803" y="144060"/>
                  <a:pt x="34110" y="144673"/>
                  <a:pt x="34110" y="145287"/>
                </a:cubicBezTo>
                <a:cubicBezTo>
                  <a:pt x="34110" y="151421"/>
                  <a:pt x="34110" y="151421"/>
                  <a:pt x="34110" y="151421"/>
                </a:cubicBezTo>
                <a:cubicBezTo>
                  <a:pt x="40555" y="151421"/>
                  <a:pt x="40555" y="151421"/>
                  <a:pt x="40555" y="151421"/>
                </a:cubicBezTo>
                <a:cubicBezTo>
                  <a:pt x="41169" y="151421"/>
                  <a:pt x="41476" y="151728"/>
                  <a:pt x="41476" y="152342"/>
                </a:cubicBezTo>
                <a:cubicBezTo>
                  <a:pt x="41476" y="155409"/>
                  <a:pt x="41476" y="155409"/>
                  <a:pt x="41476" y="155409"/>
                </a:cubicBezTo>
                <a:cubicBezTo>
                  <a:pt x="41476" y="156023"/>
                  <a:pt x="41169" y="156329"/>
                  <a:pt x="40555" y="156329"/>
                </a:cubicBezTo>
                <a:cubicBezTo>
                  <a:pt x="34110" y="156329"/>
                  <a:pt x="34110" y="156329"/>
                  <a:pt x="34110" y="156329"/>
                </a:cubicBezTo>
                <a:cubicBezTo>
                  <a:pt x="34110" y="162464"/>
                  <a:pt x="34110" y="162464"/>
                  <a:pt x="34110" y="162464"/>
                </a:cubicBezTo>
                <a:cubicBezTo>
                  <a:pt x="34110" y="163077"/>
                  <a:pt x="33803" y="163691"/>
                  <a:pt x="33189" y="163691"/>
                </a:cubicBezTo>
                <a:cubicBezTo>
                  <a:pt x="30427" y="163691"/>
                  <a:pt x="30427" y="163691"/>
                  <a:pt x="30427" y="163691"/>
                </a:cubicBezTo>
                <a:cubicBezTo>
                  <a:pt x="29813" y="163691"/>
                  <a:pt x="29199" y="163077"/>
                  <a:pt x="29199" y="162464"/>
                </a:cubicBezTo>
                <a:cubicBezTo>
                  <a:pt x="29199" y="156329"/>
                  <a:pt x="29199" y="156329"/>
                  <a:pt x="29199" y="156329"/>
                </a:cubicBezTo>
                <a:cubicBezTo>
                  <a:pt x="23061" y="156329"/>
                  <a:pt x="23061" y="156329"/>
                  <a:pt x="23061" y="156329"/>
                </a:cubicBezTo>
                <a:cubicBezTo>
                  <a:pt x="22447" y="156329"/>
                  <a:pt x="22140" y="156023"/>
                  <a:pt x="22140" y="155409"/>
                </a:cubicBezTo>
                <a:cubicBezTo>
                  <a:pt x="22140" y="152342"/>
                  <a:pt x="22140" y="152342"/>
                  <a:pt x="22140" y="152342"/>
                </a:cubicBezTo>
                <a:cubicBezTo>
                  <a:pt x="22140" y="151728"/>
                  <a:pt x="22447" y="151421"/>
                  <a:pt x="23061" y="151421"/>
                </a:cubicBezTo>
                <a:cubicBezTo>
                  <a:pt x="29199" y="151421"/>
                  <a:pt x="29199" y="151421"/>
                  <a:pt x="29199" y="151421"/>
                </a:cubicBezTo>
                <a:cubicBezTo>
                  <a:pt x="29199" y="145287"/>
                  <a:pt x="29199" y="145287"/>
                  <a:pt x="29199" y="145287"/>
                </a:cubicBezTo>
                <a:cubicBezTo>
                  <a:pt x="29199" y="144673"/>
                  <a:pt x="29813" y="144060"/>
                  <a:pt x="30427" y="144060"/>
                </a:cubicBezTo>
                <a:close/>
                <a:moveTo>
                  <a:pt x="115711" y="141994"/>
                </a:moveTo>
                <a:lnTo>
                  <a:pt x="115711" y="164445"/>
                </a:lnTo>
                <a:cubicBezTo>
                  <a:pt x="115711" y="172251"/>
                  <a:pt x="115711" y="177455"/>
                  <a:pt x="115711" y="180924"/>
                </a:cubicBezTo>
                <a:lnTo>
                  <a:pt x="115711" y="183913"/>
                </a:lnTo>
                <a:lnTo>
                  <a:pt x="115893" y="183913"/>
                </a:lnTo>
                <a:cubicBezTo>
                  <a:pt x="116657" y="183913"/>
                  <a:pt x="118184" y="183913"/>
                  <a:pt x="121237" y="183913"/>
                </a:cubicBezTo>
                <a:lnTo>
                  <a:pt x="123713" y="183913"/>
                </a:lnTo>
                <a:lnTo>
                  <a:pt x="123713" y="155772"/>
                </a:lnTo>
                <a:cubicBezTo>
                  <a:pt x="123713" y="149918"/>
                  <a:pt x="123713" y="145527"/>
                  <a:pt x="123713" y="142234"/>
                </a:cubicBezTo>
                <a:lnTo>
                  <a:pt x="123713" y="141994"/>
                </a:lnTo>
                <a:lnTo>
                  <a:pt x="117934" y="141994"/>
                </a:lnTo>
                <a:lnTo>
                  <a:pt x="117934" y="161309"/>
                </a:lnTo>
                <a:cubicBezTo>
                  <a:pt x="117934" y="181096"/>
                  <a:pt x="117934" y="181096"/>
                  <a:pt x="117934" y="181096"/>
                </a:cubicBezTo>
                <a:cubicBezTo>
                  <a:pt x="117934" y="181096"/>
                  <a:pt x="117589" y="181403"/>
                  <a:pt x="117589" y="181403"/>
                </a:cubicBezTo>
                <a:cubicBezTo>
                  <a:pt x="117245" y="181403"/>
                  <a:pt x="116901" y="181096"/>
                  <a:pt x="116901" y="181096"/>
                </a:cubicBezTo>
                <a:lnTo>
                  <a:pt x="116901" y="141994"/>
                </a:lnTo>
                <a:close/>
                <a:moveTo>
                  <a:pt x="100347" y="141994"/>
                </a:moveTo>
                <a:lnTo>
                  <a:pt x="100347" y="164445"/>
                </a:lnTo>
                <a:cubicBezTo>
                  <a:pt x="100347" y="172251"/>
                  <a:pt x="100347" y="177455"/>
                  <a:pt x="100347" y="180924"/>
                </a:cubicBezTo>
                <a:lnTo>
                  <a:pt x="100347" y="183913"/>
                </a:lnTo>
                <a:lnTo>
                  <a:pt x="100800" y="183913"/>
                </a:lnTo>
                <a:cubicBezTo>
                  <a:pt x="101525" y="183913"/>
                  <a:pt x="102976" y="183913"/>
                  <a:pt x="105877" y="183913"/>
                </a:cubicBezTo>
                <a:lnTo>
                  <a:pt x="108349" y="183913"/>
                </a:lnTo>
                <a:lnTo>
                  <a:pt x="108349" y="155772"/>
                </a:lnTo>
                <a:cubicBezTo>
                  <a:pt x="108349" y="149918"/>
                  <a:pt x="108349" y="145527"/>
                  <a:pt x="108349" y="142234"/>
                </a:cubicBezTo>
                <a:lnTo>
                  <a:pt x="108349" y="141994"/>
                </a:lnTo>
                <a:lnTo>
                  <a:pt x="102879" y="141994"/>
                </a:lnTo>
                <a:lnTo>
                  <a:pt x="102879" y="161309"/>
                </a:lnTo>
                <a:cubicBezTo>
                  <a:pt x="102879" y="181096"/>
                  <a:pt x="102879" y="181096"/>
                  <a:pt x="102879" y="181096"/>
                </a:cubicBezTo>
                <a:cubicBezTo>
                  <a:pt x="102879" y="181096"/>
                  <a:pt x="102534" y="181403"/>
                  <a:pt x="102190" y="181403"/>
                </a:cubicBezTo>
                <a:cubicBezTo>
                  <a:pt x="102190" y="181403"/>
                  <a:pt x="101846" y="181096"/>
                  <a:pt x="101846" y="181096"/>
                </a:cubicBezTo>
                <a:lnTo>
                  <a:pt x="101846" y="141994"/>
                </a:lnTo>
                <a:close/>
                <a:moveTo>
                  <a:pt x="85304" y="141994"/>
                </a:moveTo>
                <a:lnTo>
                  <a:pt x="85304" y="164445"/>
                </a:lnTo>
                <a:cubicBezTo>
                  <a:pt x="85304" y="172251"/>
                  <a:pt x="85304" y="177455"/>
                  <a:pt x="85304" y="180924"/>
                </a:cubicBezTo>
                <a:lnTo>
                  <a:pt x="85304" y="183913"/>
                </a:lnTo>
                <a:lnTo>
                  <a:pt x="85487" y="183913"/>
                </a:lnTo>
                <a:cubicBezTo>
                  <a:pt x="86251" y="183913"/>
                  <a:pt x="87778" y="183913"/>
                  <a:pt x="90831" y="183913"/>
                </a:cubicBezTo>
                <a:lnTo>
                  <a:pt x="93306" y="183913"/>
                </a:lnTo>
                <a:lnTo>
                  <a:pt x="93306" y="155772"/>
                </a:lnTo>
                <a:cubicBezTo>
                  <a:pt x="93306" y="149918"/>
                  <a:pt x="93306" y="145527"/>
                  <a:pt x="93306" y="142234"/>
                </a:cubicBezTo>
                <a:lnTo>
                  <a:pt x="93306" y="141994"/>
                </a:lnTo>
                <a:lnTo>
                  <a:pt x="92190" y="141994"/>
                </a:lnTo>
                <a:lnTo>
                  <a:pt x="87528" y="141994"/>
                </a:lnTo>
                <a:lnTo>
                  <a:pt x="87528" y="161309"/>
                </a:lnTo>
                <a:cubicBezTo>
                  <a:pt x="87528" y="181096"/>
                  <a:pt x="87528" y="181096"/>
                  <a:pt x="87528" y="181096"/>
                </a:cubicBezTo>
                <a:cubicBezTo>
                  <a:pt x="87528" y="181096"/>
                  <a:pt x="87233" y="181403"/>
                  <a:pt x="87233" y="181403"/>
                </a:cubicBezTo>
                <a:cubicBezTo>
                  <a:pt x="86938" y="181403"/>
                  <a:pt x="86938" y="181096"/>
                  <a:pt x="86938" y="181096"/>
                </a:cubicBezTo>
                <a:lnTo>
                  <a:pt x="86938" y="141994"/>
                </a:lnTo>
                <a:close/>
                <a:moveTo>
                  <a:pt x="69941" y="141994"/>
                </a:moveTo>
                <a:lnTo>
                  <a:pt x="69941" y="164445"/>
                </a:lnTo>
                <a:cubicBezTo>
                  <a:pt x="69941" y="172251"/>
                  <a:pt x="69941" y="177455"/>
                  <a:pt x="69941" y="180924"/>
                </a:cubicBezTo>
                <a:lnTo>
                  <a:pt x="69941" y="183913"/>
                </a:lnTo>
                <a:lnTo>
                  <a:pt x="70393" y="183913"/>
                </a:lnTo>
                <a:cubicBezTo>
                  <a:pt x="71118" y="183913"/>
                  <a:pt x="72569" y="183913"/>
                  <a:pt x="75470" y="183913"/>
                </a:cubicBezTo>
                <a:lnTo>
                  <a:pt x="77943" y="183913"/>
                </a:lnTo>
                <a:lnTo>
                  <a:pt x="77943" y="155772"/>
                </a:lnTo>
                <a:cubicBezTo>
                  <a:pt x="77943" y="149918"/>
                  <a:pt x="77943" y="145527"/>
                  <a:pt x="77943" y="142234"/>
                </a:cubicBezTo>
                <a:lnTo>
                  <a:pt x="77943" y="141994"/>
                </a:lnTo>
                <a:lnTo>
                  <a:pt x="73985" y="141994"/>
                </a:lnTo>
                <a:lnTo>
                  <a:pt x="72473" y="141994"/>
                </a:lnTo>
                <a:lnTo>
                  <a:pt x="72473" y="161309"/>
                </a:lnTo>
                <a:cubicBezTo>
                  <a:pt x="72473" y="181096"/>
                  <a:pt x="72473" y="181096"/>
                  <a:pt x="72473" y="181096"/>
                </a:cubicBezTo>
                <a:cubicBezTo>
                  <a:pt x="72473" y="181096"/>
                  <a:pt x="72177" y="181403"/>
                  <a:pt x="71882" y="181403"/>
                </a:cubicBezTo>
                <a:cubicBezTo>
                  <a:pt x="71882" y="181403"/>
                  <a:pt x="71587" y="181096"/>
                  <a:pt x="71587" y="181096"/>
                </a:cubicBezTo>
                <a:lnTo>
                  <a:pt x="71587" y="141994"/>
                </a:lnTo>
                <a:close/>
                <a:moveTo>
                  <a:pt x="134127" y="137634"/>
                </a:moveTo>
                <a:cubicBezTo>
                  <a:pt x="133820" y="138246"/>
                  <a:pt x="133514" y="139164"/>
                  <a:pt x="133514" y="140083"/>
                </a:cubicBezTo>
                <a:cubicBezTo>
                  <a:pt x="160499" y="140083"/>
                  <a:pt x="160499" y="140083"/>
                  <a:pt x="160499" y="140083"/>
                </a:cubicBezTo>
                <a:cubicBezTo>
                  <a:pt x="160499" y="139164"/>
                  <a:pt x="160192" y="138246"/>
                  <a:pt x="159886" y="137634"/>
                </a:cubicBezTo>
                <a:cubicBezTo>
                  <a:pt x="134127" y="137634"/>
                  <a:pt x="134127" y="137634"/>
                  <a:pt x="134127" y="137634"/>
                </a:cubicBezTo>
                <a:close/>
                <a:moveTo>
                  <a:pt x="11030" y="136732"/>
                </a:moveTo>
                <a:cubicBezTo>
                  <a:pt x="8576" y="136732"/>
                  <a:pt x="7043" y="138570"/>
                  <a:pt x="7043" y="140714"/>
                </a:cubicBezTo>
                <a:cubicBezTo>
                  <a:pt x="7043" y="188188"/>
                  <a:pt x="7043" y="188188"/>
                  <a:pt x="7043" y="188188"/>
                </a:cubicBezTo>
                <a:cubicBezTo>
                  <a:pt x="7043" y="190332"/>
                  <a:pt x="8576" y="192170"/>
                  <a:pt x="11030" y="192170"/>
                </a:cubicBezTo>
                <a:cubicBezTo>
                  <a:pt x="52438" y="192170"/>
                  <a:pt x="52438" y="192170"/>
                  <a:pt x="52438" y="192170"/>
                </a:cubicBezTo>
                <a:cubicBezTo>
                  <a:pt x="54585" y="192170"/>
                  <a:pt x="56426" y="190332"/>
                  <a:pt x="56426" y="188188"/>
                </a:cubicBezTo>
                <a:cubicBezTo>
                  <a:pt x="56426" y="140714"/>
                  <a:pt x="56426" y="140714"/>
                  <a:pt x="56426" y="140714"/>
                </a:cubicBezTo>
                <a:cubicBezTo>
                  <a:pt x="56426" y="138570"/>
                  <a:pt x="54585" y="136732"/>
                  <a:pt x="52438" y="136732"/>
                </a:cubicBezTo>
                <a:cubicBezTo>
                  <a:pt x="11030" y="136732"/>
                  <a:pt x="11030" y="136732"/>
                  <a:pt x="11030" y="136732"/>
                </a:cubicBezTo>
                <a:close/>
                <a:moveTo>
                  <a:pt x="415058" y="135805"/>
                </a:moveTo>
                <a:lnTo>
                  <a:pt x="415058" y="142252"/>
                </a:lnTo>
                <a:lnTo>
                  <a:pt x="418425" y="139157"/>
                </a:lnTo>
                <a:close/>
                <a:moveTo>
                  <a:pt x="414025" y="135624"/>
                </a:moveTo>
                <a:lnTo>
                  <a:pt x="410750" y="139157"/>
                </a:lnTo>
                <a:lnTo>
                  <a:pt x="414025" y="142420"/>
                </a:lnTo>
                <a:close/>
                <a:moveTo>
                  <a:pt x="432476" y="135591"/>
                </a:moveTo>
                <a:lnTo>
                  <a:pt x="429170" y="139157"/>
                </a:lnTo>
                <a:lnTo>
                  <a:pt x="432476" y="142449"/>
                </a:lnTo>
                <a:close/>
                <a:moveTo>
                  <a:pt x="396313" y="135521"/>
                </a:moveTo>
                <a:lnTo>
                  <a:pt x="392943" y="139157"/>
                </a:lnTo>
                <a:lnTo>
                  <a:pt x="396313" y="142514"/>
                </a:lnTo>
                <a:close/>
                <a:moveTo>
                  <a:pt x="396903" y="135481"/>
                </a:moveTo>
                <a:lnTo>
                  <a:pt x="396903" y="142551"/>
                </a:lnTo>
                <a:lnTo>
                  <a:pt x="400311" y="139157"/>
                </a:lnTo>
                <a:close/>
                <a:moveTo>
                  <a:pt x="433066" y="135411"/>
                </a:moveTo>
                <a:lnTo>
                  <a:pt x="433066" y="142616"/>
                </a:lnTo>
                <a:lnTo>
                  <a:pt x="436539" y="139157"/>
                </a:lnTo>
                <a:close/>
                <a:moveTo>
                  <a:pt x="432855" y="135183"/>
                </a:moveTo>
                <a:lnTo>
                  <a:pt x="432835" y="135204"/>
                </a:lnTo>
                <a:lnTo>
                  <a:pt x="432874" y="135204"/>
                </a:lnTo>
                <a:close/>
                <a:moveTo>
                  <a:pt x="414434" y="135183"/>
                </a:moveTo>
                <a:lnTo>
                  <a:pt x="414414" y="135204"/>
                </a:lnTo>
                <a:lnTo>
                  <a:pt x="414455" y="135204"/>
                </a:lnTo>
                <a:close/>
                <a:moveTo>
                  <a:pt x="396627" y="135183"/>
                </a:moveTo>
                <a:lnTo>
                  <a:pt x="396607" y="135204"/>
                </a:lnTo>
                <a:lnTo>
                  <a:pt x="396646" y="135204"/>
                </a:lnTo>
                <a:close/>
                <a:moveTo>
                  <a:pt x="232646" y="133285"/>
                </a:moveTo>
                <a:cubicBezTo>
                  <a:pt x="236017" y="143129"/>
                  <a:pt x="236017" y="143129"/>
                  <a:pt x="236017" y="143129"/>
                </a:cubicBezTo>
                <a:cubicBezTo>
                  <a:pt x="220385" y="148050"/>
                  <a:pt x="207205" y="148973"/>
                  <a:pt x="192493" y="159125"/>
                </a:cubicBezTo>
                <a:cubicBezTo>
                  <a:pt x="190347" y="160663"/>
                  <a:pt x="183604" y="166200"/>
                  <a:pt x="181765" y="163124"/>
                </a:cubicBezTo>
                <a:cubicBezTo>
                  <a:pt x="180233" y="160970"/>
                  <a:pt x="188202" y="156049"/>
                  <a:pt x="190654" y="154203"/>
                </a:cubicBezTo>
                <a:cubicBezTo>
                  <a:pt x="186363" y="155741"/>
                  <a:pt x="180846" y="158202"/>
                  <a:pt x="176555" y="158817"/>
                </a:cubicBezTo>
                <a:cubicBezTo>
                  <a:pt x="175941" y="159125"/>
                  <a:pt x="175635" y="159125"/>
                  <a:pt x="175328" y="159125"/>
                </a:cubicBezTo>
                <a:cubicBezTo>
                  <a:pt x="171957" y="159432"/>
                  <a:pt x="171957" y="156971"/>
                  <a:pt x="174409" y="155433"/>
                </a:cubicBezTo>
                <a:cubicBezTo>
                  <a:pt x="174715" y="155126"/>
                  <a:pt x="175635" y="154510"/>
                  <a:pt x="176555" y="154203"/>
                </a:cubicBezTo>
                <a:cubicBezTo>
                  <a:pt x="179620" y="152665"/>
                  <a:pt x="184830" y="151127"/>
                  <a:pt x="187282" y="149589"/>
                </a:cubicBezTo>
                <a:cubicBezTo>
                  <a:pt x="185137" y="149589"/>
                  <a:pt x="180539" y="151434"/>
                  <a:pt x="176555" y="152665"/>
                </a:cubicBezTo>
                <a:cubicBezTo>
                  <a:pt x="174715" y="153280"/>
                  <a:pt x="172876" y="153895"/>
                  <a:pt x="171344" y="154203"/>
                </a:cubicBezTo>
                <a:cubicBezTo>
                  <a:pt x="168892" y="154510"/>
                  <a:pt x="167972" y="152972"/>
                  <a:pt x="168585" y="151742"/>
                </a:cubicBezTo>
                <a:cubicBezTo>
                  <a:pt x="168892" y="150819"/>
                  <a:pt x="170118" y="149896"/>
                  <a:pt x="171957" y="149281"/>
                </a:cubicBezTo>
                <a:cubicBezTo>
                  <a:pt x="173489" y="148666"/>
                  <a:pt x="175022" y="148050"/>
                  <a:pt x="176555" y="147435"/>
                </a:cubicBezTo>
                <a:cubicBezTo>
                  <a:pt x="179620" y="146205"/>
                  <a:pt x="182685" y="145282"/>
                  <a:pt x="186056" y="143436"/>
                </a:cubicBezTo>
                <a:cubicBezTo>
                  <a:pt x="184217" y="143436"/>
                  <a:pt x="180233" y="144667"/>
                  <a:pt x="176555" y="145282"/>
                </a:cubicBezTo>
                <a:cubicBezTo>
                  <a:pt x="172876" y="145590"/>
                  <a:pt x="169505" y="145897"/>
                  <a:pt x="169198" y="143744"/>
                </a:cubicBezTo>
                <a:cubicBezTo>
                  <a:pt x="168892" y="140668"/>
                  <a:pt x="172876" y="140052"/>
                  <a:pt x="175941" y="139745"/>
                </a:cubicBezTo>
                <a:cubicBezTo>
                  <a:pt x="176248" y="139745"/>
                  <a:pt x="176248" y="139745"/>
                  <a:pt x="176555" y="139745"/>
                </a:cubicBezTo>
                <a:cubicBezTo>
                  <a:pt x="178087" y="139437"/>
                  <a:pt x="179926" y="139130"/>
                  <a:pt x="181765" y="138822"/>
                </a:cubicBezTo>
                <a:cubicBezTo>
                  <a:pt x="181459" y="139130"/>
                  <a:pt x="181152" y="140052"/>
                  <a:pt x="181152" y="140668"/>
                </a:cubicBezTo>
                <a:cubicBezTo>
                  <a:pt x="181152" y="140975"/>
                  <a:pt x="181152" y="140975"/>
                  <a:pt x="181152" y="140975"/>
                </a:cubicBezTo>
                <a:cubicBezTo>
                  <a:pt x="181152" y="140975"/>
                  <a:pt x="181152" y="141283"/>
                  <a:pt x="181459" y="141591"/>
                </a:cubicBezTo>
                <a:cubicBezTo>
                  <a:pt x="181765" y="142821"/>
                  <a:pt x="183604" y="143129"/>
                  <a:pt x="185750" y="143129"/>
                </a:cubicBezTo>
                <a:cubicBezTo>
                  <a:pt x="187589" y="143129"/>
                  <a:pt x="190041" y="142821"/>
                  <a:pt x="192799" y="142206"/>
                </a:cubicBezTo>
                <a:cubicBezTo>
                  <a:pt x="197704" y="141283"/>
                  <a:pt x="202914" y="139437"/>
                  <a:pt x="205060" y="138207"/>
                </a:cubicBezTo>
                <a:cubicBezTo>
                  <a:pt x="209964" y="138514"/>
                  <a:pt x="216707" y="140360"/>
                  <a:pt x="223144" y="142206"/>
                </a:cubicBezTo>
                <a:cubicBezTo>
                  <a:pt x="225289" y="143129"/>
                  <a:pt x="227435" y="143744"/>
                  <a:pt x="229581" y="144051"/>
                </a:cubicBezTo>
                <a:cubicBezTo>
                  <a:pt x="229581" y="144359"/>
                  <a:pt x="229887" y="144051"/>
                  <a:pt x="230194" y="143744"/>
                </a:cubicBezTo>
                <a:cubicBezTo>
                  <a:pt x="232646" y="133285"/>
                  <a:pt x="232646" y="133285"/>
                  <a:pt x="232646" y="133285"/>
                </a:cubicBezTo>
                <a:close/>
                <a:moveTo>
                  <a:pt x="387416" y="131514"/>
                </a:moveTo>
                <a:cubicBezTo>
                  <a:pt x="443293" y="131514"/>
                  <a:pt x="443293" y="131514"/>
                  <a:pt x="443293" y="131514"/>
                </a:cubicBezTo>
                <a:cubicBezTo>
                  <a:pt x="444828" y="131514"/>
                  <a:pt x="446056" y="132737"/>
                  <a:pt x="446056" y="134266"/>
                </a:cubicBezTo>
                <a:cubicBezTo>
                  <a:pt x="446056" y="158725"/>
                  <a:pt x="446056" y="158725"/>
                  <a:pt x="446056" y="158725"/>
                </a:cubicBezTo>
                <a:cubicBezTo>
                  <a:pt x="446056" y="160254"/>
                  <a:pt x="444828" y="161477"/>
                  <a:pt x="443293" y="161477"/>
                </a:cubicBezTo>
                <a:cubicBezTo>
                  <a:pt x="387416" y="161477"/>
                  <a:pt x="387416" y="161477"/>
                  <a:pt x="387416" y="161477"/>
                </a:cubicBezTo>
                <a:cubicBezTo>
                  <a:pt x="385881" y="161477"/>
                  <a:pt x="384653" y="160254"/>
                  <a:pt x="384653" y="158725"/>
                </a:cubicBezTo>
                <a:cubicBezTo>
                  <a:pt x="384653" y="134266"/>
                  <a:pt x="384653" y="134266"/>
                  <a:pt x="384653" y="134266"/>
                </a:cubicBezTo>
                <a:cubicBezTo>
                  <a:pt x="384653" y="132737"/>
                  <a:pt x="385881" y="131514"/>
                  <a:pt x="387416" y="131514"/>
                </a:cubicBezTo>
                <a:close/>
                <a:moveTo>
                  <a:pt x="4589" y="131219"/>
                </a:moveTo>
                <a:cubicBezTo>
                  <a:pt x="58880" y="131219"/>
                  <a:pt x="58880" y="131219"/>
                  <a:pt x="58880" y="131219"/>
                </a:cubicBezTo>
                <a:cubicBezTo>
                  <a:pt x="61027" y="131219"/>
                  <a:pt x="63174" y="133363"/>
                  <a:pt x="63174" y="135507"/>
                </a:cubicBezTo>
                <a:cubicBezTo>
                  <a:pt x="63174" y="216673"/>
                  <a:pt x="63174" y="216673"/>
                  <a:pt x="63174" y="216673"/>
                </a:cubicBezTo>
                <a:cubicBezTo>
                  <a:pt x="63174" y="219123"/>
                  <a:pt x="61027" y="220961"/>
                  <a:pt x="58880" y="220961"/>
                </a:cubicBezTo>
                <a:cubicBezTo>
                  <a:pt x="4589" y="220961"/>
                  <a:pt x="4589" y="220961"/>
                  <a:pt x="4589" y="220961"/>
                </a:cubicBezTo>
                <a:cubicBezTo>
                  <a:pt x="2135" y="220961"/>
                  <a:pt x="295" y="219123"/>
                  <a:pt x="295" y="216673"/>
                </a:cubicBezTo>
                <a:cubicBezTo>
                  <a:pt x="295" y="135507"/>
                  <a:pt x="295" y="135507"/>
                  <a:pt x="295" y="135507"/>
                </a:cubicBezTo>
                <a:cubicBezTo>
                  <a:pt x="295" y="133363"/>
                  <a:pt x="2135" y="131219"/>
                  <a:pt x="4589" y="131219"/>
                </a:cubicBezTo>
                <a:close/>
                <a:moveTo>
                  <a:pt x="374461" y="130843"/>
                </a:moveTo>
                <a:cubicBezTo>
                  <a:pt x="371699" y="131455"/>
                  <a:pt x="368630" y="133293"/>
                  <a:pt x="366482" y="136356"/>
                </a:cubicBezTo>
                <a:cubicBezTo>
                  <a:pt x="366482" y="136356"/>
                  <a:pt x="366482" y="136356"/>
                  <a:pt x="366482" y="147383"/>
                </a:cubicBezTo>
                <a:cubicBezTo>
                  <a:pt x="366482" y="147383"/>
                  <a:pt x="366482" y="147383"/>
                  <a:pt x="290072" y="147383"/>
                </a:cubicBezTo>
                <a:cubicBezTo>
                  <a:pt x="290072" y="147383"/>
                  <a:pt x="290072" y="147383"/>
                  <a:pt x="290072" y="136356"/>
                </a:cubicBezTo>
                <a:cubicBezTo>
                  <a:pt x="290072" y="136356"/>
                  <a:pt x="290072" y="136356"/>
                  <a:pt x="288230" y="136050"/>
                </a:cubicBezTo>
                <a:cubicBezTo>
                  <a:pt x="287617" y="136050"/>
                  <a:pt x="287003" y="135743"/>
                  <a:pt x="286389" y="135743"/>
                </a:cubicBezTo>
                <a:cubicBezTo>
                  <a:pt x="281479" y="134825"/>
                  <a:pt x="275342" y="133599"/>
                  <a:pt x="273194" y="138806"/>
                </a:cubicBezTo>
                <a:cubicBezTo>
                  <a:pt x="271659" y="142788"/>
                  <a:pt x="271966" y="144626"/>
                  <a:pt x="272887" y="147689"/>
                </a:cubicBezTo>
                <a:cubicBezTo>
                  <a:pt x="273194" y="148914"/>
                  <a:pt x="273501" y="150752"/>
                  <a:pt x="273808" y="152590"/>
                </a:cubicBezTo>
                <a:cubicBezTo>
                  <a:pt x="274421" y="156572"/>
                  <a:pt x="276569" y="159329"/>
                  <a:pt x="279331" y="160860"/>
                </a:cubicBezTo>
                <a:cubicBezTo>
                  <a:pt x="282400" y="162698"/>
                  <a:pt x="286389" y="163617"/>
                  <a:pt x="290072" y="163617"/>
                </a:cubicBezTo>
                <a:cubicBezTo>
                  <a:pt x="290072" y="163617"/>
                  <a:pt x="290072" y="163617"/>
                  <a:pt x="290072" y="157491"/>
                </a:cubicBezTo>
                <a:cubicBezTo>
                  <a:pt x="290072" y="157491"/>
                  <a:pt x="290072" y="157491"/>
                  <a:pt x="366482" y="157491"/>
                </a:cubicBezTo>
                <a:cubicBezTo>
                  <a:pt x="366482" y="157491"/>
                  <a:pt x="366482" y="157491"/>
                  <a:pt x="366482" y="165148"/>
                </a:cubicBezTo>
                <a:cubicBezTo>
                  <a:pt x="366482" y="164842"/>
                  <a:pt x="366789" y="164536"/>
                  <a:pt x="367096" y="164536"/>
                </a:cubicBezTo>
                <a:cubicBezTo>
                  <a:pt x="370471" y="161473"/>
                  <a:pt x="372619" y="159635"/>
                  <a:pt x="372619" y="153815"/>
                </a:cubicBezTo>
                <a:cubicBezTo>
                  <a:pt x="372313" y="145851"/>
                  <a:pt x="375074" y="143095"/>
                  <a:pt x="377529" y="140644"/>
                </a:cubicBezTo>
                <a:cubicBezTo>
                  <a:pt x="378757" y="139725"/>
                  <a:pt x="379984" y="138500"/>
                  <a:pt x="380291" y="136969"/>
                </a:cubicBezTo>
                <a:cubicBezTo>
                  <a:pt x="380905" y="134825"/>
                  <a:pt x="380598" y="133293"/>
                  <a:pt x="379984" y="132374"/>
                </a:cubicBezTo>
                <a:cubicBezTo>
                  <a:pt x="379371" y="131455"/>
                  <a:pt x="378757" y="131149"/>
                  <a:pt x="377836" y="130843"/>
                </a:cubicBezTo>
                <a:cubicBezTo>
                  <a:pt x="376609" y="130536"/>
                  <a:pt x="375688" y="130536"/>
                  <a:pt x="374461" y="130843"/>
                </a:cubicBezTo>
                <a:close/>
                <a:moveTo>
                  <a:pt x="113865" y="130515"/>
                </a:moveTo>
                <a:cubicBezTo>
                  <a:pt x="113865" y="130515"/>
                  <a:pt x="113557" y="130822"/>
                  <a:pt x="113557" y="130822"/>
                </a:cubicBezTo>
                <a:cubicBezTo>
                  <a:pt x="113249" y="130822"/>
                  <a:pt x="113249" y="131128"/>
                  <a:pt x="113249" y="131435"/>
                </a:cubicBezTo>
                <a:cubicBezTo>
                  <a:pt x="113249" y="131435"/>
                  <a:pt x="113249" y="131742"/>
                  <a:pt x="113557" y="131742"/>
                </a:cubicBezTo>
                <a:cubicBezTo>
                  <a:pt x="113557" y="132048"/>
                  <a:pt x="113865" y="132048"/>
                  <a:pt x="113865" y="132048"/>
                </a:cubicBezTo>
                <a:cubicBezTo>
                  <a:pt x="115096" y="132048"/>
                  <a:pt x="115096" y="132048"/>
                  <a:pt x="115096" y="132048"/>
                </a:cubicBezTo>
                <a:cubicBezTo>
                  <a:pt x="115711" y="132048"/>
                  <a:pt x="115711" y="132048"/>
                  <a:pt x="115711" y="132048"/>
                </a:cubicBezTo>
                <a:cubicBezTo>
                  <a:pt x="115711" y="132355"/>
                  <a:pt x="115711" y="132355"/>
                  <a:pt x="115711" y="132355"/>
                </a:cubicBezTo>
                <a:lnTo>
                  <a:pt x="115711" y="139780"/>
                </a:lnTo>
                <a:lnTo>
                  <a:pt x="116901" y="139780"/>
                </a:lnTo>
                <a:lnTo>
                  <a:pt x="116901" y="134193"/>
                </a:lnTo>
                <a:cubicBezTo>
                  <a:pt x="116901" y="133886"/>
                  <a:pt x="117245" y="133580"/>
                  <a:pt x="117589" y="133580"/>
                </a:cubicBezTo>
                <a:cubicBezTo>
                  <a:pt x="117589" y="133580"/>
                  <a:pt x="117934" y="133886"/>
                  <a:pt x="117934" y="134193"/>
                </a:cubicBezTo>
                <a:lnTo>
                  <a:pt x="117934" y="139780"/>
                </a:lnTo>
                <a:lnTo>
                  <a:pt x="119976" y="139780"/>
                </a:lnTo>
                <a:lnTo>
                  <a:pt x="123713" y="139780"/>
                </a:lnTo>
                <a:lnTo>
                  <a:pt x="123713" y="135282"/>
                </a:lnTo>
                <a:cubicBezTo>
                  <a:pt x="123713" y="132355"/>
                  <a:pt x="123713" y="132355"/>
                  <a:pt x="123713" y="132355"/>
                </a:cubicBezTo>
                <a:cubicBezTo>
                  <a:pt x="123713" y="132048"/>
                  <a:pt x="123713" y="132048"/>
                  <a:pt x="123713" y="132048"/>
                </a:cubicBezTo>
                <a:cubicBezTo>
                  <a:pt x="124021" y="132048"/>
                  <a:pt x="124021" y="132048"/>
                  <a:pt x="124021" y="132048"/>
                </a:cubicBezTo>
                <a:cubicBezTo>
                  <a:pt x="125252" y="132048"/>
                  <a:pt x="125252" y="132048"/>
                  <a:pt x="125252" y="132048"/>
                </a:cubicBezTo>
                <a:cubicBezTo>
                  <a:pt x="125560" y="132048"/>
                  <a:pt x="125560" y="132048"/>
                  <a:pt x="125867" y="131742"/>
                </a:cubicBezTo>
                <a:cubicBezTo>
                  <a:pt x="125867" y="131742"/>
                  <a:pt x="125867" y="131435"/>
                  <a:pt x="125867" y="131435"/>
                </a:cubicBezTo>
                <a:cubicBezTo>
                  <a:pt x="125867" y="131128"/>
                  <a:pt x="125867" y="130822"/>
                  <a:pt x="125867" y="130822"/>
                </a:cubicBezTo>
                <a:cubicBezTo>
                  <a:pt x="125560" y="130822"/>
                  <a:pt x="125560" y="130515"/>
                  <a:pt x="125252" y="130515"/>
                </a:cubicBezTo>
                <a:cubicBezTo>
                  <a:pt x="113865" y="130515"/>
                  <a:pt x="113865" y="130515"/>
                  <a:pt x="113865" y="130515"/>
                </a:cubicBezTo>
                <a:close/>
                <a:moveTo>
                  <a:pt x="98809" y="130515"/>
                </a:moveTo>
                <a:cubicBezTo>
                  <a:pt x="98501" y="130515"/>
                  <a:pt x="98501" y="130822"/>
                  <a:pt x="98193" y="130822"/>
                </a:cubicBezTo>
                <a:cubicBezTo>
                  <a:pt x="98193" y="130822"/>
                  <a:pt x="98193" y="131128"/>
                  <a:pt x="98193" y="131435"/>
                </a:cubicBezTo>
                <a:cubicBezTo>
                  <a:pt x="98193" y="131435"/>
                  <a:pt x="98193" y="131742"/>
                  <a:pt x="98193" y="131742"/>
                </a:cubicBezTo>
                <a:cubicBezTo>
                  <a:pt x="98501" y="132048"/>
                  <a:pt x="98501" y="132048"/>
                  <a:pt x="98809" y="132048"/>
                </a:cubicBezTo>
                <a:cubicBezTo>
                  <a:pt x="100040" y="132048"/>
                  <a:pt x="100040" y="132048"/>
                  <a:pt x="100040" y="132048"/>
                </a:cubicBezTo>
                <a:cubicBezTo>
                  <a:pt x="100347" y="132048"/>
                  <a:pt x="100347" y="132048"/>
                  <a:pt x="100347" y="132048"/>
                </a:cubicBezTo>
                <a:cubicBezTo>
                  <a:pt x="100347" y="132355"/>
                  <a:pt x="100347" y="132355"/>
                  <a:pt x="100347" y="132355"/>
                </a:cubicBezTo>
                <a:lnTo>
                  <a:pt x="100347" y="139780"/>
                </a:lnTo>
                <a:lnTo>
                  <a:pt x="101771" y="139780"/>
                </a:lnTo>
                <a:lnTo>
                  <a:pt x="101846" y="139780"/>
                </a:lnTo>
                <a:lnTo>
                  <a:pt x="101846" y="134193"/>
                </a:lnTo>
                <a:cubicBezTo>
                  <a:pt x="101846" y="133886"/>
                  <a:pt x="102190" y="133580"/>
                  <a:pt x="102190" y="133580"/>
                </a:cubicBezTo>
                <a:cubicBezTo>
                  <a:pt x="102534" y="133580"/>
                  <a:pt x="102879" y="133886"/>
                  <a:pt x="102879" y="134193"/>
                </a:cubicBezTo>
                <a:lnTo>
                  <a:pt x="102879" y="139780"/>
                </a:lnTo>
                <a:lnTo>
                  <a:pt x="108349" y="139780"/>
                </a:lnTo>
                <a:lnTo>
                  <a:pt x="108349" y="135282"/>
                </a:lnTo>
                <a:cubicBezTo>
                  <a:pt x="108349" y="132355"/>
                  <a:pt x="108349" y="132355"/>
                  <a:pt x="108349" y="132355"/>
                </a:cubicBezTo>
                <a:cubicBezTo>
                  <a:pt x="108349" y="132048"/>
                  <a:pt x="108349" y="132048"/>
                  <a:pt x="108349" y="132048"/>
                </a:cubicBezTo>
                <a:cubicBezTo>
                  <a:pt x="108965" y="132048"/>
                  <a:pt x="108965" y="132048"/>
                  <a:pt x="108965" y="132048"/>
                </a:cubicBezTo>
                <a:cubicBezTo>
                  <a:pt x="109888" y="132048"/>
                  <a:pt x="109888" y="132048"/>
                  <a:pt x="109888" y="132048"/>
                </a:cubicBezTo>
                <a:cubicBezTo>
                  <a:pt x="110196" y="132048"/>
                  <a:pt x="110504" y="132048"/>
                  <a:pt x="110504" y="131742"/>
                </a:cubicBezTo>
                <a:cubicBezTo>
                  <a:pt x="110504" y="131742"/>
                  <a:pt x="110811" y="131435"/>
                  <a:pt x="110811" y="131435"/>
                </a:cubicBezTo>
                <a:cubicBezTo>
                  <a:pt x="110811" y="131128"/>
                  <a:pt x="110504" y="130822"/>
                  <a:pt x="110504" y="130822"/>
                </a:cubicBezTo>
                <a:cubicBezTo>
                  <a:pt x="110504" y="130822"/>
                  <a:pt x="110196" y="130515"/>
                  <a:pt x="109888" y="130515"/>
                </a:cubicBezTo>
                <a:cubicBezTo>
                  <a:pt x="98809" y="130515"/>
                  <a:pt x="98809" y="130515"/>
                  <a:pt x="98809" y="130515"/>
                </a:cubicBezTo>
                <a:close/>
                <a:moveTo>
                  <a:pt x="83458" y="130515"/>
                </a:moveTo>
                <a:cubicBezTo>
                  <a:pt x="83458" y="130515"/>
                  <a:pt x="83150" y="130822"/>
                  <a:pt x="83150" y="130822"/>
                </a:cubicBezTo>
                <a:cubicBezTo>
                  <a:pt x="82842" y="130822"/>
                  <a:pt x="82842" y="131128"/>
                  <a:pt x="82842" y="131435"/>
                </a:cubicBezTo>
                <a:cubicBezTo>
                  <a:pt x="82842" y="131435"/>
                  <a:pt x="82842" y="131742"/>
                  <a:pt x="83150" y="131742"/>
                </a:cubicBezTo>
                <a:cubicBezTo>
                  <a:pt x="83150" y="132048"/>
                  <a:pt x="83458" y="132048"/>
                  <a:pt x="83458" y="132048"/>
                </a:cubicBezTo>
                <a:cubicBezTo>
                  <a:pt x="84689" y="132048"/>
                  <a:pt x="84689" y="132048"/>
                  <a:pt x="84689" y="132048"/>
                </a:cubicBezTo>
                <a:cubicBezTo>
                  <a:pt x="85304" y="132048"/>
                  <a:pt x="85304" y="132048"/>
                  <a:pt x="85304" y="132048"/>
                </a:cubicBezTo>
                <a:cubicBezTo>
                  <a:pt x="85304" y="132355"/>
                  <a:pt x="85304" y="132355"/>
                  <a:pt x="85304" y="132355"/>
                </a:cubicBezTo>
                <a:lnTo>
                  <a:pt x="85304" y="139780"/>
                </a:lnTo>
                <a:lnTo>
                  <a:pt x="86938" y="139780"/>
                </a:lnTo>
                <a:lnTo>
                  <a:pt x="86938" y="134193"/>
                </a:lnTo>
                <a:cubicBezTo>
                  <a:pt x="86938" y="133886"/>
                  <a:pt x="86938" y="133580"/>
                  <a:pt x="87233" y="133580"/>
                </a:cubicBezTo>
                <a:cubicBezTo>
                  <a:pt x="87233" y="133580"/>
                  <a:pt x="87528" y="133886"/>
                  <a:pt x="87528" y="134193"/>
                </a:cubicBezTo>
                <a:lnTo>
                  <a:pt x="87528" y="139780"/>
                </a:lnTo>
                <a:lnTo>
                  <a:pt x="93306" y="139780"/>
                </a:lnTo>
                <a:lnTo>
                  <a:pt x="93306" y="135282"/>
                </a:lnTo>
                <a:cubicBezTo>
                  <a:pt x="93306" y="132355"/>
                  <a:pt x="93306" y="132355"/>
                  <a:pt x="93306" y="132355"/>
                </a:cubicBezTo>
                <a:cubicBezTo>
                  <a:pt x="93306" y="132048"/>
                  <a:pt x="93306" y="132048"/>
                  <a:pt x="93306" y="132048"/>
                </a:cubicBezTo>
                <a:cubicBezTo>
                  <a:pt x="93614" y="132048"/>
                  <a:pt x="93614" y="132048"/>
                  <a:pt x="93614" y="132048"/>
                </a:cubicBezTo>
                <a:cubicBezTo>
                  <a:pt x="94845" y="132048"/>
                  <a:pt x="94845" y="132048"/>
                  <a:pt x="94845" y="132048"/>
                </a:cubicBezTo>
                <a:cubicBezTo>
                  <a:pt x="95153" y="132048"/>
                  <a:pt x="95153" y="132048"/>
                  <a:pt x="95460" y="131742"/>
                </a:cubicBezTo>
                <a:cubicBezTo>
                  <a:pt x="95460" y="131742"/>
                  <a:pt x="95460" y="131435"/>
                  <a:pt x="95460" y="131435"/>
                </a:cubicBezTo>
                <a:cubicBezTo>
                  <a:pt x="95460" y="131128"/>
                  <a:pt x="95460" y="130822"/>
                  <a:pt x="95460" y="130822"/>
                </a:cubicBezTo>
                <a:cubicBezTo>
                  <a:pt x="95153" y="130822"/>
                  <a:pt x="95153" y="130515"/>
                  <a:pt x="94845" y="130515"/>
                </a:cubicBezTo>
                <a:cubicBezTo>
                  <a:pt x="83458" y="130515"/>
                  <a:pt x="83458" y="130515"/>
                  <a:pt x="83458" y="130515"/>
                </a:cubicBezTo>
                <a:close/>
                <a:moveTo>
                  <a:pt x="68403" y="130515"/>
                </a:moveTo>
                <a:cubicBezTo>
                  <a:pt x="68095" y="130515"/>
                  <a:pt x="68095" y="130822"/>
                  <a:pt x="67787" y="130822"/>
                </a:cubicBezTo>
                <a:cubicBezTo>
                  <a:pt x="67787" y="130822"/>
                  <a:pt x="67787" y="131128"/>
                  <a:pt x="67787" y="131435"/>
                </a:cubicBezTo>
                <a:cubicBezTo>
                  <a:pt x="67787" y="131435"/>
                  <a:pt x="67787" y="131742"/>
                  <a:pt x="67787" y="131742"/>
                </a:cubicBezTo>
                <a:cubicBezTo>
                  <a:pt x="68095" y="132048"/>
                  <a:pt x="68095" y="132048"/>
                  <a:pt x="68403" y="132048"/>
                </a:cubicBezTo>
                <a:cubicBezTo>
                  <a:pt x="69634" y="132048"/>
                  <a:pt x="69634" y="132048"/>
                  <a:pt x="69634" y="132048"/>
                </a:cubicBezTo>
                <a:cubicBezTo>
                  <a:pt x="69941" y="132048"/>
                  <a:pt x="69941" y="132048"/>
                  <a:pt x="69941" y="132048"/>
                </a:cubicBezTo>
                <a:cubicBezTo>
                  <a:pt x="69941" y="132355"/>
                  <a:pt x="69941" y="132355"/>
                  <a:pt x="69941" y="132355"/>
                </a:cubicBezTo>
                <a:lnTo>
                  <a:pt x="69941" y="139780"/>
                </a:lnTo>
                <a:lnTo>
                  <a:pt x="71587" y="139780"/>
                </a:lnTo>
                <a:lnTo>
                  <a:pt x="71587" y="134193"/>
                </a:lnTo>
                <a:cubicBezTo>
                  <a:pt x="71587" y="133886"/>
                  <a:pt x="71882" y="133580"/>
                  <a:pt x="71882" y="133580"/>
                </a:cubicBezTo>
                <a:cubicBezTo>
                  <a:pt x="72177" y="133580"/>
                  <a:pt x="72473" y="133886"/>
                  <a:pt x="72473" y="134193"/>
                </a:cubicBezTo>
                <a:lnTo>
                  <a:pt x="72473" y="139780"/>
                </a:lnTo>
                <a:lnTo>
                  <a:pt x="77943" y="139780"/>
                </a:lnTo>
                <a:lnTo>
                  <a:pt x="77943" y="135282"/>
                </a:lnTo>
                <a:cubicBezTo>
                  <a:pt x="77943" y="132355"/>
                  <a:pt x="77943" y="132355"/>
                  <a:pt x="77943" y="132355"/>
                </a:cubicBezTo>
                <a:cubicBezTo>
                  <a:pt x="77943" y="132048"/>
                  <a:pt x="77943" y="132048"/>
                  <a:pt x="77943" y="132048"/>
                </a:cubicBezTo>
                <a:cubicBezTo>
                  <a:pt x="78559" y="132048"/>
                  <a:pt x="78559" y="132048"/>
                  <a:pt x="78559" y="132048"/>
                </a:cubicBezTo>
                <a:cubicBezTo>
                  <a:pt x="79482" y="132048"/>
                  <a:pt x="79482" y="132048"/>
                  <a:pt x="79482" y="132048"/>
                </a:cubicBezTo>
                <a:cubicBezTo>
                  <a:pt x="79790" y="132048"/>
                  <a:pt x="80098" y="132048"/>
                  <a:pt x="80098" y="131742"/>
                </a:cubicBezTo>
                <a:cubicBezTo>
                  <a:pt x="80098" y="131742"/>
                  <a:pt x="80405" y="131435"/>
                  <a:pt x="80405" y="131435"/>
                </a:cubicBezTo>
                <a:cubicBezTo>
                  <a:pt x="80405" y="131128"/>
                  <a:pt x="80098" y="130822"/>
                  <a:pt x="80098" y="130822"/>
                </a:cubicBezTo>
                <a:cubicBezTo>
                  <a:pt x="80098" y="130822"/>
                  <a:pt x="79790" y="130515"/>
                  <a:pt x="79482" y="130515"/>
                </a:cubicBezTo>
                <a:cubicBezTo>
                  <a:pt x="68403" y="130515"/>
                  <a:pt x="68403" y="130515"/>
                  <a:pt x="68403" y="130515"/>
                </a:cubicBezTo>
                <a:close/>
                <a:moveTo>
                  <a:pt x="68403" y="129595"/>
                </a:moveTo>
                <a:cubicBezTo>
                  <a:pt x="79482" y="129595"/>
                  <a:pt x="79482" y="129595"/>
                  <a:pt x="79482" y="129595"/>
                </a:cubicBezTo>
                <a:cubicBezTo>
                  <a:pt x="80098" y="129595"/>
                  <a:pt x="80405" y="129902"/>
                  <a:pt x="80713" y="130208"/>
                </a:cubicBezTo>
                <a:cubicBezTo>
                  <a:pt x="81021" y="130515"/>
                  <a:pt x="81329" y="130822"/>
                  <a:pt x="81329" y="131435"/>
                </a:cubicBezTo>
                <a:cubicBezTo>
                  <a:pt x="81329" y="131742"/>
                  <a:pt x="81021" y="132048"/>
                  <a:pt x="80713" y="132355"/>
                </a:cubicBezTo>
                <a:cubicBezTo>
                  <a:pt x="80405" y="132662"/>
                  <a:pt x="80098" y="132968"/>
                  <a:pt x="79482" y="132968"/>
                </a:cubicBezTo>
                <a:cubicBezTo>
                  <a:pt x="78867" y="132968"/>
                  <a:pt x="78867" y="132968"/>
                  <a:pt x="78867" y="132968"/>
                </a:cubicBezTo>
                <a:lnTo>
                  <a:pt x="78867" y="139780"/>
                </a:lnTo>
                <a:lnTo>
                  <a:pt x="84073" y="139780"/>
                </a:lnTo>
                <a:lnTo>
                  <a:pt x="84073" y="133826"/>
                </a:lnTo>
                <a:cubicBezTo>
                  <a:pt x="84073" y="132968"/>
                  <a:pt x="84073" y="132968"/>
                  <a:pt x="84073" y="132968"/>
                </a:cubicBezTo>
                <a:cubicBezTo>
                  <a:pt x="83458" y="132968"/>
                  <a:pt x="83458" y="132968"/>
                  <a:pt x="83458" y="132968"/>
                </a:cubicBezTo>
                <a:cubicBezTo>
                  <a:pt x="83150" y="132968"/>
                  <a:pt x="82842" y="132662"/>
                  <a:pt x="82534" y="132355"/>
                </a:cubicBezTo>
                <a:cubicBezTo>
                  <a:pt x="82227" y="132048"/>
                  <a:pt x="81919" y="131742"/>
                  <a:pt x="81919" y="131435"/>
                </a:cubicBezTo>
                <a:cubicBezTo>
                  <a:pt x="81919" y="130822"/>
                  <a:pt x="82227" y="130515"/>
                  <a:pt x="82534" y="130208"/>
                </a:cubicBezTo>
                <a:cubicBezTo>
                  <a:pt x="82842" y="129902"/>
                  <a:pt x="83150" y="129595"/>
                  <a:pt x="83458" y="129595"/>
                </a:cubicBezTo>
                <a:cubicBezTo>
                  <a:pt x="94845" y="129595"/>
                  <a:pt x="94845" y="129595"/>
                  <a:pt x="94845" y="129595"/>
                </a:cubicBezTo>
                <a:cubicBezTo>
                  <a:pt x="95153" y="129595"/>
                  <a:pt x="95768" y="129902"/>
                  <a:pt x="96076" y="130208"/>
                </a:cubicBezTo>
                <a:cubicBezTo>
                  <a:pt x="96384" y="130515"/>
                  <a:pt x="96384" y="130822"/>
                  <a:pt x="96384" y="131435"/>
                </a:cubicBezTo>
                <a:cubicBezTo>
                  <a:pt x="96384" y="131742"/>
                  <a:pt x="96384" y="132048"/>
                  <a:pt x="96076" y="132355"/>
                </a:cubicBezTo>
                <a:cubicBezTo>
                  <a:pt x="95768" y="132662"/>
                  <a:pt x="95153" y="132968"/>
                  <a:pt x="94845" y="132968"/>
                </a:cubicBezTo>
                <a:cubicBezTo>
                  <a:pt x="94229" y="132968"/>
                  <a:pt x="94229" y="132968"/>
                  <a:pt x="94229" y="132968"/>
                </a:cubicBezTo>
                <a:lnTo>
                  <a:pt x="94229" y="139780"/>
                </a:lnTo>
                <a:lnTo>
                  <a:pt x="99424" y="139780"/>
                </a:lnTo>
                <a:lnTo>
                  <a:pt x="99424" y="133826"/>
                </a:lnTo>
                <a:cubicBezTo>
                  <a:pt x="99424" y="132968"/>
                  <a:pt x="99424" y="132968"/>
                  <a:pt x="99424" y="132968"/>
                </a:cubicBezTo>
                <a:cubicBezTo>
                  <a:pt x="98809" y="132968"/>
                  <a:pt x="98809" y="132968"/>
                  <a:pt x="98809" y="132968"/>
                </a:cubicBezTo>
                <a:cubicBezTo>
                  <a:pt x="98193" y="132968"/>
                  <a:pt x="97885" y="132662"/>
                  <a:pt x="97578" y="132355"/>
                </a:cubicBezTo>
                <a:cubicBezTo>
                  <a:pt x="97270" y="132048"/>
                  <a:pt x="97270" y="131742"/>
                  <a:pt x="97270" y="131435"/>
                </a:cubicBezTo>
                <a:cubicBezTo>
                  <a:pt x="97270" y="130822"/>
                  <a:pt x="97270" y="130515"/>
                  <a:pt x="97578" y="130208"/>
                </a:cubicBezTo>
                <a:cubicBezTo>
                  <a:pt x="97885" y="129902"/>
                  <a:pt x="98193" y="129595"/>
                  <a:pt x="98809" y="129595"/>
                </a:cubicBezTo>
                <a:cubicBezTo>
                  <a:pt x="109888" y="129595"/>
                  <a:pt x="109888" y="129595"/>
                  <a:pt x="109888" y="129595"/>
                </a:cubicBezTo>
                <a:cubicBezTo>
                  <a:pt x="110504" y="129595"/>
                  <a:pt x="110811" y="129902"/>
                  <a:pt x="111119" y="130208"/>
                </a:cubicBezTo>
                <a:cubicBezTo>
                  <a:pt x="111427" y="130515"/>
                  <a:pt x="111735" y="130822"/>
                  <a:pt x="111735" y="131435"/>
                </a:cubicBezTo>
                <a:cubicBezTo>
                  <a:pt x="111735" y="131742"/>
                  <a:pt x="111427" y="132048"/>
                  <a:pt x="111119" y="132355"/>
                </a:cubicBezTo>
                <a:cubicBezTo>
                  <a:pt x="110811" y="132662"/>
                  <a:pt x="110504" y="132968"/>
                  <a:pt x="109888" y="132968"/>
                </a:cubicBezTo>
                <a:cubicBezTo>
                  <a:pt x="109273" y="132968"/>
                  <a:pt x="109273" y="132968"/>
                  <a:pt x="109273" y="132968"/>
                </a:cubicBezTo>
                <a:lnTo>
                  <a:pt x="109273" y="139780"/>
                </a:lnTo>
                <a:lnTo>
                  <a:pt x="114480" y="139780"/>
                </a:lnTo>
                <a:lnTo>
                  <a:pt x="114480" y="133826"/>
                </a:lnTo>
                <a:cubicBezTo>
                  <a:pt x="114480" y="132968"/>
                  <a:pt x="114480" y="132968"/>
                  <a:pt x="114480" y="132968"/>
                </a:cubicBezTo>
                <a:cubicBezTo>
                  <a:pt x="113865" y="132968"/>
                  <a:pt x="113865" y="132968"/>
                  <a:pt x="113865" y="132968"/>
                </a:cubicBezTo>
                <a:cubicBezTo>
                  <a:pt x="113557" y="132968"/>
                  <a:pt x="113249" y="132662"/>
                  <a:pt x="112941" y="132355"/>
                </a:cubicBezTo>
                <a:cubicBezTo>
                  <a:pt x="112634" y="132048"/>
                  <a:pt x="112326" y="131742"/>
                  <a:pt x="112326" y="131435"/>
                </a:cubicBezTo>
                <a:cubicBezTo>
                  <a:pt x="112326" y="130822"/>
                  <a:pt x="112634" y="130515"/>
                  <a:pt x="112941" y="130208"/>
                </a:cubicBezTo>
                <a:cubicBezTo>
                  <a:pt x="113249" y="129902"/>
                  <a:pt x="113557" y="129595"/>
                  <a:pt x="113865" y="129595"/>
                </a:cubicBezTo>
                <a:cubicBezTo>
                  <a:pt x="125252" y="129595"/>
                  <a:pt x="125252" y="129595"/>
                  <a:pt x="125252" y="129595"/>
                </a:cubicBezTo>
                <a:cubicBezTo>
                  <a:pt x="125560" y="129595"/>
                  <a:pt x="126175" y="129902"/>
                  <a:pt x="126483" y="130208"/>
                </a:cubicBezTo>
                <a:cubicBezTo>
                  <a:pt x="126791" y="130515"/>
                  <a:pt x="126791" y="130822"/>
                  <a:pt x="126791" y="131435"/>
                </a:cubicBezTo>
                <a:cubicBezTo>
                  <a:pt x="126791" y="131742"/>
                  <a:pt x="126791" y="132048"/>
                  <a:pt x="126483" y="132355"/>
                </a:cubicBezTo>
                <a:cubicBezTo>
                  <a:pt x="126175" y="132662"/>
                  <a:pt x="125560" y="132968"/>
                  <a:pt x="125252" y="132968"/>
                </a:cubicBezTo>
                <a:cubicBezTo>
                  <a:pt x="124636" y="132968"/>
                  <a:pt x="124636" y="132968"/>
                  <a:pt x="124636" y="132968"/>
                </a:cubicBezTo>
                <a:lnTo>
                  <a:pt x="124636" y="139780"/>
                </a:lnTo>
                <a:lnTo>
                  <a:pt x="126684" y="139780"/>
                </a:lnTo>
                <a:cubicBezTo>
                  <a:pt x="127642" y="139780"/>
                  <a:pt x="127642" y="139780"/>
                  <a:pt x="127642" y="139780"/>
                </a:cubicBezTo>
                <a:cubicBezTo>
                  <a:pt x="128255" y="139780"/>
                  <a:pt x="128562" y="140096"/>
                  <a:pt x="128562" y="140729"/>
                </a:cubicBezTo>
                <a:cubicBezTo>
                  <a:pt x="128562" y="141361"/>
                  <a:pt x="128255" y="141994"/>
                  <a:pt x="127642" y="141994"/>
                </a:cubicBezTo>
                <a:lnTo>
                  <a:pt x="124636" y="141994"/>
                </a:lnTo>
                <a:lnTo>
                  <a:pt x="124636" y="164704"/>
                </a:lnTo>
                <a:cubicBezTo>
                  <a:pt x="124636" y="187862"/>
                  <a:pt x="124636" y="187862"/>
                  <a:pt x="124636" y="187862"/>
                </a:cubicBezTo>
                <a:cubicBezTo>
                  <a:pt x="124636" y="189089"/>
                  <a:pt x="124021" y="190316"/>
                  <a:pt x="123098" y="191236"/>
                </a:cubicBezTo>
                <a:cubicBezTo>
                  <a:pt x="122174" y="192156"/>
                  <a:pt x="120943" y="192769"/>
                  <a:pt x="119712" y="192769"/>
                </a:cubicBezTo>
                <a:cubicBezTo>
                  <a:pt x="118173" y="192769"/>
                  <a:pt x="116942" y="192156"/>
                  <a:pt x="116019" y="191236"/>
                </a:cubicBezTo>
                <a:cubicBezTo>
                  <a:pt x="115096" y="190316"/>
                  <a:pt x="114480" y="189089"/>
                  <a:pt x="114480" y="187862"/>
                </a:cubicBezTo>
                <a:cubicBezTo>
                  <a:pt x="114480" y="174139"/>
                  <a:pt x="114480" y="163846"/>
                  <a:pt x="114480" y="156127"/>
                </a:cubicBezTo>
                <a:lnTo>
                  <a:pt x="114480" y="141994"/>
                </a:lnTo>
                <a:lnTo>
                  <a:pt x="109273" y="141994"/>
                </a:lnTo>
                <a:lnTo>
                  <a:pt x="109273" y="164704"/>
                </a:lnTo>
                <a:cubicBezTo>
                  <a:pt x="109273" y="187862"/>
                  <a:pt x="109273" y="187862"/>
                  <a:pt x="109273" y="187862"/>
                </a:cubicBezTo>
                <a:cubicBezTo>
                  <a:pt x="109273" y="189089"/>
                  <a:pt x="108965" y="190316"/>
                  <a:pt x="108042" y="191236"/>
                </a:cubicBezTo>
                <a:cubicBezTo>
                  <a:pt x="107118" y="192156"/>
                  <a:pt x="105887" y="192769"/>
                  <a:pt x="104348" y="192769"/>
                </a:cubicBezTo>
                <a:cubicBezTo>
                  <a:pt x="103117" y="192769"/>
                  <a:pt x="101886" y="192156"/>
                  <a:pt x="100963" y="191236"/>
                </a:cubicBezTo>
                <a:cubicBezTo>
                  <a:pt x="100040" y="190316"/>
                  <a:pt x="99424" y="189089"/>
                  <a:pt x="99424" y="187862"/>
                </a:cubicBezTo>
                <a:cubicBezTo>
                  <a:pt x="99424" y="174139"/>
                  <a:pt x="99424" y="163846"/>
                  <a:pt x="99424" y="156127"/>
                </a:cubicBezTo>
                <a:lnTo>
                  <a:pt x="99424" y="141994"/>
                </a:lnTo>
                <a:lnTo>
                  <a:pt x="94229" y="141994"/>
                </a:lnTo>
                <a:lnTo>
                  <a:pt x="94229" y="164704"/>
                </a:lnTo>
                <a:cubicBezTo>
                  <a:pt x="94229" y="187862"/>
                  <a:pt x="94229" y="187862"/>
                  <a:pt x="94229" y="187862"/>
                </a:cubicBezTo>
                <a:cubicBezTo>
                  <a:pt x="94229" y="189089"/>
                  <a:pt x="93614" y="190316"/>
                  <a:pt x="92691" y="191236"/>
                </a:cubicBezTo>
                <a:cubicBezTo>
                  <a:pt x="91767" y="192156"/>
                  <a:pt x="90536" y="192769"/>
                  <a:pt x="89305" y="192769"/>
                </a:cubicBezTo>
                <a:cubicBezTo>
                  <a:pt x="87766" y="192769"/>
                  <a:pt x="86535" y="192156"/>
                  <a:pt x="85612" y="191236"/>
                </a:cubicBezTo>
                <a:cubicBezTo>
                  <a:pt x="84689" y="190316"/>
                  <a:pt x="84073" y="189089"/>
                  <a:pt x="84073" y="187862"/>
                </a:cubicBezTo>
                <a:cubicBezTo>
                  <a:pt x="84073" y="174139"/>
                  <a:pt x="84073" y="163846"/>
                  <a:pt x="84073" y="156127"/>
                </a:cubicBezTo>
                <a:lnTo>
                  <a:pt x="84073" y="141994"/>
                </a:lnTo>
                <a:lnTo>
                  <a:pt x="78867" y="141994"/>
                </a:lnTo>
                <a:lnTo>
                  <a:pt x="78867" y="164704"/>
                </a:lnTo>
                <a:cubicBezTo>
                  <a:pt x="78867" y="187862"/>
                  <a:pt x="78867" y="187862"/>
                  <a:pt x="78867" y="187862"/>
                </a:cubicBezTo>
                <a:cubicBezTo>
                  <a:pt x="78867" y="189089"/>
                  <a:pt x="78559" y="190316"/>
                  <a:pt x="77636" y="191236"/>
                </a:cubicBezTo>
                <a:cubicBezTo>
                  <a:pt x="76712" y="192156"/>
                  <a:pt x="75481" y="192769"/>
                  <a:pt x="73942" y="192769"/>
                </a:cubicBezTo>
                <a:cubicBezTo>
                  <a:pt x="72711" y="192769"/>
                  <a:pt x="71480" y="192156"/>
                  <a:pt x="70557" y="191236"/>
                </a:cubicBezTo>
                <a:cubicBezTo>
                  <a:pt x="69634" y="190316"/>
                  <a:pt x="69018" y="189089"/>
                  <a:pt x="69018" y="187862"/>
                </a:cubicBezTo>
                <a:cubicBezTo>
                  <a:pt x="69018" y="174139"/>
                  <a:pt x="69018" y="163846"/>
                  <a:pt x="69018" y="156127"/>
                </a:cubicBezTo>
                <a:lnTo>
                  <a:pt x="69018" y="141994"/>
                </a:lnTo>
                <a:lnTo>
                  <a:pt x="67277" y="141994"/>
                </a:lnTo>
                <a:cubicBezTo>
                  <a:pt x="66319" y="141994"/>
                  <a:pt x="66319" y="141994"/>
                  <a:pt x="66319" y="141994"/>
                </a:cubicBezTo>
                <a:cubicBezTo>
                  <a:pt x="65706" y="141994"/>
                  <a:pt x="65093" y="141361"/>
                  <a:pt x="65093" y="140729"/>
                </a:cubicBezTo>
                <a:cubicBezTo>
                  <a:pt x="65093" y="140096"/>
                  <a:pt x="65706" y="139780"/>
                  <a:pt x="66319" y="139780"/>
                </a:cubicBezTo>
                <a:lnTo>
                  <a:pt x="69018" y="139780"/>
                </a:lnTo>
                <a:lnTo>
                  <a:pt x="69018" y="133826"/>
                </a:lnTo>
                <a:cubicBezTo>
                  <a:pt x="69018" y="132968"/>
                  <a:pt x="69018" y="132968"/>
                  <a:pt x="69018" y="132968"/>
                </a:cubicBezTo>
                <a:cubicBezTo>
                  <a:pt x="68403" y="132968"/>
                  <a:pt x="68403" y="132968"/>
                  <a:pt x="68403" y="132968"/>
                </a:cubicBezTo>
                <a:cubicBezTo>
                  <a:pt x="68095" y="132968"/>
                  <a:pt x="67479" y="132662"/>
                  <a:pt x="67172" y="132355"/>
                </a:cubicBezTo>
                <a:cubicBezTo>
                  <a:pt x="66864" y="132048"/>
                  <a:pt x="66864" y="131742"/>
                  <a:pt x="66864" y="131435"/>
                </a:cubicBezTo>
                <a:cubicBezTo>
                  <a:pt x="66864" y="130822"/>
                  <a:pt x="66864" y="130515"/>
                  <a:pt x="67172" y="130208"/>
                </a:cubicBezTo>
                <a:cubicBezTo>
                  <a:pt x="67479" y="129902"/>
                  <a:pt x="68095" y="129595"/>
                  <a:pt x="68403" y="129595"/>
                </a:cubicBezTo>
                <a:close/>
                <a:moveTo>
                  <a:pt x="374154" y="129311"/>
                </a:moveTo>
                <a:cubicBezTo>
                  <a:pt x="375381" y="129005"/>
                  <a:pt x="376916" y="129005"/>
                  <a:pt x="378143" y="129311"/>
                </a:cubicBezTo>
                <a:cubicBezTo>
                  <a:pt x="379371" y="129617"/>
                  <a:pt x="380291" y="130230"/>
                  <a:pt x="381212" y="131455"/>
                </a:cubicBezTo>
                <a:cubicBezTo>
                  <a:pt x="382132" y="132680"/>
                  <a:pt x="382439" y="134825"/>
                  <a:pt x="381826" y="137581"/>
                </a:cubicBezTo>
                <a:cubicBezTo>
                  <a:pt x="381212" y="139419"/>
                  <a:pt x="379984" y="140644"/>
                  <a:pt x="378757" y="141870"/>
                </a:cubicBezTo>
                <a:cubicBezTo>
                  <a:pt x="376609" y="144014"/>
                  <a:pt x="373847" y="146464"/>
                  <a:pt x="374154" y="153815"/>
                </a:cubicBezTo>
                <a:cubicBezTo>
                  <a:pt x="374154" y="160248"/>
                  <a:pt x="372006" y="162392"/>
                  <a:pt x="368323" y="165455"/>
                </a:cubicBezTo>
                <a:cubicBezTo>
                  <a:pt x="367710" y="166067"/>
                  <a:pt x="367096" y="166680"/>
                  <a:pt x="366482" y="167292"/>
                </a:cubicBezTo>
                <a:cubicBezTo>
                  <a:pt x="366482" y="169743"/>
                  <a:pt x="366482" y="169743"/>
                  <a:pt x="366482" y="169743"/>
                </a:cubicBezTo>
                <a:cubicBezTo>
                  <a:pt x="290072" y="169743"/>
                  <a:pt x="290072" y="169743"/>
                  <a:pt x="290072" y="169743"/>
                </a:cubicBezTo>
                <a:cubicBezTo>
                  <a:pt x="290072" y="165148"/>
                  <a:pt x="290072" y="165148"/>
                  <a:pt x="290072" y="165148"/>
                </a:cubicBezTo>
                <a:cubicBezTo>
                  <a:pt x="286082" y="165148"/>
                  <a:pt x="281786" y="164229"/>
                  <a:pt x="278411" y="162392"/>
                </a:cubicBezTo>
                <a:cubicBezTo>
                  <a:pt x="275342" y="160248"/>
                  <a:pt x="273194" y="157491"/>
                  <a:pt x="272273" y="152896"/>
                </a:cubicBezTo>
                <a:cubicBezTo>
                  <a:pt x="271966" y="151059"/>
                  <a:pt x="271659" y="149527"/>
                  <a:pt x="271353" y="147996"/>
                </a:cubicBezTo>
                <a:cubicBezTo>
                  <a:pt x="270432" y="144626"/>
                  <a:pt x="269818" y="142482"/>
                  <a:pt x="271659" y="138194"/>
                </a:cubicBezTo>
                <a:cubicBezTo>
                  <a:pt x="274421" y="131762"/>
                  <a:pt x="281172" y="133293"/>
                  <a:pt x="286696" y="134212"/>
                </a:cubicBezTo>
                <a:cubicBezTo>
                  <a:pt x="287310" y="134212"/>
                  <a:pt x="287924" y="134518"/>
                  <a:pt x="288537" y="134518"/>
                </a:cubicBezTo>
                <a:cubicBezTo>
                  <a:pt x="290072" y="134825"/>
                  <a:pt x="290072" y="134825"/>
                  <a:pt x="290072" y="134825"/>
                </a:cubicBezTo>
                <a:cubicBezTo>
                  <a:pt x="290072" y="131149"/>
                  <a:pt x="290072" y="131149"/>
                  <a:pt x="290072" y="131149"/>
                </a:cubicBezTo>
                <a:cubicBezTo>
                  <a:pt x="366482" y="131149"/>
                  <a:pt x="366482" y="131149"/>
                  <a:pt x="366482" y="131149"/>
                </a:cubicBezTo>
                <a:lnTo>
                  <a:pt x="366482" y="133906"/>
                </a:lnTo>
                <a:cubicBezTo>
                  <a:pt x="368630" y="131455"/>
                  <a:pt x="371699" y="129924"/>
                  <a:pt x="374154" y="129311"/>
                </a:cubicBezTo>
                <a:close/>
                <a:moveTo>
                  <a:pt x="254747" y="126563"/>
                </a:moveTo>
                <a:cubicBezTo>
                  <a:pt x="253217" y="126563"/>
                  <a:pt x="251687" y="127176"/>
                  <a:pt x="250464" y="128402"/>
                </a:cubicBezTo>
                <a:cubicBezTo>
                  <a:pt x="249240" y="129321"/>
                  <a:pt x="248628" y="131160"/>
                  <a:pt x="248628" y="132692"/>
                </a:cubicBezTo>
                <a:cubicBezTo>
                  <a:pt x="248628" y="146177"/>
                  <a:pt x="248628" y="146177"/>
                  <a:pt x="248628" y="146177"/>
                </a:cubicBezTo>
                <a:cubicBezTo>
                  <a:pt x="262090" y="146177"/>
                  <a:pt x="262090" y="146177"/>
                  <a:pt x="262090" y="146177"/>
                </a:cubicBezTo>
                <a:cubicBezTo>
                  <a:pt x="262090" y="132692"/>
                  <a:pt x="262090" y="132692"/>
                  <a:pt x="262090" y="132692"/>
                </a:cubicBezTo>
                <a:cubicBezTo>
                  <a:pt x="262090" y="131160"/>
                  <a:pt x="261172" y="129321"/>
                  <a:pt x="259948" y="128402"/>
                </a:cubicBezTo>
                <a:cubicBezTo>
                  <a:pt x="259030" y="127176"/>
                  <a:pt x="257500" y="126563"/>
                  <a:pt x="255665" y="126563"/>
                </a:cubicBezTo>
                <a:cubicBezTo>
                  <a:pt x="254747" y="126563"/>
                  <a:pt x="254747" y="126563"/>
                  <a:pt x="254747" y="126563"/>
                </a:cubicBezTo>
                <a:close/>
                <a:moveTo>
                  <a:pt x="254747" y="124724"/>
                </a:moveTo>
                <a:cubicBezTo>
                  <a:pt x="255665" y="124724"/>
                  <a:pt x="255665" y="124724"/>
                  <a:pt x="255665" y="124724"/>
                </a:cubicBezTo>
                <a:cubicBezTo>
                  <a:pt x="257806" y="124724"/>
                  <a:pt x="259948" y="125643"/>
                  <a:pt x="261172" y="127176"/>
                </a:cubicBezTo>
                <a:cubicBezTo>
                  <a:pt x="262701" y="128708"/>
                  <a:pt x="263619" y="130547"/>
                  <a:pt x="263619" y="132692"/>
                </a:cubicBezTo>
                <a:cubicBezTo>
                  <a:pt x="263619" y="146177"/>
                  <a:pt x="263619" y="146177"/>
                  <a:pt x="263619" y="146177"/>
                </a:cubicBezTo>
                <a:cubicBezTo>
                  <a:pt x="263619" y="146790"/>
                  <a:pt x="263619" y="146790"/>
                  <a:pt x="263619" y="146790"/>
                </a:cubicBezTo>
                <a:lnTo>
                  <a:pt x="263619" y="147710"/>
                </a:lnTo>
                <a:cubicBezTo>
                  <a:pt x="263619" y="160888"/>
                  <a:pt x="263619" y="160888"/>
                  <a:pt x="263619" y="160888"/>
                </a:cubicBezTo>
                <a:cubicBezTo>
                  <a:pt x="263619" y="163034"/>
                  <a:pt x="262701" y="165179"/>
                  <a:pt x="261172" y="166712"/>
                </a:cubicBezTo>
                <a:cubicBezTo>
                  <a:pt x="259948" y="167937"/>
                  <a:pt x="257806" y="168857"/>
                  <a:pt x="255665" y="168857"/>
                </a:cubicBezTo>
                <a:cubicBezTo>
                  <a:pt x="254747" y="168857"/>
                  <a:pt x="254747" y="168857"/>
                  <a:pt x="254747" y="168857"/>
                </a:cubicBezTo>
                <a:cubicBezTo>
                  <a:pt x="252605" y="168857"/>
                  <a:pt x="250770" y="167937"/>
                  <a:pt x="249240" y="166712"/>
                </a:cubicBezTo>
                <a:cubicBezTo>
                  <a:pt x="247710" y="165179"/>
                  <a:pt x="246792" y="163034"/>
                  <a:pt x="246792" y="160888"/>
                </a:cubicBezTo>
                <a:cubicBezTo>
                  <a:pt x="246792" y="146790"/>
                  <a:pt x="246792" y="146790"/>
                  <a:pt x="246792" y="146790"/>
                </a:cubicBezTo>
                <a:cubicBezTo>
                  <a:pt x="246792" y="146177"/>
                  <a:pt x="246792" y="146177"/>
                  <a:pt x="246792" y="146177"/>
                </a:cubicBezTo>
                <a:cubicBezTo>
                  <a:pt x="246792" y="132692"/>
                  <a:pt x="246792" y="132692"/>
                  <a:pt x="246792" y="132692"/>
                </a:cubicBezTo>
                <a:cubicBezTo>
                  <a:pt x="246792" y="130547"/>
                  <a:pt x="247710" y="128708"/>
                  <a:pt x="249240" y="127176"/>
                </a:cubicBezTo>
                <a:cubicBezTo>
                  <a:pt x="250770" y="125643"/>
                  <a:pt x="252605" y="124724"/>
                  <a:pt x="254747" y="124724"/>
                </a:cubicBezTo>
                <a:close/>
                <a:moveTo>
                  <a:pt x="147006" y="120795"/>
                </a:moveTo>
                <a:cubicBezTo>
                  <a:pt x="146393" y="121408"/>
                  <a:pt x="145780" y="122020"/>
                  <a:pt x="145167" y="122632"/>
                </a:cubicBezTo>
                <a:cubicBezTo>
                  <a:pt x="142100" y="126000"/>
                  <a:pt x="139033" y="128755"/>
                  <a:pt x="136887" y="132123"/>
                </a:cubicBezTo>
                <a:cubicBezTo>
                  <a:pt x="157126" y="132123"/>
                  <a:pt x="157126" y="132123"/>
                  <a:pt x="157126" y="132123"/>
                </a:cubicBezTo>
                <a:cubicBezTo>
                  <a:pt x="154979" y="128755"/>
                  <a:pt x="151913" y="126000"/>
                  <a:pt x="148846" y="122632"/>
                </a:cubicBezTo>
                <a:cubicBezTo>
                  <a:pt x="148233" y="122020"/>
                  <a:pt x="147620" y="121408"/>
                  <a:pt x="147006" y="120795"/>
                </a:cubicBezTo>
                <a:close/>
                <a:moveTo>
                  <a:pt x="298653" y="118937"/>
                </a:moveTo>
                <a:cubicBezTo>
                  <a:pt x="298345" y="118937"/>
                  <a:pt x="298345" y="119243"/>
                  <a:pt x="298345" y="119549"/>
                </a:cubicBezTo>
                <a:cubicBezTo>
                  <a:pt x="298345" y="119549"/>
                  <a:pt x="298345" y="119855"/>
                  <a:pt x="298653" y="119855"/>
                </a:cubicBezTo>
                <a:lnTo>
                  <a:pt x="307888" y="119855"/>
                </a:lnTo>
                <a:cubicBezTo>
                  <a:pt x="307888" y="119855"/>
                  <a:pt x="308196" y="119549"/>
                  <a:pt x="308196" y="119549"/>
                </a:cubicBezTo>
                <a:cubicBezTo>
                  <a:pt x="308196" y="119243"/>
                  <a:pt x="307888" y="118937"/>
                  <a:pt x="307888" y="118937"/>
                </a:cubicBezTo>
                <a:cubicBezTo>
                  <a:pt x="307888" y="118937"/>
                  <a:pt x="307888" y="118937"/>
                  <a:pt x="298653" y="118937"/>
                </a:cubicBezTo>
                <a:close/>
                <a:moveTo>
                  <a:pt x="295267" y="116182"/>
                </a:moveTo>
                <a:cubicBezTo>
                  <a:pt x="294959" y="116182"/>
                  <a:pt x="294959" y="116488"/>
                  <a:pt x="294959" y="116488"/>
                </a:cubicBezTo>
                <a:cubicBezTo>
                  <a:pt x="294959" y="116794"/>
                  <a:pt x="294959" y="117100"/>
                  <a:pt x="295267" y="117100"/>
                </a:cubicBezTo>
                <a:cubicBezTo>
                  <a:pt x="295267" y="117100"/>
                  <a:pt x="295267" y="117100"/>
                  <a:pt x="311274" y="117100"/>
                </a:cubicBezTo>
                <a:cubicBezTo>
                  <a:pt x="311274" y="117100"/>
                  <a:pt x="311582" y="116794"/>
                  <a:pt x="311582" y="116488"/>
                </a:cubicBezTo>
                <a:cubicBezTo>
                  <a:pt x="311582" y="116488"/>
                  <a:pt x="311274" y="116182"/>
                  <a:pt x="311274" y="116182"/>
                </a:cubicBezTo>
                <a:cubicBezTo>
                  <a:pt x="311274" y="116182"/>
                  <a:pt x="311274" y="116182"/>
                  <a:pt x="295267" y="116182"/>
                </a:cubicBezTo>
                <a:close/>
                <a:moveTo>
                  <a:pt x="298653" y="113427"/>
                </a:moveTo>
                <a:cubicBezTo>
                  <a:pt x="298345" y="113427"/>
                  <a:pt x="298345" y="113427"/>
                  <a:pt x="298345" y="113733"/>
                </a:cubicBezTo>
                <a:cubicBezTo>
                  <a:pt x="298345" y="114039"/>
                  <a:pt x="298345" y="114039"/>
                  <a:pt x="298653" y="114039"/>
                </a:cubicBezTo>
                <a:cubicBezTo>
                  <a:pt x="298653" y="114039"/>
                  <a:pt x="298653" y="114039"/>
                  <a:pt x="307888" y="114039"/>
                </a:cubicBezTo>
                <a:cubicBezTo>
                  <a:pt x="307888" y="114039"/>
                  <a:pt x="308196" y="114039"/>
                  <a:pt x="308196" y="113733"/>
                </a:cubicBezTo>
                <a:cubicBezTo>
                  <a:pt x="308196" y="113427"/>
                  <a:pt x="307888" y="113427"/>
                  <a:pt x="307888" y="113427"/>
                </a:cubicBezTo>
                <a:cubicBezTo>
                  <a:pt x="307888" y="113427"/>
                  <a:pt x="307888" y="113427"/>
                  <a:pt x="298653" y="113427"/>
                </a:cubicBezTo>
                <a:close/>
                <a:moveTo>
                  <a:pt x="298653" y="110672"/>
                </a:moveTo>
                <a:cubicBezTo>
                  <a:pt x="298345" y="110672"/>
                  <a:pt x="298345" y="110672"/>
                  <a:pt x="298345" y="110978"/>
                </a:cubicBezTo>
                <a:cubicBezTo>
                  <a:pt x="298345" y="110978"/>
                  <a:pt x="298345" y="111285"/>
                  <a:pt x="298653" y="111285"/>
                </a:cubicBezTo>
                <a:cubicBezTo>
                  <a:pt x="298653" y="111285"/>
                  <a:pt x="298653" y="111285"/>
                  <a:pt x="307888" y="111285"/>
                </a:cubicBezTo>
                <a:cubicBezTo>
                  <a:pt x="307888" y="111285"/>
                  <a:pt x="308196" y="110978"/>
                  <a:pt x="308196" y="110978"/>
                </a:cubicBezTo>
                <a:cubicBezTo>
                  <a:pt x="308196" y="110672"/>
                  <a:pt x="307888" y="110672"/>
                  <a:pt x="307888" y="110672"/>
                </a:cubicBezTo>
                <a:cubicBezTo>
                  <a:pt x="307888" y="110672"/>
                  <a:pt x="307888" y="110672"/>
                  <a:pt x="298653" y="110672"/>
                </a:cubicBezTo>
                <a:close/>
                <a:moveTo>
                  <a:pt x="298653" y="107612"/>
                </a:moveTo>
                <a:cubicBezTo>
                  <a:pt x="298345" y="107612"/>
                  <a:pt x="298345" y="107918"/>
                  <a:pt x="298345" y="107918"/>
                </a:cubicBezTo>
                <a:cubicBezTo>
                  <a:pt x="298345" y="108224"/>
                  <a:pt x="298345" y="108224"/>
                  <a:pt x="298653" y="108224"/>
                </a:cubicBezTo>
                <a:cubicBezTo>
                  <a:pt x="298653" y="108224"/>
                  <a:pt x="298653" y="108224"/>
                  <a:pt x="307888" y="108224"/>
                </a:cubicBezTo>
                <a:cubicBezTo>
                  <a:pt x="307888" y="108224"/>
                  <a:pt x="308196" y="108224"/>
                  <a:pt x="308196" y="107918"/>
                </a:cubicBezTo>
                <a:cubicBezTo>
                  <a:pt x="308196" y="107918"/>
                  <a:pt x="307888" y="107612"/>
                  <a:pt x="307888" y="107612"/>
                </a:cubicBezTo>
                <a:cubicBezTo>
                  <a:pt x="307888" y="107612"/>
                  <a:pt x="307888" y="107612"/>
                  <a:pt x="298653" y="107612"/>
                </a:cubicBezTo>
                <a:close/>
                <a:moveTo>
                  <a:pt x="141793" y="107324"/>
                </a:moveTo>
                <a:cubicBezTo>
                  <a:pt x="143633" y="109468"/>
                  <a:pt x="145167" y="111611"/>
                  <a:pt x="147006" y="113754"/>
                </a:cubicBezTo>
                <a:cubicBezTo>
                  <a:pt x="148846" y="111611"/>
                  <a:pt x="150686" y="109468"/>
                  <a:pt x="152219" y="107324"/>
                </a:cubicBezTo>
                <a:cubicBezTo>
                  <a:pt x="141793" y="107324"/>
                  <a:pt x="141793" y="107324"/>
                  <a:pt x="141793" y="107324"/>
                </a:cubicBezTo>
                <a:close/>
                <a:moveTo>
                  <a:pt x="178060" y="106382"/>
                </a:moveTo>
                <a:cubicBezTo>
                  <a:pt x="179901" y="103322"/>
                  <a:pt x="187268" y="108524"/>
                  <a:pt x="189417" y="109747"/>
                </a:cubicBezTo>
                <a:cubicBezTo>
                  <a:pt x="205072" y="118927"/>
                  <a:pt x="218271" y="118927"/>
                  <a:pt x="234540" y="122904"/>
                </a:cubicBezTo>
                <a:cubicBezTo>
                  <a:pt x="234540" y="122904"/>
                  <a:pt x="234540" y="122904"/>
                  <a:pt x="229322" y="143405"/>
                </a:cubicBezTo>
                <a:cubicBezTo>
                  <a:pt x="221955" y="141263"/>
                  <a:pt x="211825" y="137591"/>
                  <a:pt x="205072" y="137591"/>
                </a:cubicBezTo>
                <a:cubicBezTo>
                  <a:pt x="200775" y="140039"/>
                  <a:pt x="182357" y="145241"/>
                  <a:pt x="182050" y="140651"/>
                </a:cubicBezTo>
                <a:cubicBezTo>
                  <a:pt x="181743" y="136062"/>
                  <a:pt x="190031" y="135144"/>
                  <a:pt x="193101" y="134838"/>
                </a:cubicBezTo>
                <a:cubicBezTo>
                  <a:pt x="188189" y="132696"/>
                  <a:pt x="182050" y="131166"/>
                  <a:pt x="176525" y="130554"/>
                </a:cubicBezTo>
                <a:cubicBezTo>
                  <a:pt x="175604" y="130554"/>
                  <a:pt x="174683" y="130554"/>
                  <a:pt x="174069" y="130554"/>
                </a:cubicBezTo>
                <a:cubicBezTo>
                  <a:pt x="170999" y="130248"/>
                  <a:pt x="166702" y="129942"/>
                  <a:pt x="166702" y="126882"/>
                </a:cubicBezTo>
                <a:cubicBezTo>
                  <a:pt x="167009" y="124434"/>
                  <a:pt x="171920" y="124740"/>
                  <a:pt x="176525" y="125046"/>
                </a:cubicBezTo>
                <a:cubicBezTo>
                  <a:pt x="179594" y="125658"/>
                  <a:pt x="182357" y="125964"/>
                  <a:pt x="183892" y="125964"/>
                </a:cubicBezTo>
                <a:cubicBezTo>
                  <a:pt x="181129" y="125046"/>
                  <a:pt x="178980" y="124128"/>
                  <a:pt x="176525" y="123210"/>
                </a:cubicBezTo>
                <a:cubicBezTo>
                  <a:pt x="174069" y="122598"/>
                  <a:pt x="171613" y="121987"/>
                  <a:pt x="169158" y="121069"/>
                </a:cubicBezTo>
                <a:cubicBezTo>
                  <a:pt x="167316" y="120457"/>
                  <a:pt x="166088" y="119845"/>
                  <a:pt x="165781" y="118927"/>
                </a:cubicBezTo>
                <a:cubicBezTo>
                  <a:pt x="165167" y="117703"/>
                  <a:pt x="165781" y="116173"/>
                  <a:pt x="168237" y="116173"/>
                </a:cubicBezTo>
                <a:cubicBezTo>
                  <a:pt x="170386" y="116479"/>
                  <a:pt x="173455" y="117397"/>
                  <a:pt x="176525" y="118009"/>
                </a:cubicBezTo>
                <a:cubicBezTo>
                  <a:pt x="179901" y="118927"/>
                  <a:pt x="182971" y="119845"/>
                  <a:pt x="184813" y="119539"/>
                </a:cubicBezTo>
                <a:cubicBezTo>
                  <a:pt x="182664" y="118621"/>
                  <a:pt x="179594" y="117703"/>
                  <a:pt x="176525" y="116785"/>
                </a:cubicBezTo>
                <a:cubicBezTo>
                  <a:pt x="174376" y="116173"/>
                  <a:pt x="172227" y="115561"/>
                  <a:pt x="171306" y="114949"/>
                </a:cubicBezTo>
                <a:cubicBezTo>
                  <a:pt x="168544" y="113419"/>
                  <a:pt x="168544" y="110971"/>
                  <a:pt x="171920" y="110971"/>
                </a:cubicBezTo>
                <a:cubicBezTo>
                  <a:pt x="173148" y="110971"/>
                  <a:pt x="174683" y="111277"/>
                  <a:pt x="176525" y="111583"/>
                </a:cubicBezTo>
                <a:cubicBezTo>
                  <a:pt x="180208" y="112501"/>
                  <a:pt x="184506" y="114031"/>
                  <a:pt x="187882" y="114949"/>
                </a:cubicBezTo>
                <a:cubicBezTo>
                  <a:pt x="185427" y="113113"/>
                  <a:pt x="176832" y="108524"/>
                  <a:pt x="178060" y="106382"/>
                </a:cubicBezTo>
                <a:close/>
                <a:moveTo>
                  <a:pt x="295267" y="104551"/>
                </a:moveTo>
                <a:cubicBezTo>
                  <a:pt x="294959" y="104551"/>
                  <a:pt x="294959" y="104551"/>
                  <a:pt x="294959" y="104857"/>
                </a:cubicBezTo>
                <a:cubicBezTo>
                  <a:pt x="294959" y="104857"/>
                  <a:pt x="294959" y="105163"/>
                  <a:pt x="295267" y="105163"/>
                </a:cubicBezTo>
                <a:cubicBezTo>
                  <a:pt x="295267" y="105163"/>
                  <a:pt x="295267" y="105163"/>
                  <a:pt x="311274" y="105163"/>
                </a:cubicBezTo>
                <a:cubicBezTo>
                  <a:pt x="311274" y="105163"/>
                  <a:pt x="311582" y="104857"/>
                  <a:pt x="311582" y="104857"/>
                </a:cubicBezTo>
                <a:cubicBezTo>
                  <a:pt x="311582" y="104551"/>
                  <a:pt x="311274" y="104551"/>
                  <a:pt x="311274" y="104551"/>
                </a:cubicBezTo>
                <a:cubicBezTo>
                  <a:pt x="311274" y="104551"/>
                  <a:pt x="311274" y="104551"/>
                  <a:pt x="295267" y="104551"/>
                </a:cubicBezTo>
                <a:close/>
                <a:moveTo>
                  <a:pt x="298653" y="101490"/>
                </a:moveTo>
                <a:cubicBezTo>
                  <a:pt x="298345" y="101490"/>
                  <a:pt x="298345" y="101490"/>
                  <a:pt x="298345" y="101796"/>
                </a:cubicBezTo>
                <a:cubicBezTo>
                  <a:pt x="298345" y="102102"/>
                  <a:pt x="298345" y="102102"/>
                  <a:pt x="298653" y="102102"/>
                </a:cubicBezTo>
                <a:cubicBezTo>
                  <a:pt x="298653" y="102102"/>
                  <a:pt x="298653" y="102102"/>
                  <a:pt x="307888" y="102102"/>
                </a:cubicBezTo>
                <a:cubicBezTo>
                  <a:pt x="307888" y="102102"/>
                  <a:pt x="308196" y="102102"/>
                  <a:pt x="308196" y="101796"/>
                </a:cubicBezTo>
                <a:cubicBezTo>
                  <a:pt x="308196" y="101490"/>
                  <a:pt x="307888" y="101490"/>
                  <a:pt x="307888" y="101490"/>
                </a:cubicBezTo>
                <a:cubicBezTo>
                  <a:pt x="307888" y="101490"/>
                  <a:pt x="307888" y="101490"/>
                  <a:pt x="298653" y="101490"/>
                </a:cubicBezTo>
                <a:close/>
                <a:moveTo>
                  <a:pt x="137807" y="99364"/>
                </a:moveTo>
                <a:cubicBezTo>
                  <a:pt x="138114" y="100283"/>
                  <a:pt x="138420" y="101201"/>
                  <a:pt x="138727" y="101814"/>
                </a:cubicBezTo>
                <a:cubicBezTo>
                  <a:pt x="155286" y="101814"/>
                  <a:pt x="155286" y="101814"/>
                  <a:pt x="155286" y="101814"/>
                </a:cubicBezTo>
                <a:cubicBezTo>
                  <a:pt x="155593" y="101201"/>
                  <a:pt x="155899" y="100283"/>
                  <a:pt x="156206" y="99364"/>
                </a:cubicBezTo>
                <a:cubicBezTo>
                  <a:pt x="137807" y="99364"/>
                  <a:pt x="137807" y="99364"/>
                  <a:pt x="137807" y="99364"/>
                </a:cubicBezTo>
                <a:close/>
                <a:moveTo>
                  <a:pt x="298653" y="98735"/>
                </a:moveTo>
                <a:cubicBezTo>
                  <a:pt x="298345" y="98735"/>
                  <a:pt x="298345" y="98735"/>
                  <a:pt x="298345" y="99041"/>
                </a:cubicBezTo>
                <a:cubicBezTo>
                  <a:pt x="298345" y="99041"/>
                  <a:pt x="298345" y="99347"/>
                  <a:pt x="298653" y="99347"/>
                </a:cubicBezTo>
                <a:cubicBezTo>
                  <a:pt x="298653" y="99347"/>
                  <a:pt x="298653" y="99347"/>
                  <a:pt x="307888" y="99347"/>
                </a:cubicBezTo>
                <a:cubicBezTo>
                  <a:pt x="307888" y="99347"/>
                  <a:pt x="308196" y="99041"/>
                  <a:pt x="308196" y="99041"/>
                </a:cubicBezTo>
                <a:cubicBezTo>
                  <a:pt x="308196" y="98735"/>
                  <a:pt x="307888" y="98735"/>
                  <a:pt x="307888" y="98735"/>
                </a:cubicBezTo>
                <a:cubicBezTo>
                  <a:pt x="307888" y="98735"/>
                  <a:pt x="307888" y="98735"/>
                  <a:pt x="298653" y="98735"/>
                </a:cubicBezTo>
                <a:close/>
                <a:moveTo>
                  <a:pt x="298653" y="95675"/>
                </a:moveTo>
                <a:cubicBezTo>
                  <a:pt x="298345" y="95675"/>
                  <a:pt x="298345" y="95675"/>
                  <a:pt x="298345" y="95981"/>
                </a:cubicBezTo>
                <a:cubicBezTo>
                  <a:pt x="298345" y="96287"/>
                  <a:pt x="298345" y="96287"/>
                  <a:pt x="298653" y="96287"/>
                </a:cubicBezTo>
                <a:cubicBezTo>
                  <a:pt x="298653" y="96287"/>
                  <a:pt x="298653" y="96287"/>
                  <a:pt x="307888" y="96287"/>
                </a:cubicBezTo>
                <a:cubicBezTo>
                  <a:pt x="307888" y="96287"/>
                  <a:pt x="308196" y="96287"/>
                  <a:pt x="308196" y="95981"/>
                </a:cubicBezTo>
                <a:cubicBezTo>
                  <a:pt x="308196" y="95675"/>
                  <a:pt x="307888" y="95675"/>
                  <a:pt x="307888" y="95675"/>
                </a:cubicBezTo>
                <a:cubicBezTo>
                  <a:pt x="307888" y="95675"/>
                  <a:pt x="307888" y="95675"/>
                  <a:pt x="298653" y="95675"/>
                </a:cubicBezTo>
                <a:close/>
                <a:moveTo>
                  <a:pt x="295267" y="92614"/>
                </a:moveTo>
                <a:cubicBezTo>
                  <a:pt x="294959" y="92614"/>
                  <a:pt x="294959" y="92920"/>
                  <a:pt x="294959" y="92920"/>
                </a:cubicBezTo>
                <a:cubicBezTo>
                  <a:pt x="294959" y="93226"/>
                  <a:pt x="294959" y="93226"/>
                  <a:pt x="295267" y="93226"/>
                </a:cubicBezTo>
                <a:cubicBezTo>
                  <a:pt x="295267" y="93226"/>
                  <a:pt x="295267" y="93226"/>
                  <a:pt x="311274" y="93226"/>
                </a:cubicBezTo>
                <a:cubicBezTo>
                  <a:pt x="311274" y="93226"/>
                  <a:pt x="311582" y="93226"/>
                  <a:pt x="311582" y="92920"/>
                </a:cubicBezTo>
                <a:cubicBezTo>
                  <a:pt x="311582" y="92920"/>
                  <a:pt x="311274" y="92614"/>
                  <a:pt x="311274" y="92614"/>
                </a:cubicBezTo>
                <a:cubicBezTo>
                  <a:pt x="311274" y="92614"/>
                  <a:pt x="311274" y="92614"/>
                  <a:pt x="295267" y="92614"/>
                </a:cubicBezTo>
                <a:close/>
                <a:moveTo>
                  <a:pt x="298653" y="89553"/>
                </a:moveTo>
                <a:cubicBezTo>
                  <a:pt x="298345" y="89553"/>
                  <a:pt x="298345" y="89859"/>
                  <a:pt x="298345" y="89859"/>
                </a:cubicBezTo>
                <a:cubicBezTo>
                  <a:pt x="298345" y="90165"/>
                  <a:pt x="298345" y="90165"/>
                  <a:pt x="298653" y="90165"/>
                </a:cubicBezTo>
                <a:cubicBezTo>
                  <a:pt x="298653" y="90165"/>
                  <a:pt x="298653" y="90165"/>
                  <a:pt x="307888" y="90165"/>
                </a:cubicBezTo>
                <a:cubicBezTo>
                  <a:pt x="307888" y="90165"/>
                  <a:pt x="308196" y="90165"/>
                  <a:pt x="308196" y="89859"/>
                </a:cubicBezTo>
                <a:cubicBezTo>
                  <a:pt x="308196" y="89859"/>
                  <a:pt x="307888" y="89553"/>
                  <a:pt x="307888" y="89553"/>
                </a:cubicBezTo>
                <a:cubicBezTo>
                  <a:pt x="307888" y="89553"/>
                  <a:pt x="307888" y="89553"/>
                  <a:pt x="298653" y="89553"/>
                </a:cubicBezTo>
                <a:close/>
                <a:moveTo>
                  <a:pt x="298653" y="86798"/>
                </a:moveTo>
                <a:cubicBezTo>
                  <a:pt x="298345" y="86798"/>
                  <a:pt x="298345" y="86798"/>
                  <a:pt x="298345" y="87104"/>
                </a:cubicBezTo>
                <a:cubicBezTo>
                  <a:pt x="298345" y="87410"/>
                  <a:pt x="298345" y="87410"/>
                  <a:pt x="298653" y="87410"/>
                </a:cubicBezTo>
                <a:cubicBezTo>
                  <a:pt x="298653" y="87410"/>
                  <a:pt x="298653" y="87410"/>
                  <a:pt x="307888" y="87410"/>
                </a:cubicBezTo>
                <a:cubicBezTo>
                  <a:pt x="307888" y="87410"/>
                  <a:pt x="308196" y="87410"/>
                  <a:pt x="308196" y="87104"/>
                </a:cubicBezTo>
                <a:cubicBezTo>
                  <a:pt x="308196" y="86798"/>
                  <a:pt x="307888" y="86798"/>
                  <a:pt x="307888" y="86798"/>
                </a:cubicBezTo>
                <a:cubicBezTo>
                  <a:pt x="307888" y="86798"/>
                  <a:pt x="307888" y="86798"/>
                  <a:pt x="298653" y="86798"/>
                </a:cubicBezTo>
                <a:close/>
                <a:moveTo>
                  <a:pt x="132594" y="86200"/>
                </a:moveTo>
                <a:cubicBezTo>
                  <a:pt x="133820" y="86200"/>
                  <a:pt x="135047" y="87118"/>
                  <a:pt x="135354" y="88649"/>
                </a:cubicBezTo>
                <a:cubicBezTo>
                  <a:pt x="135354" y="90486"/>
                  <a:pt x="135660" y="92323"/>
                  <a:pt x="136274" y="94160"/>
                </a:cubicBezTo>
                <a:cubicBezTo>
                  <a:pt x="158046" y="94160"/>
                  <a:pt x="158046" y="94160"/>
                  <a:pt x="158046" y="94160"/>
                </a:cubicBezTo>
                <a:cubicBezTo>
                  <a:pt x="158353" y="92323"/>
                  <a:pt x="158659" y="90486"/>
                  <a:pt x="158659" y="88649"/>
                </a:cubicBezTo>
                <a:cubicBezTo>
                  <a:pt x="158966" y="87118"/>
                  <a:pt x="160192" y="86200"/>
                  <a:pt x="161419" y="86200"/>
                </a:cubicBezTo>
                <a:cubicBezTo>
                  <a:pt x="162952" y="86506"/>
                  <a:pt x="163872" y="87424"/>
                  <a:pt x="163872" y="88955"/>
                </a:cubicBezTo>
                <a:cubicBezTo>
                  <a:pt x="162646" y="102120"/>
                  <a:pt x="156819" y="110386"/>
                  <a:pt x="150380" y="117428"/>
                </a:cubicBezTo>
                <a:cubicBezTo>
                  <a:pt x="150993" y="118040"/>
                  <a:pt x="151606" y="118652"/>
                  <a:pt x="152219" y="119264"/>
                </a:cubicBezTo>
                <a:cubicBezTo>
                  <a:pt x="159886" y="126918"/>
                  <a:pt x="166939" y="133654"/>
                  <a:pt x="165712" y="145900"/>
                </a:cubicBezTo>
                <a:cubicBezTo>
                  <a:pt x="165099" y="154472"/>
                  <a:pt x="158659" y="159677"/>
                  <a:pt x="151606" y="165494"/>
                </a:cubicBezTo>
                <a:cubicBezTo>
                  <a:pt x="150993" y="165800"/>
                  <a:pt x="150993" y="165800"/>
                  <a:pt x="150993" y="165800"/>
                </a:cubicBezTo>
                <a:cubicBezTo>
                  <a:pt x="158353" y="172535"/>
                  <a:pt x="165405" y="180801"/>
                  <a:pt x="166019" y="194884"/>
                </a:cubicBezTo>
                <a:cubicBezTo>
                  <a:pt x="166019" y="196415"/>
                  <a:pt x="164792" y="197640"/>
                  <a:pt x="163566" y="197640"/>
                </a:cubicBezTo>
                <a:cubicBezTo>
                  <a:pt x="162032" y="197640"/>
                  <a:pt x="161112" y="196415"/>
                  <a:pt x="161112" y="195191"/>
                </a:cubicBezTo>
                <a:cubicBezTo>
                  <a:pt x="160806" y="192741"/>
                  <a:pt x="160499" y="190904"/>
                  <a:pt x="160192" y="188761"/>
                </a:cubicBezTo>
                <a:cubicBezTo>
                  <a:pt x="133820" y="188761"/>
                  <a:pt x="133820" y="188761"/>
                  <a:pt x="133820" y="188761"/>
                </a:cubicBezTo>
                <a:cubicBezTo>
                  <a:pt x="133514" y="190904"/>
                  <a:pt x="133207" y="192741"/>
                  <a:pt x="133207" y="195191"/>
                </a:cubicBezTo>
                <a:cubicBezTo>
                  <a:pt x="132900" y="196415"/>
                  <a:pt x="131981" y="197640"/>
                  <a:pt x="130447" y="197640"/>
                </a:cubicBezTo>
                <a:cubicBezTo>
                  <a:pt x="129221" y="197640"/>
                  <a:pt x="127994" y="196415"/>
                  <a:pt x="127994" y="194884"/>
                </a:cubicBezTo>
                <a:cubicBezTo>
                  <a:pt x="128607" y="180801"/>
                  <a:pt x="135660" y="172535"/>
                  <a:pt x="143020" y="165800"/>
                </a:cubicBezTo>
                <a:cubicBezTo>
                  <a:pt x="142713" y="165494"/>
                  <a:pt x="142713" y="165494"/>
                  <a:pt x="142713" y="165494"/>
                </a:cubicBezTo>
                <a:cubicBezTo>
                  <a:pt x="135354" y="159677"/>
                  <a:pt x="128914" y="154472"/>
                  <a:pt x="128301" y="145900"/>
                </a:cubicBezTo>
                <a:cubicBezTo>
                  <a:pt x="127381" y="133654"/>
                  <a:pt x="134127" y="126918"/>
                  <a:pt x="141793" y="119264"/>
                </a:cubicBezTo>
                <a:cubicBezTo>
                  <a:pt x="142407" y="118652"/>
                  <a:pt x="143020" y="118040"/>
                  <a:pt x="143633" y="117428"/>
                </a:cubicBezTo>
                <a:cubicBezTo>
                  <a:pt x="137194" y="110386"/>
                  <a:pt x="131367" y="102120"/>
                  <a:pt x="130447" y="88955"/>
                </a:cubicBezTo>
                <a:cubicBezTo>
                  <a:pt x="130141" y="87424"/>
                  <a:pt x="131367" y="86506"/>
                  <a:pt x="132594" y="86200"/>
                </a:cubicBezTo>
                <a:close/>
                <a:moveTo>
                  <a:pt x="298653" y="83737"/>
                </a:moveTo>
                <a:cubicBezTo>
                  <a:pt x="298345" y="83737"/>
                  <a:pt x="298345" y="84044"/>
                  <a:pt x="298345" y="84044"/>
                </a:cubicBezTo>
                <a:cubicBezTo>
                  <a:pt x="298345" y="84350"/>
                  <a:pt x="298345" y="84656"/>
                  <a:pt x="298653" y="84656"/>
                </a:cubicBezTo>
                <a:cubicBezTo>
                  <a:pt x="298653" y="84656"/>
                  <a:pt x="298653" y="84656"/>
                  <a:pt x="307888" y="84656"/>
                </a:cubicBezTo>
                <a:cubicBezTo>
                  <a:pt x="307888" y="84656"/>
                  <a:pt x="308196" y="84350"/>
                  <a:pt x="308196" y="84044"/>
                </a:cubicBezTo>
                <a:cubicBezTo>
                  <a:pt x="308196" y="84044"/>
                  <a:pt x="307888" y="83737"/>
                  <a:pt x="307888" y="83737"/>
                </a:cubicBezTo>
                <a:cubicBezTo>
                  <a:pt x="307888" y="83737"/>
                  <a:pt x="307888" y="83737"/>
                  <a:pt x="298653" y="83737"/>
                </a:cubicBezTo>
                <a:close/>
                <a:moveTo>
                  <a:pt x="295267" y="80064"/>
                </a:moveTo>
                <a:cubicBezTo>
                  <a:pt x="294959" y="80064"/>
                  <a:pt x="294959" y="80371"/>
                  <a:pt x="294959" y="80371"/>
                </a:cubicBezTo>
                <a:cubicBezTo>
                  <a:pt x="294959" y="80677"/>
                  <a:pt x="294959" y="80677"/>
                  <a:pt x="295267" y="80677"/>
                </a:cubicBezTo>
                <a:cubicBezTo>
                  <a:pt x="295267" y="80677"/>
                  <a:pt x="295267" y="80677"/>
                  <a:pt x="311274" y="80677"/>
                </a:cubicBezTo>
                <a:cubicBezTo>
                  <a:pt x="311274" y="80677"/>
                  <a:pt x="311582" y="80677"/>
                  <a:pt x="311582" y="80371"/>
                </a:cubicBezTo>
                <a:cubicBezTo>
                  <a:pt x="311582" y="80371"/>
                  <a:pt x="311274" y="80064"/>
                  <a:pt x="311274" y="80064"/>
                </a:cubicBezTo>
                <a:cubicBezTo>
                  <a:pt x="311274" y="80064"/>
                  <a:pt x="311274" y="80064"/>
                  <a:pt x="295267" y="80064"/>
                </a:cubicBezTo>
                <a:close/>
                <a:moveTo>
                  <a:pt x="287264" y="69964"/>
                </a:moveTo>
                <a:cubicBezTo>
                  <a:pt x="287264" y="69964"/>
                  <a:pt x="287264" y="69964"/>
                  <a:pt x="318969" y="69964"/>
                </a:cubicBezTo>
                <a:cubicBezTo>
                  <a:pt x="318969" y="69964"/>
                  <a:pt x="318969" y="69964"/>
                  <a:pt x="316199" y="125364"/>
                </a:cubicBezTo>
                <a:cubicBezTo>
                  <a:pt x="316199" y="126895"/>
                  <a:pt x="314968" y="128119"/>
                  <a:pt x="313428" y="128119"/>
                </a:cubicBezTo>
                <a:cubicBezTo>
                  <a:pt x="313428" y="128119"/>
                  <a:pt x="313428" y="128119"/>
                  <a:pt x="295267" y="128119"/>
                </a:cubicBezTo>
                <a:cubicBezTo>
                  <a:pt x="293728" y="128119"/>
                  <a:pt x="292497" y="126895"/>
                  <a:pt x="292497" y="125364"/>
                </a:cubicBezTo>
                <a:cubicBezTo>
                  <a:pt x="292497" y="125364"/>
                  <a:pt x="292497" y="125364"/>
                  <a:pt x="287264" y="77616"/>
                </a:cubicBezTo>
                <a:cubicBezTo>
                  <a:pt x="287264" y="77004"/>
                  <a:pt x="286956" y="76392"/>
                  <a:pt x="286648" y="76085"/>
                </a:cubicBezTo>
                <a:cubicBezTo>
                  <a:pt x="286648" y="76085"/>
                  <a:pt x="286648" y="76085"/>
                  <a:pt x="282954" y="72106"/>
                </a:cubicBezTo>
                <a:cubicBezTo>
                  <a:pt x="282954" y="72106"/>
                  <a:pt x="282954" y="72106"/>
                  <a:pt x="286032" y="70270"/>
                </a:cubicBezTo>
                <a:cubicBezTo>
                  <a:pt x="286340" y="69964"/>
                  <a:pt x="286648" y="69964"/>
                  <a:pt x="287264" y="69964"/>
                </a:cubicBezTo>
                <a:close/>
                <a:moveTo>
                  <a:pt x="255380" y="65240"/>
                </a:moveTo>
                <a:lnTo>
                  <a:pt x="257966" y="78161"/>
                </a:lnTo>
                <a:lnTo>
                  <a:pt x="267989" y="76321"/>
                </a:lnTo>
                <a:cubicBezTo>
                  <a:pt x="272293" y="76321"/>
                  <a:pt x="275982" y="80610"/>
                  <a:pt x="277826" y="85511"/>
                </a:cubicBezTo>
                <a:cubicBezTo>
                  <a:pt x="280593" y="91331"/>
                  <a:pt x="280286" y="96233"/>
                  <a:pt x="278749" y="100521"/>
                </a:cubicBezTo>
                <a:cubicBezTo>
                  <a:pt x="277519" y="104197"/>
                  <a:pt x="275674" y="107873"/>
                  <a:pt x="273215" y="111549"/>
                </a:cubicBezTo>
                <a:cubicBezTo>
                  <a:pt x="271370" y="114612"/>
                  <a:pt x="268911" y="117676"/>
                  <a:pt x="265529" y="118901"/>
                </a:cubicBezTo>
                <a:cubicBezTo>
                  <a:pt x="260918" y="120739"/>
                  <a:pt x="259688" y="117676"/>
                  <a:pt x="256614" y="117676"/>
                </a:cubicBezTo>
                <a:cubicBezTo>
                  <a:pt x="254462" y="117676"/>
                  <a:pt x="252925" y="119514"/>
                  <a:pt x="249851" y="119514"/>
                </a:cubicBezTo>
                <a:cubicBezTo>
                  <a:pt x="248928" y="119514"/>
                  <a:pt x="248006" y="119207"/>
                  <a:pt x="247084" y="118901"/>
                </a:cubicBezTo>
                <a:cubicBezTo>
                  <a:pt x="244009" y="117676"/>
                  <a:pt x="241550" y="114612"/>
                  <a:pt x="239398" y="111549"/>
                </a:cubicBezTo>
                <a:cubicBezTo>
                  <a:pt x="237246" y="107873"/>
                  <a:pt x="235402" y="104197"/>
                  <a:pt x="234172" y="100521"/>
                </a:cubicBezTo>
                <a:cubicBezTo>
                  <a:pt x="232635" y="96233"/>
                  <a:pt x="232327" y="91331"/>
                  <a:pt x="234787" y="85511"/>
                </a:cubicBezTo>
                <a:cubicBezTo>
                  <a:pt x="236939" y="80610"/>
                  <a:pt x="240628" y="76321"/>
                  <a:pt x="244932" y="76321"/>
                </a:cubicBezTo>
                <a:lnTo>
                  <a:pt x="255401" y="78295"/>
                </a:lnTo>
                <a:lnTo>
                  <a:pt x="251367" y="66782"/>
                </a:lnTo>
                <a:cubicBezTo>
                  <a:pt x="252602" y="66473"/>
                  <a:pt x="254145" y="65857"/>
                  <a:pt x="255380" y="65240"/>
                </a:cubicBezTo>
                <a:close/>
                <a:moveTo>
                  <a:pt x="214319" y="61698"/>
                </a:moveTo>
                <a:lnTo>
                  <a:pt x="216090" y="61698"/>
                </a:lnTo>
                <a:lnTo>
                  <a:pt x="216385" y="69669"/>
                </a:lnTo>
                <a:lnTo>
                  <a:pt x="216737" y="69669"/>
                </a:lnTo>
                <a:lnTo>
                  <a:pt x="219402" y="79115"/>
                </a:lnTo>
                <a:lnTo>
                  <a:pt x="220644" y="79115"/>
                </a:lnTo>
                <a:cubicBezTo>
                  <a:pt x="220950" y="79115"/>
                  <a:pt x="221256" y="79410"/>
                  <a:pt x="221256" y="79705"/>
                </a:cubicBezTo>
                <a:cubicBezTo>
                  <a:pt x="221256" y="80296"/>
                  <a:pt x="221256" y="80296"/>
                  <a:pt x="221256" y="80296"/>
                </a:cubicBezTo>
                <a:cubicBezTo>
                  <a:pt x="221256" y="80591"/>
                  <a:pt x="220950" y="80886"/>
                  <a:pt x="220644" y="80886"/>
                </a:cubicBezTo>
                <a:lnTo>
                  <a:pt x="220735" y="80886"/>
                </a:lnTo>
                <a:cubicBezTo>
                  <a:pt x="221348" y="80886"/>
                  <a:pt x="221961" y="80886"/>
                  <a:pt x="221961" y="81501"/>
                </a:cubicBezTo>
                <a:cubicBezTo>
                  <a:pt x="222268" y="85804"/>
                  <a:pt x="223187" y="88263"/>
                  <a:pt x="224414" y="91645"/>
                </a:cubicBezTo>
                <a:cubicBezTo>
                  <a:pt x="225333" y="93796"/>
                  <a:pt x="225640" y="94411"/>
                  <a:pt x="225947" y="96563"/>
                </a:cubicBezTo>
                <a:cubicBezTo>
                  <a:pt x="226866" y="102096"/>
                  <a:pt x="226253" y="112240"/>
                  <a:pt x="220122" y="114392"/>
                </a:cubicBezTo>
                <a:cubicBezTo>
                  <a:pt x="220122" y="114392"/>
                  <a:pt x="220122" y="114392"/>
                  <a:pt x="215523" y="114392"/>
                </a:cubicBezTo>
                <a:cubicBezTo>
                  <a:pt x="215523" y="114392"/>
                  <a:pt x="215523" y="114392"/>
                  <a:pt x="215217" y="114392"/>
                </a:cubicBezTo>
                <a:cubicBezTo>
                  <a:pt x="215217" y="114392"/>
                  <a:pt x="215217" y="114392"/>
                  <a:pt x="214910" y="114392"/>
                </a:cubicBezTo>
                <a:cubicBezTo>
                  <a:pt x="214910" y="114392"/>
                  <a:pt x="214910" y="114392"/>
                  <a:pt x="214604" y="114392"/>
                </a:cubicBezTo>
                <a:cubicBezTo>
                  <a:pt x="214604" y="114392"/>
                  <a:pt x="214604" y="114392"/>
                  <a:pt x="209699" y="114392"/>
                </a:cubicBezTo>
                <a:cubicBezTo>
                  <a:pt x="203874" y="112240"/>
                  <a:pt x="202954" y="102096"/>
                  <a:pt x="204181" y="96563"/>
                </a:cubicBezTo>
                <a:cubicBezTo>
                  <a:pt x="204487" y="94411"/>
                  <a:pt x="204794" y="93796"/>
                  <a:pt x="205713" y="91645"/>
                </a:cubicBezTo>
                <a:cubicBezTo>
                  <a:pt x="206940" y="88263"/>
                  <a:pt x="207859" y="85804"/>
                  <a:pt x="208166" y="81501"/>
                </a:cubicBezTo>
                <a:cubicBezTo>
                  <a:pt x="208166" y="80886"/>
                  <a:pt x="208472" y="80886"/>
                  <a:pt x="209392" y="80886"/>
                </a:cubicBezTo>
                <a:lnTo>
                  <a:pt x="209016" y="80886"/>
                </a:lnTo>
                <a:cubicBezTo>
                  <a:pt x="208710" y="80886"/>
                  <a:pt x="208710" y="80591"/>
                  <a:pt x="208710" y="80296"/>
                </a:cubicBezTo>
                <a:cubicBezTo>
                  <a:pt x="208710" y="79705"/>
                  <a:pt x="208710" y="79705"/>
                  <a:pt x="208710" y="79705"/>
                </a:cubicBezTo>
                <a:cubicBezTo>
                  <a:pt x="208710" y="79410"/>
                  <a:pt x="208710" y="79115"/>
                  <a:pt x="209016" y="79115"/>
                </a:cubicBezTo>
                <a:lnTo>
                  <a:pt x="210713" y="79115"/>
                </a:lnTo>
                <a:lnTo>
                  <a:pt x="213378" y="69669"/>
                </a:lnTo>
                <a:lnTo>
                  <a:pt x="213581" y="69669"/>
                </a:lnTo>
                <a:close/>
                <a:moveTo>
                  <a:pt x="274767" y="42296"/>
                </a:moveTo>
                <a:cubicBezTo>
                  <a:pt x="274767" y="42296"/>
                  <a:pt x="274767" y="42296"/>
                  <a:pt x="281214" y="42296"/>
                </a:cubicBezTo>
                <a:cubicBezTo>
                  <a:pt x="281214" y="42296"/>
                  <a:pt x="281214" y="42296"/>
                  <a:pt x="281214" y="48733"/>
                </a:cubicBezTo>
                <a:cubicBezTo>
                  <a:pt x="281214" y="49652"/>
                  <a:pt x="280907" y="50265"/>
                  <a:pt x="280293" y="50878"/>
                </a:cubicBezTo>
                <a:cubicBezTo>
                  <a:pt x="279986" y="51491"/>
                  <a:pt x="279065" y="51798"/>
                  <a:pt x="278144" y="51798"/>
                </a:cubicBezTo>
                <a:cubicBezTo>
                  <a:pt x="278144" y="51798"/>
                  <a:pt x="278144" y="51798"/>
                  <a:pt x="277837" y="51798"/>
                </a:cubicBezTo>
                <a:cubicBezTo>
                  <a:pt x="276916" y="51798"/>
                  <a:pt x="276302" y="51491"/>
                  <a:pt x="275688" y="50878"/>
                </a:cubicBezTo>
                <a:cubicBezTo>
                  <a:pt x="275074" y="50265"/>
                  <a:pt x="274767" y="49652"/>
                  <a:pt x="274767" y="48733"/>
                </a:cubicBezTo>
                <a:cubicBezTo>
                  <a:pt x="274767" y="48733"/>
                  <a:pt x="274767" y="48733"/>
                  <a:pt x="274767" y="42296"/>
                </a:cubicBezTo>
                <a:close/>
                <a:moveTo>
                  <a:pt x="261259" y="42296"/>
                </a:moveTo>
                <a:cubicBezTo>
                  <a:pt x="261259" y="42296"/>
                  <a:pt x="261259" y="42296"/>
                  <a:pt x="268013" y="42296"/>
                </a:cubicBezTo>
                <a:cubicBezTo>
                  <a:pt x="268013" y="42296"/>
                  <a:pt x="268013" y="42296"/>
                  <a:pt x="268013" y="48733"/>
                </a:cubicBezTo>
                <a:cubicBezTo>
                  <a:pt x="268013" y="49652"/>
                  <a:pt x="267706" y="50265"/>
                  <a:pt x="267092" y="50878"/>
                </a:cubicBezTo>
                <a:cubicBezTo>
                  <a:pt x="266478" y="51491"/>
                  <a:pt x="265864" y="51798"/>
                  <a:pt x="264943" y="51798"/>
                </a:cubicBezTo>
                <a:cubicBezTo>
                  <a:pt x="264943" y="51798"/>
                  <a:pt x="264943" y="51798"/>
                  <a:pt x="264636" y="51798"/>
                </a:cubicBezTo>
                <a:cubicBezTo>
                  <a:pt x="263715" y="51798"/>
                  <a:pt x="262794" y="51491"/>
                  <a:pt x="262180" y="50878"/>
                </a:cubicBezTo>
                <a:cubicBezTo>
                  <a:pt x="261873" y="50265"/>
                  <a:pt x="261259" y="49652"/>
                  <a:pt x="261259" y="48733"/>
                </a:cubicBezTo>
                <a:cubicBezTo>
                  <a:pt x="261259" y="48733"/>
                  <a:pt x="261259" y="48733"/>
                  <a:pt x="261259" y="42296"/>
                </a:cubicBezTo>
                <a:close/>
                <a:moveTo>
                  <a:pt x="248058" y="42296"/>
                </a:moveTo>
                <a:cubicBezTo>
                  <a:pt x="248058" y="42296"/>
                  <a:pt x="248058" y="42296"/>
                  <a:pt x="254505" y="42296"/>
                </a:cubicBezTo>
                <a:cubicBezTo>
                  <a:pt x="254505" y="42296"/>
                  <a:pt x="254505" y="42296"/>
                  <a:pt x="254505" y="48733"/>
                </a:cubicBezTo>
                <a:cubicBezTo>
                  <a:pt x="254505" y="49652"/>
                  <a:pt x="254198" y="50265"/>
                  <a:pt x="253584" y="50878"/>
                </a:cubicBezTo>
                <a:cubicBezTo>
                  <a:pt x="253277" y="51491"/>
                  <a:pt x="252356" y="51798"/>
                  <a:pt x="251435" y="51798"/>
                </a:cubicBezTo>
                <a:cubicBezTo>
                  <a:pt x="251435" y="51798"/>
                  <a:pt x="251435" y="51798"/>
                  <a:pt x="251128" y="51798"/>
                </a:cubicBezTo>
                <a:cubicBezTo>
                  <a:pt x="250207" y="51798"/>
                  <a:pt x="249593" y="51491"/>
                  <a:pt x="248979" y="50878"/>
                </a:cubicBezTo>
                <a:cubicBezTo>
                  <a:pt x="248365" y="50265"/>
                  <a:pt x="248058" y="49652"/>
                  <a:pt x="248058" y="48733"/>
                </a:cubicBezTo>
                <a:cubicBezTo>
                  <a:pt x="248058" y="48733"/>
                  <a:pt x="248058" y="48733"/>
                  <a:pt x="248058" y="42296"/>
                </a:cubicBezTo>
                <a:close/>
                <a:moveTo>
                  <a:pt x="234858" y="42296"/>
                </a:moveTo>
                <a:cubicBezTo>
                  <a:pt x="234858" y="42296"/>
                  <a:pt x="234858" y="42296"/>
                  <a:pt x="241305" y="42296"/>
                </a:cubicBezTo>
                <a:cubicBezTo>
                  <a:pt x="241305" y="42296"/>
                  <a:pt x="241305" y="42296"/>
                  <a:pt x="241305" y="48733"/>
                </a:cubicBezTo>
                <a:cubicBezTo>
                  <a:pt x="241305" y="49652"/>
                  <a:pt x="240998" y="50572"/>
                  <a:pt x="240384" y="50878"/>
                </a:cubicBezTo>
                <a:cubicBezTo>
                  <a:pt x="239770" y="51491"/>
                  <a:pt x="239156" y="51798"/>
                  <a:pt x="238235" y="51798"/>
                </a:cubicBezTo>
                <a:cubicBezTo>
                  <a:pt x="238235" y="51798"/>
                  <a:pt x="238235" y="51798"/>
                  <a:pt x="237928" y="51798"/>
                </a:cubicBezTo>
                <a:cubicBezTo>
                  <a:pt x="237007" y="51798"/>
                  <a:pt x="236086" y="51491"/>
                  <a:pt x="235779" y="50878"/>
                </a:cubicBezTo>
                <a:cubicBezTo>
                  <a:pt x="235165" y="50572"/>
                  <a:pt x="234858" y="49652"/>
                  <a:pt x="234858" y="48733"/>
                </a:cubicBezTo>
                <a:cubicBezTo>
                  <a:pt x="234858" y="48733"/>
                  <a:pt x="234858" y="48733"/>
                  <a:pt x="234858" y="42296"/>
                </a:cubicBezTo>
                <a:close/>
                <a:moveTo>
                  <a:pt x="221350" y="42296"/>
                </a:moveTo>
                <a:cubicBezTo>
                  <a:pt x="221350" y="42296"/>
                  <a:pt x="221350" y="42296"/>
                  <a:pt x="228104" y="42296"/>
                </a:cubicBezTo>
                <a:cubicBezTo>
                  <a:pt x="228104" y="42296"/>
                  <a:pt x="228104" y="42296"/>
                  <a:pt x="228104" y="48733"/>
                </a:cubicBezTo>
                <a:cubicBezTo>
                  <a:pt x="228104" y="49652"/>
                  <a:pt x="227490" y="50265"/>
                  <a:pt x="227183" y="50878"/>
                </a:cubicBezTo>
                <a:cubicBezTo>
                  <a:pt x="226569" y="51491"/>
                  <a:pt x="225648" y="51798"/>
                  <a:pt x="225034" y="51798"/>
                </a:cubicBezTo>
                <a:cubicBezTo>
                  <a:pt x="225034" y="51798"/>
                  <a:pt x="225034" y="51798"/>
                  <a:pt x="224420" y="51798"/>
                </a:cubicBezTo>
                <a:cubicBezTo>
                  <a:pt x="223806" y="51798"/>
                  <a:pt x="222885" y="51491"/>
                  <a:pt x="222271" y="50878"/>
                </a:cubicBezTo>
                <a:cubicBezTo>
                  <a:pt x="221657" y="50265"/>
                  <a:pt x="221350" y="49652"/>
                  <a:pt x="221350" y="48733"/>
                </a:cubicBezTo>
                <a:cubicBezTo>
                  <a:pt x="221350" y="48733"/>
                  <a:pt x="221350" y="48733"/>
                  <a:pt x="221350" y="42296"/>
                </a:cubicBezTo>
                <a:close/>
                <a:moveTo>
                  <a:pt x="166641" y="37491"/>
                </a:moveTo>
                <a:cubicBezTo>
                  <a:pt x="170335" y="37491"/>
                  <a:pt x="170335" y="37491"/>
                  <a:pt x="170335" y="37491"/>
                </a:cubicBezTo>
                <a:cubicBezTo>
                  <a:pt x="171258" y="37491"/>
                  <a:pt x="171566" y="38103"/>
                  <a:pt x="171566" y="38715"/>
                </a:cubicBezTo>
                <a:cubicBezTo>
                  <a:pt x="171566" y="46671"/>
                  <a:pt x="171566" y="46671"/>
                  <a:pt x="171566" y="46671"/>
                </a:cubicBezTo>
                <a:cubicBezTo>
                  <a:pt x="179877" y="46671"/>
                  <a:pt x="179877" y="46671"/>
                  <a:pt x="179877" y="46671"/>
                </a:cubicBezTo>
                <a:cubicBezTo>
                  <a:pt x="180493" y="46671"/>
                  <a:pt x="181108" y="47283"/>
                  <a:pt x="181108" y="48201"/>
                </a:cubicBezTo>
                <a:cubicBezTo>
                  <a:pt x="181108" y="51873"/>
                  <a:pt x="181108" y="51873"/>
                  <a:pt x="181108" y="51873"/>
                </a:cubicBezTo>
                <a:cubicBezTo>
                  <a:pt x="181108" y="52791"/>
                  <a:pt x="180493" y="53097"/>
                  <a:pt x="179877" y="53097"/>
                </a:cubicBezTo>
                <a:cubicBezTo>
                  <a:pt x="171566" y="53097"/>
                  <a:pt x="171566" y="53097"/>
                  <a:pt x="171566" y="53097"/>
                </a:cubicBezTo>
                <a:cubicBezTo>
                  <a:pt x="171566" y="61359"/>
                  <a:pt x="171566" y="61359"/>
                  <a:pt x="171566" y="61359"/>
                </a:cubicBezTo>
                <a:cubicBezTo>
                  <a:pt x="171566" y="61971"/>
                  <a:pt x="171258" y="62583"/>
                  <a:pt x="170335" y="62583"/>
                </a:cubicBezTo>
                <a:cubicBezTo>
                  <a:pt x="166641" y="62583"/>
                  <a:pt x="166641" y="62583"/>
                  <a:pt x="166641" y="62583"/>
                </a:cubicBezTo>
                <a:cubicBezTo>
                  <a:pt x="165718" y="62583"/>
                  <a:pt x="165102" y="61971"/>
                  <a:pt x="165102" y="61359"/>
                </a:cubicBezTo>
                <a:cubicBezTo>
                  <a:pt x="165102" y="53097"/>
                  <a:pt x="165102" y="53097"/>
                  <a:pt x="165102" y="53097"/>
                </a:cubicBezTo>
                <a:cubicBezTo>
                  <a:pt x="157099" y="53097"/>
                  <a:pt x="157099" y="53097"/>
                  <a:pt x="157099" y="53097"/>
                </a:cubicBezTo>
                <a:cubicBezTo>
                  <a:pt x="156483" y="53097"/>
                  <a:pt x="155868" y="52791"/>
                  <a:pt x="155868" y="51873"/>
                </a:cubicBezTo>
                <a:cubicBezTo>
                  <a:pt x="155868" y="48201"/>
                  <a:pt x="155868" y="48201"/>
                  <a:pt x="155868" y="48201"/>
                </a:cubicBezTo>
                <a:cubicBezTo>
                  <a:pt x="155868" y="47283"/>
                  <a:pt x="156483" y="46671"/>
                  <a:pt x="157099" y="46671"/>
                </a:cubicBezTo>
                <a:cubicBezTo>
                  <a:pt x="165102" y="46671"/>
                  <a:pt x="165102" y="46671"/>
                  <a:pt x="165102" y="46671"/>
                </a:cubicBezTo>
                <a:cubicBezTo>
                  <a:pt x="165102" y="38715"/>
                  <a:pt x="165102" y="38715"/>
                  <a:pt x="165102" y="38715"/>
                </a:cubicBezTo>
                <a:cubicBezTo>
                  <a:pt x="165102" y="38103"/>
                  <a:pt x="165718" y="37491"/>
                  <a:pt x="166641" y="37491"/>
                </a:cubicBezTo>
                <a:close/>
                <a:moveTo>
                  <a:pt x="168563" y="32257"/>
                </a:moveTo>
                <a:cubicBezTo>
                  <a:pt x="158747" y="32257"/>
                  <a:pt x="150771" y="40215"/>
                  <a:pt x="150771" y="50010"/>
                </a:cubicBezTo>
                <a:cubicBezTo>
                  <a:pt x="150771" y="59805"/>
                  <a:pt x="158747" y="68069"/>
                  <a:pt x="168563" y="68069"/>
                </a:cubicBezTo>
                <a:cubicBezTo>
                  <a:pt x="178378" y="68069"/>
                  <a:pt x="186354" y="59805"/>
                  <a:pt x="186354" y="50010"/>
                </a:cubicBezTo>
                <a:cubicBezTo>
                  <a:pt x="186354" y="40215"/>
                  <a:pt x="178378" y="32257"/>
                  <a:pt x="168563" y="32257"/>
                </a:cubicBezTo>
                <a:close/>
                <a:moveTo>
                  <a:pt x="277837" y="30956"/>
                </a:moveTo>
                <a:cubicBezTo>
                  <a:pt x="276609" y="30956"/>
                  <a:pt x="275688" y="31569"/>
                  <a:pt x="275074" y="32182"/>
                </a:cubicBezTo>
                <a:cubicBezTo>
                  <a:pt x="274460" y="32795"/>
                  <a:pt x="273846" y="33715"/>
                  <a:pt x="273846" y="34941"/>
                </a:cubicBezTo>
                <a:cubicBezTo>
                  <a:pt x="273846" y="41377"/>
                  <a:pt x="273846" y="41377"/>
                  <a:pt x="273846" y="41377"/>
                </a:cubicBezTo>
                <a:cubicBezTo>
                  <a:pt x="273846" y="41990"/>
                  <a:pt x="273846" y="41990"/>
                  <a:pt x="273846" y="41990"/>
                </a:cubicBezTo>
                <a:lnTo>
                  <a:pt x="273846" y="42296"/>
                </a:lnTo>
                <a:cubicBezTo>
                  <a:pt x="273846" y="48733"/>
                  <a:pt x="273846" y="48733"/>
                  <a:pt x="273846" y="48733"/>
                </a:cubicBezTo>
                <a:cubicBezTo>
                  <a:pt x="273846" y="49959"/>
                  <a:pt x="274460" y="50878"/>
                  <a:pt x="275074" y="51491"/>
                </a:cubicBezTo>
                <a:cubicBezTo>
                  <a:pt x="275688" y="52104"/>
                  <a:pt x="276609" y="52717"/>
                  <a:pt x="277837" y="52717"/>
                </a:cubicBezTo>
                <a:cubicBezTo>
                  <a:pt x="278144" y="52717"/>
                  <a:pt x="278144" y="52717"/>
                  <a:pt x="278144" y="52717"/>
                </a:cubicBezTo>
                <a:cubicBezTo>
                  <a:pt x="279372" y="52717"/>
                  <a:pt x="280293" y="52104"/>
                  <a:pt x="280907" y="51491"/>
                </a:cubicBezTo>
                <a:cubicBezTo>
                  <a:pt x="281827" y="50878"/>
                  <a:pt x="282134" y="49959"/>
                  <a:pt x="282134" y="48733"/>
                </a:cubicBezTo>
                <a:cubicBezTo>
                  <a:pt x="282134" y="42296"/>
                  <a:pt x="282134" y="42296"/>
                  <a:pt x="282134" y="42296"/>
                </a:cubicBezTo>
                <a:cubicBezTo>
                  <a:pt x="282134" y="41990"/>
                  <a:pt x="282134" y="41990"/>
                  <a:pt x="282134" y="41990"/>
                </a:cubicBezTo>
                <a:cubicBezTo>
                  <a:pt x="282134" y="41377"/>
                  <a:pt x="282134" y="41377"/>
                  <a:pt x="282134" y="41377"/>
                </a:cubicBezTo>
                <a:cubicBezTo>
                  <a:pt x="282134" y="34941"/>
                  <a:pt x="282134" y="34941"/>
                  <a:pt x="282134" y="34941"/>
                </a:cubicBezTo>
                <a:cubicBezTo>
                  <a:pt x="282134" y="33715"/>
                  <a:pt x="281827" y="32795"/>
                  <a:pt x="280907" y="32182"/>
                </a:cubicBezTo>
                <a:cubicBezTo>
                  <a:pt x="280293" y="31569"/>
                  <a:pt x="279372" y="30956"/>
                  <a:pt x="278144" y="30956"/>
                </a:cubicBezTo>
                <a:cubicBezTo>
                  <a:pt x="277837" y="30956"/>
                  <a:pt x="277837" y="30956"/>
                  <a:pt x="277837" y="30956"/>
                </a:cubicBezTo>
                <a:close/>
                <a:moveTo>
                  <a:pt x="264636" y="30956"/>
                </a:moveTo>
                <a:cubicBezTo>
                  <a:pt x="263408" y="30956"/>
                  <a:pt x="262487" y="31569"/>
                  <a:pt x="261566" y="32182"/>
                </a:cubicBezTo>
                <a:cubicBezTo>
                  <a:pt x="260952" y="32795"/>
                  <a:pt x="260645" y="33715"/>
                  <a:pt x="260645" y="34941"/>
                </a:cubicBezTo>
                <a:cubicBezTo>
                  <a:pt x="260645" y="41377"/>
                  <a:pt x="260645" y="41377"/>
                  <a:pt x="260645" y="41377"/>
                </a:cubicBezTo>
                <a:cubicBezTo>
                  <a:pt x="260645" y="41990"/>
                  <a:pt x="260645" y="41990"/>
                  <a:pt x="260645" y="41990"/>
                </a:cubicBezTo>
                <a:cubicBezTo>
                  <a:pt x="260645" y="42296"/>
                  <a:pt x="260645" y="42296"/>
                  <a:pt x="260645" y="42296"/>
                </a:cubicBezTo>
                <a:cubicBezTo>
                  <a:pt x="260645" y="48733"/>
                  <a:pt x="260645" y="48733"/>
                  <a:pt x="260645" y="48733"/>
                </a:cubicBezTo>
                <a:cubicBezTo>
                  <a:pt x="260645" y="49959"/>
                  <a:pt x="260952" y="50878"/>
                  <a:pt x="261566" y="51491"/>
                </a:cubicBezTo>
                <a:cubicBezTo>
                  <a:pt x="262487" y="52104"/>
                  <a:pt x="263408" y="52717"/>
                  <a:pt x="264636" y="52717"/>
                </a:cubicBezTo>
                <a:cubicBezTo>
                  <a:pt x="264943" y="52717"/>
                  <a:pt x="264943" y="52717"/>
                  <a:pt x="264943" y="52717"/>
                </a:cubicBezTo>
                <a:cubicBezTo>
                  <a:pt x="265864" y="52717"/>
                  <a:pt x="266785" y="52104"/>
                  <a:pt x="267706" y="51491"/>
                </a:cubicBezTo>
                <a:cubicBezTo>
                  <a:pt x="268320" y="50878"/>
                  <a:pt x="268934" y="49959"/>
                  <a:pt x="268934" y="48733"/>
                </a:cubicBezTo>
                <a:cubicBezTo>
                  <a:pt x="268934" y="42296"/>
                  <a:pt x="268934" y="42296"/>
                  <a:pt x="268934" y="42296"/>
                </a:cubicBezTo>
                <a:cubicBezTo>
                  <a:pt x="268934" y="41990"/>
                  <a:pt x="268934" y="41990"/>
                  <a:pt x="268934" y="41990"/>
                </a:cubicBezTo>
                <a:cubicBezTo>
                  <a:pt x="268934" y="41377"/>
                  <a:pt x="268934" y="41377"/>
                  <a:pt x="268934" y="41377"/>
                </a:cubicBezTo>
                <a:cubicBezTo>
                  <a:pt x="268934" y="34941"/>
                  <a:pt x="268934" y="34941"/>
                  <a:pt x="268934" y="34941"/>
                </a:cubicBezTo>
                <a:cubicBezTo>
                  <a:pt x="268934" y="33715"/>
                  <a:pt x="268320" y="32795"/>
                  <a:pt x="267706" y="32182"/>
                </a:cubicBezTo>
                <a:cubicBezTo>
                  <a:pt x="266785" y="31569"/>
                  <a:pt x="265864" y="30956"/>
                  <a:pt x="264943" y="30956"/>
                </a:cubicBezTo>
                <a:cubicBezTo>
                  <a:pt x="264636" y="30956"/>
                  <a:pt x="264636" y="30956"/>
                  <a:pt x="264636" y="30956"/>
                </a:cubicBezTo>
                <a:close/>
                <a:moveTo>
                  <a:pt x="251128" y="30956"/>
                </a:moveTo>
                <a:cubicBezTo>
                  <a:pt x="249900" y="30956"/>
                  <a:pt x="248979" y="31569"/>
                  <a:pt x="248365" y="32182"/>
                </a:cubicBezTo>
                <a:cubicBezTo>
                  <a:pt x="247751" y="32795"/>
                  <a:pt x="247137" y="33715"/>
                  <a:pt x="247137" y="34941"/>
                </a:cubicBezTo>
                <a:cubicBezTo>
                  <a:pt x="247137" y="41377"/>
                  <a:pt x="247137" y="41377"/>
                  <a:pt x="247137" y="41377"/>
                </a:cubicBezTo>
                <a:cubicBezTo>
                  <a:pt x="247137" y="41990"/>
                  <a:pt x="247137" y="41990"/>
                  <a:pt x="247137" y="41990"/>
                </a:cubicBezTo>
                <a:cubicBezTo>
                  <a:pt x="247137" y="42296"/>
                  <a:pt x="247137" y="42296"/>
                  <a:pt x="247137" y="42296"/>
                </a:cubicBezTo>
                <a:cubicBezTo>
                  <a:pt x="247137" y="48733"/>
                  <a:pt x="247137" y="48733"/>
                  <a:pt x="247137" y="48733"/>
                </a:cubicBezTo>
                <a:cubicBezTo>
                  <a:pt x="247137" y="49959"/>
                  <a:pt x="247751" y="50878"/>
                  <a:pt x="248365" y="51491"/>
                </a:cubicBezTo>
                <a:cubicBezTo>
                  <a:pt x="248979" y="52104"/>
                  <a:pt x="249900" y="52717"/>
                  <a:pt x="251128" y="52717"/>
                </a:cubicBezTo>
                <a:cubicBezTo>
                  <a:pt x="251435" y="52717"/>
                  <a:pt x="251435" y="52717"/>
                  <a:pt x="251435" y="52717"/>
                </a:cubicBezTo>
                <a:cubicBezTo>
                  <a:pt x="252663" y="52717"/>
                  <a:pt x="253584" y="52104"/>
                  <a:pt x="254198" y="51491"/>
                </a:cubicBezTo>
                <a:cubicBezTo>
                  <a:pt x="255119" y="50878"/>
                  <a:pt x="255426" y="49959"/>
                  <a:pt x="255426" y="48733"/>
                </a:cubicBezTo>
                <a:cubicBezTo>
                  <a:pt x="255426" y="42296"/>
                  <a:pt x="255426" y="42296"/>
                  <a:pt x="255426" y="42296"/>
                </a:cubicBezTo>
                <a:cubicBezTo>
                  <a:pt x="255426" y="41990"/>
                  <a:pt x="255426" y="41990"/>
                  <a:pt x="255426" y="41990"/>
                </a:cubicBezTo>
                <a:cubicBezTo>
                  <a:pt x="255426" y="41377"/>
                  <a:pt x="255426" y="41377"/>
                  <a:pt x="255426" y="41377"/>
                </a:cubicBezTo>
                <a:cubicBezTo>
                  <a:pt x="255426" y="34941"/>
                  <a:pt x="255426" y="34941"/>
                  <a:pt x="255426" y="34941"/>
                </a:cubicBezTo>
                <a:cubicBezTo>
                  <a:pt x="255426" y="33715"/>
                  <a:pt x="255119" y="32795"/>
                  <a:pt x="254198" y="32182"/>
                </a:cubicBezTo>
                <a:cubicBezTo>
                  <a:pt x="253584" y="31569"/>
                  <a:pt x="252663" y="30956"/>
                  <a:pt x="251435" y="30956"/>
                </a:cubicBezTo>
                <a:cubicBezTo>
                  <a:pt x="251128" y="30956"/>
                  <a:pt x="251128" y="30956"/>
                  <a:pt x="251128" y="30956"/>
                </a:cubicBezTo>
                <a:close/>
                <a:moveTo>
                  <a:pt x="237928" y="30956"/>
                </a:moveTo>
                <a:cubicBezTo>
                  <a:pt x="236700" y="30956"/>
                  <a:pt x="235779" y="31569"/>
                  <a:pt x="235165" y="32182"/>
                </a:cubicBezTo>
                <a:cubicBezTo>
                  <a:pt x="234244" y="32795"/>
                  <a:pt x="233937" y="34021"/>
                  <a:pt x="233937" y="34941"/>
                </a:cubicBezTo>
                <a:cubicBezTo>
                  <a:pt x="233937" y="41377"/>
                  <a:pt x="233937" y="41377"/>
                  <a:pt x="233937" y="41377"/>
                </a:cubicBezTo>
                <a:cubicBezTo>
                  <a:pt x="233937" y="41990"/>
                  <a:pt x="233937" y="41990"/>
                  <a:pt x="233937" y="41990"/>
                </a:cubicBezTo>
                <a:cubicBezTo>
                  <a:pt x="233937" y="42296"/>
                  <a:pt x="233937" y="42296"/>
                  <a:pt x="233937" y="42296"/>
                </a:cubicBezTo>
                <a:cubicBezTo>
                  <a:pt x="233937" y="48733"/>
                  <a:pt x="233937" y="48733"/>
                  <a:pt x="233937" y="48733"/>
                </a:cubicBezTo>
                <a:cubicBezTo>
                  <a:pt x="233937" y="49959"/>
                  <a:pt x="234244" y="50878"/>
                  <a:pt x="235165" y="51491"/>
                </a:cubicBezTo>
                <a:cubicBezTo>
                  <a:pt x="235779" y="52411"/>
                  <a:pt x="236700" y="52717"/>
                  <a:pt x="237928" y="52717"/>
                </a:cubicBezTo>
                <a:cubicBezTo>
                  <a:pt x="238235" y="52717"/>
                  <a:pt x="238235" y="52717"/>
                  <a:pt x="238235" y="52717"/>
                </a:cubicBezTo>
                <a:cubicBezTo>
                  <a:pt x="239156" y="52717"/>
                  <a:pt x="240384" y="52411"/>
                  <a:pt x="240998" y="51491"/>
                </a:cubicBezTo>
                <a:cubicBezTo>
                  <a:pt x="241611" y="50878"/>
                  <a:pt x="242225" y="49959"/>
                  <a:pt x="242225" y="48733"/>
                </a:cubicBezTo>
                <a:cubicBezTo>
                  <a:pt x="242225" y="42296"/>
                  <a:pt x="242225" y="42296"/>
                  <a:pt x="242225" y="42296"/>
                </a:cubicBezTo>
                <a:cubicBezTo>
                  <a:pt x="242225" y="41990"/>
                  <a:pt x="242225" y="41990"/>
                  <a:pt x="242225" y="41990"/>
                </a:cubicBezTo>
                <a:cubicBezTo>
                  <a:pt x="242225" y="41377"/>
                  <a:pt x="242225" y="41377"/>
                  <a:pt x="242225" y="41377"/>
                </a:cubicBezTo>
                <a:cubicBezTo>
                  <a:pt x="242225" y="34941"/>
                  <a:pt x="242225" y="34941"/>
                  <a:pt x="242225" y="34941"/>
                </a:cubicBezTo>
                <a:cubicBezTo>
                  <a:pt x="242225" y="34021"/>
                  <a:pt x="241611" y="32795"/>
                  <a:pt x="240998" y="32182"/>
                </a:cubicBezTo>
                <a:cubicBezTo>
                  <a:pt x="240384" y="31569"/>
                  <a:pt x="239156" y="30956"/>
                  <a:pt x="238235" y="30956"/>
                </a:cubicBezTo>
                <a:cubicBezTo>
                  <a:pt x="237928" y="30956"/>
                  <a:pt x="237928" y="30956"/>
                  <a:pt x="237928" y="30956"/>
                </a:cubicBezTo>
                <a:close/>
                <a:moveTo>
                  <a:pt x="224420" y="30956"/>
                </a:moveTo>
                <a:cubicBezTo>
                  <a:pt x="223499" y="30956"/>
                  <a:pt x="222578" y="31569"/>
                  <a:pt x="221657" y="32182"/>
                </a:cubicBezTo>
                <a:cubicBezTo>
                  <a:pt x="221043" y="32795"/>
                  <a:pt x="220736" y="33715"/>
                  <a:pt x="220736" y="34941"/>
                </a:cubicBezTo>
                <a:cubicBezTo>
                  <a:pt x="220736" y="41377"/>
                  <a:pt x="220736" y="41377"/>
                  <a:pt x="220736" y="41377"/>
                </a:cubicBezTo>
                <a:cubicBezTo>
                  <a:pt x="220736" y="41990"/>
                  <a:pt x="220736" y="41990"/>
                  <a:pt x="220736" y="41990"/>
                </a:cubicBezTo>
                <a:cubicBezTo>
                  <a:pt x="220736" y="42296"/>
                  <a:pt x="220736" y="42296"/>
                  <a:pt x="220736" y="42296"/>
                </a:cubicBezTo>
                <a:cubicBezTo>
                  <a:pt x="220736" y="48733"/>
                  <a:pt x="220736" y="48733"/>
                  <a:pt x="220736" y="48733"/>
                </a:cubicBezTo>
                <a:cubicBezTo>
                  <a:pt x="220736" y="49959"/>
                  <a:pt x="221043" y="50878"/>
                  <a:pt x="221657" y="51491"/>
                </a:cubicBezTo>
                <a:cubicBezTo>
                  <a:pt x="222578" y="52104"/>
                  <a:pt x="223499" y="52717"/>
                  <a:pt x="224420" y="52717"/>
                </a:cubicBezTo>
                <a:cubicBezTo>
                  <a:pt x="225034" y="52717"/>
                  <a:pt x="225034" y="52717"/>
                  <a:pt x="225034" y="52717"/>
                </a:cubicBezTo>
                <a:cubicBezTo>
                  <a:pt x="225955" y="52717"/>
                  <a:pt x="226876" y="52104"/>
                  <a:pt x="227797" y="51491"/>
                </a:cubicBezTo>
                <a:cubicBezTo>
                  <a:pt x="228411" y="50878"/>
                  <a:pt x="228718" y="49959"/>
                  <a:pt x="228718" y="48733"/>
                </a:cubicBezTo>
                <a:cubicBezTo>
                  <a:pt x="228718" y="42296"/>
                  <a:pt x="228718" y="42296"/>
                  <a:pt x="228718" y="42296"/>
                </a:cubicBezTo>
                <a:cubicBezTo>
                  <a:pt x="228718" y="41990"/>
                  <a:pt x="228718" y="41990"/>
                  <a:pt x="228718" y="41990"/>
                </a:cubicBezTo>
                <a:cubicBezTo>
                  <a:pt x="228718" y="41377"/>
                  <a:pt x="228718" y="41377"/>
                  <a:pt x="228718" y="41377"/>
                </a:cubicBezTo>
                <a:cubicBezTo>
                  <a:pt x="228718" y="34941"/>
                  <a:pt x="228718" y="34941"/>
                  <a:pt x="228718" y="34941"/>
                </a:cubicBezTo>
                <a:cubicBezTo>
                  <a:pt x="228718" y="33715"/>
                  <a:pt x="228411" y="32795"/>
                  <a:pt x="227797" y="32182"/>
                </a:cubicBezTo>
                <a:cubicBezTo>
                  <a:pt x="226876" y="31569"/>
                  <a:pt x="225955" y="30956"/>
                  <a:pt x="225034" y="30956"/>
                </a:cubicBezTo>
                <a:cubicBezTo>
                  <a:pt x="224420" y="30956"/>
                  <a:pt x="224420" y="30956"/>
                  <a:pt x="224420" y="30956"/>
                </a:cubicBezTo>
                <a:close/>
                <a:moveTo>
                  <a:pt x="220429" y="27278"/>
                </a:moveTo>
                <a:cubicBezTo>
                  <a:pt x="219815" y="27278"/>
                  <a:pt x="219508" y="27585"/>
                  <a:pt x="219508" y="28198"/>
                </a:cubicBezTo>
                <a:cubicBezTo>
                  <a:pt x="219508" y="28504"/>
                  <a:pt x="219815" y="28811"/>
                  <a:pt x="220429" y="28811"/>
                </a:cubicBezTo>
                <a:cubicBezTo>
                  <a:pt x="282748" y="28811"/>
                  <a:pt x="282748" y="28811"/>
                  <a:pt x="282748" y="28811"/>
                </a:cubicBezTo>
                <a:cubicBezTo>
                  <a:pt x="283362" y="28811"/>
                  <a:pt x="283669" y="28504"/>
                  <a:pt x="283669" y="28198"/>
                </a:cubicBezTo>
                <a:cubicBezTo>
                  <a:pt x="283669" y="27585"/>
                  <a:pt x="283362" y="27278"/>
                  <a:pt x="282748" y="27278"/>
                </a:cubicBezTo>
                <a:cubicBezTo>
                  <a:pt x="220429" y="27278"/>
                  <a:pt x="220429" y="27278"/>
                  <a:pt x="220429" y="27278"/>
                </a:cubicBezTo>
                <a:close/>
                <a:moveTo>
                  <a:pt x="148931" y="22462"/>
                </a:moveTo>
                <a:cubicBezTo>
                  <a:pt x="148931" y="22462"/>
                  <a:pt x="148931" y="22462"/>
                  <a:pt x="188501" y="22462"/>
                </a:cubicBezTo>
                <a:cubicBezTo>
                  <a:pt x="188501" y="22462"/>
                  <a:pt x="188501" y="22462"/>
                  <a:pt x="201997" y="38379"/>
                </a:cubicBezTo>
                <a:cubicBezTo>
                  <a:pt x="201997" y="38379"/>
                  <a:pt x="201997" y="38379"/>
                  <a:pt x="201997" y="63172"/>
                </a:cubicBezTo>
                <a:cubicBezTo>
                  <a:pt x="201997" y="63172"/>
                  <a:pt x="201997" y="63172"/>
                  <a:pt x="188194" y="79088"/>
                </a:cubicBezTo>
                <a:cubicBezTo>
                  <a:pt x="188194" y="79088"/>
                  <a:pt x="188194" y="79088"/>
                  <a:pt x="148624" y="79088"/>
                </a:cubicBezTo>
                <a:cubicBezTo>
                  <a:pt x="148624" y="79088"/>
                  <a:pt x="148624" y="79088"/>
                  <a:pt x="135128" y="62866"/>
                </a:cubicBezTo>
                <a:cubicBezTo>
                  <a:pt x="135128" y="62866"/>
                  <a:pt x="135128" y="62866"/>
                  <a:pt x="135128" y="38073"/>
                </a:cubicBezTo>
                <a:cubicBezTo>
                  <a:pt x="135128" y="38073"/>
                  <a:pt x="135128" y="38073"/>
                  <a:pt x="148931" y="22462"/>
                </a:cubicBezTo>
                <a:close/>
                <a:moveTo>
                  <a:pt x="148318" y="20932"/>
                </a:moveTo>
                <a:cubicBezTo>
                  <a:pt x="133594" y="37767"/>
                  <a:pt x="133594" y="37767"/>
                  <a:pt x="133594" y="37767"/>
                </a:cubicBezTo>
                <a:cubicBezTo>
                  <a:pt x="133594" y="63478"/>
                  <a:pt x="133594" y="63478"/>
                  <a:pt x="133594" y="63478"/>
                </a:cubicBezTo>
                <a:cubicBezTo>
                  <a:pt x="148011" y="80313"/>
                  <a:pt x="148011" y="80313"/>
                  <a:pt x="148011" y="80313"/>
                </a:cubicBezTo>
                <a:cubicBezTo>
                  <a:pt x="188807" y="80313"/>
                  <a:pt x="188807" y="80313"/>
                  <a:pt x="188807" y="80313"/>
                </a:cubicBezTo>
                <a:cubicBezTo>
                  <a:pt x="203531" y="63478"/>
                  <a:pt x="203531" y="63478"/>
                  <a:pt x="203531" y="63478"/>
                </a:cubicBezTo>
                <a:cubicBezTo>
                  <a:pt x="203531" y="37767"/>
                  <a:pt x="203531" y="37767"/>
                  <a:pt x="203531" y="37767"/>
                </a:cubicBezTo>
                <a:cubicBezTo>
                  <a:pt x="189114" y="20932"/>
                  <a:pt x="189114" y="20932"/>
                  <a:pt x="189114" y="20932"/>
                </a:cubicBezTo>
                <a:lnTo>
                  <a:pt x="188807" y="20932"/>
                </a:lnTo>
                <a:cubicBezTo>
                  <a:pt x="148318" y="20932"/>
                  <a:pt x="148318" y="20932"/>
                  <a:pt x="148318" y="20932"/>
                </a:cubicBezTo>
                <a:close/>
                <a:moveTo>
                  <a:pt x="274767" y="14712"/>
                </a:moveTo>
                <a:cubicBezTo>
                  <a:pt x="274767" y="14712"/>
                  <a:pt x="274767" y="14712"/>
                  <a:pt x="281214" y="14712"/>
                </a:cubicBezTo>
                <a:cubicBezTo>
                  <a:pt x="281214" y="14712"/>
                  <a:pt x="281214" y="14712"/>
                  <a:pt x="281214" y="21148"/>
                </a:cubicBezTo>
                <a:cubicBezTo>
                  <a:pt x="281214" y="22068"/>
                  <a:pt x="280907" y="22681"/>
                  <a:pt x="280293" y="23294"/>
                </a:cubicBezTo>
                <a:cubicBezTo>
                  <a:pt x="279986" y="23907"/>
                  <a:pt x="279065" y="24213"/>
                  <a:pt x="278144" y="24213"/>
                </a:cubicBezTo>
                <a:cubicBezTo>
                  <a:pt x="278144" y="24213"/>
                  <a:pt x="278144" y="24213"/>
                  <a:pt x="277837" y="24213"/>
                </a:cubicBezTo>
                <a:cubicBezTo>
                  <a:pt x="276916" y="24213"/>
                  <a:pt x="276302" y="23907"/>
                  <a:pt x="275688" y="23294"/>
                </a:cubicBezTo>
                <a:cubicBezTo>
                  <a:pt x="275074" y="22681"/>
                  <a:pt x="274767" y="22068"/>
                  <a:pt x="274767" y="21148"/>
                </a:cubicBezTo>
                <a:cubicBezTo>
                  <a:pt x="274767" y="21148"/>
                  <a:pt x="274767" y="21148"/>
                  <a:pt x="274767" y="14712"/>
                </a:cubicBezTo>
                <a:close/>
                <a:moveTo>
                  <a:pt x="261259" y="14712"/>
                </a:moveTo>
                <a:cubicBezTo>
                  <a:pt x="261259" y="14712"/>
                  <a:pt x="261259" y="14712"/>
                  <a:pt x="268013" y="14712"/>
                </a:cubicBezTo>
                <a:cubicBezTo>
                  <a:pt x="268013" y="14712"/>
                  <a:pt x="268013" y="14712"/>
                  <a:pt x="268013" y="21148"/>
                </a:cubicBezTo>
                <a:cubicBezTo>
                  <a:pt x="268013" y="22068"/>
                  <a:pt x="267706" y="22681"/>
                  <a:pt x="267092" y="23294"/>
                </a:cubicBezTo>
                <a:cubicBezTo>
                  <a:pt x="266478" y="23907"/>
                  <a:pt x="265864" y="24213"/>
                  <a:pt x="264943" y="24213"/>
                </a:cubicBezTo>
                <a:cubicBezTo>
                  <a:pt x="264943" y="24213"/>
                  <a:pt x="264943" y="24213"/>
                  <a:pt x="264636" y="24213"/>
                </a:cubicBezTo>
                <a:cubicBezTo>
                  <a:pt x="263715" y="24213"/>
                  <a:pt x="262794" y="23907"/>
                  <a:pt x="262180" y="23294"/>
                </a:cubicBezTo>
                <a:cubicBezTo>
                  <a:pt x="261873" y="22681"/>
                  <a:pt x="261259" y="22068"/>
                  <a:pt x="261259" y="21148"/>
                </a:cubicBezTo>
                <a:cubicBezTo>
                  <a:pt x="261259" y="21148"/>
                  <a:pt x="261259" y="21148"/>
                  <a:pt x="261259" y="14712"/>
                </a:cubicBezTo>
                <a:close/>
                <a:moveTo>
                  <a:pt x="248058" y="14712"/>
                </a:moveTo>
                <a:cubicBezTo>
                  <a:pt x="248058" y="14712"/>
                  <a:pt x="248058" y="14712"/>
                  <a:pt x="254505" y="14712"/>
                </a:cubicBezTo>
                <a:cubicBezTo>
                  <a:pt x="254505" y="14712"/>
                  <a:pt x="254505" y="14712"/>
                  <a:pt x="254505" y="21148"/>
                </a:cubicBezTo>
                <a:cubicBezTo>
                  <a:pt x="254505" y="22068"/>
                  <a:pt x="254198" y="22681"/>
                  <a:pt x="253584" y="23294"/>
                </a:cubicBezTo>
                <a:cubicBezTo>
                  <a:pt x="253277" y="23907"/>
                  <a:pt x="252356" y="24213"/>
                  <a:pt x="251435" y="24213"/>
                </a:cubicBezTo>
                <a:cubicBezTo>
                  <a:pt x="251435" y="24213"/>
                  <a:pt x="251435" y="24213"/>
                  <a:pt x="251128" y="24213"/>
                </a:cubicBezTo>
                <a:cubicBezTo>
                  <a:pt x="250207" y="24213"/>
                  <a:pt x="249593" y="23907"/>
                  <a:pt x="248979" y="23294"/>
                </a:cubicBezTo>
                <a:cubicBezTo>
                  <a:pt x="248365" y="22681"/>
                  <a:pt x="248058" y="22068"/>
                  <a:pt x="248058" y="21148"/>
                </a:cubicBezTo>
                <a:cubicBezTo>
                  <a:pt x="248058" y="21148"/>
                  <a:pt x="248058" y="21148"/>
                  <a:pt x="248058" y="14712"/>
                </a:cubicBezTo>
                <a:close/>
                <a:moveTo>
                  <a:pt x="234858" y="14712"/>
                </a:moveTo>
                <a:cubicBezTo>
                  <a:pt x="234858" y="14712"/>
                  <a:pt x="234858" y="14712"/>
                  <a:pt x="241305" y="14712"/>
                </a:cubicBezTo>
                <a:cubicBezTo>
                  <a:pt x="241305" y="14712"/>
                  <a:pt x="241305" y="14712"/>
                  <a:pt x="241305" y="21148"/>
                </a:cubicBezTo>
                <a:cubicBezTo>
                  <a:pt x="241305" y="22068"/>
                  <a:pt x="240998" y="22987"/>
                  <a:pt x="240384" y="23294"/>
                </a:cubicBezTo>
                <a:cubicBezTo>
                  <a:pt x="239770" y="23907"/>
                  <a:pt x="239156" y="24213"/>
                  <a:pt x="238235" y="24213"/>
                </a:cubicBezTo>
                <a:cubicBezTo>
                  <a:pt x="238235" y="24213"/>
                  <a:pt x="238235" y="24213"/>
                  <a:pt x="237928" y="24213"/>
                </a:cubicBezTo>
                <a:cubicBezTo>
                  <a:pt x="237007" y="24213"/>
                  <a:pt x="236086" y="23907"/>
                  <a:pt x="235779" y="23294"/>
                </a:cubicBezTo>
                <a:cubicBezTo>
                  <a:pt x="235165" y="22987"/>
                  <a:pt x="234858" y="22068"/>
                  <a:pt x="234858" y="21148"/>
                </a:cubicBezTo>
                <a:cubicBezTo>
                  <a:pt x="234858" y="21148"/>
                  <a:pt x="234858" y="21148"/>
                  <a:pt x="234858" y="14712"/>
                </a:cubicBezTo>
                <a:close/>
                <a:moveTo>
                  <a:pt x="221350" y="14712"/>
                </a:moveTo>
                <a:cubicBezTo>
                  <a:pt x="221350" y="14712"/>
                  <a:pt x="221350" y="14712"/>
                  <a:pt x="228104" y="14712"/>
                </a:cubicBezTo>
                <a:cubicBezTo>
                  <a:pt x="228104" y="14712"/>
                  <a:pt x="228104" y="14712"/>
                  <a:pt x="228104" y="21148"/>
                </a:cubicBezTo>
                <a:cubicBezTo>
                  <a:pt x="228104" y="22068"/>
                  <a:pt x="227490" y="22681"/>
                  <a:pt x="227183" y="23294"/>
                </a:cubicBezTo>
                <a:cubicBezTo>
                  <a:pt x="226569" y="23907"/>
                  <a:pt x="225648" y="24213"/>
                  <a:pt x="225034" y="24213"/>
                </a:cubicBezTo>
                <a:cubicBezTo>
                  <a:pt x="225034" y="24213"/>
                  <a:pt x="225034" y="24213"/>
                  <a:pt x="224420" y="24213"/>
                </a:cubicBezTo>
                <a:cubicBezTo>
                  <a:pt x="223806" y="24213"/>
                  <a:pt x="222885" y="23907"/>
                  <a:pt x="222271" y="23294"/>
                </a:cubicBezTo>
                <a:cubicBezTo>
                  <a:pt x="221657" y="22681"/>
                  <a:pt x="221350" y="22068"/>
                  <a:pt x="221350" y="21148"/>
                </a:cubicBezTo>
                <a:cubicBezTo>
                  <a:pt x="221350" y="21148"/>
                  <a:pt x="221350" y="21148"/>
                  <a:pt x="221350" y="14712"/>
                </a:cubicBezTo>
                <a:close/>
                <a:moveTo>
                  <a:pt x="159590" y="5899"/>
                </a:moveTo>
                <a:cubicBezTo>
                  <a:pt x="158362" y="5899"/>
                  <a:pt x="157442" y="6510"/>
                  <a:pt x="156521" y="7121"/>
                </a:cubicBezTo>
                <a:cubicBezTo>
                  <a:pt x="155601" y="8037"/>
                  <a:pt x="155294" y="9564"/>
                  <a:pt x="155294" y="10785"/>
                </a:cubicBezTo>
                <a:lnTo>
                  <a:pt x="155294" y="17565"/>
                </a:lnTo>
                <a:lnTo>
                  <a:pt x="163671" y="17565"/>
                </a:lnTo>
                <a:lnTo>
                  <a:pt x="163249" y="16925"/>
                </a:lnTo>
                <a:cubicBezTo>
                  <a:pt x="163249" y="15991"/>
                  <a:pt x="163249" y="15991"/>
                  <a:pt x="163249" y="15991"/>
                </a:cubicBezTo>
                <a:cubicBezTo>
                  <a:pt x="163249" y="15367"/>
                  <a:pt x="163557" y="15056"/>
                  <a:pt x="163865" y="15056"/>
                </a:cubicBezTo>
                <a:cubicBezTo>
                  <a:pt x="172805" y="15056"/>
                  <a:pt x="172805" y="15056"/>
                  <a:pt x="172805" y="15056"/>
                </a:cubicBezTo>
                <a:cubicBezTo>
                  <a:pt x="173421" y="15056"/>
                  <a:pt x="173729" y="15367"/>
                  <a:pt x="173729" y="15991"/>
                </a:cubicBezTo>
                <a:cubicBezTo>
                  <a:pt x="173729" y="16925"/>
                  <a:pt x="173729" y="16925"/>
                  <a:pt x="173729" y="16925"/>
                </a:cubicBezTo>
                <a:lnTo>
                  <a:pt x="173097" y="17565"/>
                </a:lnTo>
                <a:lnTo>
                  <a:pt x="181684" y="17565"/>
                </a:lnTo>
                <a:lnTo>
                  <a:pt x="181684" y="12389"/>
                </a:lnTo>
                <a:cubicBezTo>
                  <a:pt x="181684" y="11396"/>
                  <a:pt x="181684" y="11396"/>
                  <a:pt x="181684" y="11396"/>
                </a:cubicBezTo>
                <a:cubicBezTo>
                  <a:pt x="181684" y="9869"/>
                  <a:pt x="181070" y="8342"/>
                  <a:pt x="180150" y="7426"/>
                </a:cubicBezTo>
                <a:cubicBezTo>
                  <a:pt x="179536" y="6510"/>
                  <a:pt x="178309" y="5899"/>
                  <a:pt x="176774" y="5899"/>
                </a:cubicBezTo>
                <a:cubicBezTo>
                  <a:pt x="159590" y="5899"/>
                  <a:pt x="159590" y="5899"/>
                  <a:pt x="159590" y="5899"/>
                </a:cubicBezTo>
                <a:close/>
                <a:moveTo>
                  <a:pt x="277837" y="3371"/>
                </a:moveTo>
                <a:cubicBezTo>
                  <a:pt x="276609" y="3371"/>
                  <a:pt x="275688" y="3984"/>
                  <a:pt x="275074" y="4597"/>
                </a:cubicBezTo>
                <a:cubicBezTo>
                  <a:pt x="274460" y="5210"/>
                  <a:pt x="273846" y="6130"/>
                  <a:pt x="273846" y="7356"/>
                </a:cubicBezTo>
                <a:cubicBezTo>
                  <a:pt x="273846" y="13792"/>
                  <a:pt x="273846" y="13792"/>
                  <a:pt x="273846" y="13792"/>
                </a:cubicBezTo>
                <a:cubicBezTo>
                  <a:pt x="273846" y="14405"/>
                  <a:pt x="273846" y="14405"/>
                  <a:pt x="273846" y="14405"/>
                </a:cubicBezTo>
                <a:cubicBezTo>
                  <a:pt x="273846" y="14712"/>
                  <a:pt x="273846" y="14712"/>
                  <a:pt x="273846" y="14712"/>
                </a:cubicBezTo>
                <a:cubicBezTo>
                  <a:pt x="273846" y="21148"/>
                  <a:pt x="273846" y="21148"/>
                  <a:pt x="273846" y="21148"/>
                </a:cubicBezTo>
                <a:cubicBezTo>
                  <a:pt x="273846" y="22374"/>
                  <a:pt x="274460" y="23294"/>
                  <a:pt x="275074" y="23907"/>
                </a:cubicBezTo>
                <a:cubicBezTo>
                  <a:pt x="275688" y="24520"/>
                  <a:pt x="276609" y="25133"/>
                  <a:pt x="277837" y="25133"/>
                </a:cubicBezTo>
                <a:cubicBezTo>
                  <a:pt x="278144" y="25133"/>
                  <a:pt x="278144" y="25133"/>
                  <a:pt x="278144" y="25133"/>
                </a:cubicBezTo>
                <a:cubicBezTo>
                  <a:pt x="279372" y="25133"/>
                  <a:pt x="280293" y="24520"/>
                  <a:pt x="280907" y="23907"/>
                </a:cubicBezTo>
                <a:cubicBezTo>
                  <a:pt x="281827" y="23294"/>
                  <a:pt x="282134" y="22374"/>
                  <a:pt x="282134" y="21148"/>
                </a:cubicBezTo>
                <a:cubicBezTo>
                  <a:pt x="282134" y="14712"/>
                  <a:pt x="282134" y="14712"/>
                  <a:pt x="282134" y="14712"/>
                </a:cubicBezTo>
                <a:cubicBezTo>
                  <a:pt x="282134" y="14405"/>
                  <a:pt x="282134" y="14405"/>
                  <a:pt x="282134" y="14405"/>
                </a:cubicBezTo>
                <a:cubicBezTo>
                  <a:pt x="282134" y="13792"/>
                  <a:pt x="282134" y="13792"/>
                  <a:pt x="282134" y="13792"/>
                </a:cubicBezTo>
                <a:cubicBezTo>
                  <a:pt x="282134" y="7356"/>
                  <a:pt x="282134" y="7356"/>
                  <a:pt x="282134" y="7356"/>
                </a:cubicBezTo>
                <a:cubicBezTo>
                  <a:pt x="282134" y="6130"/>
                  <a:pt x="281827" y="5210"/>
                  <a:pt x="280907" y="4597"/>
                </a:cubicBezTo>
                <a:cubicBezTo>
                  <a:pt x="280293" y="3984"/>
                  <a:pt x="279372" y="3371"/>
                  <a:pt x="278144" y="3371"/>
                </a:cubicBezTo>
                <a:cubicBezTo>
                  <a:pt x="277837" y="3371"/>
                  <a:pt x="277837" y="3371"/>
                  <a:pt x="277837" y="3371"/>
                </a:cubicBezTo>
                <a:close/>
                <a:moveTo>
                  <a:pt x="264636" y="3371"/>
                </a:moveTo>
                <a:cubicBezTo>
                  <a:pt x="263408" y="3371"/>
                  <a:pt x="262487" y="3984"/>
                  <a:pt x="261566" y="4597"/>
                </a:cubicBezTo>
                <a:cubicBezTo>
                  <a:pt x="260952" y="5210"/>
                  <a:pt x="260645" y="6130"/>
                  <a:pt x="260645" y="7356"/>
                </a:cubicBezTo>
                <a:cubicBezTo>
                  <a:pt x="260645" y="13792"/>
                  <a:pt x="260645" y="13792"/>
                  <a:pt x="260645" y="13792"/>
                </a:cubicBezTo>
                <a:cubicBezTo>
                  <a:pt x="260645" y="14405"/>
                  <a:pt x="260645" y="14405"/>
                  <a:pt x="260645" y="14405"/>
                </a:cubicBezTo>
                <a:cubicBezTo>
                  <a:pt x="260645" y="14712"/>
                  <a:pt x="260645" y="14712"/>
                  <a:pt x="260645" y="14712"/>
                </a:cubicBezTo>
                <a:cubicBezTo>
                  <a:pt x="260645" y="21148"/>
                  <a:pt x="260645" y="21148"/>
                  <a:pt x="260645" y="21148"/>
                </a:cubicBezTo>
                <a:cubicBezTo>
                  <a:pt x="260645" y="22374"/>
                  <a:pt x="260952" y="23294"/>
                  <a:pt x="261566" y="23907"/>
                </a:cubicBezTo>
                <a:cubicBezTo>
                  <a:pt x="262487" y="24520"/>
                  <a:pt x="263408" y="25133"/>
                  <a:pt x="264636" y="25133"/>
                </a:cubicBezTo>
                <a:cubicBezTo>
                  <a:pt x="264943" y="25133"/>
                  <a:pt x="264943" y="25133"/>
                  <a:pt x="264943" y="25133"/>
                </a:cubicBezTo>
                <a:cubicBezTo>
                  <a:pt x="265864" y="25133"/>
                  <a:pt x="266785" y="24520"/>
                  <a:pt x="267706" y="23907"/>
                </a:cubicBezTo>
                <a:cubicBezTo>
                  <a:pt x="268320" y="23294"/>
                  <a:pt x="268934" y="22374"/>
                  <a:pt x="268934" y="21148"/>
                </a:cubicBezTo>
                <a:cubicBezTo>
                  <a:pt x="268934" y="14712"/>
                  <a:pt x="268934" y="14712"/>
                  <a:pt x="268934" y="14712"/>
                </a:cubicBezTo>
                <a:cubicBezTo>
                  <a:pt x="268934" y="14405"/>
                  <a:pt x="268934" y="14405"/>
                  <a:pt x="268934" y="14405"/>
                </a:cubicBezTo>
                <a:cubicBezTo>
                  <a:pt x="268934" y="13792"/>
                  <a:pt x="268934" y="13792"/>
                  <a:pt x="268934" y="13792"/>
                </a:cubicBezTo>
                <a:cubicBezTo>
                  <a:pt x="268934" y="7356"/>
                  <a:pt x="268934" y="7356"/>
                  <a:pt x="268934" y="7356"/>
                </a:cubicBezTo>
                <a:cubicBezTo>
                  <a:pt x="268934" y="6130"/>
                  <a:pt x="268320" y="5210"/>
                  <a:pt x="267706" y="4597"/>
                </a:cubicBezTo>
                <a:cubicBezTo>
                  <a:pt x="266785" y="3984"/>
                  <a:pt x="265864" y="3371"/>
                  <a:pt x="264943" y="3371"/>
                </a:cubicBezTo>
                <a:cubicBezTo>
                  <a:pt x="264636" y="3371"/>
                  <a:pt x="264636" y="3371"/>
                  <a:pt x="264636" y="3371"/>
                </a:cubicBezTo>
                <a:close/>
                <a:moveTo>
                  <a:pt x="251128" y="3371"/>
                </a:moveTo>
                <a:cubicBezTo>
                  <a:pt x="249900" y="3371"/>
                  <a:pt x="248979" y="3984"/>
                  <a:pt x="248365" y="4597"/>
                </a:cubicBezTo>
                <a:cubicBezTo>
                  <a:pt x="247751" y="5210"/>
                  <a:pt x="247137" y="6130"/>
                  <a:pt x="247137" y="7356"/>
                </a:cubicBezTo>
                <a:cubicBezTo>
                  <a:pt x="247137" y="13792"/>
                  <a:pt x="247137" y="13792"/>
                  <a:pt x="247137" y="13792"/>
                </a:cubicBezTo>
                <a:cubicBezTo>
                  <a:pt x="247137" y="14405"/>
                  <a:pt x="247137" y="14405"/>
                  <a:pt x="247137" y="14405"/>
                </a:cubicBezTo>
                <a:cubicBezTo>
                  <a:pt x="247137" y="14712"/>
                  <a:pt x="247137" y="14712"/>
                  <a:pt x="247137" y="14712"/>
                </a:cubicBezTo>
                <a:cubicBezTo>
                  <a:pt x="247137" y="21148"/>
                  <a:pt x="247137" y="21148"/>
                  <a:pt x="247137" y="21148"/>
                </a:cubicBezTo>
                <a:cubicBezTo>
                  <a:pt x="247137" y="22374"/>
                  <a:pt x="247751" y="23294"/>
                  <a:pt x="248365" y="23907"/>
                </a:cubicBezTo>
                <a:cubicBezTo>
                  <a:pt x="248979" y="24520"/>
                  <a:pt x="249900" y="25133"/>
                  <a:pt x="251128" y="25133"/>
                </a:cubicBezTo>
                <a:cubicBezTo>
                  <a:pt x="251435" y="25133"/>
                  <a:pt x="251435" y="25133"/>
                  <a:pt x="251435" y="25133"/>
                </a:cubicBezTo>
                <a:cubicBezTo>
                  <a:pt x="252663" y="25133"/>
                  <a:pt x="253584" y="24520"/>
                  <a:pt x="254198" y="23907"/>
                </a:cubicBezTo>
                <a:cubicBezTo>
                  <a:pt x="255119" y="23294"/>
                  <a:pt x="255426" y="22374"/>
                  <a:pt x="255426" y="21148"/>
                </a:cubicBezTo>
                <a:cubicBezTo>
                  <a:pt x="255426" y="14712"/>
                  <a:pt x="255426" y="14712"/>
                  <a:pt x="255426" y="14712"/>
                </a:cubicBezTo>
                <a:cubicBezTo>
                  <a:pt x="255426" y="14405"/>
                  <a:pt x="255426" y="14405"/>
                  <a:pt x="255426" y="14405"/>
                </a:cubicBezTo>
                <a:cubicBezTo>
                  <a:pt x="255426" y="13792"/>
                  <a:pt x="255426" y="13792"/>
                  <a:pt x="255426" y="13792"/>
                </a:cubicBezTo>
                <a:cubicBezTo>
                  <a:pt x="255426" y="7356"/>
                  <a:pt x="255426" y="7356"/>
                  <a:pt x="255426" y="7356"/>
                </a:cubicBezTo>
                <a:cubicBezTo>
                  <a:pt x="255426" y="6130"/>
                  <a:pt x="255119" y="5210"/>
                  <a:pt x="254198" y="4597"/>
                </a:cubicBezTo>
                <a:cubicBezTo>
                  <a:pt x="253584" y="3984"/>
                  <a:pt x="252663" y="3371"/>
                  <a:pt x="251435" y="3371"/>
                </a:cubicBezTo>
                <a:cubicBezTo>
                  <a:pt x="251128" y="3371"/>
                  <a:pt x="251128" y="3371"/>
                  <a:pt x="251128" y="3371"/>
                </a:cubicBezTo>
                <a:close/>
                <a:moveTo>
                  <a:pt x="237928" y="3371"/>
                </a:moveTo>
                <a:cubicBezTo>
                  <a:pt x="236700" y="3371"/>
                  <a:pt x="235779" y="3984"/>
                  <a:pt x="235165" y="4597"/>
                </a:cubicBezTo>
                <a:cubicBezTo>
                  <a:pt x="234244" y="5210"/>
                  <a:pt x="233937" y="6436"/>
                  <a:pt x="233937" y="7356"/>
                </a:cubicBezTo>
                <a:cubicBezTo>
                  <a:pt x="233937" y="13792"/>
                  <a:pt x="233937" y="13792"/>
                  <a:pt x="233937" y="13792"/>
                </a:cubicBezTo>
                <a:cubicBezTo>
                  <a:pt x="233937" y="14405"/>
                  <a:pt x="233937" y="14405"/>
                  <a:pt x="233937" y="14405"/>
                </a:cubicBezTo>
                <a:cubicBezTo>
                  <a:pt x="233937" y="14712"/>
                  <a:pt x="233937" y="14712"/>
                  <a:pt x="233937" y="14712"/>
                </a:cubicBezTo>
                <a:cubicBezTo>
                  <a:pt x="233937" y="21148"/>
                  <a:pt x="233937" y="21148"/>
                  <a:pt x="233937" y="21148"/>
                </a:cubicBezTo>
                <a:cubicBezTo>
                  <a:pt x="233937" y="22374"/>
                  <a:pt x="234244" y="23294"/>
                  <a:pt x="235165" y="23907"/>
                </a:cubicBezTo>
                <a:cubicBezTo>
                  <a:pt x="235779" y="24826"/>
                  <a:pt x="236700" y="25133"/>
                  <a:pt x="237928" y="25133"/>
                </a:cubicBezTo>
                <a:cubicBezTo>
                  <a:pt x="238235" y="25133"/>
                  <a:pt x="238235" y="25133"/>
                  <a:pt x="238235" y="25133"/>
                </a:cubicBezTo>
                <a:cubicBezTo>
                  <a:pt x="239156" y="25133"/>
                  <a:pt x="240384" y="24826"/>
                  <a:pt x="240998" y="23907"/>
                </a:cubicBezTo>
                <a:cubicBezTo>
                  <a:pt x="241611" y="23294"/>
                  <a:pt x="242225" y="22374"/>
                  <a:pt x="242225" y="21148"/>
                </a:cubicBezTo>
                <a:cubicBezTo>
                  <a:pt x="242225" y="14712"/>
                  <a:pt x="242225" y="14712"/>
                  <a:pt x="242225" y="14712"/>
                </a:cubicBezTo>
                <a:cubicBezTo>
                  <a:pt x="242225" y="14405"/>
                  <a:pt x="242225" y="14405"/>
                  <a:pt x="242225" y="14405"/>
                </a:cubicBezTo>
                <a:cubicBezTo>
                  <a:pt x="242225" y="13792"/>
                  <a:pt x="242225" y="13792"/>
                  <a:pt x="242225" y="13792"/>
                </a:cubicBezTo>
                <a:cubicBezTo>
                  <a:pt x="242225" y="7356"/>
                  <a:pt x="242225" y="7356"/>
                  <a:pt x="242225" y="7356"/>
                </a:cubicBezTo>
                <a:cubicBezTo>
                  <a:pt x="242225" y="6436"/>
                  <a:pt x="241611" y="5210"/>
                  <a:pt x="240998" y="4597"/>
                </a:cubicBezTo>
                <a:cubicBezTo>
                  <a:pt x="240384" y="3984"/>
                  <a:pt x="239156" y="3371"/>
                  <a:pt x="238235" y="3371"/>
                </a:cubicBezTo>
                <a:cubicBezTo>
                  <a:pt x="237928" y="3371"/>
                  <a:pt x="237928" y="3371"/>
                  <a:pt x="237928" y="3371"/>
                </a:cubicBezTo>
                <a:close/>
                <a:moveTo>
                  <a:pt x="224420" y="3371"/>
                </a:moveTo>
                <a:cubicBezTo>
                  <a:pt x="223499" y="3371"/>
                  <a:pt x="222578" y="3984"/>
                  <a:pt x="221657" y="4597"/>
                </a:cubicBezTo>
                <a:cubicBezTo>
                  <a:pt x="221043" y="5210"/>
                  <a:pt x="220736" y="6130"/>
                  <a:pt x="220736" y="7356"/>
                </a:cubicBezTo>
                <a:cubicBezTo>
                  <a:pt x="220736" y="13792"/>
                  <a:pt x="220736" y="13792"/>
                  <a:pt x="220736" y="13792"/>
                </a:cubicBezTo>
                <a:cubicBezTo>
                  <a:pt x="220736" y="14405"/>
                  <a:pt x="220736" y="14405"/>
                  <a:pt x="220736" y="14405"/>
                </a:cubicBezTo>
                <a:cubicBezTo>
                  <a:pt x="220736" y="14712"/>
                  <a:pt x="220736" y="14712"/>
                  <a:pt x="220736" y="14712"/>
                </a:cubicBezTo>
                <a:cubicBezTo>
                  <a:pt x="220736" y="21148"/>
                  <a:pt x="220736" y="21148"/>
                  <a:pt x="220736" y="21148"/>
                </a:cubicBezTo>
                <a:cubicBezTo>
                  <a:pt x="220736" y="22374"/>
                  <a:pt x="221043" y="23294"/>
                  <a:pt x="221657" y="23907"/>
                </a:cubicBezTo>
                <a:cubicBezTo>
                  <a:pt x="222578" y="24520"/>
                  <a:pt x="223499" y="25133"/>
                  <a:pt x="224420" y="25133"/>
                </a:cubicBezTo>
                <a:cubicBezTo>
                  <a:pt x="225034" y="25133"/>
                  <a:pt x="225034" y="25133"/>
                  <a:pt x="225034" y="25133"/>
                </a:cubicBezTo>
                <a:cubicBezTo>
                  <a:pt x="225955" y="25133"/>
                  <a:pt x="226876" y="24520"/>
                  <a:pt x="227797" y="23907"/>
                </a:cubicBezTo>
                <a:cubicBezTo>
                  <a:pt x="228411" y="23294"/>
                  <a:pt x="228718" y="22374"/>
                  <a:pt x="228718" y="21148"/>
                </a:cubicBezTo>
                <a:cubicBezTo>
                  <a:pt x="228718" y="14712"/>
                  <a:pt x="228718" y="14712"/>
                  <a:pt x="228718" y="14712"/>
                </a:cubicBezTo>
                <a:cubicBezTo>
                  <a:pt x="228718" y="14405"/>
                  <a:pt x="228718" y="14405"/>
                  <a:pt x="228718" y="14405"/>
                </a:cubicBezTo>
                <a:cubicBezTo>
                  <a:pt x="228718" y="13792"/>
                  <a:pt x="228718" y="13792"/>
                  <a:pt x="228718" y="13792"/>
                </a:cubicBezTo>
                <a:cubicBezTo>
                  <a:pt x="228718" y="7356"/>
                  <a:pt x="228718" y="7356"/>
                  <a:pt x="228718" y="7356"/>
                </a:cubicBezTo>
                <a:cubicBezTo>
                  <a:pt x="228718" y="6130"/>
                  <a:pt x="228411" y="5210"/>
                  <a:pt x="227797" y="4597"/>
                </a:cubicBezTo>
                <a:cubicBezTo>
                  <a:pt x="226876" y="3984"/>
                  <a:pt x="225955" y="3371"/>
                  <a:pt x="225034" y="3371"/>
                </a:cubicBezTo>
                <a:cubicBezTo>
                  <a:pt x="224420" y="3371"/>
                  <a:pt x="224420" y="3371"/>
                  <a:pt x="224420" y="3371"/>
                </a:cubicBezTo>
                <a:close/>
                <a:moveTo>
                  <a:pt x="294376" y="1624"/>
                </a:moveTo>
                <a:cubicBezTo>
                  <a:pt x="315815" y="1624"/>
                  <a:pt x="315815" y="1624"/>
                  <a:pt x="315815" y="1624"/>
                </a:cubicBezTo>
                <a:cubicBezTo>
                  <a:pt x="316734" y="1624"/>
                  <a:pt x="317346" y="2236"/>
                  <a:pt x="317346" y="3154"/>
                </a:cubicBezTo>
                <a:cubicBezTo>
                  <a:pt x="317346" y="4071"/>
                  <a:pt x="317346" y="4071"/>
                  <a:pt x="317346" y="4071"/>
                </a:cubicBezTo>
                <a:cubicBezTo>
                  <a:pt x="317346" y="4989"/>
                  <a:pt x="316734" y="5601"/>
                  <a:pt x="315815" y="5601"/>
                </a:cubicBezTo>
                <a:cubicBezTo>
                  <a:pt x="312446" y="5601"/>
                  <a:pt x="312446" y="5601"/>
                  <a:pt x="312446" y="5601"/>
                </a:cubicBezTo>
                <a:cubicBezTo>
                  <a:pt x="312446" y="18451"/>
                  <a:pt x="312446" y="18451"/>
                  <a:pt x="312446" y="18451"/>
                </a:cubicBezTo>
                <a:lnTo>
                  <a:pt x="310998" y="18451"/>
                </a:lnTo>
                <a:lnTo>
                  <a:pt x="310998" y="24925"/>
                </a:lnTo>
                <a:cubicBezTo>
                  <a:pt x="310998" y="26040"/>
                  <a:pt x="310998" y="26040"/>
                  <a:pt x="310998" y="26040"/>
                </a:cubicBezTo>
                <a:cubicBezTo>
                  <a:pt x="310998" y="26962"/>
                  <a:pt x="310384" y="27885"/>
                  <a:pt x="309770" y="28807"/>
                </a:cubicBezTo>
                <a:cubicBezTo>
                  <a:pt x="307005" y="31882"/>
                  <a:pt x="307005" y="31882"/>
                  <a:pt x="307005" y="31882"/>
                </a:cubicBezTo>
                <a:cubicBezTo>
                  <a:pt x="306391" y="32497"/>
                  <a:pt x="306084" y="32805"/>
                  <a:pt x="306084" y="33727"/>
                </a:cubicBezTo>
                <a:cubicBezTo>
                  <a:pt x="306084" y="34650"/>
                  <a:pt x="306391" y="34957"/>
                  <a:pt x="307005" y="35572"/>
                </a:cubicBezTo>
                <a:cubicBezTo>
                  <a:pt x="309770" y="38648"/>
                  <a:pt x="309770" y="38648"/>
                  <a:pt x="309770" y="38648"/>
                </a:cubicBezTo>
                <a:cubicBezTo>
                  <a:pt x="310384" y="39570"/>
                  <a:pt x="310998" y="40493"/>
                  <a:pt x="310998" y="41415"/>
                </a:cubicBezTo>
                <a:lnTo>
                  <a:pt x="310998" y="48709"/>
                </a:lnTo>
                <a:lnTo>
                  <a:pt x="312446" y="48709"/>
                </a:lnTo>
                <a:cubicBezTo>
                  <a:pt x="312446" y="61362"/>
                  <a:pt x="312446" y="61362"/>
                  <a:pt x="312446" y="61362"/>
                </a:cubicBezTo>
                <a:cubicBezTo>
                  <a:pt x="315815" y="61362"/>
                  <a:pt x="315815" y="61362"/>
                  <a:pt x="315815" y="61362"/>
                </a:cubicBezTo>
                <a:cubicBezTo>
                  <a:pt x="316734" y="61362"/>
                  <a:pt x="317346" y="61979"/>
                  <a:pt x="317346" y="62905"/>
                </a:cubicBezTo>
                <a:cubicBezTo>
                  <a:pt x="317346" y="63831"/>
                  <a:pt x="317346" y="63831"/>
                  <a:pt x="317346" y="63831"/>
                </a:cubicBezTo>
                <a:cubicBezTo>
                  <a:pt x="317346" y="64757"/>
                  <a:pt x="316734" y="65683"/>
                  <a:pt x="315815" y="65683"/>
                </a:cubicBezTo>
                <a:cubicBezTo>
                  <a:pt x="294376" y="65683"/>
                  <a:pt x="294376" y="65683"/>
                  <a:pt x="294376" y="65683"/>
                </a:cubicBezTo>
                <a:cubicBezTo>
                  <a:pt x="293457" y="65683"/>
                  <a:pt x="292844" y="64757"/>
                  <a:pt x="292844" y="63831"/>
                </a:cubicBezTo>
                <a:cubicBezTo>
                  <a:pt x="292844" y="62905"/>
                  <a:pt x="292844" y="62905"/>
                  <a:pt x="292844" y="62905"/>
                </a:cubicBezTo>
                <a:cubicBezTo>
                  <a:pt x="292844" y="61979"/>
                  <a:pt x="293457" y="61362"/>
                  <a:pt x="294376" y="61362"/>
                </a:cubicBezTo>
                <a:cubicBezTo>
                  <a:pt x="297745" y="61362"/>
                  <a:pt x="297745" y="61362"/>
                  <a:pt x="297745" y="61362"/>
                </a:cubicBezTo>
                <a:cubicBezTo>
                  <a:pt x="297745" y="48709"/>
                  <a:pt x="297745" y="48709"/>
                  <a:pt x="297745" y="48709"/>
                </a:cubicBezTo>
                <a:lnTo>
                  <a:pt x="299633" y="48709"/>
                </a:lnTo>
                <a:lnTo>
                  <a:pt x="299633" y="42530"/>
                </a:lnTo>
                <a:cubicBezTo>
                  <a:pt x="299633" y="41415"/>
                  <a:pt x="299633" y="41415"/>
                  <a:pt x="299633" y="41415"/>
                </a:cubicBezTo>
                <a:cubicBezTo>
                  <a:pt x="299633" y="40493"/>
                  <a:pt x="299940" y="39570"/>
                  <a:pt x="300555" y="38648"/>
                </a:cubicBezTo>
                <a:cubicBezTo>
                  <a:pt x="303319" y="35572"/>
                  <a:pt x="303319" y="35572"/>
                  <a:pt x="303319" y="35572"/>
                </a:cubicBezTo>
                <a:cubicBezTo>
                  <a:pt x="303934" y="34957"/>
                  <a:pt x="304241" y="34650"/>
                  <a:pt x="304241" y="33727"/>
                </a:cubicBezTo>
                <a:cubicBezTo>
                  <a:pt x="304241" y="32805"/>
                  <a:pt x="303934" y="32497"/>
                  <a:pt x="303319" y="31882"/>
                </a:cubicBezTo>
                <a:cubicBezTo>
                  <a:pt x="300555" y="28807"/>
                  <a:pt x="300555" y="28807"/>
                  <a:pt x="300555" y="28807"/>
                </a:cubicBezTo>
                <a:cubicBezTo>
                  <a:pt x="299940" y="27885"/>
                  <a:pt x="299633" y="26962"/>
                  <a:pt x="299633" y="26040"/>
                </a:cubicBezTo>
                <a:lnTo>
                  <a:pt x="299633" y="18451"/>
                </a:lnTo>
                <a:lnTo>
                  <a:pt x="299582" y="18451"/>
                </a:lnTo>
                <a:cubicBezTo>
                  <a:pt x="297745" y="18451"/>
                  <a:pt x="297745" y="18451"/>
                  <a:pt x="297745" y="18451"/>
                </a:cubicBezTo>
                <a:cubicBezTo>
                  <a:pt x="297745" y="5601"/>
                  <a:pt x="297745" y="5601"/>
                  <a:pt x="297745" y="5601"/>
                </a:cubicBezTo>
                <a:cubicBezTo>
                  <a:pt x="294376" y="5601"/>
                  <a:pt x="294376" y="5601"/>
                  <a:pt x="294376" y="5601"/>
                </a:cubicBezTo>
                <a:cubicBezTo>
                  <a:pt x="293457" y="5601"/>
                  <a:pt x="292844" y="4989"/>
                  <a:pt x="292844" y="4071"/>
                </a:cubicBezTo>
                <a:cubicBezTo>
                  <a:pt x="292844" y="3154"/>
                  <a:pt x="292844" y="3154"/>
                  <a:pt x="292844" y="3154"/>
                </a:cubicBezTo>
                <a:cubicBezTo>
                  <a:pt x="292844" y="2236"/>
                  <a:pt x="293457" y="1624"/>
                  <a:pt x="294376" y="1624"/>
                </a:cubicBezTo>
                <a:close/>
                <a:moveTo>
                  <a:pt x="159590" y="1624"/>
                </a:moveTo>
                <a:cubicBezTo>
                  <a:pt x="176774" y="1624"/>
                  <a:pt x="176774" y="1624"/>
                  <a:pt x="176774" y="1624"/>
                </a:cubicBezTo>
                <a:cubicBezTo>
                  <a:pt x="179536" y="1624"/>
                  <a:pt x="181684" y="2845"/>
                  <a:pt x="183525" y="4372"/>
                </a:cubicBezTo>
                <a:cubicBezTo>
                  <a:pt x="185060" y="6205"/>
                  <a:pt x="185980" y="8648"/>
                  <a:pt x="185980" y="11396"/>
                </a:cubicBezTo>
                <a:lnTo>
                  <a:pt x="185980" y="17565"/>
                </a:lnTo>
                <a:lnTo>
                  <a:pt x="190849" y="17565"/>
                </a:lnTo>
                <a:cubicBezTo>
                  <a:pt x="191568" y="17565"/>
                  <a:pt x="191568" y="17565"/>
                  <a:pt x="191568" y="17565"/>
                </a:cubicBezTo>
                <a:cubicBezTo>
                  <a:pt x="207825" y="36236"/>
                  <a:pt x="207825" y="36236"/>
                  <a:pt x="207825" y="36236"/>
                </a:cubicBezTo>
                <a:cubicBezTo>
                  <a:pt x="207825" y="65315"/>
                  <a:pt x="207825" y="65315"/>
                  <a:pt x="207825" y="65315"/>
                </a:cubicBezTo>
                <a:cubicBezTo>
                  <a:pt x="191568" y="83986"/>
                  <a:pt x="191568" y="83986"/>
                  <a:pt x="191568" y="83986"/>
                </a:cubicBezTo>
                <a:lnTo>
                  <a:pt x="188860" y="83986"/>
                </a:lnTo>
                <a:lnTo>
                  <a:pt x="189079" y="84318"/>
                </a:lnTo>
                <a:cubicBezTo>
                  <a:pt x="189079" y="86163"/>
                  <a:pt x="189079" y="86163"/>
                  <a:pt x="189079" y="86163"/>
                </a:cubicBezTo>
                <a:cubicBezTo>
                  <a:pt x="189079" y="86778"/>
                  <a:pt x="188775" y="87086"/>
                  <a:pt x="188470" y="87086"/>
                </a:cubicBezTo>
                <a:cubicBezTo>
                  <a:pt x="185122" y="87086"/>
                  <a:pt x="185122" y="87086"/>
                  <a:pt x="185122" y="87086"/>
                </a:cubicBezTo>
                <a:cubicBezTo>
                  <a:pt x="184513" y="87086"/>
                  <a:pt x="184208" y="86778"/>
                  <a:pt x="184208" y="86163"/>
                </a:cubicBezTo>
                <a:cubicBezTo>
                  <a:pt x="184208" y="84318"/>
                  <a:pt x="184208" y="84318"/>
                  <a:pt x="184208" y="84318"/>
                </a:cubicBezTo>
                <a:lnTo>
                  <a:pt x="184538" y="83986"/>
                </a:lnTo>
                <a:lnTo>
                  <a:pt x="164968" y="83986"/>
                </a:lnTo>
                <a:lnTo>
                  <a:pt x="152579" y="83986"/>
                </a:lnTo>
                <a:lnTo>
                  <a:pt x="152917" y="84318"/>
                </a:lnTo>
                <a:cubicBezTo>
                  <a:pt x="152917" y="86163"/>
                  <a:pt x="152917" y="86163"/>
                  <a:pt x="152917" y="86163"/>
                </a:cubicBezTo>
                <a:cubicBezTo>
                  <a:pt x="152917" y="86778"/>
                  <a:pt x="152604" y="87086"/>
                  <a:pt x="151979" y="87086"/>
                </a:cubicBezTo>
                <a:cubicBezTo>
                  <a:pt x="148541" y="87086"/>
                  <a:pt x="148541" y="87086"/>
                  <a:pt x="148541" y="87086"/>
                </a:cubicBezTo>
                <a:cubicBezTo>
                  <a:pt x="147915" y="87086"/>
                  <a:pt x="147603" y="86778"/>
                  <a:pt x="147603" y="86163"/>
                </a:cubicBezTo>
                <a:cubicBezTo>
                  <a:pt x="147603" y="84318"/>
                  <a:pt x="147603" y="84318"/>
                  <a:pt x="147603" y="84318"/>
                </a:cubicBezTo>
                <a:lnTo>
                  <a:pt x="147941" y="83986"/>
                </a:lnTo>
                <a:lnTo>
                  <a:pt x="146276" y="83986"/>
                </a:lnTo>
                <a:cubicBezTo>
                  <a:pt x="145557" y="83986"/>
                  <a:pt x="145557" y="83986"/>
                  <a:pt x="145557" y="83986"/>
                </a:cubicBezTo>
                <a:cubicBezTo>
                  <a:pt x="129300" y="65008"/>
                  <a:pt x="129300" y="65008"/>
                  <a:pt x="129300" y="65008"/>
                </a:cubicBezTo>
                <a:cubicBezTo>
                  <a:pt x="129300" y="35930"/>
                  <a:pt x="129300" y="35930"/>
                  <a:pt x="129300" y="35930"/>
                </a:cubicBezTo>
                <a:cubicBezTo>
                  <a:pt x="145557" y="17565"/>
                  <a:pt x="145557" y="17565"/>
                  <a:pt x="145557" y="17565"/>
                </a:cubicBezTo>
                <a:lnTo>
                  <a:pt x="150998" y="17565"/>
                </a:lnTo>
                <a:lnTo>
                  <a:pt x="150998" y="11854"/>
                </a:lnTo>
                <a:cubicBezTo>
                  <a:pt x="150998" y="10785"/>
                  <a:pt x="150998" y="10785"/>
                  <a:pt x="150998" y="10785"/>
                </a:cubicBezTo>
                <a:cubicBezTo>
                  <a:pt x="150998" y="8342"/>
                  <a:pt x="151918" y="6205"/>
                  <a:pt x="153453" y="4372"/>
                </a:cubicBezTo>
                <a:cubicBezTo>
                  <a:pt x="154987" y="2540"/>
                  <a:pt x="157135" y="1624"/>
                  <a:pt x="159590" y="1624"/>
                </a:cubicBezTo>
                <a:close/>
                <a:moveTo>
                  <a:pt x="216438" y="0"/>
                </a:moveTo>
                <a:cubicBezTo>
                  <a:pt x="286739" y="0"/>
                  <a:pt x="286739" y="0"/>
                  <a:pt x="286739" y="0"/>
                </a:cubicBezTo>
                <a:cubicBezTo>
                  <a:pt x="289502" y="0"/>
                  <a:pt x="291958" y="2145"/>
                  <a:pt x="291958" y="4904"/>
                </a:cubicBezTo>
                <a:cubicBezTo>
                  <a:pt x="291958" y="51185"/>
                  <a:pt x="291958" y="51185"/>
                  <a:pt x="291958" y="51185"/>
                </a:cubicBezTo>
                <a:cubicBezTo>
                  <a:pt x="291958" y="53943"/>
                  <a:pt x="289502" y="56089"/>
                  <a:pt x="286739" y="56089"/>
                </a:cubicBezTo>
                <a:cubicBezTo>
                  <a:pt x="216438" y="56089"/>
                  <a:pt x="216438" y="56089"/>
                  <a:pt x="216438" y="56089"/>
                </a:cubicBezTo>
                <a:cubicBezTo>
                  <a:pt x="213675" y="56089"/>
                  <a:pt x="211219" y="53943"/>
                  <a:pt x="211219" y="51185"/>
                </a:cubicBezTo>
                <a:cubicBezTo>
                  <a:pt x="211219" y="4904"/>
                  <a:pt x="211219" y="4904"/>
                  <a:pt x="211219" y="4904"/>
                </a:cubicBezTo>
                <a:cubicBezTo>
                  <a:pt x="211219" y="2145"/>
                  <a:pt x="213675" y="0"/>
                  <a:pt x="21643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/>
          <a:p>
            <a:pPr algn="ctr"/>
            <a:endParaRPr/>
          </a:p>
        </p:txBody>
      </p:sp>
      <p:sp>
        <p:nvSpPr>
          <p:cNvPr id="430" name="iconfont-11790-5635069">
            <a:extLst>
              <a:ext uri="{FF2B5EF4-FFF2-40B4-BE49-F238E27FC236}">
                <a16:creationId xmlns:a16="http://schemas.microsoft.com/office/drawing/2014/main" id="{EDF2355D-F5E5-4235-903A-572F10A5D34C}"/>
              </a:ext>
            </a:extLst>
          </p:cNvPr>
          <p:cNvSpPr/>
          <p:nvPr/>
        </p:nvSpPr>
        <p:spPr>
          <a:xfrm>
            <a:off x="1670331" y="2521444"/>
            <a:ext cx="609685" cy="596542"/>
          </a:xfrm>
          <a:custGeom>
            <a:avLst/>
            <a:gdLst>
              <a:gd name="connsiteX0" fmla="*/ 336314 w 605874"/>
              <a:gd name="connsiteY0" fmla="*/ 404411 h 592814"/>
              <a:gd name="connsiteX1" fmla="*/ 363040 w 605874"/>
              <a:gd name="connsiteY1" fmla="*/ 404411 h 592814"/>
              <a:gd name="connsiteX2" fmla="*/ 363040 w 605874"/>
              <a:gd name="connsiteY2" fmla="*/ 418199 h 592814"/>
              <a:gd name="connsiteX3" fmla="*/ 355333 w 605874"/>
              <a:gd name="connsiteY3" fmla="*/ 459663 h 592814"/>
              <a:gd name="connsiteX4" fmla="*/ 363040 w 605874"/>
              <a:gd name="connsiteY4" fmla="*/ 476648 h 592814"/>
              <a:gd name="connsiteX5" fmla="*/ 363040 w 605874"/>
              <a:gd name="connsiteY5" fmla="*/ 479946 h 592814"/>
              <a:gd name="connsiteX6" fmla="*/ 377154 w 605874"/>
              <a:gd name="connsiteY6" fmla="*/ 508121 h 592814"/>
              <a:gd name="connsiteX7" fmla="*/ 381758 w 605874"/>
              <a:gd name="connsiteY7" fmla="*/ 518312 h 592814"/>
              <a:gd name="connsiteX8" fmla="*/ 381758 w 605874"/>
              <a:gd name="connsiteY8" fmla="*/ 545189 h 592814"/>
              <a:gd name="connsiteX9" fmla="*/ 358936 w 605874"/>
              <a:gd name="connsiteY9" fmla="*/ 536097 h 592814"/>
              <a:gd name="connsiteX10" fmla="*/ 336314 w 605874"/>
              <a:gd name="connsiteY10" fmla="*/ 536097 h 592814"/>
              <a:gd name="connsiteX11" fmla="*/ 257705 w 605874"/>
              <a:gd name="connsiteY11" fmla="*/ 404411 h 592814"/>
              <a:gd name="connsiteX12" fmla="*/ 269631 w 605874"/>
              <a:gd name="connsiteY12" fmla="*/ 404411 h 592814"/>
              <a:gd name="connsiteX13" fmla="*/ 269631 w 605874"/>
              <a:gd name="connsiteY13" fmla="*/ 536086 h 592814"/>
              <a:gd name="connsiteX14" fmla="*/ 257705 w 605874"/>
              <a:gd name="connsiteY14" fmla="*/ 536086 h 592814"/>
              <a:gd name="connsiteX15" fmla="*/ 438409 w 605874"/>
              <a:gd name="connsiteY15" fmla="*/ 379007 h 592814"/>
              <a:gd name="connsiteX16" fmla="*/ 443009 w 605874"/>
              <a:gd name="connsiteY16" fmla="*/ 387203 h 592814"/>
              <a:gd name="connsiteX17" fmla="*/ 443009 w 605874"/>
              <a:gd name="connsiteY17" fmla="*/ 413090 h 592814"/>
              <a:gd name="connsiteX18" fmla="*/ 393304 w 605874"/>
              <a:gd name="connsiteY18" fmla="*/ 407693 h 592814"/>
              <a:gd name="connsiteX19" fmla="*/ 388603 w 605874"/>
              <a:gd name="connsiteY19" fmla="*/ 407493 h 592814"/>
              <a:gd name="connsiteX20" fmla="*/ 388603 w 605874"/>
              <a:gd name="connsiteY20" fmla="*/ 404394 h 592814"/>
              <a:gd name="connsiteX21" fmla="*/ 406005 w 605874"/>
              <a:gd name="connsiteY21" fmla="*/ 404394 h 592814"/>
              <a:gd name="connsiteX22" fmla="*/ 438409 w 605874"/>
              <a:gd name="connsiteY22" fmla="*/ 379007 h 592814"/>
              <a:gd name="connsiteX23" fmla="*/ 391849 w 605874"/>
              <a:gd name="connsiteY23" fmla="*/ 328200 h 592814"/>
              <a:gd name="connsiteX24" fmla="*/ 407656 w 605874"/>
              <a:gd name="connsiteY24" fmla="*/ 337797 h 592814"/>
              <a:gd name="connsiteX25" fmla="*/ 391949 w 605874"/>
              <a:gd name="connsiteY25" fmla="*/ 337797 h 592814"/>
              <a:gd name="connsiteX26" fmla="*/ 484327 w 605874"/>
              <a:gd name="connsiteY26" fmla="*/ 248754 h 592814"/>
              <a:gd name="connsiteX27" fmla="*/ 535747 w 605874"/>
              <a:gd name="connsiteY27" fmla="*/ 252150 h 592814"/>
              <a:gd name="connsiteX28" fmla="*/ 562658 w 605874"/>
              <a:gd name="connsiteY28" fmla="*/ 282819 h 592814"/>
              <a:gd name="connsiteX29" fmla="*/ 552354 w 605874"/>
              <a:gd name="connsiteY29" fmla="*/ 438259 h 592814"/>
              <a:gd name="connsiteX30" fmla="*/ 576463 w 605874"/>
              <a:gd name="connsiteY30" fmla="*/ 438259 h 592814"/>
              <a:gd name="connsiteX31" fmla="*/ 576463 w 605874"/>
              <a:gd name="connsiteY31" fmla="*/ 291810 h 592814"/>
              <a:gd name="connsiteX32" fmla="*/ 591169 w 605874"/>
              <a:gd name="connsiteY32" fmla="*/ 277125 h 592814"/>
              <a:gd name="connsiteX33" fmla="*/ 605874 w 605874"/>
              <a:gd name="connsiteY33" fmla="*/ 291810 h 592814"/>
              <a:gd name="connsiteX34" fmla="*/ 605874 w 605874"/>
              <a:gd name="connsiteY34" fmla="*/ 452943 h 592814"/>
              <a:gd name="connsiteX35" fmla="*/ 605874 w 605874"/>
              <a:gd name="connsiteY35" fmla="*/ 569324 h 592814"/>
              <a:gd name="connsiteX36" fmla="*/ 591169 w 605874"/>
              <a:gd name="connsiteY36" fmla="*/ 584108 h 592814"/>
              <a:gd name="connsiteX37" fmla="*/ 576463 w 605874"/>
              <a:gd name="connsiteY37" fmla="*/ 569324 h 592814"/>
              <a:gd name="connsiteX38" fmla="*/ 576463 w 605874"/>
              <a:gd name="connsiteY38" fmla="*/ 525569 h 592814"/>
              <a:gd name="connsiteX39" fmla="*/ 481026 w 605874"/>
              <a:gd name="connsiteY39" fmla="*/ 525569 h 592814"/>
              <a:gd name="connsiteX40" fmla="*/ 481026 w 605874"/>
              <a:gd name="connsiteY40" fmla="*/ 535458 h 592814"/>
              <a:gd name="connsiteX41" fmla="*/ 454316 w 605874"/>
              <a:gd name="connsiteY41" fmla="*/ 476120 h 592814"/>
              <a:gd name="connsiteX42" fmla="*/ 481026 w 605874"/>
              <a:gd name="connsiteY42" fmla="*/ 468927 h 592814"/>
              <a:gd name="connsiteX43" fmla="*/ 481026 w 605874"/>
              <a:gd name="connsiteY43" fmla="*/ 496199 h 592814"/>
              <a:gd name="connsiteX44" fmla="*/ 576463 w 605874"/>
              <a:gd name="connsiteY44" fmla="*/ 496199 h 592814"/>
              <a:gd name="connsiteX45" fmla="*/ 576463 w 605874"/>
              <a:gd name="connsiteY45" fmla="*/ 467628 h 592814"/>
              <a:gd name="connsiteX46" fmla="*/ 431207 w 605874"/>
              <a:gd name="connsiteY46" fmla="*/ 469826 h 592814"/>
              <a:gd name="connsiteX47" fmla="*/ 471822 w 605874"/>
              <a:gd name="connsiteY47" fmla="*/ 560133 h 592814"/>
              <a:gd name="connsiteX48" fmla="*/ 460218 w 605874"/>
              <a:gd name="connsiteY48" fmla="*/ 590801 h 592814"/>
              <a:gd name="connsiteX49" fmla="*/ 429506 w 605874"/>
              <a:gd name="connsiteY49" fmla="*/ 579113 h 592814"/>
              <a:gd name="connsiteX50" fmla="*/ 375285 w 605874"/>
              <a:gd name="connsiteY50" fmla="*/ 458738 h 592814"/>
              <a:gd name="connsiteX51" fmla="*/ 376485 w 605874"/>
              <a:gd name="connsiteY51" fmla="*/ 437360 h 592814"/>
              <a:gd name="connsiteX52" fmla="*/ 394693 w 605874"/>
              <a:gd name="connsiteY52" fmla="*/ 426071 h 592814"/>
              <a:gd name="connsiteX53" fmla="*/ 492630 w 605874"/>
              <a:gd name="connsiteY53" fmla="*/ 418579 h 592814"/>
              <a:gd name="connsiteX54" fmla="*/ 444412 w 605874"/>
              <a:gd name="connsiteY54" fmla="*/ 413284 h 592814"/>
              <a:gd name="connsiteX55" fmla="*/ 448613 w 605874"/>
              <a:gd name="connsiteY55" fmla="*/ 349850 h 592814"/>
              <a:gd name="connsiteX56" fmla="*/ 512738 w 605874"/>
              <a:gd name="connsiteY56" fmla="*/ 297704 h 592814"/>
              <a:gd name="connsiteX57" fmla="*/ 446413 w 605874"/>
              <a:gd name="connsiteY57" fmla="*/ 328572 h 592814"/>
              <a:gd name="connsiteX58" fmla="*/ 438209 w 605874"/>
              <a:gd name="connsiteY58" fmla="*/ 330470 h 592814"/>
              <a:gd name="connsiteX59" fmla="*/ 428205 w 605874"/>
              <a:gd name="connsiteY59" fmla="*/ 327573 h 592814"/>
              <a:gd name="connsiteX60" fmla="*/ 362080 w 605874"/>
              <a:gd name="connsiteY60" fmla="*/ 287414 h 592814"/>
              <a:gd name="connsiteX61" fmla="*/ 355577 w 605874"/>
              <a:gd name="connsiteY61" fmla="*/ 260842 h 592814"/>
              <a:gd name="connsiteX62" fmla="*/ 382288 w 605874"/>
              <a:gd name="connsiteY62" fmla="*/ 254348 h 592814"/>
              <a:gd name="connsiteX63" fmla="*/ 439410 w 605874"/>
              <a:gd name="connsiteY63" fmla="*/ 289212 h 592814"/>
              <a:gd name="connsiteX64" fmla="*/ 496332 w 605874"/>
              <a:gd name="connsiteY64" fmla="*/ 262640 h 592814"/>
              <a:gd name="connsiteX65" fmla="*/ 454416 w 605874"/>
              <a:gd name="connsiteY65" fmla="*/ 270132 h 592814"/>
              <a:gd name="connsiteX66" fmla="*/ 484327 w 605874"/>
              <a:gd name="connsiteY66" fmla="*/ 248754 h 592814"/>
              <a:gd name="connsiteX67" fmla="*/ 121658 w 605874"/>
              <a:gd name="connsiteY67" fmla="*/ 245256 h 592814"/>
              <a:gd name="connsiteX68" fmla="*/ 152373 w 605874"/>
              <a:gd name="connsiteY68" fmla="*/ 272130 h 592814"/>
              <a:gd name="connsiteX69" fmla="*/ 154073 w 605874"/>
              <a:gd name="connsiteY69" fmla="*/ 297706 h 592814"/>
              <a:gd name="connsiteX70" fmla="*/ 123759 w 605874"/>
              <a:gd name="connsiteY70" fmla="*/ 274029 h 592814"/>
              <a:gd name="connsiteX71" fmla="*/ 161677 w 605874"/>
              <a:gd name="connsiteY71" fmla="*/ 323981 h 592814"/>
              <a:gd name="connsiteX72" fmla="*/ 228609 w 605874"/>
              <a:gd name="connsiteY72" fmla="*/ 319785 h 592814"/>
              <a:gd name="connsiteX73" fmla="*/ 249118 w 605874"/>
              <a:gd name="connsiteY73" fmla="*/ 337968 h 592814"/>
              <a:gd name="connsiteX74" fmla="*/ 235012 w 605874"/>
              <a:gd name="connsiteY74" fmla="*/ 357749 h 592814"/>
              <a:gd name="connsiteX75" fmla="*/ 405993 w 605874"/>
              <a:gd name="connsiteY75" fmla="*/ 357749 h 592814"/>
              <a:gd name="connsiteX76" fmla="*/ 419299 w 605874"/>
              <a:gd name="connsiteY76" fmla="*/ 371036 h 592814"/>
              <a:gd name="connsiteX77" fmla="*/ 405993 w 605874"/>
              <a:gd name="connsiteY77" fmla="*/ 384424 h 592814"/>
              <a:gd name="connsiteX78" fmla="*/ 316350 w 605874"/>
              <a:gd name="connsiteY78" fmla="*/ 384424 h 592814"/>
              <a:gd name="connsiteX79" fmla="*/ 316350 w 605874"/>
              <a:gd name="connsiteY79" fmla="*/ 556060 h 592814"/>
              <a:gd name="connsiteX80" fmla="*/ 358971 w 605874"/>
              <a:gd name="connsiteY80" fmla="*/ 556060 h 592814"/>
              <a:gd name="connsiteX81" fmla="*/ 372377 w 605874"/>
              <a:gd name="connsiteY81" fmla="*/ 569448 h 592814"/>
              <a:gd name="connsiteX82" fmla="*/ 358971 w 605874"/>
              <a:gd name="connsiteY82" fmla="*/ 582735 h 592814"/>
              <a:gd name="connsiteX83" fmla="*/ 247318 w 605874"/>
              <a:gd name="connsiteY83" fmla="*/ 582335 h 592814"/>
              <a:gd name="connsiteX84" fmla="*/ 238413 w 605874"/>
              <a:gd name="connsiteY84" fmla="*/ 586631 h 592814"/>
              <a:gd name="connsiteX85" fmla="*/ 210400 w 605874"/>
              <a:gd name="connsiteY85" fmla="*/ 569348 h 592814"/>
              <a:gd name="connsiteX86" fmla="*/ 200195 w 605874"/>
              <a:gd name="connsiteY86" fmla="*/ 525989 h 592814"/>
              <a:gd name="connsiteX87" fmla="*/ 238013 w 605874"/>
              <a:gd name="connsiteY87" fmla="*/ 483529 h 592814"/>
              <a:gd name="connsiteX88" fmla="*/ 250319 w 605874"/>
              <a:gd name="connsiteY88" fmla="*/ 536079 h 592814"/>
              <a:gd name="connsiteX89" fmla="*/ 255021 w 605874"/>
              <a:gd name="connsiteY89" fmla="*/ 556060 h 592814"/>
              <a:gd name="connsiteX90" fmla="*/ 289638 w 605874"/>
              <a:gd name="connsiteY90" fmla="*/ 556060 h 592814"/>
              <a:gd name="connsiteX91" fmla="*/ 289638 w 605874"/>
              <a:gd name="connsiteY91" fmla="*/ 384424 h 592814"/>
              <a:gd name="connsiteX92" fmla="*/ 202096 w 605874"/>
              <a:gd name="connsiteY92" fmla="*/ 384424 h 592814"/>
              <a:gd name="connsiteX93" fmla="*/ 192492 w 605874"/>
              <a:gd name="connsiteY93" fmla="*/ 380228 h 592814"/>
              <a:gd name="connsiteX94" fmla="*/ 188790 w 605874"/>
              <a:gd name="connsiteY94" fmla="*/ 371036 h 592814"/>
              <a:gd name="connsiteX95" fmla="*/ 193692 w 605874"/>
              <a:gd name="connsiteY95" fmla="*/ 360746 h 592814"/>
              <a:gd name="connsiteX96" fmla="*/ 153773 w 605874"/>
              <a:gd name="connsiteY96" fmla="*/ 363244 h 592814"/>
              <a:gd name="connsiteX97" fmla="*/ 137065 w 605874"/>
              <a:gd name="connsiteY97" fmla="*/ 355651 h 592814"/>
              <a:gd name="connsiteX98" fmla="*/ 92844 w 605874"/>
              <a:gd name="connsiteY98" fmla="*/ 297406 h 592814"/>
              <a:gd name="connsiteX99" fmla="*/ 121658 w 605874"/>
              <a:gd name="connsiteY99" fmla="*/ 367340 h 592814"/>
              <a:gd name="connsiteX100" fmla="*/ 146870 w 605874"/>
              <a:gd name="connsiteY100" fmla="*/ 383025 h 592814"/>
              <a:gd name="connsiteX101" fmla="*/ 159676 w 605874"/>
              <a:gd name="connsiteY101" fmla="*/ 382226 h 592814"/>
              <a:gd name="connsiteX102" fmla="*/ 160376 w 605874"/>
              <a:gd name="connsiteY102" fmla="*/ 392616 h 592814"/>
              <a:gd name="connsiteX103" fmla="*/ 176684 w 605874"/>
              <a:gd name="connsiteY103" fmla="*/ 392616 h 592814"/>
              <a:gd name="connsiteX104" fmla="*/ 198194 w 605874"/>
              <a:gd name="connsiteY104" fmla="*/ 392616 h 592814"/>
              <a:gd name="connsiteX105" fmla="*/ 220805 w 605874"/>
              <a:gd name="connsiteY105" fmla="*/ 410499 h 592814"/>
              <a:gd name="connsiteX106" fmla="*/ 226008 w 605874"/>
              <a:gd name="connsiteY106" fmla="*/ 432578 h 592814"/>
              <a:gd name="connsiteX107" fmla="*/ 214002 w 605874"/>
              <a:gd name="connsiteY107" fmla="*/ 427782 h 592814"/>
              <a:gd name="connsiteX108" fmla="*/ 161977 w 605874"/>
              <a:gd name="connsiteY108" fmla="*/ 416993 h 592814"/>
              <a:gd name="connsiteX109" fmla="*/ 116155 w 605874"/>
              <a:gd name="connsiteY109" fmla="*/ 407502 h 592814"/>
              <a:gd name="connsiteX110" fmla="*/ 206998 w 605874"/>
              <a:gd name="connsiteY110" fmla="*/ 444866 h 592814"/>
              <a:gd name="connsiteX111" fmla="*/ 220805 w 605874"/>
              <a:gd name="connsiteY111" fmla="*/ 461151 h 592814"/>
              <a:gd name="connsiteX112" fmla="*/ 215302 w 605874"/>
              <a:gd name="connsiteY112" fmla="*/ 481931 h 592814"/>
              <a:gd name="connsiteX113" fmla="*/ 126460 w 605874"/>
              <a:gd name="connsiteY113" fmla="*/ 579638 h 592814"/>
              <a:gd name="connsiteX114" fmla="*/ 93645 w 605874"/>
              <a:gd name="connsiteY114" fmla="*/ 581236 h 592814"/>
              <a:gd name="connsiteX115" fmla="*/ 92044 w 605874"/>
              <a:gd name="connsiteY115" fmla="*/ 548467 h 592814"/>
              <a:gd name="connsiteX116" fmla="*/ 158676 w 605874"/>
              <a:gd name="connsiteY116" fmla="*/ 475137 h 592814"/>
              <a:gd name="connsiteX117" fmla="*/ 138466 w 605874"/>
              <a:gd name="connsiteY117" fmla="*/ 466845 h 592814"/>
              <a:gd name="connsiteX118" fmla="*/ 29414 w 605874"/>
              <a:gd name="connsiteY118" fmla="*/ 466845 h 592814"/>
              <a:gd name="connsiteX119" fmla="*/ 29414 w 605874"/>
              <a:gd name="connsiteY119" fmla="*/ 496217 h 592814"/>
              <a:gd name="connsiteX120" fmla="*/ 114555 w 605874"/>
              <a:gd name="connsiteY120" fmla="*/ 496217 h 592814"/>
              <a:gd name="connsiteX121" fmla="*/ 87842 w 605874"/>
              <a:gd name="connsiteY121" fmla="*/ 525589 h 592814"/>
              <a:gd name="connsiteX122" fmla="*/ 29414 w 605874"/>
              <a:gd name="connsiteY122" fmla="*/ 525589 h 592814"/>
              <a:gd name="connsiteX123" fmla="*/ 29414 w 605874"/>
              <a:gd name="connsiteY123" fmla="*/ 569647 h 592814"/>
              <a:gd name="connsiteX124" fmla="*/ 14707 w 605874"/>
              <a:gd name="connsiteY124" fmla="*/ 584333 h 592814"/>
              <a:gd name="connsiteX125" fmla="*/ 0 w 605874"/>
              <a:gd name="connsiteY125" fmla="*/ 569647 h 592814"/>
              <a:gd name="connsiteX126" fmla="*/ 0 w 605874"/>
              <a:gd name="connsiteY126" fmla="*/ 291012 h 592814"/>
              <a:gd name="connsiteX127" fmla="*/ 14707 w 605874"/>
              <a:gd name="connsiteY127" fmla="*/ 276326 h 592814"/>
              <a:gd name="connsiteX128" fmla="*/ 29414 w 605874"/>
              <a:gd name="connsiteY128" fmla="*/ 291012 h 592814"/>
              <a:gd name="connsiteX129" fmla="*/ 29414 w 605874"/>
              <a:gd name="connsiteY129" fmla="*/ 437473 h 592814"/>
              <a:gd name="connsiteX130" fmla="*/ 66932 w 605874"/>
              <a:gd name="connsiteY130" fmla="*/ 437473 h 592814"/>
              <a:gd name="connsiteX131" fmla="*/ 52225 w 605874"/>
              <a:gd name="connsiteY131" fmla="*/ 413796 h 592814"/>
              <a:gd name="connsiteX132" fmla="*/ 43321 w 605874"/>
              <a:gd name="connsiteY132" fmla="*/ 279324 h 592814"/>
              <a:gd name="connsiteX133" fmla="*/ 70234 w 605874"/>
              <a:gd name="connsiteY133" fmla="*/ 248653 h 592814"/>
              <a:gd name="connsiteX134" fmla="*/ 509094 w 605874"/>
              <a:gd name="connsiteY134" fmla="*/ 141695 h 592814"/>
              <a:gd name="connsiteX135" fmla="*/ 553868 w 605874"/>
              <a:gd name="connsiteY135" fmla="*/ 186398 h 592814"/>
              <a:gd name="connsiteX136" fmla="*/ 509094 w 605874"/>
              <a:gd name="connsiteY136" fmla="*/ 231101 h 592814"/>
              <a:gd name="connsiteX137" fmla="*/ 464320 w 605874"/>
              <a:gd name="connsiteY137" fmla="*/ 186398 h 592814"/>
              <a:gd name="connsiteX138" fmla="*/ 509094 w 605874"/>
              <a:gd name="connsiteY138" fmla="*/ 141695 h 592814"/>
              <a:gd name="connsiteX139" fmla="*/ 96886 w 605874"/>
              <a:gd name="connsiteY139" fmla="*/ 136685 h 592814"/>
              <a:gd name="connsiteX140" fmla="*/ 143177 w 605874"/>
              <a:gd name="connsiteY140" fmla="*/ 182870 h 592814"/>
              <a:gd name="connsiteX141" fmla="*/ 96886 w 605874"/>
              <a:gd name="connsiteY141" fmla="*/ 229055 h 592814"/>
              <a:gd name="connsiteX142" fmla="*/ 50595 w 605874"/>
              <a:gd name="connsiteY142" fmla="*/ 182870 h 592814"/>
              <a:gd name="connsiteX143" fmla="*/ 96886 w 605874"/>
              <a:gd name="connsiteY143" fmla="*/ 136685 h 592814"/>
              <a:gd name="connsiteX144" fmla="*/ 257321 w 605874"/>
              <a:gd name="connsiteY144" fmla="*/ 111987 h 592814"/>
              <a:gd name="connsiteX145" fmla="*/ 282233 w 605874"/>
              <a:gd name="connsiteY145" fmla="*/ 111987 h 592814"/>
              <a:gd name="connsiteX146" fmla="*/ 309647 w 605874"/>
              <a:gd name="connsiteY146" fmla="*/ 187424 h 592814"/>
              <a:gd name="connsiteX147" fmla="*/ 303644 w 605874"/>
              <a:gd name="connsiteY147" fmla="*/ 155251 h 592814"/>
              <a:gd name="connsiteX148" fmla="*/ 304644 w 605874"/>
              <a:gd name="connsiteY148" fmla="*/ 148756 h 592814"/>
              <a:gd name="connsiteX149" fmla="*/ 314049 w 605874"/>
              <a:gd name="connsiteY149" fmla="*/ 131670 h 592814"/>
              <a:gd name="connsiteX150" fmla="*/ 305745 w 605874"/>
              <a:gd name="connsiteY150" fmla="*/ 116983 h 592814"/>
              <a:gd name="connsiteX151" fmla="*/ 305745 w 605874"/>
              <a:gd name="connsiteY151" fmla="*/ 113586 h 592814"/>
              <a:gd name="connsiteX152" fmla="*/ 308646 w 605874"/>
              <a:gd name="connsiteY152" fmla="*/ 111987 h 592814"/>
              <a:gd name="connsiteX153" fmla="*/ 331558 w 605874"/>
              <a:gd name="connsiteY153" fmla="*/ 111987 h 592814"/>
              <a:gd name="connsiteX154" fmla="*/ 334459 w 605874"/>
              <a:gd name="connsiteY154" fmla="*/ 113586 h 592814"/>
              <a:gd name="connsiteX155" fmla="*/ 334459 w 605874"/>
              <a:gd name="connsiteY155" fmla="*/ 116983 h 592814"/>
              <a:gd name="connsiteX156" fmla="*/ 326155 w 605874"/>
              <a:gd name="connsiteY156" fmla="*/ 131670 h 592814"/>
              <a:gd name="connsiteX157" fmla="*/ 335560 w 605874"/>
              <a:gd name="connsiteY157" fmla="*/ 148756 h 592814"/>
              <a:gd name="connsiteX158" fmla="*/ 336560 w 605874"/>
              <a:gd name="connsiteY158" fmla="*/ 155351 h 592814"/>
              <a:gd name="connsiteX159" fmla="*/ 329657 w 605874"/>
              <a:gd name="connsiteY159" fmla="*/ 187424 h 592814"/>
              <a:gd name="connsiteX160" fmla="*/ 357971 w 605874"/>
              <a:gd name="connsiteY160" fmla="*/ 111987 h 592814"/>
              <a:gd name="connsiteX161" fmla="*/ 382483 w 605874"/>
              <a:gd name="connsiteY161" fmla="*/ 111987 h 592814"/>
              <a:gd name="connsiteX162" fmla="*/ 437710 w 605874"/>
              <a:gd name="connsiteY162" fmla="*/ 166841 h 592814"/>
              <a:gd name="connsiteX163" fmla="*/ 438210 w 605874"/>
              <a:gd name="connsiteY163" fmla="*/ 265858 h 592814"/>
              <a:gd name="connsiteX164" fmla="*/ 391387 w 605874"/>
              <a:gd name="connsiteY164" fmla="*/ 237381 h 592814"/>
              <a:gd name="connsiteX165" fmla="*/ 391087 w 605874"/>
              <a:gd name="connsiteY165" fmla="*/ 167041 h 592814"/>
              <a:gd name="connsiteX166" fmla="*/ 386185 w 605874"/>
              <a:gd name="connsiteY166" fmla="*/ 162245 h 592814"/>
              <a:gd name="connsiteX167" fmla="*/ 381282 w 605874"/>
              <a:gd name="connsiteY167" fmla="*/ 167141 h 592814"/>
              <a:gd name="connsiteX168" fmla="*/ 381382 w 605874"/>
              <a:gd name="connsiteY168" fmla="*/ 233285 h 592814"/>
              <a:gd name="connsiteX169" fmla="*/ 339061 w 605874"/>
              <a:gd name="connsiteY169" fmla="*/ 250770 h 592814"/>
              <a:gd name="connsiteX170" fmla="*/ 351968 w 605874"/>
              <a:gd name="connsiteY170" fmla="*/ 303926 h 592814"/>
              <a:gd name="connsiteX171" fmla="*/ 381582 w 605874"/>
              <a:gd name="connsiteY171" fmla="*/ 322010 h 592814"/>
              <a:gd name="connsiteX172" fmla="*/ 381782 w 605874"/>
              <a:gd name="connsiteY172" fmla="*/ 337797 h 592814"/>
              <a:gd name="connsiteX173" fmla="*/ 268526 w 605874"/>
              <a:gd name="connsiteY173" fmla="*/ 337797 h 592814"/>
              <a:gd name="connsiteX174" fmla="*/ 257721 w 605874"/>
              <a:gd name="connsiteY174" fmla="*/ 312418 h 592814"/>
              <a:gd name="connsiteX175" fmla="*/ 257721 w 605874"/>
              <a:gd name="connsiteY175" fmla="*/ 167041 h 592814"/>
              <a:gd name="connsiteX176" fmla="*/ 253219 w 605874"/>
              <a:gd name="connsiteY176" fmla="*/ 162544 h 592814"/>
              <a:gd name="connsiteX177" fmla="*/ 248717 w 605874"/>
              <a:gd name="connsiteY177" fmla="*/ 167041 h 592814"/>
              <a:gd name="connsiteX178" fmla="*/ 248016 w 605874"/>
              <a:gd name="connsiteY178" fmla="*/ 305025 h 592814"/>
              <a:gd name="connsiteX179" fmla="*/ 227406 w 605874"/>
              <a:gd name="connsiteY179" fmla="*/ 300528 h 592814"/>
              <a:gd name="connsiteX180" fmla="*/ 201393 w 605874"/>
              <a:gd name="connsiteY180" fmla="*/ 302127 h 592814"/>
              <a:gd name="connsiteX181" fmla="*/ 202094 w 605874"/>
              <a:gd name="connsiteY181" fmla="*/ 166841 h 592814"/>
              <a:gd name="connsiteX182" fmla="*/ 257321 w 605874"/>
              <a:gd name="connsiteY182" fmla="*/ 111987 h 592814"/>
              <a:gd name="connsiteX183" fmla="*/ 320120 w 605874"/>
              <a:gd name="connsiteY183" fmla="*/ 0 h 592814"/>
              <a:gd name="connsiteX184" fmla="*/ 368493 w 605874"/>
              <a:gd name="connsiteY184" fmla="*/ 48302 h 592814"/>
              <a:gd name="connsiteX185" fmla="*/ 320120 w 605874"/>
              <a:gd name="connsiteY185" fmla="*/ 96604 h 592814"/>
              <a:gd name="connsiteX186" fmla="*/ 271747 w 605874"/>
              <a:gd name="connsiteY186" fmla="*/ 48302 h 592814"/>
              <a:gd name="connsiteX187" fmla="*/ 320120 w 605874"/>
              <a:gd name="connsiteY187" fmla="*/ 0 h 592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605874" h="592814">
                <a:moveTo>
                  <a:pt x="336314" y="404411"/>
                </a:moveTo>
                <a:lnTo>
                  <a:pt x="363040" y="404411"/>
                </a:lnTo>
                <a:lnTo>
                  <a:pt x="363040" y="418199"/>
                </a:lnTo>
                <a:cubicBezTo>
                  <a:pt x="352430" y="428790"/>
                  <a:pt x="348826" y="445176"/>
                  <a:pt x="355333" y="459663"/>
                </a:cubicBezTo>
                <a:cubicBezTo>
                  <a:pt x="359437" y="468755"/>
                  <a:pt x="357935" y="465258"/>
                  <a:pt x="363040" y="476648"/>
                </a:cubicBezTo>
                <a:lnTo>
                  <a:pt x="363040" y="479946"/>
                </a:lnTo>
                <a:cubicBezTo>
                  <a:pt x="363040" y="491436"/>
                  <a:pt x="368545" y="501727"/>
                  <a:pt x="377154" y="508121"/>
                </a:cubicBezTo>
                <a:lnTo>
                  <a:pt x="381758" y="518312"/>
                </a:lnTo>
                <a:lnTo>
                  <a:pt x="381758" y="545189"/>
                </a:lnTo>
                <a:cubicBezTo>
                  <a:pt x="375853" y="539594"/>
                  <a:pt x="367745" y="536097"/>
                  <a:pt x="358936" y="536097"/>
                </a:cubicBezTo>
                <a:lnTo>
                  <a:pt x="336314" y="536097"/>
                </a:lnTo>
                <a:close/>
                <a:moveTo>
                  <a:pt x="257705" y="404411"/>
                </a:moveTo>
                <a:lnTo>
                  <a:pt x="269631" y="404411"/>
                </a:lnTo>
                <a:lnTo>
                  <a:pt x="269631" y="536086"/>
                </a:lnTo>
                <a:lnTo>
                  <a:pt x="257705" y="536086"/>
                </a:lnTo>
                <a:close/>
                <a:moveTo>
                  <a:pt x="438409" y="379007"/>
                </a:moveTo>
                <a:cubicBezTo>
                  <a:pt x="441109" y="380706"/>
                  <a:pt x="443009" y="383805"/>
                  <a:pt x="443009" y="387203"/>
                </a:cubicBezTo>
                <a:lnTo>
                  <a:pt x="443009" y="413090"/>
                </a:lnTo>
                <a:lnTo>
                  <a:pt x="393304" y="407693"/>
                </a:lnTo>
                <a:cubicBezTo>
                  <a:pt x="391704" y="407493"/>
                  <a:pt x="390203" y="407393"/>
                  <a:pt x="388603" y="407493"/>
                </a:cubicBezTo>
                <a:lnTo>
                  <a:pt x="388603" y="404394"/>
                </a:lnTo>
                <a:lnTo>
                  <a:pt x="406005" y="404394"/>
                </a:lnTo>
                <a:cubicBezTo>
                  <a:pt x="421607" y="404394"/>
                  <a:pt x="434808" y="393600"/>
                  <a:pt x="438409" y="379007"/>
                </a:cubicBezTo>
                <a:close/>
                <a:moveTo>
                  <a:pt x="391849" y="328200"/>
                </a:moveTo>
                <a:lnTo>
                  <a:pt x="407656" y="337797"/>
                </a:lnTo>
                <a:cubicBezTo>
                  <a:pt x="406256" y="337797"/>
                  <a:pt x="406556" y="337797"/>
                  <a:pt x="391949" y="337797"/>
                </a:cubicBezTo>
                <a:close/>
                <a:moveTo>
                  <a:pt x="484327" y="248754"/>
                </a:moveTo>
                <a:lnTo>
                  <a:pt x="535747" y="252150"/>
                </a:lnTo>
                <a:cubicBezTo>
                  <a:pt x="551653" y="253149"/>
                  <a:pt x="563658" y="266935"/>
                  <a:pt x="562658" y="282819"/>
                </a:cubicBezTo>
                <a:lnTo>
                  <a:pt x="552354" y="438259"/>
                </a:lnTo>
                <a:lnTo>
                  <a:pt x="576463" y="438259"/>
                </a:lnTo>
                <a:lnTo>
                  <a:pt x="576463" y="291810"/>
                </a:lnTo>
                <a:cubicBezTo>
                  <a:pt x="576463" y="283718"/>
                  <a:pt x="583065" y="277125"/>
                  <a:pt x="591169" y="277125"/>
                </a:cubicBezTo>
                <a:cubicBezTo>
                  <a:pt x="599372" y="277125"/>
                  <a:pt x="605874" y="283718"/>
                  <a:pt x="605874" y="291810"/>
                </a:cubicBezTo>
                <a:lnTo>
                  <a:pt x="605874" y="452943"/>
                </a:lnTo>
                <a:lnTo>
                  <a:pt x="605874" y="569324"/>
                </a:lnTo>
                <a:cubicBezTo>
                  <a:pt x="605874" y="577515"/>
                  <a:pt x="599372" y="584108"/>
                  <a:pt x="591169" y="584108"/>
                </a:cubicBezTo>
                <a:cubicBezTo>
                  <a:pt x="583065" y="584108"/>
                  <a:pt x="576463" y="577515"/>
                  <a:pt x="576463" y="569324"/>
                </a:cubicBezTo>
                <a:lnTo>
                  <a:pt x="576463" y="525569"/>
                </a:lnTo>
                <a:lnTo>
                  <a:pt x="481026" y="525569"/>
                </a:lnTo>
                <a:lnTo>
                  <a:pt x="481026" y="535458"/>
                </a:lnTo>
                <a:cubicBezTo>
                  <a:pt x="473323" y="518376"/>
                  <a:pt x="469221" y="509186"/>
                  <a:pt x="454316" y="476120"/>
                </a:cubicBezTo>
                <a:lnTo>
                  <a:pt x="481026" y="468927"/>
                </a:lnTo>
                <a:lnTo>
                  <a:pt x="481026" y="496199"/>
                </a:lnTo>
                <a:lnTo>
                  <a:pt x="576463" y="496199"/>
                </a:lnTo>
                <a:lnTo>
                  <a:pt x="576463" y="467628"/>
                </a:lnTo>
                <a:cubicBezTo>
                  <a:pt x="435908" y="467628"/>
                  <a:pt x="467821" y="467029"/>
                  <a:pt x="431207" y="469826"/>
                </a:cubicBezTo>
                <a:lnTo>
                  <a:pt x="471822" y="560133"/>
                </a:lnTo>
                <a:cubicBezTo>
                  <a:pt x="477124" y="571821"/>
                  <a:pt x="471922" y="585507"/>
                  <a:pt x="460218" y="590801"/>
                </a:cubicBezTo>
                <a:cubicBezTo>
                  <a:pt x="448513" y="595996"/>
                  <a:pt x="434708" y="590801"/>
                  <a:pt x="429506" y="579113"/>
                </a:cubicBezTo>
                <a:lnTo>
                  <a:pt x="375285" y="458738"/>
                </a:lnTo>
                <a:cubicBezTo>
                  <a:pt x="372184" y="451845"/>
                  <a:pt x="372584" y="443853"/>
                  <a:pt x="376485" y="437360"/>
                </a:cubicBezTo>
                <a:cubicBezTo>
                  <a:pt x="380387" y="430866"/>
                  <a:pt x="387090" y="426571"/>
                  <a:pt x="394693" y="426071"/>
                </a:cubicBezTo>
                <a:lnTo>
                  <a:pt x="492630" y="418579"/>
                </a:lnTo>
                <a:lnTo>
                  <a:pt x="444412" y="413284"/>
                </a:lnTo>
                <a:lnTo>
                  <a:pt x="448613" y="349850"/>
                </a:lnTo>
                <a:cubicBezTo>
                  <a:pt x="453215" y="347852"/>
                  <a:pt x="449814" y="350149"/>
                  <a:pt x="512738" y="297704"/>
                </a:cubicBezTo>
                <a:lnTo>
                  <a:pt x="446413" y="328572"/>
                </a:lnTo>
                <a:cubicBezTo>
                  <a:pt x="443812" y="329870"/>
                  <a:pt x="441010" y="330470"/>
                  <a:pt x="438209" y="330470"/>
                </a:cubicBezTo>
                <a:cubicBezTo>
                  <a:pt x="434708" y="330470"/>
                  <a:pt x="431207" y="329471"/>
                  <a:pt x="428205" y="327573"/>
                </a:cubicBezTo>
                <a:lnTo>
                  <a:pt x="362080" y="287414"/>
                </a:lnTo>
                <a:cubicBezTo>
                  <a:pt x="352976" y="281820"/>
                  <a:pt x="350075" y="269932"/>
                  <a:pt x="355577" y="260842"/>
                </a:cubicBezTo>
                <a:cubicBezTo>
                  <a:pt x="361180" y="251651"/>
                  <a:pt x="373084" y="248754"/>
                  <a:pt x="382288" y="254348"/>
                </a:cubicBezTo>
                <a:lnTo>
                  <a:pt x="439410" y="289212"/>
                </a:lnTo>
                <a:lnTo>
                  <a:pt x="496332" y="262640"/>
                </a:lnTo>
                <a:lnTo>
                  <a:pt x="454416" y="270132"/>
                </a:lnTo>
                <a:cubicBezTo>
                  <a:pt x="457917" y="257045"/>
                  <a:pt x="470222" y="247755"/>
                  <a:pt x="484327" y="248754"/>
                </a:cubicBezTo>
                <a:close/>
                <a:moveTo>
                  <a:pt x="121658" y="245256"/>
                </a:moveTo>
                <a:cubicBezTo>
                  <a:pt x="137566" y="244157"/>
                  <a:pt x="151272" y="256245"/>
                  <a:pt x="152373" y="272130"/>
                </a:cubicBezTo>
                <a:lnTo>
                  <a:pt x="154073" y="297706"/>
                </a:lnTo>
                <a:lnTo>
                  <a:pt x="123759" y="274029"/>
                </a:lnTo>
                <a:lnTo>
                  <a:pt x="161677" y="323981"/>
                </a:lnTo>
                <a:lnTo>
                  <a:pt x="228609" y="319785"/>
                </a:lnTo>
                <a:cubicBezTo>
                  <a:pt x="239214" y="319186"/>
                  <a:pt x="248418" y="327278"/>
                  <a:pt x="249118" y="337968"/>
                </a:cubicBezTo>
                <a:cubicBezTo>
                  <a:pt x="249719" y="347159"/>
                  <a:pt x="243616" y="355351"/>
                  <a:pt x="235012" y="357749"/>
                </a:cubicBezTo>
                <a:lnTo>
                  <a:pt x="405993" y="357749"/>
                </a:lnTo>
                <a:cubicBezTo>
                  <a:pt x="413396" y="357749"/>
                  <a:pt x="419299" y="363743"/>
                  <a:pt x="419299" y="371036"/>
                </a:cubicBezTo>
                <a:cubicBezTo>
                  <a:pt x="419299" y="378429"/>
                  <a:pt x="413396" y="384424"/>
                  <a:pt x="405993" y="384424"/>
                </a:cubicBezTo>
                <a:lnTo>
                  <a:pt x="316350" y="384424"/>
                </a:lnTo>
                <a:lnTo>
                  <a:pt x="316350" y="556060"/>
                </a:lnTo>
                <a:lnTo>
                  <a:pt x="358971" y="556060"/>
                </a:lnTo>
                <a:cubicBezTo>
                  <a:pt x="366374" y="556060"/>
                  <a:pt x="372377" y="562055"/>
                  <a:pt x="372377" y="569448"/>
                </a:cubicBezTo>
                <a:cubicBezTo>
                  <a:pt x="372377" y="576741"/>
                  <a:pt x="366374" y="582735"/>
                  <a:pt x="358971" y="582735"/>
                </a:cubicBezTo>
                <a:cubicBezTo>
                  <a:pt x="240414" y="582735"/>
                  <a:pt x="249719" y="582935"/>
                  <a:pt x="247318" y="582335"/>
                </a:cubicBezTo>
                <a:cubicBezTo>
                  <a:pt x="244716" y="584333"/>
                  <a:pt x="241715" y="585832"/>
                  <a:pt x="238413" y="586631"/>
                </a:cubicBezTo>
                <a:cubicBezTo>
                  <a:pt x="225907" y="589628"/>
                  <a:pt x="213301" y="581836"/>
                  <a:pt x="210400" y="569348"/>
                </a:cubicBezTo>
                <a:lnTo>
                  <a:pt x="200195" y="525989"/>
                </a:lnTo>
                <a:cubicBezTo>
                  <a:pt x="237313" y="485128"/>
                  <a:pt x="235512" y="487426"/>
                  <a:pt x="238013" y="483529"/>
                </a:cubicBezTo>
                <a:lnTo>
                  <a:pt x="250319" y="536079"/>
                </a:lnTo>
                <a:lnTo>
                  <a:pt x="255021" y="556060"/>
                </a:lnTo>
                <a:lnTo>
                  <a:pt x="289638" y="556060"/>
                </a:lnTo>
                <a:lnTo>
                  <a:pt x="289638" y="384424"/>
                </a:lnTo>
                <a:lnTo>
                  <a:pt x="202096" y="384424"/>
                </a:lnTo>
                <a:cubicBezTo>
                  <a:pt x="198294" y="384424"/>
                  <a:pt x="194893" y="382825"/>
                  <a:pt x="192492" y="380228"/>
                </a:cubicBezTo>
                <a:cubicBezTo>
                  <a:pt x="190191" y="377830"/>
                  <a:pt x="188790" y="374633"/>
                  <a:pt x="188790" y="371036"/>
                </a:cubicBezTo>
                <a:cubicBezTo>
                  <a:pt x="188790" y="366940"/>
                  <a:pt x="190691" y="363244"/>
                  <a:pt x="193692" y="360746"/>
                </a:cubicBezTo>
                <a:lnTo>
                  <a:pt x="153773" y="363244"/>
                </a:lnTo>
                <a:cubicBezTo>
                  <a:pt x="147370" y="363643"/>
                  <a:pt x="141067" y="360846"/>
                  <a:pt x="137065" y="355651"/>
                </a:cubicBezTo>
                <a:lnTo>
                  <a:pt x="92844" y="297406"/>
                </a:lnTo>
                <a:lnTo>
                  <a:pt x="121658" y="367340"/>
                </a:lnTo>
                <a:cubicBezTo>
                  <a:pt x="125660" y="377130"/>
                  <a:pt x="135665" y="383724"/>
                  <a:pt x="146870" y="383025"/>
                </a:cubicBezTo>
                <a:cubicBezTo>
                  <a:pt x="156875" y="382425"/>
                  <a:pt x="154374" y="382625"/>
                  <a:pt x="159676" y="382226"/>
                </a:cubicBezTo>
                <a:lnTo>
                  <a:pt x="160376" y="392616"/>
                </a:lnTo>
                <a:lnTo>
                  <a:pt x="176684" y="392616"/>
                </a:lnTo>
                <a:lnTo>
                  <a:pt x="198194" y="392616"/>
                </a:lnTo>
                <a:cubicBezTo>
                  <a:pt x="209200" y="392616"/>
                  <a:pt x="218404" y="400209"/>
                  <a:pt x="220805" y="410499"/>
                </a:cubicBezTo>
                <a:lnTo>
                  <a:pt x="226008" y="432578"/>
                </a:lnTo>
                <a:cubicBezTo>
                  <a:pt x="222406" y="430280"/>
                  <a:pt x="218404" y="428681"/>
                  <a:pt x="214002" y="427782"/>
                </a:cubicBezTo>
                <a:lnTo>
                  <a:pt x="161977" y="416993"/>
                </a:lnTo>
                <a:lnTo>
                  <a:pt x="116155" y="407502"/>
                </a:lnTo>
                <a:lnTo>
                  <a:pt x="206998" y="444866"/>
                </a:lnTo>
                <a:cubicBezTo>
                  <a:pt x="214002" y="447663"/>
                  <a:pt x="219104" y="453857"/>
                  <a:pt x="220805" y="461151"/>
                </a:cubicBezTo>
                <a:cubicBezTo>
                  <a:pt x="222506" y="468544"/>
                  <a:pt x="220405" y="476336"/>
                  <a:pt x="215302" y="481931"/>
                </a:cubicBezTo>
                <a:lnTo>
                  <a:pt x="126460" y="579638"/>
                </a:lnTo>
                <a:cubicBezTo>
                  <a:pt x="117856" y="589129"/>
                  <a:pt x="103149" y="589928"/>
                  <a:pt x="93645" y="581236"/>
                </a:cubicBezTo>
                <a:cubicBezTo>
                  <a:pt x="84140" y="572644"/>
                  <a:pt x="83440" y="557958"/>
                  <a:pt x="92044" y="548467"/>
                </a:cubicBezTo>
                <a:lnTo>
                  <a:pt x="158676" y="475137"/>
                </a:lnTo>
                <a:lnTo>
                  <a:pt x="138466" y="466845"/>
                </a:lnTo>
                <a:lnTo>
                  <a:pt x="29414" y="466845"/>
                </a:lnTo>
                <a:lnTo>
                  <a:pt x="29414" y="496217"/>
                </a:lnTo>
                <a:lnTo>
                  <a:pt x="114555" y="496217"/>
                </a:lnTo>
                <a:lnTo>
                  <a:pt x="87842" y="525589"/>
                </a:lnTo>
                <a:lnTo>
                  <a:pt x="29414" y="525589"/>
                </a:lnTo>
                <a:lnTo>
                  <a:pt x="29414" y="569647"/>
                </a:lnTo>
                <a:cubicBezTo>
                  <a:pt x="29414" y="577740"/>
                  <a:pt x="22811" y="584333"/>
                  <a:pt x="14707" y="584333"/>
                </a:cubicBezTo>
                <a:cubicBezTo>
                  <a:pt x="6603" y="584333"/>
                  <a:pt x="0" y="577740"/>
                  <a:pt x="0" y="569647"/>
                </a:cubicBezTo>
                <a:lnTo>
                  <a:pt x="0" y="291012"/>
                </a:lnTo>
                <a:cubicBezTo>
                  <a:pt x="0" y="282820"/>
                  <a:pt x="6603" y="276326"/>
                  <a:pt x="14707" y="276326"/>
                </a:cubicBezTo>
                <a:cubicBezTo>
                  <a:pt x="22811" y="276326"/>
                  <a:pt x="29414" y="282820"/>
                  <a:pt x="29414" y="291012"/>
                </a:cubicBezTo>
                <a:lnTo>
                  <a:pt x="29414" y="437473"/>
                </a:lnTo>
                <a:lnTo>
                  <a:pt x="66932" y="437473"/>
                </a:lnTo>
                <a:cubicBezTo>
                  <a:pt x="56627" y="433177"/>
                  <a:pt x="51425" y="423486"/>
                  <a:pt x="52225" y="413796"/>
                </a:cubicBezTo>
                <a:lnTo>
                  <a:pt x="43321" y="279324"/>
                </a:lnTo>
                <a:cubicBezTo>
                  <a:pt x="42220" y="263439"/>
                  <a:pt x="54326" y="249752"/>
                  <a:pt x="70234" y="248653"/>
                </a:cubicBezTo>
                <a:close/>
                <a:moveTo>
                  <a:pt x="509094" y="141695"/>
                </a:moveTo>
                <a:cubicBezTo>
                  <a:pt x="533822" y="141695"/>
                  <a:pt x="553868" y="161709"/>
                  <a:pt x="553868" y="186398"/>
                </a:cubicBezTo>
                <a:cubicBezTo>
                  <a:pt x="553868" y="211087"/>
                  <a:pt x="533822" y="231101"/>
                  <a:pt x="509094" y="231101"/>
                </a:cubicBezTo>
                <a:cubicBezTo>
                  <a:pt x="484366" y="231101"/>
                  <a:pt x="464320" y="211087"/>
                  <a:pt x="464320" y="186398"/>
                </a:cubicBezTo>
                <a:cubicBezTo>
                  <a:pt x="464320" y="161709"/>
                  <a:pt x="484366" y="141695"/>
                  <a:pt x="509094" y="141695"/>
                </a:cubicBezTo>
                <a:close/>
                <a:moveTo>
                  <a:pt x="96886" y="136685"/>
                </a:moveTo>
                <a:cubicBezTo>
                  <a:pt x="122452" y="136685"/>
                  <a:pt x="143177" y="157363"/>
                  <a:pt x="143177" y="182870"/>
                </a:cubicBezTo>
                <a:cubicBezTo>
                  <a:pt x="143177" y="208377"/>
                  <a:pt x="122452" y="229055"/>
                  <a:pt x="96886" y="229055"/>
                </a:cubicBezTo>
                <a:cubicBezTo>
                  <a:pt x="71320" y="229055"/>
                  <a:pt x="50595" y="208377"/>
                  <a:pt x="50595" y="182870"/>
                </a:cubicBezTo>
                <a:cubicBezTo>
                  <a:pt x="50595" y="157363"/>
                  <a:pt x="71320" y="136685"/>
                  <a:pt x="96886" y="136685"/>
                </a:cubicBezTo>
                <a:close/>
                <a:moveTo>
                  <a:pt x="257321" y="111987"/>
                </a:moveTo>
                <a:lnTo>
                  <a:pt x="282233" y="111987"/>
                </a:lnTo>
                <a:cubicBezTo>
                  <a:pt x="285535" y="120280"/>
                  <a:pt x="306645" y="179830"/>
                  <a:pt x="309647" y="187424"/>
                </a:cubicBezTo>
                <a:lnTo>
                  <a:pt x="303644" y="155251"/>
                </a:lnTo>
                <a:cubicBezTo>
                  <a:pt x="303244" y="153052"/>
                  <a:pt x="303544" y="150754"/>
                  <a:pt x="304644" y="148756"/>
                </a:cubicBezTo>
                <a:lnTo>
                  <a:pt x="314049" y="131670"/>
                </a:lnTo>
                <a:lnTo>
                  <a:pt x="305745" y="116983"/>
                </a:lnTo>
                <a:cubicBezTo>
                  <a:pt x="305145" y="115884"/>
                  <a:pt x="305145" y="114685"/>
                  <a:pt x="305745" y="113586"/>
                </a:cubicBezTo>
                <a:cubicBezTo>
                  <a:pt x="306345" y="112586"/>
                  <a:pt x="307446" y="111987"/>
                  <a:pt x="308646" y="111987"/>
                </a:cubicBezTo>
                <a:lnTo>
                  <a:pt x="331558" y="111987"/>
                </a:lnTo>
                <a:cubicBezTo>
                  <a:pt x="332758" y="111987"/>
                  <a:pt x="333859" y="112586"/>
                  <a:pt x="334459" y="113586"/>
                </a:cubicBezTo>
                <a:cubicBezTo>
                  <a:pt x="335059" y="114685"/>
                  <a:pt x="335059" y="115884"/>
                  <a:pt x="334459" y="116983"/>
                </a:cubicBezTo>
                <a:lnTo>
                  <a:pt x="326155" y="131670"/>
                </a:lnTo>
                <a:lnTo>
                  <a:pt x="335560" y="148756"/>
                </a:lnTo>
                <a:cubicBezTo>
                  <a:pt x="336660" y="150754"/>
                  <a:pt x="336960" y="153052"/>
                  <a:pt x="336560" y="155351"/>
                </a:cubicBezTo>
                <a:lnTo>
                  <a:pt x="329657" y="187424"/>
                </a:lnTo>
                <a:cubicBezTo>
                  <a:pt x="332958" y="178831"/>
                  <a:pt x="354869" y="119980"/>
                  <a:pt x="357971" y="111987"/>
                </a:cubicBezTo>
                <a:lnTo>
                  <a:pt x="382483" y="111987"/>
                </a:lnTo>
                <a:cubicBezTo>
                  <a:pt x="412798" y="111987"/>
                  <a:pt x="437610" y="136566"/>
                  <a:pt x="437710" y="166841"/>
                </a:cubicBezTo>
                <a:lnTo>
                  <a:pt x="438210" y="265858"/>
                </a:lnTo>
                <a:cubicBezTo>
                  <a:pt x="387185" y="234784"/>
                  <a:pt x="392788" y="238081"/>
                  <a:pt x="391387" y="237381"/>
                </a:cubicBezTo>
                <a:lnTo>
                  <a:pt x="391087" y="167041"/>
                </a:lnTo>
                <a:cubicBezTo>
                  <a:pt x="390987" y="164343"/>
                  <a:pt x="388786" y="162245"/>
                  <a:pt x="386185" y="162245"/>
                </a:cubicBezTo>
                <a:cubicBezTo>
                  <a:pt x="383483" y="162245"/>
                  <a:pt x="381282" y="164443"/>
                  <a:pt x="381282" y="167141"/>
                </a:cubicBezTo>
                <a:cubicBezTo>
                  <a:pt x="381282" y="193418"/>
                  <a:pt x="381382" y="215200"/>
                  <a:pt x="381382" y="233285"/>
                </a:cubicBezTo>
                <a:cubicBezTo>
                  <a:pt x="365374" y="229388"/>
                  <a:pt x="348066" y="235983"/>
                  <a:pt x="339061" y="250770"/>
                </a:cubicBezTo>
                <a:cubicBezTo>
                  <a:pt x="327956" y="269055"/>
                  <a:pt x="333759" y="292835"/>
                  <a:pt x="351968" y="303926"/>
                </a:cubicBezTo>
                <a:lnTo>
                  <a:pt x="381582" y="322010"/>
                </a:lnTo>
                <a:cubicBezTo>
                  <a:pt x="381682" y="328904"/>
                  <a:pt x="381782" y="332701"/>
                  <a:pt x="381782" y="337797"/>
                </a:cubicBezTo>
                <a:lnTo>
                  <a:pt x="268526" y="337797"/>
                </a:lnTo>
                <a:cubicBezTo>
                  <a:pt x="268126" y="328005"/>
                  <a:pt x="264224" y="319113"/>
                  <a:pt x="257721" y="312418"/>
                </a:cubicBezTo>
                <a:lnTo>
                  <a:pt x="257721" y="167041"/>
                </a:lnTo>
                <a:cubicBezTo>
                  <a:pt x="257721" y="164543"/>
                  <a:pt x="255720" y="162544"/>
                  <a:pt x="253219" y="162544"/>
                </a:cubicBezTo>
                <a:cubicBezTo>
                  <a:pt x="250818" y="162544"/>
                  <a:pt x="248717" y="164543"/>
                  <a:pt x="248717" y="167041"/>
                </a:cubicBezTo>
                <a:lnTo>
                  <a:pt x="248016" y="305025"/>
                </a:lnTo>
                <a:cubicBezTo>
                  <a:pt x="241913" y="301727"/>
                  <a:pt x="234810" y="300029"/>
                  <a:pt x="227406" y="300528"/>
                </a:cubicBezTo>
                <a:lnTo>
                  <a:pt x="201393" y="302127"/>
                </a:lnTo>
                <a:lnTo>
                  <a:pt x="202094" y="166841"/>
                </a:lnTo>
                <a:cubicBezTo>
                  <a:pt x="202194" y="136566"/>
                  <a:pt x="227006" y="111987"/>
                  <a:pt x="257321" y="111987"/>
                </a:cubicBezTo>
                <a:close/>
                <a:moveTo>
                  <a:pt x="320120" y="0"/>
                </a:moveTo>
                <a:cubicBezTo>
                  <a:pt x="346836" y="0"/>
                  <a:pt x="368493" y="21626"/>
                  <a:pt x="368493" y="48302"/>
                </a:cubicBezTo>
                <a:cubicBezTo>
                  <a:pt x="368493" y="74978"/>
                  <a:pt x="346836" y="96604"/>
                  <a:pt x="320120" y="96604"/>
                </a:cubicBezTo>
                <a:cubicBezTo>
                  <a:pt x="293404" y="96604"/>
                  <a:pt x="271747" y="74978"/>
                  <a:pt x="271747" y="48302"/>
                </a:cubicBezTo>
                <a:cubicBezTo>
                  <a:pt x="271747" y="21626"/>
                  <a:pt x="293404" y="0"/>
                  <a:pt x="32012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42" name="working-team_65869">
            <a:extLst>
              <a:ext uri="{FF2B5EF4-FFF2-40B4-BE49-F238E27FC236}">
                <a16:creationId xmlns:a16="http://schemas.microsoft.com/office/drawing/2014/main" id="{9ECFA376-0EBF-4F5C-8690-1860F6D2CE8C}"/>
              </a:ext>
            </a:extLst>
          </p:cNvPr>
          <p:cNvSpPr/>
          <p:nvPr/>
        </p:nvSpPr>
        <p:spPr>
          <a:xfrm>
            <a:off x="3718014" y="2538658"/>
            <a:ext cx="609685" cy="562114"/>
          </a:xfrm>
          <a:custGeom>
            <a:avLst/>
            <a:gdLst>
              <a:gd name="connsiteX0" fmla="*/ 469488 w 578320"/>
              <a:gd name="connsiteY0" fmla="*/ 312166 h 533197"/>
              <a:gd name="connsiteX1" fmla="*/ 523904 w 578320"/>
              <a:gd name="connsiteY1" fmla="*/ 363740 h 533197"/>
              <a:gd name="connsiteX2" fmla="*/ 523904 w 578320"/>
              <a:gd name="connsiteY2" fmla="*/ 376634 h 533197"/>
              <a:gd name="connsiteX3" fmla="*/ 527594 w 578320"/>
              <a:gd name="connsiteY3" fmla="*/ 391369 h 533197"/>
              <a:gd name="connsiteX4" fmla="*/ 512837 w 578320"/>
              <a:gd name="connsiteY4" fmla="*/ 411630 h 533197"/>
              <a:gd name="connsiteX5" fmla="*/ 498080 w 578320"/>
              <a:gd name="connsiteY5" fmla="*/ 440180 h 533197"/>
              <a:gd name="connsiteX6" fmla="*/ 529438 w 578320"/>
              <a:gd name="connsiteY6" fmla="*/ 475176 h 533197"/>
              <a:gd name="connsiteX7" fmla="*/ 578320 w 578320"/>
              <a:gd name="connsiteY7" fmla="*/ 518462 h 533197"/>
              <a:gd name="connsiteX8" fmla="*/ 485168 w 578320"/>
              <a:gd name="connsiteY8" fmla="*/ 533197 h 533197"/>
              <a:gd name="connsiteX9" fmla="*/ 477789 w 578320"/>
              <a:gd name="connsiteY9" fmla="*/ 486228 h 533197"/>
              <a:gd name="connsiteX10" fmla="*/ 481478 w 578320"/>
              <a:gd name="connsiteY10" fmla="*/ 479781 h 533197"/>
              <a:gd name="connsiteX11" fmla="*/ 480556 w 578320"/>
              <a:gd name="connsiteY11" fmla="*/ 477939 h 533197"/>
              <a:gd name="connsiteX12" fmla="*/ 471333 w 578320"/>
              <a:gd name="connsiteY12" fmla="*/ 466888 h 533197"/>
              <a:gd name="connsiteX13" fmla="*/ 467644 w 578320"/>
              <a:gd name="connsiteY13" fmla="*/ 466888 h 533197"/>
              <a:gd name="connsiteX14" fmla="*/ 458421 w 578320"/>
              <a:gd name="connsiteY14" fmla="*/ 477939 h 533197"/>
              <a:gd name="connsiteX15" fmla="*/ 458421 w 578320"/>
              <a:gd name="connsiteY15" fmla="*/ 479781 h 533197"/>
              <a:gd name="connsiteX16" fmla="*/ 462110 w 578320"/>
              <a:gd name="connsiteY16" fmla="*/ 486228 h 533197"/>
              <a:gd name="connsiteX17" fmla="*/ 454732 w 578320"/>
              <a:gd name="connsiteY17" fmla="*/ 533197 h 533197"/>
              <a:gd name="connsiteX18" fmla="*/ 361579 w 578320"/>
              <a:gd name="connsiteY18" fmla="*/ 518462 h 533197"/>
              <a:gd name="connsiteX19" fmla="*/ 409539 w 578320"/>
              <a:gd name="connsiteY19" fmla="*/ 475176 h 533197"/>
              <a:gd name="connsiteX20" fmla="*/ 440897 w 578320"/>
              <a:gd name="connsiteY20" fmla="*/ 440180 h 533197"/>
              <a:gd name="connsiteX21" fmla="*/ 427063 w 578320"/>
              <a:gd name="connsiteY21" fmla="*/ 411630 h 533197"/>
              <a:gd name="connsiteX22" fmla="*/ 411383 w 578320"/>
              <a:gd name="connsiteY22" fmla="*/ 391369 h 533197"/>
              <a:gd name="connsiteX23" fmla="*/ 415995 w 578320"/>
              <a:gd name="connsiteY23" fmla="*/ 376634 h 533197"/>
              <a:gd name="connsiteX24" fmla="*/ 415995 w 578320"/>
              <a:gd name="connsiteY24" fmla="*/ 363740 h 533197"/>
              <a:gd name="connsiteX25" fmla="*/ 469488 w 578320"/>
              <a:gd name="connsiteY25" fmla="*/ 312166 h 533197"/>
              <a:gd name="connsiteX26" fmla="*/ 107909 w 578320"/>
              <a:gd name="connsiteY26" fmla="*/ 312166 h 533197"/>
              <a:gd name="connsiteX27" fmla="*/ 162325 w 578320"/>
              <a:gd name="connsiteY27" fmla="*/ 363740 h 533197"/>
              <a:gd name="connsiteX28" fmla="*/ 162325 w 578320"/>
              <a:gd name="connsiteY28" fmla="*/ 376634 h 533197"/>
              <a:gd name="connsiteX29" fmla="*/ 166937 w 578320"/>
              <a:gd name="connsiteY29" fmla="*/ 391369 h 533197"/>
              <a:gd name="connsiteX30" fmla="*/ 151257 w 578320"/>
              <a:gd name="connsiteY30" fmla="*/ 411630 h 533197"/>
              <a:gd name="connsiteX31" fmla="*/ 137423 w 578320"/>
              <a:gd name="connsiteY31" fmla="*/ 440180 h 533197"/>
              <a:gd name="connsiteX32" fmla="*/ 167859 w 578320"/>
              <a:gd name="connsiteY32" fmla="*/ 475176 h 533197"/>
              <a:gd name="connsiteX33" fmla="*/ 216741 w 578320"/>
              <a:gd name="connsiteY33" fmla="*/ 518462 h 533197"/>
              <a:gd name="connsiteX34" fmla="*/ 123588 w 578320"/>
              <a:gd name="connsiteY34" fmla="*/ 533197 h 533197"/>
              <a:gd name="connsiteX35" fmla="*/ 116210 w 578320"/>
              <a:gd name="connsiteY35" fmla="*/ 486228 h 533197"/>
              <a:gd name="connsiteX36" fmla="*/ 119899 w 578320"/>
              <a:gd name="connsiteY36" fmla="*/ 479781 h 533197"/>
              <a:gd name="connsiteX37" fmla="*/ 119899 w 578320"/>
              <a:gd name="connsiteY37" fmla="*/ 477939 h 533197"/>
              <a:gd name="connsiteX38" fmla="*/ 109754 w 578320"/>
              <a:gd name="connsiteY38" fmla="*/ 466888 h 533197"/>
              <a:gd name="connsiteX39" fmla="*/ 106987 w 578320"/>
              <a:gd name="connsiteY39" fmla="*/ 466888 h 533197"/>
              <a:gd name="connsiteX40" fmla="*/ 96842 w 578320"/>
              <a:gd name="connsiteY40" fmla="*/ 477939 h 533197"/>
              <a:gd name="connsiteX41" fmla="*/ 96842 w 578320"/>
              <a:gd name="connsiteY41" fmla="*/ 479781 h 533197"/>
              <a:gd name="connsiteX42" fmla="*/ 100531 w 578320"/>
              <a:gd name="connsiteY42" fmla="*/ 486228 h 533197"/>
              <a:gd name="connsiteX43" fmla="*/ 93152 w 578320"/>
              <a:gd name="connsiteY43" fmla="*/ 533197 h 533197"/>
              <a:gd name="connsiteX44" fmla="*/ 0 w 578320"/>
              <a:gd name="connsiteY44" fmla="*/ 518462 h 533197"/>
              <a:gd name="connsiteX45" fmla="*/ 48882 w 578320"/>
              <a:gd name="connsiteY45" fmla="*/ 475176 h 533197"/>
              <a:gd name="connsiteX46" fmla="*/ 79318 w 578320"/>
              <a:gd name="connsiteY46" fmla="*/ 440180 h 533197"/>
              <a:gd name="connsiteX47" fmla="*/ 65483 w 578320"/>
              <a:gd name="connsiteY47" fmla="*/ 411630 h 533197"/>
              <a:gd name="connsiteX48" fmla="*/ 49804 w 578320"/>
              <a:gd name="connsiteY48" fmla="*/ 391369 h 533197"/>
              <a:gd name="connsiteX49" fmla="*/ 54416 w 578320"/>
              <a:gd name="connsiteY49" fmla="*/ 376634 h 533197"/>
              <a:gd name="connsiteX50" fmla="*/ 54416 w 578320"/>
              <a:gd name="connsiteY50" fmla="*/ 363740 h 533197"/>
              <a:gd name="connsiteX51" fmla="*/ 107909 w 578320"/>
              <a:gd name="connsiteY51" fmla="*/ 312166 h 533197"/>
              <a:gd name="connsiteX52" fmla="*/ 288717 w 578320"/>
              <a:gd name="connsiteY52" fmla="*/ 237601 h 533197"/>
              <a:gd name="connsiteX53" fmla="*/ 303485 w 578320"/>
              <a:gd name="connsiteY53" fmla="*/ 252338 h 533197"/>
              <a:gd name="connsiteX54" fmla="*/ 303485 w 578320"/>
              <a:gd name="connsiteY54" fmla="*/ 331547 h 533197"/>
              <a:gd name="connsiteX55" fmla="*/ 384708 w 578320"/>
              <a:gd name="connsiteY55" fmla="*/ 398782 h 533197"/>
              <a:gd name="connsiteX56" fmla="*/ 386554 w 578320"/>
              <a:gd name="connsiteY56" fmla="*/ 419045 h 533197"/>
              <a:gd name="connsiteX57" fmla="*/ 375478 w 578320"/>
              <a:gd name="connsiteY57" fmla="*/ 423650 h 533197"/>
              <a:gd name="connsiteX58" fmla="*/ 366248 w 578320"/>
              <a:gd name="connsiteY58" fmla="*/ 420887 h 533197"/>
              <a:gd name="connsiteX59" fmla="*/ 288717 w 578320"/>
              <a:gd name="connsiteY59" fmla="*/ 356415 h 533197"/>
              <a:gd name="connsiteX60" fmla="*/ 212108 w 578320"/>
              <a:gd name="connsiteY60" fmla="*/ 420887 h 533197"/>
              <a:gd name="connsiteX61" fmla="*/ 191802 w 578320"/>
              <a:gd name="connsiteY61" fmla="*/ 419045 h 533197"/>
              <a:gd name="connsiteX62" fmla="*/ 193648 w 578320"/>
              <a:gd name="connsiteY62" fmla="*/ 398782 h 533197"/>
              <a:gd name="connsiteX63" fmla="*/ 274872 w 578320"/>
              <a:gd name="connsiteY63" fmla="*/ 331547 h 533197"/>
              <a:gd name="connsiteX64" fmla="*/ 274872 w 578320"/>
              <a:gd name="connsiteY64" fmla="*/ 252338 h 533197"/>
              <a:gd name="connsiteX65" fmla="*/ 288717 w 578320"/>
              <a:gd name="connsiteY65" fmla="*/ 237601 h 533197"/>
              <a:gd name="connsiteX66" fmla="*/ 288699 w 578320"/>
              <a:gd name="connsiteY66" fmla="*/ 0 h 533197"/>
              <a:gd name="connsiteX67" fmla="*/ 343115 w 578320"/>
              <a:gd name="connsiteY67" fmla="*/ 50653 h 533197"/>
              <a:gd name="connsiteX68" fmla="*/ 343115 w 578320"/>
              <a:gd name="connsiteY68" fmla="*/ 63546 h 533197"/>
              <a:gd name="connsiteX69" fmla="*/ 346805 w 578320"/>
              <a:gd name="connsiteY69" fmla="*/ 78282 h 533197"/>
              <a:gd name="connsiteX70" fmla="*/ 332048 w 578320"/>
              <a:gd name="connsiteY70" fmla="*/ 98543 h 533197"/>
              <a:gd name="connsiteX71" fmla="*/ 318213 w 578320"/>
              <a:gd name="connsiteY71" fmla="*/ 127093 h 533197"/>
              <a:gd name="connsiteX72" fmla="*/ 348649 w 578320"/>
              <a:gd name="connsiteY72" fmla="*/ 163010 h 533197"/>
              <a:gd name="connsiteX73" fmla="*/ 397531 w 578320"/>
              <a:gd name="connsiteY73" fmla="*/ 206295 h 533197"/>
              <a:gd name="connsiteX74" fmla="*/ 304379 w 578320"/>
              <a:gd name="connsiteY74" fmla="*/ 220110 h 533197"/>
              <a:gd name="connsiteX75" fmla="*/ 297000 w 578320"/>
              <a:gd name="connsiteY75" fmla="*/ 173141 h 533197"/>
              <a:gd name="connsiteX76" fmla="*/ 300689 w 578320"/>
              <a:gd name="connsiteY76" fmla="*/ 167615 h 533197"/>
              <a:gd name="connsiteX77" fmla="*/ 300689 w 578320"/>
              <a:gd name="connsiteY77" fmla="*/ 164852 h 533197"/>
              <a:gd name="connsiteX78" fmla="*/ 290544 w 578320"/>
              <a:gd name="connsiteY78" fmla="*/ 154722 h 533197"/>
              <a:gd name="connsiteX79" fmla="*/ 287777 w 578320"/>
              <a:gd name="connsiteY79" fmla="*/ 154722 h 533197"/>
              <a:gd name="connsiteX80" fmla="*/ 277632 w 578320"/>
              <a:gd name="connsiteY80" fmla="*/ 164852 h 533197"/>
              <a:gd name="connsiteX81" fmla="*/ 277632 w 578320"/>
              <a:gd name="connsiteY81" fmla="*/ 167615 h 533197"/>
              <a:gd name="connsiteX82" fmla="*/ 281321 w 578320"/>
              <a:gd name="connsiteY82" fmla="*/ 173141 h 533197"/>
              <a:gd name="connsiteX83" fmla="*/ 273943 w 578320"/>
              <a:gd name="connsiteY83" fmla="*/ 221031 h 533197"/>
              <a:gd name="connsiteX84" fmla="*/ 180790 w 578320"/>
              <a:gd name="connsiteY84" fmla="*/ 206295 h 533197"/>
              <a:gd name="connsiteX85" fmla="*/ 228750 w 578320"/>
              <a:gd name="connsiteY85" fmla="*/ 163010 h 533197"/>
              <a:gd name="connsiteX86" fmla="*/ 260108 w 578320"/>
              <a:gd name="connsiteY86" fmla="*/ 127093 h 533197"/>
              <a:gd name="connsiteX87" fmla="*/ 246274 w 578320"/>
              <a:gd name="connsiteY87" fmla="*/ 98543 h 533197"/>
              <a:gd name="connsiteX88" fmla="*/ 230594 w 578320"/>
              <a:gd name="connsiteY88" fmla="*/ 78282 h 533197"/>
              <a:gd name="connsiteX89" fmla="*/ 235206 w 578320"/>
              <a:gd name="connsiteY89" fmla="*/ 63546 h 533197"/>
              <a:gd name="connsiteX90" fmla="*/ 235206 w 578320"/>
              <a:gd name="connsiteY90" fmla="*/ 50653 h 533197"/>
              <a:gd name="connsiteX91" fmla="*/ 288699 w 578320"/>
              <a:gd name="connsiteY91" fmla="*/ 0 h 53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578320" h="533197">
                <a:moveTo>
                  <a:pt x="469488" y="312166"/>
                </a:moveTo>
                <a:cubicBezTo>
                  <a:pt x="499002" y="312166"/>
                  <a:pt x="523904" y="335190"/>
                  <a:pt x="523904" y="363740"/>
                </a:cubicBezTo>
                <a:lnTo>
                  <a:pt x="523904" y="376634"/>
                </a:lnTo>
                <a:cubicBezTo>
                  <a:pt x="523904" y="376634"/>
                  <a:pt x="529438" y="381238"/>
                  <a:pt x="527594" y="391369"/>
                </a:cubicBezTo>
                <a:cubicBezTo>
                  <a:pt x="526671" y="404262"/>
                  <a:pt x="512837" y="411630"/>
                  <a:pt x="512837" y="411630"/>
                </a:cubicBezTo>
                <a:cubicBezTo>
                  <a:pt x="512837" y="411630"/>
                  <a:pt x="509147" y="430970"/>
                  <a:pt x="498080" y="440180"/>
                </a:cubicBezTo>
                <a:cubicBezTo>
                  <a:pt x="494391" y="467809"/>
                  <a:pt x="513759" y="470572"/>
                  <a:pt x="529438" y="475176"/>
                </a:cubicBezTo>
                <a:cubicBezTo>
                  <a:pt x="555263" y="483465"/>
                  <a:pt x="578320" y="485307"/>
                  <a:pt x="578320" y="518462"/>
                </a:cubicBezTo>
                <a:cubicBezTo>
                  <a:pt x="578320" y="525829"/>
                  <a:pt x="543273" y="532276"/>
                  <a:pt x="485168" y="533197"/>
                </a:cubicBezTo>
                <a:lnTo>
                  <a:pt x="477789" y="486228"/>
                </a:lnTo>
                <a:lnTo>
                  <a:pt x="481478" y="479781"/>
                </a:lnTo>
                <a:cubicBezTo>
                  <a:pt x="481478" y="478860"/>
                  <a:pt x="481478" y="477939"/>
                  <a:pt x="480556" y="477939"/>
                </a:cubicBezTo>
                <a:lnTo>
                  <a:pt x="471333" y="466888"/>
                </a:lnTo>
                <a:cubicBezTo>
                  <a:pt x="470411" y="465967"/>
                  <a:pt x="468566" y="465967"/>
                  <a:pt x="467644" y="466888"/>
                </a:cubicBezTo>
                <a:lnTo>
                  <a:pt x="458421" y="477939"/>
                </a:lnTo>
                <a:cubicBezTo>
                  <a:pt x="457499" y="477939"/>
                  <a:pt x="457499" y="478860"/>
                  <a:pt x="458421" y="479781"/>
                </a:cubicBezTo>
                <a:lnTo>
                  <a:pt x="462110" y="486228"/>
                </a:lnTo>
                <a:lnTo>
                  <a:pt x="454732" y="533197"/>
                </a:lnTo>
                <a:cubicBezTo>
                  <a:pt x="396627" y="532276"/>
                  <a:pt x="361579" y="525829"/>
                  <a:pt x="361579" y="518462"/>
                </a:cubicBezTo>
                <a:cubicBezTo>
                  <a:pt x="361579" y="485307"/>
                  <a:pt x="384637" y="483465"/>
                  <a:pt x="409539" y="475176"/>
                </a:cubicBezTo>
                <a:cubicBezTo>
                  <a:pt x="425218" y="470572"/>
                  <a:pt x="444586" y="466888"/>
                  <a:pt x="440897" y="440180"/>
                </a:cubicBezTo>
                <a:cubicBezTo>
                  <a:pt x="430752" y="430970"/>
                  <a:pt x="427063" y="411630"/>
                  <a:pt x="427063" y="411630"/>
                </a:cubicBezTo>
                <a:cubicBezTo>
                  <a:pt x="427063" y="411630"/>
                  <a:pt x="413228" y="404262"/>
                  <a:pt x="411383" y="391369"/>
                </a:cubicBezTo>
                <a:cubicBezTo>
                  <a:pt x="410461" y="381238"/>
                  <a:pt x="415995" y="376634"/>
                  <a:pt x="415995" y="376634"/>
                </a:cubicBezTo>
                <a:lnTo>
                  <a:pt x="415995" y="363740"/>
                </a:lnTo>
                <a:cubicBezTo>
                  <a:pt x="415995" y="335190"/>
                  <a:pt x="439975" y="312166"/>
                  <a:pt x="469488" y="312166"/>
                </a:cubicBezTo>
                <a:close/>
                <a:moveTo>
                  <a:pt x="107909" y="312166"/>
                </a:moveTo>
                <a:cubicBezTo>
                  <a:pt x="138345" y="312166"/>
                  <a:pt x="162325" y="335190"/>
                  <a:pt x="162325" y="363740"/>
                </a:cubicBezTo>
                <a:lnTo>
                  <a:pt x="162325" y="376634"/>
                </a:lnTo>
                <a:cubicBezTo>
                  <a:pt x="162325" y="376634"/>
                  <a:pt x="167859" y="381238"/>
                  <a:pt x="166937" y="391369"/>
                </a:cubicBezTo>
                <a:cubicBezTo>
                  <a:pt x="165092" y="404262"/>
                  <a:pt x="151257" y="411630"/>
                  <a:pt x="151257" y="411630"/>
                </a:cubicBezTo>
                <a:cubicBezTo>
                  <a:pt x="151257" y="411630"/>
                  <a:pt x="147568" y="430970"/>
                  <a:pt x="137423" y="440180"/>
                </a:cubicBezTo>
                <a:cubicBezTo>
                  <a:pt x="132811" y="467809"/>
                  <a:pt x="152180" y="470572"/>
                  <a:pt x="167859" y="475176"/>
                </a:cubicBezTo>
                <a:cubicBezTo>
                  <a:pt x="193684" y="483465"/>
                  <a:pt x="216741" y="485307"/>
                  <a:pt x="216741" y="518462"/>
                </a:cubicBezTo>
                <a:cubicBezTo>
                  <a:pt x="216741" y="525829"/>
                  <a:pt x="181693" y="532276"/>
                  <a:pt x="123588" y="533197"/>
                </a:cubicBezTo>
                <a:lnTo>
                  <a:pt x="116210" y="486228"/>
                </a:lnTo>
                <a:lnTo>
                  <a:pt x="119899" y="479781"/>
                </a:lnTo>
                <a:cubicBezTo>
                  <a:pt x="120821" y="478860"/>
                  <a:pt x="119899" y="477939"/>
                  <a:pt x="119899" y="477939"/>
                </a:cubicBezTo>
                <a:lnTo>
                  <a:pt x="109754" y="466888"/>
                </a:lnTo>
                <a:cubicBezTo>
                  <a:pt x="108832" y="465967"/>
                  <a:pt x="107909" y="465967"/>
                  <a:pt x="106987" y="466888"/>
                </a:cubicBezTo>
                <a:lnTo>
                  <a:pt x="96842" y="477939"/>
                </a:lnTo>
                <a:cubicBezTo>
                  <a:pt x="96842" y="477939"/>
                  <a:pt x="95919" y="478860"/>
                  <a:pt x="96842" y="479781"/>
                </a:cubicBezTo>
                <a:lnTo>
                  <a:pt x="100531" y="486228"/>
                </a:lnTo>
                <a:lnTo>
                  <a:pt x="93152" y="533197"/>
                </a:lnTo>
                <a:cubicBezTo>
                  <a:pt x="35047" y="532276"/>
                  <a:pt x="0" y="525829"/>
                  <a:pt x="0" y="518462"/>
                </a:cubicBezTo>
                <a:cubicBezTo>
                  <a:pt x="0" y="485307"/>
                  <a:pt x="23057" y="483465"/>
                  <a:pt x="48882" y="475176"/>
                </a:cubicBezTo>
                <a:cubicBezTo>
                  <a:pt x="64561" y="470572"/>
                  <a:pt x="83929" y="466888"/>
                  <a:pt x="79318" y="440180"/>
                </a:cubicBezTo>
                <a:cubicBezTo>
                  <a:pt x="69173" y="430970"/>
                  <a:pt x="65483" y="411630"/>
                  <a:pt x="65483" y="411630"/>
                </a:cubicBezTo>
                <a:cubicBezTo>
                  <a:pt x="65483" y="411630"/>
                  <a:pt x="51649" y="404262"/>
                  <a:pt x="49804" y="391369"/>
                </a:cubicBezTo>
                <a:cubicBezTo>
                  <a:pt x="48882" y="381238"/>
                  <a:pt x="54416" y="376634"/>
                  <a:pt x="54416" y="376634"/>
                </a:cubicBezTo>
                <a:lnTo>
                  <a:pt x="54416" y="363740"/>
                </a:lnTo>
                <a:cubicBezTo>
                  <a:pt x="54416" y="335190"/>
                  <a:pt x="78396" y="312166"/>
                  <a:pt x="107909" y="312166"/>
                </a:cubicBezTo>
                <a:close/>
                <a:moveTo>
                  <a:pt x="288717" y="237601"/>
                </a:moveTo>
                <a:cubicBezTo>
                  <a:pt x="297024" y="237601"/>
                  <a:pt x="303485" y="244048"/>
                  <a:pt x="303485" y="252338"/>
                </a:cubicBezTo>
                <a:lnTo>
                  <a:pt x="303485" y="331547"/>
                </a:lnTo>
                <a:lnTo>
                  <a:pt x="384708" y="398782"/>
                </a:lnTo>
                <a:cubicBezTo>
                  <a:pt x="390246" y="403387"/>
                  <a:pt x="391169" y="412598"/>
                  <a:pt x="386554" y="419045"/>
                </a:cubicBezTo>
                <a:cubicBezTo>
                  <a:pt x="383785" y="421808"/>
                  <a:pt x="379170" y="423650"/>
                  <a:pt x="375478" y="423650"/>
                </a:cubicBezTo>
                <a:cubicBezTo>
                  <a:pt x="371786" y="423650"/>
                  <a:pt x="369017" y="422729"/>
                  <a:pt x="366248" y="420887"/>
                </a:cubicBezTo>
                <a:lnTo>
                  <a:pt x="288717" y="356415"/>
                </a:lnTo>
                <a:lnTo>
                  <a:pt x="212108" y="420887"/>
                </a:lnTo>
                <a:cubicBezTo>
                  <a:pt x="205647" y="425492"/>
                  <a:pt x="196417" y="424571"/>
                  <a:pt x="191802" y="419045"/>
                </a:cubicBezTo>
                <a:cubicBezTo>
                  <a:pt x="186264" y="412598"/>
                  <a:pt x="187187" y="403387"/>
                  <a:pt x="193648" y="398782"/>
                </a:cubicBezTo>
                <a:lnTo>
                  <a:pt x="274872" y="331547"/>
                </a:lnTo>
                <a:lnTo>
                  <a:pt x="274872" y="252338"/>
                </a:lnTo>
                <a:cubicBezTo>
                  <a:pt x="274872" y="244048"/>
                  <a:pt x="281333" y="237601"/>
                  <a:pt x="288717" y="237601"/>
                </a:cubicBezTo>
                <a:close/>
                <a:moveTo>
                  <a:pt x="288699" y="0"/>
                </a:moveTo>
                <a:cubicBezTo>
                  <a:pt x="318213" y="0"/>
                  <a:pt x="343115" y="22103"/>
                  <a:pt x="343115" y="50653"/>
                </a:cubicBezTo>
                <a:lnTo>
                  <a:pt x="343115" y="63546"/>
                </a:lnTo>
                <a:cubicBezTo>
                  <a:pt x="343115" y="63546"/>
                  <a:pt x="348649" y="68151"/>
                  <a:pt x="346805" y="78282"/>
                </a:cubicBezTo>
                <a:cubicBezTo>
                  <a:pt x="345882" y="92096"/>
                  <a:pt x="332048" y="98543"/>
                  <a:pt x="332048" y="98543"/>
                </a:cubicBezTo>
                <a:cubicBezTo>
                  <a:pt x="332048" y="98543"/>
                  <a:pt x="328358" y="117883"/>
                  <a:pt x="318213" y="127093"/>
                </a:cubicBezTo>
                <a:cubicBezTo>
                  <a:pt x="313602" y="154722"/>
                  <a:pt x="332970" y="157484"/>
                  <a:pt x="348649" y="163010"/>
                </a:cubicBezTo>
                <a:cubicBezTo>
                  <a:pt x="374474" y="171299"/>
                  <a:pt x="397531" y="172220"/>
                  <a:pt x="397531" y="206295"/>
                </a:cubicBezTo>
                <a:cubicBezTo>
                  <a:pt x="397531" y="212742"/>
                  <a:pt x="362484" y="219189"/>
                  <a:pt x="304379" y="220110"/>
                </a:cubicBezTo>
                <a:lnTo>
                  <a:pt x="297000" y="173141"/>
                </a:lnTo>
                <a:lnTo>
                  <a:pt x="300689" y="167615"/>
                </a:lnTo>
                <a:cubicBezTo>
                  <a:pt x="300689" y="166694"/>
                  <a:pt x="300689" y="165773"/>
                  <a:pt x="300689" y="164852"/>
                </a:cubicBezTo>
                <a:lnTo>
                  <a:pt x="290544" y="154722"/>
                </a:lnTo>
                <a:cubicBezTo>
                  <a:pt x="289622" y="153801"/>
                  <a:pt x="287777" y="153801"/>
                  <a:pt x="287777" y="154722"/>
                </a:cubicBezTo>
                <a:lnTo>
                  <a:pt x="277632" y="164852"/>
                </a:lnTo>
                <a:cubicBezTo>
                  <a:pt x="276710" y="165773"/>
                  <a:pt x="276710" y="166694"/>
                  <a:pt x="277632" y="167615"/>
                </a:cubicBezTo>
                <a:lnTo>
                  <a:pt x="281321" y="173141"/>
                </a:lnTo>
                <a:lnTo>
                  <a:pt x="273943" y="221031"/>
                </a:lnTo>
                <a:cubicBezTo>
                  <a:pt x="215838" y="219189"/>
                  <a:pt x="180790" y="212742"/>
                  <a:pt x="180790" y="206295"/>
                </a:cubicBezTo>
                <a:cubicBezTo>
                  <a:pt x="180790" y="172220"/>
                  <a:pt x="203848" y="171299"/>
                  <a:pt x="228750" y="163010"/>
                </a:cubicBezTo>
                <a:cubicBezTo>
                  <a:pt x="244429" y="157484"/>
                  <a:pt x="264720" y="154722"/>
                  <a:pt x="260108" y="127093"/>
                </a:cubicBezTo>
                <a:cubicBezTo>
                  <a:pt x="249963" y="117883"/>
                  <a:pt x="246274" y="98543"/>
                  <a:pt x="246274" y="98543"/>
                </a:cubicBezTo>
                <a:cubicBezTo>
                  <a:pt x="246274" y="98543"/>
                  <a:pt x="232439" y="92096"/>
                  <a:pt x="230594" y="78282"/>
                </a:cubicBezTo>
                <a:cubicBezTo>
                  <a:pt x="229672" y="68151"/>
                  <a:pt x="235206" y="63546"/>
                  <a:pt x="235206" y="63546"/>
                </a:cubicBezTo>
                <a:lnTo>
                  <a:pt x="235206" y="50653"/>
                </a:lnTo>
                <a:cubicBezTo>
                  <a:pt x="235206" y="22103"/>
                  <a:pt x="259186" y="0"/>
                  <a:pt x="28869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43" name="图片 442">
            <a:extLst>
              <a:ext uri="{FF2B5EF4-FFF2-40B4-BE49-F238E27FC236}">
                <a16:creationId xmlns:a16="http://schemas.microsoft.com/office/drawing/2014/main" id="{16241101-FF37-4BE9-9FCF-EE306D57FB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872" t="44755" r="47108" b="47630"/>
          <a:stretch/>
        </p:blipFill>
        <p:spPr>
          <a:xfrm>
            <a:off x="5715477" y="2558591"/>
            <a:ext cx="733946" cy="522247"/>
          </a:xfrm>
          <a:prstGeom prst="rect">
            <a:avLst/>
          </a:prstGeom>
        </p:spPr>
      </p:pic>
      <p:sp>
        <p:nvSpPr>
          <p:cNvPr id="444" name="页脚占位符 2">
            <a:extLst>
              <a:ext uri="{FF2B5EF4-FFF2-40B4-BE49-F238E27FC236}">
                <a16:creationId xmlns:a16="http://schemas.microsoft.com/office/drawing/2014/main" id="{14DE9A3C-BDD4-4D1D-B036-F1571D6F7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3768047"/>
      </p:ext>
    </p:extLst>
  </p:cSld>
  <p:clrMapOvr>
    <a:masterClrMapping/>
  </p:clrMapOvr>
  <p:transition spd="slow">
    <p:cover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660401" y="1130300"/>
            <a:ext cx="10097245" cy="5003800"/>
            <a:chOff x="660401" y="1130300"/>
            <a:chExt cx="10097245" cy="5003800"/>
          </a:xfrm>
        </p:grpSpPr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40F65DAD-AA3C-4A71-9192-B937A470736C}"/>
                </a:ext>
              </a:extLst>
            </p:cNvPr>
            <p:cNvGrpSpPr/>
            <p:nvPr/>
          </p:nvGrpSpPr>
          <p:grpSpPr>
            <a:xfrm>
              <a:off x="660401" y="1454150"/>
              <a:ext cx="5526644" cy="4356100"/>
              <a:chOff x="660400" y="1454150"/>
              <a:chExt cx="10858499" cy="4356100"/>
            </a:xfrm>
          </p:grpSpPr>
          <p:sp>
            <p:nvSpPr>
              <p:cNvPr id="9" name="圆角矩形 8">
                <a:extLst>
                  <a:ext uri="{FF2B5EF4-FFF2-40B4-BE49-F238E27FC236}">
                    <a16:creationId xmlns:a16="http://schemas.microsoft.com/office/drawing/2014/main" id="{AC53584C-2748-48EB-8FCE-75292027D0BB}"/>
                  </a:ext>
                </a:extLst>
              </p:cNvPr>
              <p:cNvSpPr/>
              <p:nvPr/>
            </p:nvSpPr>
            <p:spPr>
              <a:xfrm>
                <a:off x="660400" y="33210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2400" b="1" dirty="0">
                    <a:solidFill>
                      <a:schemeClr val="accent1"/>
                    </a:solidFill>
                  </a:rPr>
                  <a:t>小组分工</a:t>
                </a:r>
                <a:endParaRPr lang="en-US" altLang="zh-CN" sz="24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" name="圆角矩形 9">
                <a:extLst>
                  <a:ext uri="{FF2B5EF4-FFF2-40B4-BE49-F238E27FC236}">
                    <a16:creationId xmlns:a16="http://schemas.microsoft.com/office/drawing/2014/main" id="{DDF6F91D-5F85-4D9C-AE6C-1E9154F2DEB2}"/>
                  </a:ext>
                </a:extLst>
              </p:cNvPr>
              <p:cNvSpPr/>
              <p:nvPr/>
            </p:nvSpPr>
            <p:spPr>
              <a:xfrm>
                <a:off x="660400" y="26987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经验教训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1" name="圆角矩形 10">
                <a:extLst>
                  <a:ext uri="{FF2B5EF4-FFF2-40B4-BE49-F238E27FC236}">
                    <a16:creationId xmlns:a16="http://schemas.microsoft.com/office/drawing/2014/main" id="{3FCD1556-55DB-422A-9A91-03C8CA4C8CFC}"/>
                  </a:ext>
                </a:extLst>
              </p:cNvPr>
              <p:cNvSpPr/>
              <p:nvPr/>
            </p:nvSpPr>
            <p:spPr>
              <a:xfrm>
                <a:off x="660400" y="39433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致谢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2" name="圆角矩形 11">
                <a:extLst>
                  <a:ext uri="{FF2B5EF4-FFF2-40B4-BE49-F238E27FC236}">
                    <a16:creationId xmlns:a16="http://schemas.microsoft.com/office/drawing/2014/main" id="{E9125F22-9110-4DA9-BB15-F5E756018AB3}"/>
                  </a:ext>
                </a:extLst>
              </p:cNvPr>
              <p:cNvSpPr/>
              <p:nvPr/>
            </p:nvSpPr>
            <p:spPr>
              <a:xfrm>
                <a:off x="660400" y="45656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产品特色与创新点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3" name="圆角矩形 12">
                <a:extLst>
                  <a:ext uri="{FF2B5EF4-FFF2-40B4-BE49-F238E27FC236}">
                    <a16:creationId xmlns:a16="http://schemas.microsoft.com/office/drawing/2014/main" id="{487B6CCD-FECD-4A9D-9A26-BC273CC3851B}"/>
                  </a:ext>
                </a:extLst>
              </p:cNvPr>
              <p:cNvSpPr/>
              <p:nvPr/>
            </p:nvSpPr>
            <p:spPr>
              <a:xfrm>
                <a:off x="660400" y="20764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软件度量与测试报告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4" name="圆角矩形 13">
                <a:extLst>
                  <a:ext uri="{FF2B5EF4-FFF2-40B4-BE49-F238E27FC236}">
                    <a16:creationId xmlns:a16="http://schemas.microsoft.com/office/drawing/2014/main" id="{EDF8110A-8EDB-418C-B6DF-9602B875D010}"/>
                  </a:ext>
                </a:extLst>
              </p:cNvPr>
              <p:cNvSpPr/>
              <p:nvPr/>
            </p:nvSpPr>
            <p:spPr>
              <a:xfrm>
                <a:off x="660400" y="51879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产品演示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sp>
            <p:nvSpPr>
              <p:cNvPr id="15" name="圆角矩形 14">
                <a:extLst>
                  <a:ext uri="{FF2B5EF4-FFF2-40B4-BE49-F238E27FC236}">
                    <a16:creationId xmlns:a16="http://schemas.microsoft.com/office/drawing/2014/main" id="{49395A25-2C00-42D1-927A-C8E332E0FB46}"/>
                  </a:ext>
                </a:extLst>
              </p:cNvPr>
              <p:cNvSpPr/>
              <p:nvPr/>
            </p:nvSpPr>
            <p:spPr>
              <a:xfrm>
                <a:off x="660400" y="14541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架构与关键技术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296774F8-FE38-4B25-BE73-AF85310781B0}"/>
                  </a:ext>
                </a:extLst>
              </p:cNvPr>
              <p:cNvGrpSpPr/>
              <p:nvPr/>
            </p:nvGrpSpPr>
            <p:grpSpPr>
              <a:xfrm>
                <a:off x="3055917" y="2076450"/>
                <a:ext cx="6080166" cy="3111500"/>
                <a:chOff x="2802576" y="2076450"/>
                <a:chExt cx="6080166" cy="3111500"/>
              </a:xfrm>
            </p:grpSpPr>
            <p:cxnSp>
              <p:nvCxnSpPr>
                <p:cNvPr id="5" name="直接连接符 4">
                  <a:extLst>
                    <a:ext uri="{FF2B5EF4-FFF2-40B4-BE49-F238E27FC236}">
                      <a16:creationId xmlns:a16="http://schemas.microsoft.com/office/drawing/2014/main" id="{665A9CCB-14B6-4181-96D2-1E7424A398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3210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>
                  <a:extLst>
                    <a:ext uri="{FF2B5EF4-FFF2-40B4-BE49-F238E27FC236}">
                      <a16:creationId xmlns:a16="http://schemas.microsoft.com/office/drawing/2014/main" id="{2209BB7D-243A-446A-A163-08AD95BB30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9433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2" name="组合 21">
                  <a:extLst>
                    <a:ext uri="{FF2B5EF4-FFF2-40B4-BE49-F238E27FC236}">
                      <a16:creationId xmlns:a16="http://schemas.microsoft.com/office/drawing/2014/main" id="{B4DB02FD-20CA-439E-94DF-A159F531B24A}"/>
                    </a:ext>
                  </a:extLst>
                </p:cNvPr>
                <p:cNvGrpSpPr/>
                <p:nvPr/>
              </p:nvGrpSpPr>
              <p:grpSpPr>
                <a:xfrm>
                  <a:off x="3241963" y="2076450"/>
                  <a:ext cx="5201393" cy="3111500"/>
                  <a:chOff x="2802576" y="2076450"/>
                  <a:chExt cx="6080166" cy="3111500"/>
                </a:xfrm>
              </p:grpSpPr>
              <p:cxnSp>
                <p:nvCxnSpPr>
                  <p:cNvPr id="17" name="直接连接符 16">
                    <a:extLst>
                      <a:ext uri="{FF2B5EF4-FFF2-40B4-BE49-F238E27FC236}">
                        <a16:creationId xmlns:a16="http://schemas.microsoft.com/office/drawing/2014/main" id="{351CD98E-B842-421D-A69C-11F4C36899A7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45656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" name="直接连接符 18">
                    <a:extLst>
                      <a:ext uri="{FF2B5EF4-FFF2-40B4-BE49-F238E27FC236}">
                        <a16:creationId xmlns:a16="http://schemas.microsoft.com/office/drawing/2014/main" id="{7521AFC8-74E6-48C6-8BD5-E0EA6FDE7D98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26987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1" name="组合 20">
                    <a:extLst>
                      <a:ext uri="{FF2B5EF4-FFF2-40B4-BE49-F238E27FC236}">
                        <a16:creationId xmlns:a16="http://schemas.microsoft.com/office/drawing/2014/main" id="{6F854CE6-0C4E-46E6-B40C-A83741098EAA}"/>
                      </a:ext>
                    </a:extLst>
                  </p:cNvPr>
                  <p:cNvGrpSpPr/>
                  <p:nvPr/>
                </p:nvGrpSpPr>
                <p:grpSpPr>
                  <a:xfrm>
                    <a:off x="3548743" y="2076450"/>
                    <a:ext cx="5094515" cy="3111500"/>
                    <a:chOff x="2802576" y="2076450"/>
                    <a:chExt cx="6080166" cy="3111500"/>
                  </a:xfrm>
                </p:grpSpPr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:a16="http://schemas.microsoft.com/office/drawing/2014/main" id="{274C2429-0D16-4487-80BA-DF46BA86B0F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51879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0" name="直接连接符 19">
                      <a:extLst>
                        <a:ext uri="{FF2B5EF4-FFF2-40B4-BE49-F238E27FC236}">
                          <a16:creationId xmlns:a16="http://schemas.microsoft.com/office/drawing/2014/main" id="{180F0829-2591-4662-B868-7F0B2BA51C9C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20764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  <p:sp>
          <p:nvSpPr>
            <p:cNvPr id="25" name="圆角矩形 24">
              <a:extLst>
                <a:ext uri="{FF2B5EF4-FFF2-40B4-BE49-F238E27FC236}">
                  <a16:creationId xmlns:a16="http://schemas.microsoft.com/office/drawing/2014/main" id="{46D2D162-62B1-41D6-85F2-38FCC8088EB2}"/>
                </a:ext>
              </a:extLst>
            </p:cNvPr>
            <p:cNvSpPr/>
            <p:nvPr/>
          </p:nvSpPr>
          <p:spPr>
            <a:xfrm>
              <a:off x="5751807" y="1130300"/>
              <a:ext cx="5005839" cy="5003800"/>
            </a:xfrm>
            <a:prstGeom prst="roundRect">
              <a:avLst>
                <a:gd name="adj" fmla="val 5556"/>
              </a:avLst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76200">
              <a:noFill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945" name="组合 94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F0CE39A-BFD1-4E81-AA81-473B7292C35E}"/>
              </a:ext>
            </a:extLst>
          </p:cNvPr>
          <p:cNvGrpSpPr>
            <a:grpSpLocks noChangeAspect="1"/>
          </p:cNvGrpSpPr>
          <p:nvPr/>
        </p:nvGrpSpPr>
        <p:grpSpPr>
          <a:xfrm>
            <a:off x="6079715" y="2438087"/>
            <a:ext cx="4325583" cy="2318415"/>
            <a:chOff x="2752725" y="1840280"/>
            <a:chExt cx="6686550" cy="3583840"/>
          </a:xfrm>
        </p:grpSpPr>
        <p:sp>
          <p:nvSpPr>
            <p:cNvPr id="946" name="îṩļîďè">
              <a:extLst>
                <a:ext uri="{FF2B5EF4-FFF2-40B4-BE49-F238E27FC236}">
                  <a16:creationId xmlns:a16="http://schemas.microsoft.com/office/drawing/2014/main" id="{173A2AB2-F97F-41AC-812C-56E04448DD0B}"/>
                </a:ext>
              </a:extLst>
            </p:cNvPr>
            <p:cNvSpPr/>
            <p:nvPr/>
          </p:nvSpPr>
          <p:spPr bwMode="auto">
            <a:xfrm>
              <a:off x="7848244" y="3889336"/>
              <a:ext cx="299323" cy="252114"/>
            </a:xfrm>
            <a:custGeom>
              <a:avLst/>
              <a:gdLst>
                <a:gd name="T0" fmla="*/ 119 w 126"/>
                <a:gd name="T1" fmla="*/ 98 h 106"/>
                <a:gd name="T2" fmla="*/ 53 w 126"/>
                <a:gd name="T3" fmla="*/ 92 h 106"/>
                <a:gd name="T4" fmla="*/ 2 w 126"/>
                <a:gd name="T5" fmla="*/ 30 h 106"/>
                <a:gd name="T6" fmla="*/ 38 w 126"/>
                <a:gd name="T7" fmla="*/ 5 h 106"/>
                <a:gd name="T8" fmla="*/ 126 w 126"/>
                <a:gd name="T9" fmla="*/ 55 h 106"/>
                <a:gd name="T10" fmla="*/ 119 w 126"/>
                <a:gd name="T11" fmla="*/ 9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6" h="106">
                  <a:moveTo>
                    <a:pt x="119" y="98"/>
                  </a:moveTo>
                  <a:cubicBezTo>
                    <a:pt x="114" y="98"/>
                    <a:pt x="76" y="106"/>
                    <a:pt x="53" y="92"/>
                  </a:cubicBezTo>
                  <a:cubicBezTo>
                    <a:pt x="29" y="79"/>
                    <a:pt x="0" y="45"/>
                    <a:pt x="2" y="30"/>
                  </a:cubicBezTo>
                  <a:cubicBezTo>
                    <a:pt x="4" y="15"/>
                    <a:pt x="15" y="0"/>
                    <a:pt x="38" y="5"/>
                  </a:cubicBezTo>
                  <a:cubicBezTo>
                    <a:pt x="61" y="10"/>
                    <a:pt x="126" y="55"/>
                    <a:pt x="126" y="55"/>
                  </a:cubicBezTo>
                  <a:lnTo>
                    <a:pt x="119" y="98"/>
                  </a:lnTo>
                  <a:close/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7" name="iṡḻïďe">
              <a:extLst>
                <a:ext uri="{FF2B5EF4-FFF2-40B4-BE49-F238E27FC236}">
                  <a16:creationId xmlns:a16="http://schemas.microsoft.com/office/drawing/2014/main" id="{46F8A1F2-28AF-4EBD-90A3-968570AFE7A6}"/>
                </a:ext>
              </a:extLst>
            </p:cNvPr>
            <p:cNvSpPr/>
            <p:nvPr/>
          </p:nvSpPr>
          <p:spPr bwMode="auto">
            <a:xfrm>
              <a:off x="7644341" y="3497606"/>
              <a:ext cx="598645" cy="574539"/>
            </a:xfrm>
            <a:custGeom>
              <a:avLst/>
              <a:gdLst>
                <a:gd name="T0" fmla="*/ 0 w 596"/>
                <a:gd name="T1" fmla="*/ 277 h 572"/>
                <a:gd name="T2" fmla="*/ 213 w 596"/>
                <a:gd name="T3" fmla="*/ 0 h 572"/>
                <a:gd name="T4" fmla="*/ 596 w 596"/>
                <a:gd name="T5" fmla="*/ 296 h 572"/>
                <a:gd name="T6" fmla="*/ 383 w 596"/>
                <a:gd name="T7" fmla="*/ 572 h 572"/>
                <a:gd name="T8" fmla="*/ 0 w 596"/>
                <a:gd name="T9" fmla="*/ 277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6" h="572">
                  <a:moveTo>
                    <a:pt x="0" y="277"/>
                  </a:moveTo>
                  <a:lnTo>
                    <a:pt x="213" y="0"/>
                  </a:lnTo>
                  <a:lnTo>
                    <a:pt x="596" y="296"/>
                  </a:lnTo>
                  <a:lnTo>
                    <a:pt x="383" y="572"/>
                  </a:lnTo>
                  <a:lnTo>
                    <a:pt x="0" y="277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8" name="íslidé">
              <a:extLst>
                <a:ext uri="{FF2B5EF4-FFF2-40B4-BE49-F238E27FC236}">
                  <a16:creationId xmlns:a16="http://schemas.microsoft.com/office/drawing/2014/main" id="{B606E7CB-DE87-4182-B724-1C89E72FFD6D}"/>
                </a:ext>
              </a:extLst>
            </p:cNvPr>
            <p:cNvSpPr/>
            <p:nvPr/>
          </p:nvSpPr>
          <p:spPr bwMode="auto">
            <a:xfrm>
              <a:off x="7694563" y="3547827"/>
              <a:ext cx="177786" cy="230017"/>
            </a:xfrm>
            <a:custGeom>
              <a:avLst/>
              <a:gdLst>
                <a:gd name="T0" fmla="*/ 0 w 177"/>
                <a:gd name="T1" fmla="*/ 224 h 229"/>
                <a:gd name="T2" fmla="*/ 170 w 177"/>
                <a:gd name="T3" fmla="*/ 0 h 229"/>
                <a:gd name="T4" fmla="*/ 177 w 177"/>
                <a:gd name="T5" fmla="*/ 7 h 229"/>
                <a:gd name="T6" fmla="*/ 7 w 177"/>
                <a:gd name="T7" fmla="*/ 229 h 229"/>
                <a:gd name="T8" fmla="*/ 0 w 177"/>
                <a:gd name="T9" fmla="*/ 224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29">
                  <a:moveTo>
                    <a:pt x="0" y="224"/>
                  </a:moveTo>
                  <a:lnTo>
                    <a:pt x="170" y="0"/>
                  </a:lnTo>
                  <a:lnTo>
                    <a:pt x="177" y="7"/>
                  </a:lnTo>
                  <a:lnTo>
                    <a:pt x="7" y="229"/>
                  </a:lnTo>
                  <a:lnTo>
                    <a:pt x="0" y="224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9" name="iṧlíḍe">
              <a:extLst>
                <a:ext uri="{FF2B5EF4-FFF2-40B4-BE49-F238E27FC236}">
                  <a16:creationId xmlns:a16="http://schemas.microsoft.com/office/drawing/2014/main" id="{77110FAF-351A-43BB-B6D0-67917214939F}"/>
                </a:ext>
              </a:extLst>
            </p:cNvPr>
            <p:cNvSpPr/>
            <p:nvPr/>
          </p:nvSpPr>
          <p:spPr bwMode="auto">
            <a:xfrm>
              <a:off x="7717666" y="3566911"/>
              <a:ext cx="178790" cy="228008"/>
            </a:xfrm>
            <a:custGeom>
              <a:avLst/>
              <a:gdLst>
                <a:gd name="T0" fmla="*/ 0 w 178"/>
                <a:gd name="T1" fmla="*/ 222 h 227"/>
                <a:gd name="T2" fmla="*/ 171 w 178"/>
                <a:gd name="T3" fmla="*/ 0 h 227"/>
                <a:gd name="T4" fmla="*/ 178 w 178"/>
                <a:gd name="T5" fmla="*/ 4 h 227"/>
                <a:gd name="T6" fmla="*/ 7 w 178"/>
                <a:gd name="T7" fmla="*/ 227 h 227"/>
                <a:gd name="T8" fmla="*/ 0 w 178"/>
                <a:gd name="T9" fmla="*/ 22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227">
                  <a:moveTo>
                    <a:pt x="0" y="222"/>
                  </a:moveTo>
                  <a:lnTo>
                    <a:pt x="171" y="0"/>
                  </a:lnTo>
                  <a:lnTo>
                    <a:pt x="178" y="4"/>
                  </a:lnTo>
                  <a:lnTo>
                    <a:pt x="7" y="227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0" name="íşľíďé">
              <a:extLst>
                <a:ext uri="{FF2B5EF4-FFF2-40B4-BE49-F238E27FC236}">
                  <a16:creationId xmlns:a16="http://schemas.microsoft.com/office/drawing/2014/main" id="{8B09A765-9F40-4AFA-B808-966053045730}"/>
                </a:ext>
              </a:extLst>
            </p:cNvPr>
            <p:cNvSpPr/>
            <p:nvPr/>
          </p:nvSpPr>
          <p:spPr bwMode="auto">
            <a:xfrm>
              <a:off x="7739764" y="3582982"/>
              <a:ext cx="177786" cy="231021"/>
            </a:xfrm>
            <a:custGeom>
              <a:avLst/>
              <a:gdLst>
                <a:gd name="T0" fmla="*/ 0 w 177"/>
                <a:gd name="T1" fmla="*/ 223 h 230"/>
                <a:gd name="T2" fmla="*/ 172 w 177"/>
                <a:gd name="T3" fmla="*/ 0 h 230"/>
                <a:gd name="T4" fmla="*/ 177 w 177"/>
                <a:gd name="T5" fmla="*/ 5 h 230"/>
                <a:gd name="T6" fmla="*/ 7 w 177"/>
                <a:gd name="T7" fmla="*/ 230 h 230"/>
                <a:gd name="T8" fmla="*/ 0 w 177"/>
                <a:gd name="T9" fmla="*/ 22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30">
                  <a:moveTo>
                    <a:pt x="0" y="223"/>
                  </a:moveTo>
                  <a:lnTo>
                    <a:pt x="172" y="0"/>
                  </a:lnTo>
                  <a:lnTo>
                    <a:pt x="177" y="5"/>
                  </a:lnTo>
                  <a:lnTo>
                    <a:pt x="7" y="230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1" name="ïSḻïḓè">
              <a:extLst>
                <a:ext uri="{FF2B5EF4-FFF2-40B4-BE49-F238E27FC236}">
                  <a16:creationId xmlns:a16="http://schemas.microsoft.com/office/drawing/2014/main" id="{DAEEE9B1-D49D-422E-83FD-A86A2BAE51A7}"/>
                </a:ext>
              </a:extLst>
            </p:cNvPr>
            <p:cNvSpPr/>
            <p:nvPr/>
          </p:nvSpPr>
          <p:spPr bwMode="auto">
            <a:xfrm>
              <a:off x="7762866" y="3602068"/>
              <a:ext cx="178790" cy="228008"/>
            </a:xfrm>
            <a:custGeom>
              <a:avLst/>
              <a:gdLst>
                <a:gd name="T0" fmla="*/ 0 w 178"/>
                <a:gd name="T1" fmla="*/ 222 h 227"/>
                <a:gd name="T2" fmla="*/ 171 w 178"/>
                <a:gd name="T3" fmla="*/ 0 h 227"/>
                <a:gd name="T4" fmla="*/ 178 w 178"/>
                <a:gd name="T5" fmla="*/ 5 h 227"/>
                <a:gd name="T6" fmla="*/ 7 w 178"/>
                <a:gd name="T7" fmla="*/ 227 h 227"/>
                <a:gd name="T8" fmla="*/ 0 w 178"/>
                <a:gd name="T9" fmla="*/ 22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227">
                  <a:moveTo>
                    <a:pt x="0" y="222"/>
                  </a:moveTo>
                  <a:lnTo>
                    <a:pt x="171" y="0"/>
                  </a:lnTo>
                  <a:lnTo>
                    <a:pt x="178" y="5"/>
                  </a:lnTo>
                  <a:lnTo>
                    <a:pt x="7" y="227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2" name="îślíḓê">
              <a:extLst>
                <a:ext uri="{FF2B5EF4-FFF2-40B4-BE49-F238E27FC236}">
                  <a16:creationId xmlns:a16="http://schemas.microsoft.com/office/drawing/2014/main" id="{D98B1D11-2BD2-4981-9FBB-6AB164A09378}"/>
                </a:ext>
              </a:extLst>
            </p:cNvPr>
            <p:cNvSpPr/>
            <p:nvPr/>
          </p:nvSpPr>
          <p:spPr bwMode="auto">
            <a:xfrm>
              <a:off x="7784964" y="3619142"/>
              <a:ext cx="179795" cy="228008"/>
            </a:xfrm>
            <a:custGeom>
              <a:avLst/>
              <a:gdLst>
                <a:gd name="T0" fmla="*/ 0 w 179"/>
                <a:gd name="T1" fmla="*/ 222 h 227"/>
                <a:gd name="T2" fmla="*/ 172 w 179"/>
                <a:gd name="T3" fmla="*/ 0 h 227"/>
                <a:gd name="T4" fmla="*/ 179 w 179"/>
                <a:gd name="T5" fmla="*/ 5 h 227"/>
                <a:gd name="T6" fmla="*/ 7 w 179"/>
                <a:gd name="T7" fmla="*/ 227 h 227"/>
                <a:gd name="T8" fmla="*/ 0 w 179"/>
                <a:gd name="T9" fmla="*/ 22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" h="227">
                  <a:moveTo>
                    <a:pt x="0" y="222"/>
                  </a:moveTo>
                  <a:lnTo>
                    <a:pt x="172" y="0"/>
                  </a:lnTo>
                  <a:lnTo>
                    <a:pt x="179" y="5"/>
                  </a:lnTo>
                  <a:lnTo>
                    <a:pt x="7" y="227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3" name="íşļïďe">
              <a:extLst>
                <a:ext uri="{FF2B5EF4-FFF2-40B4-BE49-F238E27FC236}">
                  <a16:creationId xmlns:a16="http://schemas.microsoft.com/office/drawing/2014/main" id="{CCF56C57-F0DA-429E-B007-40722B6E7454}"/>
                </a:ext>
              </a:extLst>
            </p:cNvPr>
            <p:cNvSpPr/>
            <p:nvPr/>
          </p:nvSpPr>
          <p:spPr bwMode="auto">
            <a:xfrm>
              <a:off x="7808066" y="3635213"/>
              <a:ext cx="178790" cy="231021"/>
            </a:xfrm>
            <a:custGeom>
              <a:avLst/>
              <a:gdLst>
                <a:gd name="T0" fmla="*/ 0 w 178"/>
                <a:gd name="T1" fmla="*/ 223 h 230"/>
                <a:gd name="T2" fmla="*/ 170 w 178"/>
                <a:gd name="T3" fmla="*/ 0 h 230"/>
                <a:gd name="T4" fmla="*/ 178 w 178"/>
                <a:gd name="T5" fmla="*/ 5 h 230"/>
                <a:gd name="T6" fmla="*/ 7 w 178"/>
                <a:gd name="T7" fmla="*/ 230 h 230"/>
                <a:gd name="T8" fmla="*/ 0 w 178"/>
                <a:gd name="T9" fmla="*/ 22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230">
                  <a:moveTo>
                    <a:pt x="0" y="223"/>
                  </a:moveTo>
                  <a:lnTo>
                    <a:pt x="170" y="0"/>
                  </a:lnTo>
                  <a:lnTo>
                    <a:pt x="178" y="5"/>
                  </a:lnTo>
                  <a:lnTo>
                    <a:pt x="7" y="230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4" name="i$1iďé">
              <a:extLst>
                <a:ext uri="{FF2B5EF4-FFF2-40B4-BE49-F238E27FC236}">
                  <a16:creationId xmlns:a16="http://schemas.microsoft.com/office/drawing/2014/main" id="{FEAA6BDE-ACD8-4470-81DB-9751F44A22C2}"/>
                </a:ext>
              </a:extLst>
            </p:cNvPr>
            <p:cNvSpPr/>
            <p:nvPr/>
          </p:nvSpPr>
          <p:spPr bwMode="auto">
            <a:xfrm>
              <a:off x="7832172" y="3654298"/>
              <a:ext cx="177786" cy="228008"/>
            </a:xfrm>
            <a:custGeom>
              <a:avLst/>
              <a:gdLst>
                <a:gd name="T0" fmla="*/ 0 w 177"/>
                <a:gd name="T1" fmla="*/ 222 h 227"/>
                <a:gd name="T2" fmla="*/ 170 w 177"/>
                <a:gd name="T3" fmla="*/ 0 h 227"/>
                <a:gd name="T4" fmla="*/ 177 w 177"/>
                <a:gd name="T5" fmla="*/ 5 h 227"/>
                <a:gd name="T6" fmla="*/ 7 w 177"/>
                <a:gd name="T7" fmla="*/ 227 h 227"/>
                <a:gd name="T8" fmla="*/ 0 w 177"/>
                <a:gd name="T9" fmla="*/ 22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27">
                  <a:moveTo>
                    <a:pt x="0" y="222"/>
                  </a:moveTo>
                  <a:lnTo>
                    <a:pt x="170" y="0"/>
                  </a:lnTo>
                  <a:lnTo>
                    <a:pt x="177" y="5"/>
                  </a:lnTo>
                  <a:lnTo>
                    <a:pt x="7" y="227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5" name="îś1íḋê">
              <a:extLst>
                <a:ext uri="{FF2B5EF4-FFF2-40B4-BE49-F238E27FC236}">
                  <a16:creationId xmlns:a16="http://schemas.microsoft.com/office/drawing/2014/main" id="{3680D72D-93BB-44A9-906A-243FAB0E17CC}"/>
                </a:ext>
              </a:extLst>
            </p:cNvPr>
            <p:cNvSpPr/>
            <p:nvPr/>
          </p:nvSpPr>
          <p:spPr bwMode="auto">
            <a:xfrm>
              <a:off x="7853265" y="3671374"/>
              <a:ext cx="177786" cy="228008"/>
            </a:xfrm>
            <a:custGeom>
              <a:avLst/>
              <a:gdLst>
                <a:gd name="T0" fmla="*/ 0 w 177"/>
                <a:gd name="T1" fmla="*/ 222 h 227"/>
                <a:gd name="T2" fmla="*/ 170 w 177"/>
                <a:gd name="T3" fmla="*/ 0 h 227"/>
                <a:gd name="T4" fmla="*/ 177 w 177"/>
                <a:gd name="T5" fmla="*/ 5 h 227"/>
                <a:gd name="T6" fmla="*/ 7 w 177"/>
                <a:gd name="T7" fmla="*/ 227 h 227"/>
                <a:gd name="T8" fmla="*/ 0 w 177"/>
                <a:gd name="T9" fmla="*/ 22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27">
                  <a:moveTo>
                    <a:pt x="0" y="222"/>
                  </a:moveTo>
                  <a:lnTo>
                    <a:pt x="170" y="0"/>
                  </a:lnTo>
                  <a:lnTo>
                    <a:pt x="177" y="5"/>
                  </a:lnTo>
                  <a:lnTo>
                    <a:pt x="7" y="227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6" name="ïṣļíďê">
              <a:extLst>
                <a:ext uri="{FF2B5EF4-FFF2-40B4-BE49-F238E27FC236}">
                  <a16:creationId xmlns:a16="http://schemas.microsoft.com/office/drawing/2014/main" id="{3E4F7590-0F66-485B-B38B-77D34FC348C5}"/>
                </a:ext>
              </a:extLst>
            </p:cNvPr>
            <p:cNvSpPr/>
            <p:nvPr/>
          </p:nvSpPr>
          <p:spPr bwMode="auto">
            <a:xfrm>
              <a:off x="7877372" y="3687443"/>
              <a:ext cx="177786" cy="231021"/>
            </a:xfrm>
            <a:custGeom>
              <a:avLst/>
              <a:gdLst>
                <a:gd name="T0" fmla="*/ 0 w 177"/>
                <a:gd name="T1" fmla="*/ 223 h 230"/>
                <a:gd name="T2" fmla="*/ 170 w 177"/>
                <a:gd name="T3" fmla="*/ 0 h 230"/>
                <a:gd name="T4" fmla="*/ 177 w 177"/>
                <a:gd name="T5" fmla="*/ 7 h 230"/>
                <a:gd name="T6" fmla="*/ 7 w 177"/>
                <a:gd name="T7" fmla="*/ 230 h 230"/>
                <a:gd name="T8" fmla="*/ 0 w 177"/>
                <a:gd name="T9" fmla="*/ 22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30">
                  <a:moveTo>
                    <a:pt x="0" y="223"/>
                  </a:moveTo>
                  <a:lnTo>
                    <a:pt x="170" y="0"/>
                  </a:lnTo>
                  <a:lnTo>
                    <a:pt x="177" y="7"/>
                  </a:lnTo>
                  <a:lnTo>
                    <a:pt x="7" y="230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7" name="íṥľîḍé">
              <a:extLst>
                <a:ext uri="{FF2B5EF4-FFF2-40B4-BE49-F238E27FC236}">
                  <a16:creationId xmlns:a16="http://schemas.microsoft.com/office/drawing/2014/main" id="{85FE1E1D-C7B5-4AA5-BAD0-6301A8299DF5}"/>
                </a:ext>
              </a:extLst>
            </p:cNvPr>
            <p:cNvSpPr/>
            <p:nvPr/>
          </p:nvSpPr>
          <p:spPr bwMode="auto">
            <a:xfrm>
              <a:off x="7898465" y="3706529"/>
              <a:ext cx="177786" cy="228008"/>
            </a:xfrm>
            <a:custGeom>
              <a:avLst/>
              <a:gdLst>
                <a:gd name="T0" fmla="*/ 0 w 177"/>
                <a:gd name="T1" fmla="*/ 222 h 227"/>
                <a:gd name="T2" fmla="*/ 173 w 177"/>
                <a:gd name="T3" fmla="*/ 0 h 227"/>
                <a:gd name="T4" fmla="*/ 177 w 177"/>
                <a:gd name="T5" fmla="*/ 5 h 227"/>
                <a:gd name="T6" fmla="*/ 7 w 177"/>
                <a:gd name="T7" fmla="*/ 227 h 227"/>
                <a:gd name="T8" fmla="*/ 0 w 177"/>
                <a:gd name="T9" fmla="*/ 22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27">
                  <a:moveTo>
                    <a:pt x="0" y="222"/>
                  </a:moveTo>
                  <a:lnTo>
                    <a:pt x="173" y="0"/>
                  </a:lnTo>
                  <a:lnTo>
                    <a:pt x="177" y="5"/>
                  </a:lnTo>
                  <a:lnTo>
                    <a:pt x="7" y="227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8" name="íşḻiďè">
              <a:extLst>
                <a:ext uri="{FF2B5EF4-FFF2-40B4-BE49-F238E27FC236}">
                  <a16:creationId xmlns:a16="http://schemas.microsoft.com/office/drawing/2014/main" id="{BCE18A64-1EDA-4A03-80EF-E03F6339C23C}"/>
                </a:ext>
              </a:extLst>
            </p:cNvPr>
            <p:cNvSpPr/>
            <p:nvPr/>
          </p:nvSpPr>
          <p:spPr bwMode="auto">
            <a:xfrm>
              <a:off x="7922572" y="3723605"/>
              <a:ext cx="177786" cy="228008"/>
            </a:xfrm>
            <a:custGeom>
              <a:avLst/>
              <a:gdLst>
                <a:gd name="T0" fmla="*/ 0 w 177"/>
                <a:gd name="T1" fmla="*/ 222 h 227"/>
                <a:gd name="T2" fmla="*/ 170 w 177"/>
                <a:gd name="T3" fmla="*/ 0 h 227"/>
                <a:gd name="T4" fmla="*/ 177 w 177"/>
                <a:gd name="T5" fmla="*/ 5 h 227"/>
                <a:gd name="T6" fmla="*/ 7 w 177"/>
                <a:gd name="T7" fmla="*/ 227 h 227"/>
                <a:gd name="T8" fmla="*/ 0 w 177"/>
                <a:gd name="T9" fmla="*/ 22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27">
                  <a:moveTo>
                    <a:pt x="0" y="222"/>
                  </a:moveTo>
                  <a:lnTo>
                    <a:pt x="170" y="0"/>
                  </a:lnTo>
                  <a:lnTo>
                    <a:pt x="177" y="5"/>
                  </a:lnTo>
                  <a:lnTo>
                    <a:pt x="7" y="227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9" name="îṥ1iḍé">
              <a:extLst>
                <a:ext uri="{FF2B5EF4-FFF2-40B4-BE49-F238E27FC236}">
                  <a16:creationId xmlns:a16="http://schemas.microsoft.com/office/drawing/2014/main" id="{485824CC-9AA6-49B7-A601-0E46B718E16F}"/>
                </a:ext>
              </a:extLst>
            </p:cNvPr>
            <p:cNvSpPr/>
            <p:nvPr/>
          </p:nvSpPr>
          <p:spPr bwMode="auto">
            <a:xfrm>
              <a:off x="7943665" y="3739674"/>
              <a:ext cx="180799" cy="231021"/>
            </a:xfrm>
            <a:custGeom>
              <a:avLst/>
              <a:gdLst>
                <a:gd name="T0" fmla="*/ 0 w 180"/>
                <a:gd name="T1" fmla="*/ 223 h 230"/>
                <a:gd name="T2" fmla="*/ 173 w 180"/>
                <a:gd name="T3" fmla="*/ 0 h 230"/>
                <a:gd name="T4" fmla="*/ 180 w 180"/>
                <a:gd name="T5" fmla="*/ 7 h 230"/>
                <a:gd name="T6" fmla="*/ 7 w 180"/>
                <a:gd name="T7" fmla="*/ 230 h 230"/>
                <a:gd name="T8" fmla="*/ 0 w 180"/>
                <a:gd name="T9" fmla="*/ 22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230">
                  <a:moveTo>
                    <a:pt x="0" y="223"/>
                  </a:moveTo>
                  <a:lnTo>
                    <a:pt x="173" y="0"/>
                  </a:lnTo>
                  <a:lnTo>
                    <a:pt x="180" y="7"/>
                  </a:lnTo>
                  <a:lnTo>
                    <a:pt x="7" y="230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0" name="îṥ1iḋè">
              <a:extLst>
                <a:ext uri="{FF2B5EF4-FFF2-40B4-BE49-F238E27FC236}">
                  <a16:creationId xmlns:a16="http://schemas.microsoft.com/office/drawing/2014/main" id="{9C18A996-0043-4D41-B60D-E1076EC13E87}"/>
                </a:ext>
              </a:extLst>
            </p:cNvPr>
            <p:cNvSpPr/>
            <p:nvPr/>
          </p:nvSpPr>
          <p:spPr bwMode="auto">
            <a:xfrm>
              <a:off x="7967771" y="3758760"/>
              <a:ext cx="177786" cy="228008"/>
            </a:xfrm>
            <a:custGeom>
              <a:avLst/>
              <a:gdLst>
                <a:gd name="T0" fmla="*/ 0 w 177"/>
                <a:gd name="T1" fmla="*/ 223 h 227"/>
                <a:gd name="T2" fmla="*/ 170 w 177"/>
                <a:gd name="T3" fmla="*/ 0 h 227"/>
                <a:gd name="T4" fmla="*/ 177 w 177"/>
                <a:gd name="T5" fmla="*/ 5 h 227"/>
                <a:gd name="T6" fmla="*/ 7 w 177"/>
                <a:gd name="T7" fmla="*/ 227 h 227"/>
                <a:gd name="T8" fmla="*/ 0 w 177"/>
                <a:gd name="T9" fmla="*/ 22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27">
                  <a:moveTo>
                    <a:pt x="0" y="223"/>
                  </a:moveTo>
                  <a:lnTo>
                    <a:pt x="170" y="0"/>
                  </a:lnTo>
                  <a:lnTo>
                    <a:pt x="177" y="5"/>
                  </a:lnTo>
                  <a:lnTo>
                    <a:pt x="7" y="227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1" name="íṡ1íḋe">
              <a:extLst>
                <a:ext uri="{FF2B5EF4-FFF2-40B4-BE49-F238E27FC236}">
                  <a16:creationId xmlns:a16="http://schemas.microsoft.com/office/drawing/2014/main" id="{15A6B0D4-C431-495D-BC53-0FC7934C1013}"/>
                </a:ext>
              </a:extLst>
            </p:cNvPr>
            <p:cNvSpPr/>
            <p:nvPr/>
          </p:nvSpPr>
          <p:spPr bwMode="auto">
            <a:xfrm>
              <a:off x="7990874" y="3775835"/>
              <a:ext cx="178790" cy="228008"/>
            </a:xfrm>
            <a:custGeom>
              <a:avLst/>
              <a:gdLst>
                <a:gd name="T0" fmla="*/ 0 w 178"/>
                <a:gd name="T1" fmla="*/ 222 h 227"/>
                <a:gd name="T2" fmla="*/ 171 w 178"/>
                <a:gd name="T3" fmla="*/ 0 h 227"/>
                <a:gd name="T4" fmla="*/ 178 w 178"/>
                <a:gd name="T5" fmla="*/ 5 h 227"/>
                <a:gd name="T6" fmla="*/ 7 w 178"/>
                <a:gd name="T7" fmla="*/ 227 h 227"/>
                <a:gd name="T8" fmla="*/ 0 w 178"/>
                <a:gd name="T9" fmla="*/ 22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227">
                  <a:moveTo>
                    <a:pt x="0" y="222"/>
                  </a:moveTo>
                  <a:lnTo>
                    <a:pt x="171" y="0"/>
                  </a:lnTo>
                  <a:lnTo>
                    <a:pt x="178" y="5"/>
                  </a:lnTo>
                  <a:lnTo>
                    <a:pt x="7" y="227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2" name="ís1îḑè">
              <a:extLst>
                <a:ext uri="{FF2B5EF4-FFF2-40B4-BE49-F238E27FC236}">
                  <a16:creationId xmlns:a16="http://schemas.microsoft.com/office/drawing/2014/main" id="{26DF93E8-6F09-4120-8649-40D3B1AB9B09}"/>
                </a:ext>
              </a:extLst>
            </p:cNvPr>
            <p:cNvSpPr/>
            <p:nvPr/>
          </p:nvSpPr>
          <p:spPr bwMode="auto">
            <a:xfrm>
              <a:off x="8012971" y="3791905"/>
              <a:ext cx="177786" cy="231021"/>
            </a:xfrm>
            <a:custGeom>
              <a:avLst/>
              <a:gdLst>
                <a:gd name="T0" fmla="*/ 0 w 177"/>
                <a:gd name="T1" fmla="*/ 223 h 230"/>
                <a:gd name="T2" fmla="*/ 170 w 177"/>
                <a:gd name="T3" fmla="*/ 0 h 230"/>
                <a:gd name="T4" fmla="*/ 177 w 177"/>
                <a:gd name="T5" fmla="*/ 7 h 230"/>
                <a:gd name="T6" fmla="*/ 7 w 177"/>
                <a:gd name="T7" fmla="*/ 230 h 230"/>
                <a:gd name="T8" fmla="*/ 0 w 177"/>
                <a:gd name="T9" fmla="*/ 22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30">
                  <a:moveTo>
                    <a:pt x="0" y="223"/>
                  </a:moveTo>
                  <a:lnTo>
                    <a:pt x="170" y="0"/>
                  </a:lnTo>
                  <a:lnTo>
                    <a:pt x="177" y="7"/>
                  </a:lnTo>
                  <a:lnTo>
                    <a:pt x="7" y="230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3" name="ïṡḷíďê">
              <a:extLst>
                <a:ext uri="{FF2B5EF4-FFF2-40B4-BE49-F238E27FC236}">
                  <a16:creationId xmlns:a16="http://schemas.microsoft.com/office/drawing/2014/main" id="{7ED0F9C3-9C2E-4975-AF11-2404A039F65B}"/>
                </a:ext>
              </a:extLst>
            </p:cNvPr>
            <p:cNvSpPr/>
            <p:nvPr/>
          </p:nvSpPr>
          <p:spPr bwMode="auto">
            <a:xfrm>
              <a:off x="5614372" y="3476511"/>
              <a:ext cx="928102" cy="885916"/>
            </a:xfrm>
            <a:custGeom>
              <a:avLst/>
              <a:gdLst>
                <a:gd name="T0" fmla="*/ 7 w 391"/>
                <a:gd name="T1" fmla="*/ 369 h 373"/>
                <a:gd name="T2" fmla="*/ 15 w 391"/>
                <a:gd name="T3" fmla="*/ 99 h 373"/>
                <a:gd name="T4" fmla="*/ 135 w 391"/>
                <a:gd name="T5" fmla="*/ 12 h 373"/>
                <a:gd name="T6" fmla="*/ 196 w 391"/>
                <a:gd name="T7" fmla="*/ 0 h 373"/>
                <a:gd name="T8" fmla="*/ 256 w 391"/>
                <a:gd name="T9" fmla="*/ 12 h 373"/>
                <a:gd name="T10" fmla="*/ 376 w 391"/>
                <a:gd name="T11" fmla="*/ 99 h 373"/>
                <a:gd name="T12" fmla="*/ 384 w 391"/>
                <a:gd name="T13" fmla="*/ 369 h 373"/>
                <a:gd name="T14" fmla="*/ 196 w 391"/>
                <a:gd name="T15" fmla="*/ 373 h 373"/>
                <a:gd name="T16" fmla="*/ 7 w 391"/>
                <a:gd name="T17" fmla="*/ 36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373">
                  <a:moveTo>
                    <a:pt x="7" y="369"/>
                  </a:moveTo>
                  <a:cubicBezTo>
                    <a:pt x="7" y="352"/>
                    <a:pt x="0" y="147"/>
                    <a:pt x="15" y="99"/>
                  </a:cubicBezTo>
                  <a:cubicBezTo>
                    <a:pt x="30" y="52"/>
                    <a:pt x="79" y="24"/>
                    <a:pt x="135" y="12"/>
                  </a:cubicBezTo>
                  <a:cubicBezTo>
                    <a:pt x="151" y="8"/>
                    <a:pt x="172" y="4"/>
                    <a:pt x="196" y="0"/>
                  </a:cubicBezTo>
                  <a:cubicBezTo>
                    <a:pt x="219" y="4"/>
                    <a:pt x="240" y="8"/>
                    <a:pt x="256" y="12"/>
                  </a:cubicBezTo>
                  <a:cubicBezTo>
                    <a:pt x="313" y="24"/>
                    <a:pt x="361" y="52"/>
                    <a:pt x="376" y="99"/>
                  </a:cubicBezTo>
                  <a:cubicBezTo>
                    <a:pt x="391" y="147"/>
                    <a:pt x="384" y="352"/>
                    <a:pt x="384" y="369"/>
                  </a:cubicBezTo>
                  <a:cubicBezTo>
                    <a:pt x="196" y="373"/>
                    <a:pt x="196" y="373"/>
                    <a:pt x="196" y="373"/>
                  </a:cubicBezTo>
                  <a:lnTo>
                    <a:pt x="7" y="369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4" name="îṩľîḑé">
              <a:extLst>
                <a:ext uri="{FF2B5EF4-FFF2-40B4-BE49-F238E27FC236}">
                  <a16:creationId xmlns:a16="http://schemas.microsoft.com/office/drawing/2014/main" id="{D27C2D5D-215C-43BF-A0D8-C3F72F75D56B}"/>
                </a:ext>
              </a:extLst>
            </p:cNvPr>
            <p:cNvSpPr/>
            <p:nvPr/>
          </p:nvSpPr>
          <p:spPr bwMode="auto">
            <a:xfrm>
              <a:off x="5692719" y="3704520"/>
              <a:ext cx="752325" cy="924084"/>
            </a:xfrm>
            <a:custGeom>
              <a:avLst/>
              <a:gdLst>
                <a:gd name="T0" fmla="*/ 57 w 317"/>
                <a:gd name="T1" fmla="*/ 20 h 389"/>
                <a:gd name="T2" fmla="*/ 8 w 317"/>
                <a:gd name="T3" fmla="*/ 45 h 389"/>
                <a:gd name="T4" fmla="*/ 32 w 317"/>
                <a:gd name="T5" fmla="*/ 310 h 389"/>
                <a:gd name="T6" fmla="*/ 62 w 317"/>
                <a:gd name="T7" fmla="*/ 372 h 389"/>
                <a:gd name="T8" fmla="*/ 159 w 317"/>
                <a:gd name="T9" fmla="*/ 389 h 389"/>
                <a:gd name="T10" fmla="*/ 256 w 317"/>
                <a:gd name="T11" fmla="*/ 372 h 389"/>
                <a:gd name="T12" fmla="*/ 285 w 317"/>
                <a:gd name="T13" fmla="*/ 310 h 389"/>
                <a:gd name="T14" fmla="*/ 310 w 317"/>
                <a:gd name="T15" fmla="*/ 45 h 389"/>
                <a:gd name="T16" fmla="*/ 261 w 317"/>
                <a:gd name="T17" fmla="*/ 20 h 389"/>
                <a:gd name="T18" fmla="*/ 230 w 317"/>
                <a:gd name="T19" fmla="*/ 4 h 389"/>
                <a:gd name="T20" fmla="*/ 159 w 317"/>
                <a:gd name="T21" fmla="*/ 18 h 389"/>
                <a:gd name="T22" fmla="*/ 97 w 317"/>
                <a:gd name="T23" fmla="*/ 4 h 389"/>
                <a:gd name="T24" fmla="*/ 86 w 317"/>
                <a:gd name="T25" fmla="*/ 12 h 389"/>
                <a:gd name="T26" fmla="*/ 57 w 317"/>
                <a:gd name="T27" fmla="*/ 2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7" h="389">
                  <a:moveTo>
                    <a:pt x="57" y="20"/>
                  </a:moveTo>
                  <a:cubicBezTo>
                    <a:pt x="46" y="25"/>
                    <a:pt x="16" y="29"/>
                    <a:pt x="8" y="45"/>
                  </a:cubicBezTo>
                  <a:cubicBezTo>
                    <a:pt x="0" y="60"/>
                    <a:pt x="27" y="256"/>
                    <a:pt x="32" y="310"/>
                  </a:cubicBezTo>
                  <a:cubicBezTo>
                    <a:pt x="37" y="363"/>
                    <a:pt x="49" y="355"/>
                    <a:pt x="62" y="372"/>
                  </a:cubicBezTo>
                  <a:cubicBezTo>
                    <a:pt x="70" y="383"/>
                    <a:pt x="115" y="389"/>
                    <a:pt x="159" y="389"/>
                  </a:cubicBezTo>
                  <a:cubicBezTo>
                    <a:pt x="203" y="389"/>
                    <a:pt x="247" y="383"/>
                    <a:pt x="256" y="372"/>
                  </a:cubicBezTo>
                  <a:cubicBezTo>
                    <a:pt x="268" y="355"/>
                    <a:pt x="281" y="363"/>
                    <a:pt x="285" y="310"/>
                  </a:cubicBezTo>
                  <a:cubicBezTo>
                    <a:pt x="290" y="256"/>
                    <a:pt x="317" y="60"/>
                    <a:pt x="310" y="45"/>
                  </a:cubicBezTo>
                  <a:cubicBezTo>
                    <a:pt x="302" y="29"/>
                    <a:pt x="271" y="25"/>
                    <a:pt x="261" y="20"/>
                  </a:cubicBezTo>
                  <a:cubicBezTo>
                    <a:pt x="258" y="18"/>
                    <a:pt x="247" y="8"/>
                    <a:pt x="230" y="4"/>
                  </a:cubicBezTo>
                  <a:cubicBezTo>
                    <a:pt x="211" y="0"/>
                    <a:pt x="179" y="17"/>
                    <a:pt x="159" y="18"/>
                  </a:cubicBezTo>
                  <a:cubicBezTo>
                    <a:pt x="140" y="17"/>
                    <a:pt x="115" y="3"/>
                    <a:pt x="97" y="4"/>
                  </a:cubicBezTo>
                  <a:cubicBezTo>
                    <a:pt x="92" y="4"/>
                    <a:pt x="90" y="11"/>
                    <a:pt x="86" y="12"/>
                  </a:cubicBezTo>
                  <a:cubicBezTo>
                    <a:pt x="71" y="16"/>
                    <a:pt x="59" y="18"/>
                    <a:pt x="57" y="20"/>
                  </a:cubicBezTo>
                </a:path>
              </a:pathLst>
            </a:custGeom>
            <a:solidFill>
              <a:srgbClr val="DFE9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5" name="ïšlïḓè">
              <a:extLst>
                <a:ext uri="{FF2B5EF4-FFF2-40B4-BE49-F238E27FC236}">
                  <a16:creationId xmlns:a16="http://schemas.microsoft.com/office/drawing/2014/main" id="{FCDD7F30-A666-49A6-AD32-B771CC7EE920}"/>
                </a:ext>
              </a:extLst>
            </p:cNvPr>
            <p:cNvSpPr/>
            <p:nvPr/>
          </p:nvSpPr>
          <p:spPr bwMode="auto">
            <a:xfrm>
              <a:off x="6122617" y="3713560"/>
              <a:ext cx="339500" cy="919062"/>
            </a:xfrm>
            <a:custGeom>
              <a:avLst/>
              <a:gdLst>
                <a:gd name="T0" fmla="*/ 49 w 143"/>
                <a:gd name="T1" fmla="*/ 0 h 387"/>
                <a:gd name="T2" fmla="*/ 0 w 143"/>
                <a:gd name="T3" fmla="*/ 387 h 387"/>
                <a:gd name="T4" fmla="*/ 122 w 143"/>
                <a:gd name="T5" fmla="*/ 375 h 387"/>
                <a:gd name="T6" fmla="*/ 143 w 143"/>
                <a:gd name="T7" fmla="*/ 24 h 387"/>
                <a:gd name="T8" fmla="*/ 49 w 143"/>
                <a:gd name="T9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387">
                  <a:moveTo>
                    <a:pt x="49" y="0"/>
                  </a:moveTo>
                  <a:cubicBezTo>
                    <a:pt x="49" y="16"/>
                    <a:pt x="0" y="387"/>
                    <a:pt x="0" y="387"/>
                  </a:cubicBezTo>
                  <a:cubicBezTo>
                    <a:pt x="0" y="387"/>
                    <a:pt x="123" y="383"/>
                    <a:pt x="122" y="375"/>
                  </a:cubicBezTo>
                  <a:cubicBezTo>
                    <a:pt x="120" y="366"/>
                    <a:pt x="143" y="24"/>
                    <a:pt x="143" y="24"/>
                  </a:cubicBezTo>
                  <a:lnTo>
                    <a:pt x="49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6" name="ïSlïḋe">
              <a:extLst>
                <a:ext uri="{FF2B5EF4-FFF2-40B4-BE49-F238E27FC236}">
                  <a16:creationId xmlns:a16="http://schemas.microsoft.com/office/drawing/2014/main" id="{3754ED11-F91A-4C0A-B6BD-85AFCD8DAF6F}"/>
                </a:ext>
              </a:extLst>
            </p:cNvPr>
            <p:cNvSpPr/>
            <p:nvPr/>
          </p:nvSpPr>
          <p:spPr bwMode="auto">
            <a:xfrm>
              <a:off x="6387788" y="3892350"/>
              <a:ext cx="36159" cy="329457"/>
            </a:xfrm>
            <a:custGeom>
              <a:avLst/>
              <a:gdLst>
                <a:gd name="T0" fmla="*/ 6 w 15"/>
                <a:gd name="T1" fmla="*/ 0 h 139"/>
                <a:gd name="T2" fmla="*/ 0 w 15"/>
                <a:gd name="T3" fmla="*/ 138 h 139"/>
                <a:gd name="T4" fmla="*/ 15 w 15"/>
                <a:gd name="T5" fmla="*/ 139 h 139"/>
                <a:gd name="T6" fmla="*/ 6 w 15"/>
                <a:gd name="T7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39">
                  <a:moveTo>
                    <a:pt x="6" y="0"/>
                  </a:moveTo>
                  <a:cubicBezTo>
                    <a:pt x="3" y="0"/>
                    <a:pt x="0" y="138"/>
                    <a:pt x="0" y="138"/>
                  </a:cubicBezTo>
                  <a:cubicBezTo>
                    <a:pt x="15" y="139"/>
                    <a:pt x="15" y="139"/>
                    <a:pt x="15" y="139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3737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7" name="îşļïḓê">
              <a:extLst>
                <a:ext uri="{FF2B5EF4-FFF2-40B4-BE49-F238E27FC236}">
                  <a16:creationId xmlns:a16="http://schemas.microsoft.com/office/drawing/2014/main" id="{357C40CA-3D05-4D05-A4C2-9613B3650F9C}"/>
                </a:ext>
              </a:extLst>
            </p:cNvPr>
            <p:cNvSpPr/>
            <p:nvPr/>
          </p:nvSpPr>
          <p:spPr bwMode="auto">
            <a:xfrm>
              <a:off x="6390803" y="3763782"/>
              <a:ext cx="149661" cy="450994"/>
            </a:xfrm>
            <a:custGeom>
              <a:avLst/>
              <a:gdLst>
                <a:gd name="T0" fmla="*/ 0 w 63"/>
                <a:gd name="T1" fmla="*/ 8 h 190"/>
                <a:gd name="T2" fmla="*/ 20 w 63"/>
                <a:gd name="T3" fmla="*/ 0 h 190"/>
                <a:gd name="T4" fmla="*/ 45 w 63"/>
                <a:gd name="T5" fmla="*/ 3 h 190"/>
                <a:gd name="T6" fmla="*/ 59 w 63"/>
                <a:gd name="T7" fmla="*/ 53 h 190"/>
                <a:gd name="T8" fmla="*/ 63 w 63"/>
                <a:gd name="T9" fmla="*/ 183 h 190"/>
                <a:gd name="T10" fmla="*/ 8 w 63"/>
                <a:gd name="T11" fmla="*/ 188 h 190"/>
                <a:gd name="T12" fmla="*/ 0 w 63"/>
                <a:gd name="T13" fmla="*/ 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90">
                  <a:moveTo>
                    <a:pt x="0" y="8"/>
                  </a:moveTo>
                  <a:cubicBezTo>
                    <a:pt x="1" y="4"/>
                    <a:pt x="20" y="0"/>
                    <a:pt x="20" y="0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61" y="5"/>
                    <a:pt x="59" y="32"/>
                    <a:pt x="59" y="53"/>
                  </a:cubicBezTo>
                  <a:cubicBezTo>
                    <a:pt x="60" y="96"/>
                    <a:pt x="62" y="178"/>
                    <a:pt x="63" y="183"/>
                  </a:cubicBezTo>
                  <a:cubicBezTo>
                    <a:pt x="63" y="190"/>
                    <a:pt x="8" y="188"/>
                    <a:pt x="8" y="188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8" name="ísḻîḋê">
              <a:extLst>
                <a:ext uri="{FF2B5EF4-FFF2-40B4-BE49-F238E27FC236}">
                  <a16:creationId xmlns:a16="http://schemas.microsoft.com/office/drawing/2014/main" id="{3E1C78AF-D569-408C-86C9-8160CA98D5A0}"/>
                </a:ext>
              </a:extLst>
            </p:cNvPr>
            <p:cNvSpPr/>
            <p:nvPr/>
          </p:nvSpPr>
          <p:spPr bwMode="auto">
            <a:xfrm>
              <a:off x="6157772" y="3713560"/>
              <a:ext cx="192852" cy="638823"/>
            </a:xfrm>
            <a:custGeom>
              <a:avLst/>
              <a:gdLst>
                <a:gd name="T0" fmla="*/ 192 w 192"/>
                <a:gd name="T1" fmla="*/ 74 h 636"/>
                <a:gd name="T2" fmla="*/ 125 w 192"/>
                <a:gd name="T3" fmla="*/ 256 h 636"/>
                <a:gd name="T4" fmla="*/ 73 w 192"/>
                <a:gd name="T5" fmla="*/ 249 h 636"/>
                <a:gd name="T6" fmla="*/ 123 w 192"/>
                <a:gd name="T7" fmla="*/ 291 h 636"/>
                <a:gd name="T8" fmla="*/ 0 w 192"/>
                <a:gd name="T9" fmla="*/ 636 h 636"/>
                <a:gd name="T10" fmla="*/ 52 w 192"/>
                <a:gd name="T11" fmla="*/ 10 h 636"/>
                <a:gd name="T12" fmla="*/ 80 w 192"/>
                <a:gd name="T13" fmla="*/ 0 h 636"/>
                <a:gd name="T14" fmla="*/ 192 w 192"/>
                <a:gd name="T15" fmla="*/ 74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636">
                  <a:moveTo>
                    <a:pt x="192" y="74"/>
                  </a:moveTo>
                  <a:lnTo>
                    <a:pt x="125" y="256"/>
                  </a:lnTo>
                  <a:lnTo>
                    <a:pt x="73" y="249"/>
                  </a:lnTo>
                  <a:lnTo>
                    <a:pt x="123" y="291"/>
                  </a:lnTo>
                  <a:lnTo>
                    <a:pt x="0" y="636"/>
                  </a:lnTo>
                  <a:lnTo>
                    <a:pt x="52" y="10"/>
                  </a:lnTo>
                  <a:lnTo>
                    <a:pt x="80" y="0"/>
                  </a:lnTo>
                  <a:lnTo>
                    <a:pt x="192" y="74"/>
                  </a:lnTo>
                  <a:close/>
                </a:path>
              </a:pathLst>
            </a:custGeom>
            <a:solidFill>
              <a:srgbClr val="4B4A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9" name="ïśḷiḑê">
              <a:extLst>
                <a:ext uri="{FF2B5EF4-FFF2-40B4-BE49-F238E27FC236}">
                  <a16:creationId xmlns:a16="http://schemas.microsoft.com/office/drawing/2014/main" id="{9AA7CF5B-0E15-42C0-9BF9-3C9C6E3557EB}"/>
                </a:ext>
              </a:extLst>
            </p:cNvPr>
            <p:cNvSpPr/>
            <p:nvPr/>
          </p:nvSpPr>
          <p:spPr bwMode="auto">
            <a:xfrm>
              <a:off x="5962912" y="3680413"/>
              <a:ext cx="228007" cy="83368"/>
            </a:xfrm>
            <a:prstGeom prst="rect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0" name="iŝḷíḑè">
              <a:extLst>
                <a:ext uri="{FF2B5EF4-FFF2-40B4-BE49-F238E27FC236}">
                  <a16:creationId xmlns:a16="http://schemas.microsoft.com/office/drawing/2014/main" id="{C69BCEAC-EBF1-4BAC-BE23-7929C3DFE7FC}"/>
                </a:ext>
              </a:extLst>
            </p:cNvPr>
            <p:cNvSpPr/>
            <p:nvPr/>
          </p:nvSpPr>
          <p:spPr bwMode="auto">
            <a:xfrm>
              <a:off x="5972956" y="3605079"/>
              <a:ext cx="210932" cy="170755"/>
            </a:xfrm>
            <a:prstGeom prst="rect">
              <a:avLst/>
            </a:prstGeom>
            <a:solidFill>
              <a:srgbClr val="FAC3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1" name="ïṥľîḓè">
              <a:extLst>
                <a:ext uri="{FF2B5EF4-FFF2-40B4-BE49-F238E27FC236}">
                  <a16:creationId xmlns:a16="http://schemas.microsoft.com/office/drawing/2014/main" id="{7732B6F1-E35A-4AB4-87D2-577341114817}"/>
                </a:ext>
              </a:extLst>
            </p:cNvPr>
            <p:cNvSpPr/>
            <p:nvPr/>
          </p:nvSpPr>
          <p:spPr bwMode="auto">
            <a:xfrm>
              <a:off x="5989027" y="3873265"/>
              <a:ext cx="168746" cy="619740"/>
            </a:xfrm>
            <a:custGeom>
              <a:avLst/>
              <a:gdLst>
                <a:gd name="T0" fmla="*/ 83 w 168"/>
                <a:gd name="T1" fmla="*/ 617 h 617"/>
                <a:gd name="T2" fmla="*/ 0 w 168"/>
                <a:gd name="T3" fmla="*/ 508 h 617"/>
                <a:gd name="T4" fmla="*/ 59 w 168"/>
                <a:gd name="T5" fmla="*/ 0 h 617"/>
                <a:gd name="T6" fmla="*/ 126 w 168"/>
                <a:gd name="T7" fmla="*/ 0 h 617"/>
                <a:gd name="T8" fmla="*/ 168 w 168"/>
                <a:gd name="T9" fmla="*/ 510 h 617"/>
                <a:gd name="T10" fmla="*/ 83 w 168"/>
                <a:gd name="T11" fmla="*/ 617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617">
                  <a:moveTo>
                    <a:pt x="83" y="617"/>
                  </a:moveTo>
                  <a:lnTo>
                    <a:pt x="0" y="508"/>
                  </a:lnTo>
                  <a:lnTo>
                    <a:pt x="59" y="0"/>
                  </a:lnTo>
                  <a:lnTo>
                    <a:pt x="126" y="0"/>
                  </a:lnTo>
                  <a:lnTo>
                    <a:pt x="168" y="510"/>
                  </a:lnTo>
                  <a:lnTo>
                    <a:pt x="83" y="617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2" name="iṧ1îḑê">
              <a:extLst>
                <a:ext uri="{FF2B5EF4-FFF2-40B4-BE49-F238E27FC236}">
                  <a16:creationId xmlns:a16="http://schemas.microsoft.com/office/drawing/2014/main" id="{6C8E1FCB-EA3D-4031-9F64-E63CC9E33B8C}"/>
                </a:ext>
              </a:extLst>
            </p:cNvPr>
            <p:cNvSpPr/>
            <p:nvPr/>
          </p:nvSpPr>
          <p:spPr bwMode="auto">
            <a:xfrm>
              <a:off x="5699749" y="3709541"/>
              <a:ext cx="339500" cy="919062"/>
            </a:xfrm>
            <a:custGeom>
              <a:avLst/>
              <a:gdLst>
                <a:gd name="T0" fmla="*/ 94 w 143"/>
                <a:gd name="T1" fmla="*/ 0 h 387"/>
                <a:gd name="T2" fmla="*/ 143 w 143"/>
                <a:gd name="T3" fmla="*/ 387 h 387"/>
                <a:gd name="T4" fmla="*/ 21 w 143"/>
                <a:gd name="T5" fmla="*/ 375 h 387"/>
                <a:gd name="T6" fmla="*/ 0 w 143"/>
                <a:gd name="T7" fmla="*/ 24 h 387"/>
                <a:gd name="T8" fmla="*/ 94 w 143"/>
                <a:gd name="T9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387">
                  <a:moveTo>
                    <a:pt x="94" y="0"/>
                  </a:moveTo>
                  <a:cubicBezTo>
                    <a:pt x="94" y="17"/>
                    <a:pt x="143" y="387"/>
                    <a:pt x="143" y="387"/>
                  </a:cubicBezTo>
                  <a:cubicBezTo>
                    <a:pt x="143" y="387"/>
                    <a:pt x="20" y="383"/>
                    <a:pt x="21" y="375"/>
                  </a:cubicBezTo>
                  <a:cubicBezTo>
                    <a:pt x="22" y="366"/>
                    <a:pt x="0" y="24"/>
                    <a:pt x="0" y="24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3" name="íṧḷîḋé">
              <a:extLst>
                <a:ext uri="{FF2B5EF4-FFF2-40B4-BE49-F238E27FC236}">
                  <a16:creationId xmlns:a16="http://schemas.microsoft.com/office/drawing/2014/main" id="{DE4F8303-ADF2-4A49-BA23-B2EEE3A44D4E}"/>
                </a:ext>
              </a:extLst>
            </p:cNvPr>
            <p:cNvSpPr/>
            <p:nvPr/>
          </p:nvSpPr>
          <p:spPr bwMode="auto">
            <a:xfrm>
              <a:off x="5727872" y="3889336"/>
              <a:ext cx="36159" cy="330461"/>
            </a:xfrm>
            <a:custGeom>
              <a:avLst/>
              <a:gdLst>
                <a:gd name="T0" fmla="*/ 10 w 15"/>
                <a:gd name="T1" fmla="*/ 0 h 139"/>
                <a:gd name="T2" fmla="*/ 15 w 15"/>
                <a:gd name="T3" fmla="*/ 138 h 139"/>
                <a:gd name="T4" fmla="*/ 0 w 15"/>
                <a:gd name="T5" fmla="*/ 139 h 139"/>
                <a:gd name="T6" fmla="*/ 10 w 15"/>
                <a:gd name="T7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39">
                  <a:moveTo>
                    <a:pt x="10" y="0"/>
                  </a:moveTo>
                  <a:cubicBezTo>
                    <a:pt x="13" y="0"/>
                    <a:pt x="15" y="138"/>
                    <a:pt x="15" y="138"/>
                  </a:cubicBezTo>
                  <a:cubicBezTo>
                    <a:pt x="0" y="139"/>
                    <a:pt x="0" y="139"/>
                    <a:pt x="0" y="139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3737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4" name="î$ļíďè">
              <a:extLst>
                <a:ext uri="{FF2B5EF4-FFF2-40B4-BE49-F238E27FC236}">
                  <a16:creationId xmlns:a16="http://schemas.microsoft.com/office/drawing/2014/main" id="{D8621C8A-F51D-4A40-8727-9B4998B99B5C}"/>
                </a:ext>
              </a:extLst>
            </p:cNvPr>
            <p:cNvSpPr/>
            <p:nvPr/>
          </p:nvSpPr>
          <p:spPr bwMode="auto">
            <a:xfrm>
              <a:off x="5611358" y="3761773"/>
              <a:ext cx="152675" cy="450994"/>
            </a:xfrm>
            <a:custGeom>
              <a:avLst/>
              <a:gdLst>
                <a:gd name="T0" fmla="*/ 64 w 64"/>
                <a:gd name="T1" fmla="*/ 8 h 190"/>
                <a:gd name="T2" fmla="*/ 44 w 64"/>
                <a:gd name="T3" fmla="*/ 0 h 190"/>
                <a:gd name="T4" fmla="*/ 19 w 64"/>
                <a:gd name="T5" fmla="*/ 4 h 190"/>
                <a:gd name="T6" fmla="*/ 4 w 64"/>
                <a:gd name="T7" fmla="*/ 53 h 190"/>
                <a:gd name="T8" fmla="*/ 1 w 64"/>
                <a:gd name="T9" fmla="*/ 183 h 190"/>
                <a:gd name="T10" fmla="*/ 55 w 64"/>
                <a:gd name="T11" fmla="*/ 188 h 190"/>
                <a:gd name="T12" fmla="*/ 64 w 64"/>
                <a:gd name="T13" fmla="*/ 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90">
                  <a:moveTo>
                    <a:pt x="64" y="8"/>
                  </a:moveTo>
                  <a:cubicBezTo>
                    <a:pt x="63" y="5"/>
                    <a:pt x="44" y="0"/>
                    <a:pt x="44" y="0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3" y="6"/>
                    <a:pt x="5" y="32"/>
                    <a:pt x="4" y="53"/>
                  </a:cubicBezTo>
                  <a:cubicBezTo>
                    <a:pt x="3" y="96"/>
                    <a:pt x="2" y="178"/>
                    <a:pt x="1" y="183"/>
                  </a:cubicBezTo>
                  <a:cubicBezTo>
                    <a:pt x="0" y="190"/>
                    <a:pt x="55" y="188"/>
                    <a:pt x="55" y="188"/>
                  </a:cubicBezTo>
                  <a:lnTo>
                    <a:pt x="64" y="8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5" name="îṣļîďé">
              <a:extLst>
                <a:ext uri="{FF2B5EF4-FFF2-40B4-BE49-F238E27FC236}">
                  <a16:creationId xmlns:a16="http://schemas.microsoft.com/office/drawing/2014/main" id="{F9BE7CB7-F8B9-41D3-902B-C1842B87E0BC}"/>
                </a:ext>
              </a:extLst>
            </p:cNvPr>
            <p:cNvSpPr/>
            <p:nvPr/>
          </p:nvSpPr>
          <p:spPr bwMode="auto">
            <a:xfrm>
              <a:off x="5799188" y="3709541"/>
              <a:ext cx="201892" cy="638823"/>
            </a:xfrm>
            <a:custGeom>
              <a:avLst/>
              <a:gdLst>
                <a:gd name="T0" fmla="*/ 0 w 201"/>
                <a:gd name="T1" fmla="*/ 75 h 636"/>
                <a:gd name="T2" fmla="*/ 76 w 201"/>
                <a:gd name="T3" fmla="*/ 255 h 636"/>
                <a:gd name="T4" fmla="*/ 128 w 201"/>
                <a:gd name="T5" fmla="*/ 250 h 636"/>
                <a:gd name="T6" fmla="*/ 78 w 201"/>
                <a:gd name="T7" fmla="*/ 293 h 636"/>
                <a:gd name="T8" fmla="*/ 201 w 201"/>
                <a:gd name="T9" fmla="*/ 636 h 636"/>
                <a:gd name="T10" fmla="*/ 158 w 201"/>
                <a:gd name="T11" fmla="*/ 4 h 636"/>
                <a:gd name="T12" fmla="*/ 123 w 201"/>
                <a:gd name="T13" fmla="*/ 0 h 636"/>
                <a:gd name="T14" fmla="*/ 0 w 201"/>
                <a:gd name="T15" fmla="*/ 75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1" h="636">
                  <a:moveTo>
                    <a:pt x="0" y="75"/>
                  </a:moveTo>
                  <a:lnTo>
                    <a:pt x="76" y="255"/>
                  </a:lnTo>
                  <a:lnTo>
                    <a:pt x="128" y="250"/>
                  </a:lnTo>
                  <a:lnTo>
                    <a:pt x="78" y="293"/>
                  </a:lnTo>
                  <a:lnTo>
                    <a:pt x="201" y="636"/>
                  </a:lnTo>
                  <a:lnTo>
                    <a:pt x="158" y="4"/>
                  </a:lnTo>
                  <a:lnTo>
                    <a:pt x="123" y="0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rgbClr val="4B4A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6" name="íśľiďè">
              <a:extLst>
                <a:ext uri="{FF2B5EF4-FFF2-40B4-BE49-F238E27FC236}">
                  <a16:creationId xmlns:a16="http://schemas.microsoft.com/office/drawing/2014/main" id="{937AEEFD-8117-4948-9978-2CED4A3B6531}"/>
                </a:ext>
              </a:extLst>
            </p:cNvPr>
            <p:cNvSpPr/>
            <p:nvPr/>
          </p:nvSpPr>
          <p:spPr bwMode="auto">
            <a:xfrm>
              <a:off x="3020911" y="4893776"/>
              <a:ext cx="109484" cy="116515"/>
            </a:xfrm>
            <a:custGeom>
              <a:avLst/>
              <a:gdLst>
                <a:gd name="T0" fmla="*/ 33 w 46"/>
                <a:gd name="T1" fmla="*/ 24 h 49"/>
                <a:gd name="T2" fmla="*/ 31 w 46"/>
                <a:gd name="T3" fmla="*/ 35 h 49"/>
                <a:gd name="T4" fmla="*/ 16 w 46"/>
                <a:gd name="T5" fmla="*/ 46 h 49"/>
                <a:gd name="T6" fmla="*/ 3 w 46"/>
                <a:gd name="T7" fmla="*/ 44 h 49"/>
                <a:gd name="T8" fmla="*/ 5 w 46"/>
                <a:gd name="T9" fmla="*/ 32 h 49"/>
                <a:gd name="T10" fmla="*/ 20 w 46"/>
                <a:gd name="T11" fmla="*/ 20 h 49"/>
                <a:gd name="T12" fmla="*/ 31 w 46"/>
                <a:gd name="T13" fmla="*/ 21 h 49"/>
                <a:gd name="T14" fmla="*/ 42 w 46"/>
                <a:gd name="T15" fmla="*/ 14 h 49"/>
                <a:gd name="T16" fmla="*/ 43 w 46"/>
                <a:gd name="T17" fmla="*/ 0 h 49"/>
                <a:gd name="T18" fmla="*/ 46 w 46"/>
                <a:gd name="T19" fmla="*/ 0 h 49"/>
                <a:gd name="T20" fmla="*/ 45 w 46"/>
                <a:gd name="T21" fmla="*/ 15 h 49"/>
                <a:gd name="T22" fmla="*/ 45 w 46"/>
                <a:gd name="T23" fmla="*/ 15 h 49"/>
                <a:gd name="T24" fmla="*/ 44 w 46"/>
                <a:gd name="T25" fmla="*/ 16 h 49"/>
                <a:gd name="T26" fmla="*/ 33 w 46"/>
                <a:gd name="T27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49">
                  <a:moveTo>
                    <a:pt x="33" y="24"/>
                  </a:moveTo>
                  <a:cubicBezTo>
                    <a:pt x="35" y="27"/>
                    <a:pt x="34" y="32"/>
                    <a:pt x="31" y="3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2" y="49"/>
                    <a:pt x="6" y="48"/>
                    <a:pt x="3" y="44"/>
                  </a:cubicBezTo>
                  <a:cubicBezTo>
                    <a:pt x="0" y="40"/>
                    <a:pt x="1" y="35"/>
                    <a:pt x="5" y="32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3" y="18"/>
                    <a:pt x="28" y="18"/>
                    <a:pt x="31" y="21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6"/>
                    <a:pt x="44" y="16"/>
                    <a:pt x="44" y="16"/>
                  </a:cubicBezTo>
                  <a:lnTo>
                    <a:pt x="33" y="24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7" name="íŝlíḑé">
              <a:extLst>
                <a:ext uri="{FF2B5EF4-FFF2-40B4-BE49-F238E27FC236}">
                  <a16:creationId xmlns:a16="http://schemas.microsoft.com/office/drawing/2014/main" id="{9F01731E-0EF2-4025-9806-B16BD5B47716}"/>
                </a:ext>
              </a:extLst>
            </p:cNvPr>
            <p:cNvSpPr/>
            <p:nvPr/>
          </p:nvSpPr>
          <p:spPr bwMode="auto">
            <a:xfrm>
              <a:off x="3229834" y="4877705"/>
              <a:ext cx="59262" cy="240061"/>
            </a:xfrm>
            <a:prstGeom prst="rect">
              <a:avLst/>
            </a:pr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8" name="ïśļïḓé">
              <a:extLst>
                <a:ext uri="{FF2B5EF4-FFF2-40B4-BE49-F238E27FC236}">
                  <a16:creationId xmlns:a16="http://schemas.microsoft.com/office/drawing/2014/main" id="{36C3BD98-B952-467A-A721-1BDBFE3E0259}"/>
                </a:ext>
              </a:extLst>
            </p:cNvPr>
            <p:cNvSpPr/>
            <p:nvPr/>
          </p:nvSpPr>
          <p:spPr bwMode="auto">
            <a:xfrm>
              <a:off x="3257959" y="4877705"/>
              <a:ext cx="31138" cy="240061"/>
            </a:xfrm>
            <a:prstGeom prst="rect">
              <a:avLst/>
            </a:prstGeom>
            <a:solidFill>
              <a:srgbClr val="8D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9" name="iṩľiḓè">
              <a:extLst>
                <a:ext uri="{FF2B5EF4-FFF2-40B4-BE49-F238E27FC236}">
                  <a16:creationId xmlns:a16="http://schemas.microsoft.com/office/drawing/2014/main" id="{7785507C-92B8-45DC-8840-F82F19D10CAF}"/>
                </a:ext>
              </a:extLst>
            </p:cNvPr>
            <p:cNvSpPr/>
            <p:nvPr/>
          </p:nvSpPr>
          <p:spPr bwMode="auto">
            <a:xfrm>
              <a:off x="2768797" y="4224819"/>
              <a:ext cx="206914" cy="649872"/>
            </a:xfrm>
            <a:custGeom>
              <a:avLst/>
              <a:gdLst>
                <a:gd name="T0" fmla="*/ 23 w 87"/>
                <a:gd name="T1" fmla="*/ 0 h 274"/>
                <a:gd name="T2" fmla="*/ 22 w 87"/>
                <a:gd name="T3" fmla="*/ 50 h 274"/>
                <a:gd name="T4" fmla="*/ 87 w 87"/>
                <a:gd name="T5" fmla="*/ 256 h 274"/>
                <a:gd name="T6" fmla="*/ 86 w 87"/>
                <a:gd name="T7" fmla="*/ 274 h 274"/>
                <a:gd name="T8" fmla="*/ 4 w 87"/>
                <a:gd name="T9" fmla="*/ 50 h 274"/>
                <a:gd name="T10" fmla="*/ 5 w 87"/>
                <a:gd name="T11" fmla="*/ 0 h 274"/>
                <a:gd name="T12" fmla="*/ 23 w 87"/>
                <a:gd name="T1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274">
                  <a:moveTo>
                    <a:pt x="23" y="0"/>
                  </a:moveTo>
                  <a:cubicBezTo>
                    <a:pt x="23" y="17"/>
                    <a:pt x="22" y="34"/>
                    <a:pt x="22" y="50"/>
                  </a:cubicBezTo>
                  <a:cubicBezTo>
                    <a:pt x="20" y="160"/>
                    <a:pt x="18" y="254"/>
                    <a:pt x="87" y="256"/>
                  </a:cubicBezTo>
                  <a:cubicBezTo>
                    <a:pt x="86" y="274"/>
                    <a:pt x="86" y="274"/>
                    <a:pt x="86" y="274"/>
                  </a:cubicBezTo>
                  <a:cubicBezTo>
                    <a:pt x="0" y="271"/>
                    <a:pt x="2" y="169"/>
                    <a:pt x="4" y="50"/>
                  </a:cubicBezTo>
                  <a:cubicBezTo>
                    <a:pt x="5" y="33"/>
                    <a:pt x="5" y="17"/>
                    <a:pt x="5" y="0"/>
                  </a:cubicBezTo>
                  <a:lnTo>
                    <a:pt x="23" y="0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0" name="ïṥļiďe">
              <a:extLst>
                <a:ext uri="{FF2B5EF4-FFF2-40B4-BE49-F238E27FC236}">
                  <a16:creationId xmlns:a16="http://schemas.microsoft.com/office/drawing/2014/main" id="{71A5B792-5E94-4BFC-97C3-3E088EACFF16}"/>
                </a:ext>
              </a:extLst>
            </p:cNvPr>
            <p:cNvSpPr/>
            <p:nvPr/>
          </p:nvSpPr>
          <p:spPr bwMode="auto">
            <a:xfrm>
              <a:off x="2790894" y="4224819"/>
              <a:ext cx="184816" cy="647864"/>
            </a:xfrm>
            <a:custGeom>
              <a:avLst/>
              <a:gdLst>
                <a:gd name="T0" fmla="*/ 14 w 78"/>
                <a:gd name="T1" fmla="*/ 0 h 273"/>
                <a:gd name="T2" fmla="*/ 13 w 78"/>
                <a:gd name="T3" fmla="*/ 50 h 273"/>
                <a:gd name="T4" fmla="*/ 78 w 78"/>
                <a:gd name="T5" fmla="*/ 256 h 273"/>
                <a:gd name="T6" fmla="*/ 78 w 78"/>
                <a:gd name="T7" fmla="*/ 273 h 273"/>
                <a:gd name="T8" fmla="*/ 4 w 78"/>
                <a:gd name="T9" fmla="*/ 50 h 273"/>
                <a:gd name="T10" fmla="*/ 5 w 78"/>
                <a:gd name="T11" fmla="*/ 0 h 273"/>
                <a:gd name="T12" fmla="*/ 14 w 78"/>
                <a:gd name="T13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73">
                  <a:moveTo>
                    <a:pt x="14" y="0"/>
                  </a:moveTo>
                  <a:cubicBezTo>
                    <a:pt x="14" y="17"/>
                    <a:pt x="13" y="34"/>
                    <a:pt x="13" y="50"/>
                  </a:cubicBezTo>
                  <a:cubicBezTo>
                    <a:pt x="11" y="160"/>
                    <a:pt x="9" y="254"/>
                    <a:pt x="78" y="256"/>
                  </a:cubicBezTo>
                  <a:cubicBezTo>
                    <a:pt x="78" y="273"/>
                    <a:pt x="78" y="273"/>
                    <a:pt x="78" y="273"/>
                  </a:cubicBezTo>
                  <a:cubicBezTo>
                    <a:pt x="0" y="263"/>
                    <a:pt x="2" y="165"/>
                    <a:pt x="4" y="50"/>
                  </a:cubicBezTo>
                  <a:cubicBezTo>
                    <a:pt x="5" y="33"/>
                    <a:pt x="5" y="17"/>
                    <a:pt x="5" y="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494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1" name="ïṥḻîḋè">
              <a:extLst>
                <a:ext uri="{FF2B5EF4-FFF2-40B4-BE49-F238E27FC236}">
                  <a16:creationId xmlns:a16="http://schemas.microsoft.com/office/drawing/2014/main" id="{A96597BA-1FCA-4EA5-B1A8-58236313EABC}"/>
                </a:ext>
              </a:extLst>
            </p:cNvPr>
            <p:cNvSpPr/>
            <p:nvPr/>
          </p:nvSpPr>
          <p:spPr bwMode="auto">
            <a:xfrm>
              <a:off x="2864218" y="4710968"/>
              <a:ext cx="788484" cy="166737"/>
            </a:xfrm>
            <a:custGeom>
              <a:avLst/>
              <a:gdLst>
                <a:gd name="T0" fmla="*/ 166 w 332"/>
                <a:gd name="T1" fmla="*/ 0 h 70"/>
                <a:gd name="T2" fmla="*/ 332 w 332"/>
                <a:gd name="T3" fmla="*/ 63 h 70"/>
                <a:gd name="T4" fmla="*/ 330 w 332"/>
                <a:gd name="T5" fmla="*/ 70 h 70"/>
                <a:gd name="T6" fmla="*/ 2 w 332"/>
                <a:gd name="T7" fmla="*/ 70 h 70"/>
                <a:gd name="T8" fmla="*/ 0 w 332"/>
                <a:gd name="T9" fmla="*/ 63 h 70"/>
                <a:gd name="T10" fmla="*/ 166 w 332"/>
                <a:gd name="T1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2" h="70">
                  <a:moveTo>
                    <a:pt x="166" y="0"/>
                  </a:moveTo>
                  <a:cubicBezTo>
                    <a:pt x="257" y="0"/>
                    <a:pt x="332" y="28"/>
                    <a:pt x="332" y="63"/>
                  </a:cubicBezTo>
                  <a:cubicBezTo>
                    <a:pt x="332" y="65"/>
                    <a:pt x="331" y="68"/>
                    <a:pt x="330" y="70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1" y="68"/>
                    <a:pt x="0" y="65"/>
                    <a:pt x="0" y="63"/>
                  </a:cubicBezTo>
                  <a:cubicBezTo>
                    <a:pt x="0" y="28"/>
                    <a:pt x="75" y="0"/>
                    <a:pt x="166" y="0"/>
                  </a:cubicBezTo>
                </a:path>
              </a:pathLst>
            </a:custGeom>
            <a:solidFill>
              <a:srgbClr val="4352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2" name="îsḻíḋé">
              <a:extLst>
                <a:ext uri="{FF2B5EF4-FFF2-40B4-BE49-F238E27FC236}">
                  <a16:creationId xmlns:a16="http://schemas.microsoft.com/office/drawing/2014/main" id="{8EA5CFB4-4BA7-4D99-864B-C5934CF04827}"/>
                </a:ext>
              </a:extLst>
            </p:cNvPr>
            <p:cNvSpPr/>
            <p:nvPr/>
          </p:nvSpPr>
          <p:spPr bwMode="auto">
            <a:xfrm>
              <a:off x="2864218" y="4858620"/>
              <a:ext cx="788484" cy="68302"/>
            </a:xfrm>
            <a:custGeom>
              <a:avLst/>
              <a:gdLst>
                <a:gd name="T0" fmla="*/ 332 w 332"/>
                <a:gd name="T1" fmla="*/ 0 h 29"/>
                <a:gd name="T2" fmla="*/ 332 w 332"/>
                <a:gd name="T3" fmla="*/ 2 h 29"/>
                <a:gd name="T4" fmla="*/ 315 w 332"/>
                <a:gd name="T5" fmla="*/ 19 h 29"/>
                <a:gd name="T6" fmla="*/ 252 w 332"/>
                <a:gd name="T7" fmla="*/ 19 h 29"/>
                <a:gd name="T8" fmla="*/ 166 w 332"/>
                <a:gd name="T9" fmla="*/ 29 h 29"/>
                <a:gd name="T10" fmla="*/ 81 w 332"/>
                <a:gd name="T11" fmla="*/ 19 h 29"/>
                <a:gd name="T12" fmla="*/ 17 w 332"/>
                <a:gd name="T13" fmla="*/ 19 h 29"/>
                <a:gd name="T14" fmla="*/ 0 w 332"/>
                <a:gd name="T15" fmla="*/ 2 h 29"/>
                <a:gd name="T16" fmla="*/ 0 w 332"/>
                <a:gd name="T17" fmla="*/ 0 h 29"/>
                <a:gd name="T18" fmla="*/ 332 w 332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2" h="29">
                  <a:moveTo>
                    <a:pt x="332" y="0"/>
                  </a:moveTo>
                  <a:cubicBezTo>
                    <a:pt x="332" y="1"/>
                    <a:pt x="332" y="1"/>
                    <a:pt x="332" y="2"/>
                  </a:cubicBezTo>
                  <a:cubicBezTo>
                    <a:pt x="332" y="11"/>
                    <a:pt x="325" y="19"/>
                    <a:pt x="315" y="19"/>
                  </a:cubicBezTo>
                  <a:cubicBezTo>
                    <a:pt x="252" y="19"/>
                    <a:pt x="252" y="19"/>
                    <a:pt x="252" y="19"/>
                  </a:cubicBezTo>
                  <a:cubicBezTo>
                    <a:pt x="245" y="25"/>
                    <a:pt x="209" y="29"/>
                    <a:pt x="166" y="29"/>
                  </a:cubicBezTo>
                  <a:cubicBezTo>
                    <a:pt x="124" y="29"/>
                    <a:pt x="88" y="25"/>
                    <a:pt x="81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8" y="19"/>
                    <a:pt x="0" y="11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lnTo>
                    <a:pt x="332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3" name="í$ļïḑé">
              <a:extLst>
                <a:ext uri="{FF2B5EF4-FFF2-40B4-BE49-F238E27FC236}">
                  <a16:creationId xmlns:a16="http://schemas.microsoft.com/office/drawing/2014/main" id="{CC64D6B6-4404-403A-BC67-FB284710F935}"/>
                </a:ext>
              </a:extLst>
            </p:cNvPr>
            <p:cNvSpPr/>
            <p:nvPr/>
          </p:nvSpPr>
          <p:spPr bwMode="auto">
            <a:xfrm>
              <a:off x="2761766" y="4105291"/>
              <a:ext cx="104461" cy="180799"/>
            </a:xfrm>
            <a:custGeom>
              <a:avLst/>
              <a:gdLst>
                <a:gd name="T0" fmla="*/ 14 w 44"/>
                <a:gd name="T1" fmla="*/ 0 h 76"/>
                <a:gd name="T2" fmla="*/ 30 w 44"/>
                <a:gd name="T3" fmla="*/ 0 h 76"/>
                <a:gd name="T4" fmla="*/ 44 w 44"/>
                <a:gd name="T5" fmla="*/ 14 h 76"/>
                <a:gd name="T6" fmla="*/ 44 w 44"/>
                <a:gd name="T7" fmla="*/ 62 h 76"/>
                <a:gd name="T8" fmla="*/ 30 w 44"/>
                <a:gd name="T9" fmla="*/ 76 h 76"/>
                <a:gd name="T10" fmla="*/ 14 w 44"/>
                <a:gd name="T11" fmla="*/ 76 h 76"/>
                <a:gd name="T12" fmla="*/ 0 w 44"/>
                <a:gd name="T13" fmla="*/ 62 h 76"/>
                <a:gd name="T14" fmla="*/ 0 w 44"/>
                <a:gd name="T15" fmla="*/ 14 h 76"/>
                <a:gd name="T16" fmla="*/ 14 w 44"/>
                <a:gd name="T1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76">
                  <a:moveTo>
                    <a:pt x="14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8" y="0"/>
                    <a:pt x="44" y="6"/>
                    <a:pt x="44" y="14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70"/>
                    <a:pt x="38" y="76"/>
                    <a:pt x="30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6" y="76"/>
                    <a:pt x="0" y="70"/>
                    <a:pt x="0" y="6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4" name="ïşḻïḍé">
              <a:extLst>
                <a:ext uri="{FF2B5EF4-FFF2-40B4-BE49-F238E27FC236}">
                  <a16:creationId xmlns:a16="http://schemas.microsoft.com/office/drawing/2014/main" id="{0D0E463C-B6A4-4320-89EA-5A1E0493EDCD}"/>
                </a:ext>
              </a:extLst>
            </p:cNvPr>
            <p:cNvSpPr/>
            <p:nvPr/>
          </p:nvSpPr>
          <p:spPr bwMode="auto">
            <a:xfrm>
              <a:off x="2752725" y="3892350"/>
              <a:ext cx="208923" cy="616725"/>
            </a:xfrm>
            <a:custGeom>
              <a:avLst/>
              <a:gdLst>
                <a:gd name="T0" fmla="*/ 76 w 88"/>
                <a:gd name="T1" fmla="*/ 124 h 260"/>
                <a:gd name="T2" fmla="*/ 49 w 88"/>
                <a:gd name="T3" fmla="*/ 260 h 260"/>
                <a:gd name="T4" fmla="*/ 43 w 88"/>
                <a:gd name="T5" fmla="*/ 260 h 260"/>
                <a:gd name="T6" fmla="*/ 0 w 88"/>
                <a:gd name="T7" fmla="*/ 6 h 260"/>
                <a:gd name="T8" fmla="*/ 6 w 88"/>
                <a:gd name="T9" fmla="*/ 4 h 260"/>
                <a:gd name="T10" fmla="*/ 76 w 88"/>
                <a:gd name="T11" fmla="*/ 124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260">
                  <a:moveTo>
                    <a:pt x="76" y="124"/>
                  </a:moveTo>
                  <a:cubicBezTo>
                    <a:pt x="88" y="194"/>
                    <a:pt x="76" y="255"/>
                    <a:pt x="49" y="260"/>
                  </a:cubicBezTo>
                  <a:cubicBezTo>
                    <a:pt x="47" y="260"/>
                    <a:pt x="45" y="260"/>
                    <a:pt x="43" y="2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5"/>
                    <a:pt x="4" y="4"/>
                    <a:pt x="6" y="4"/>
                  </a:cubicBezTo>
                  <a:cubicBezTo>
                    <a:pt x="33" y="0"/>
                    <a:pt x="64" y="53"/>
                    <a:pt x="76" y="124"/>
                  </a:cubicBezTo>
                </a:path>
              </a:pathLst>
            </a:custGeom>
            <a:solidFill>
              <a:srgbClr val="4352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5" name="iśļiḋè">
              <a:extLst>
                <a:ext uri="{FF2B5EF4-FFF2-40B4-BE49-F238E27FC236}">
                  <a16:creationId xmlns:a16="http://schemas.microsoft.com/office/drawing/2014/main" id="{08BDEF6C-518A-4C96-9BCD-BC6AD5F2CAC7}"/>
                </a:ext>
              </a:extLst>
            </p:cNvPr>
            <p:cNvSpPr/>
            <p:nvPr/>
          </p:nvSpPr>
          <p:spPr bwMode="auto">
            <a:xfrm>
              <a:off x="2752725" y="3901390"/>
              <a:ext cx="132586" cy="607686"/>
            </a:xfrm>
            <a:custGeom>
              <a:avLst/>
              <a:gdLst>
                <a:gd name="T0" fmla="*/ 56 w 56"/>
                <a:gd name="T1" fmla="*/ 253 h 256"/>
                <a:gd name="T2" fmla="*/ 49 w 56"/>
                <a:gd name="T3" fmla="*/ 256 h 256"/>
                <a:gd name="T4" fmla="*/ 43 w 56"/>
                <a:gd name="T5" fmla="*/ 256 h 256"/>
                <a:gd name="T6" fmla="*/ 0 w 56"/>
                <a:gd name="T7" fmla="*/ 2 h 256"/>
                <a:gd name="T8" fmla="*/ 6 w 56"/>
                <a:gd name="T9" fmla="*/ 0 h 256"/>
                <a:gd name="T10" fmla="*/ 14 w 56"/>
                <a:gd name="T11" fmla="*/ 0 h 256"/>
                <a:gd name="T12" fmla="*/ 56 w 56"/>
                <a:gd name="T13" fmla="*/ 253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256">
                  <a:moveTo>
                    <a:pt x="56" y="253"/>
                  </a:moveTo>
                  <a:cubicBezTo>
                    <a:pt x="54" y="254"/>
                    <a:pt x="52" y="255"/>
                    <a:pt x="49" y="256"/>
                  </a:cubicBezTo>
                  <a:cubicBezTo>
                    <a:pt x="47" y="256"/>
                    <a:pt x="45" y="256"/>
                    <a:pt x="43" y="25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9" y="0"/>
                    <a:pt x="11" y="0"/>
                    <a:pt x="14" y="0"/>
                  </a:cubicBezTo>
                  <a:lnTo>
                    <a:pt x="56" y="253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6" name="îṡḷiḑe">
              <a:extLst>
                <a:ext uri="{FF2B5EF4-FFF2-40B4-BE49-F238E27FC236}">
                  <a16:creationId xmlns:a16="http://schemas.microsoft.com/office/drawing/2014/main" id="{3BB325A0-E574-4387-B6E4-6553ECC5DDB3}"/>
                </a:ext>
              </a:extLst>
            </p:cNvPr>
            <p:cNvSpPr/>
            <p:nvPr/>
          </p:nvSpPr>
          <p:spPr bwMode="auto">
            <a:xfrm>
              <a:off x="2968680" y="5074574"/>
              <a:ext cx="581570" cy="304346"/>
            </a:xfrm>
            <a:custGeom>
              <a:avLst/>
              <a:gdLst>
                <a:gd name="T0" fmla="*/ 103 w 245"/>
                <a:gd name="T1" fmla="*/ 0 h 128"/>
                <a:gd name="T2" fmla="*/ 142 w 245"/>
                <a:gd name="T3" fmla="*/ 0 h 128"/>
                <a:gd name="T4" fmla="*/ 142 w 245"/>
                <a:gd name="T5" fmla="*/ 89 h 128"/>
                <a:gd name="T6" fmla="*/ 233 w 245"/>
                <a:gd name="T7" fmla="*/ 104 h 128"/>
                <a:gd name="T8" fmla="*/ 245 w 245"/>
                <a:gd name="T9" fmla="*/ 116 h 128"/>
                <a:gd name="T10" fmla="*/ 245 w 245"/>
                <a:gd name="T11" fmla="*/ 116 h 128"/>
                <a:gd name="T12" fmla="*/ 233 w 245"/>
                <a:gd name="T13" fmla="*/ 127 h 128"/>
                <a:gd name="T14" fmla="*/ 134 w 245"/>
                <a:gd name="T15" fmla="*/ 110 h 128"/>
                <a:gd name="T16" fmla="*/ 111 w 245"/>
                <a:gd name="T17" fmla="*/ 110 h 128"/>
                <a:gd name="T18" fmla="*/ 12 w 245"/>
                <a:gd name="T19" fmla="*/ 127 h 128"/>
                <a:gd name="T20" fmla="*/ 0 w 245"/>
                <a:gd name="T21" fmla="*/ 116 h 128"/>
                <a:gd name="T22" fmla="*/ 0 w 245"/>
                <a:gd name="T23" fmla="*/ 116 h 128"/>
                <a:gd name="T24" fmla="*/ 12 w 245"/>
                <a:gd name="T25" fmla="*/ 104 h 128"/>
                <a:gd name="T26" fmla="*/ 103 w 245"/>
                <a:gd name="T27" fmla="*/ 89 h 128"/>
                <a:gd name="T28" fmla="*/ 103 w 245"/>
                <a:gd name="T29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" h="128">
                  <a:moveTo>
                    <a:pt x="103" y="0"/>
                  </a:moveTo>
                  <a:cubicBezTo>
                    <a:pt x="142" y="0"/>
                    <a:pt x="142" y="0"/>
                    <a:pt x="142" y="0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233" y="104"/>
                    <a:pt x="233" y="104"/>
                    <a:pt x="233" y="104"/>
                  </a:cubicBezTo>
                  <a:cubicBezTo>
                    <a:pt x="239" y="105"/>
                    <a:pt x="245" y="109"/>
                    <a:pt x="245" y="116"/>
                  </a:cubicBezTo>
                  <a:cubicBezTo>
                    <a:pt x="245" y="116"/>
                    <a:pt x="245" y="116"/>
                    <a:pt x="245" y="116"/>
                  </a:cubicBezTo>
                  <a:cubicBezTo>
                    <a:pt x="245" y="122"/>
                    <a:pt x="239" y="128"/>
                    <a:pt x="233" y="127"/>
                  </a:cubicBezTo>
                  <a:cubicBezTo>
                    <a:pt x="134" y="110"/>
                    <a:pt x="134" y="110"/>
                    <a:pt x="134" y="110"/>
                  </a:cubicBezTo>
                  <a:cubicBezTo>
                    <a:pt x="111" y="110"/>
                    <a:pt x="111" y="110"/>
                    <a:pt x="111" y="110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5" y="128"/>
                    <a:pt x="0" y="122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09"/>
                    <a:pt x="5" y="105"/>
                    <a:pt x="12" y="104"/>
                  </a:cubicBezTo>
                  <a:cubicBezTo>
                    <a:pt x="103" y="89"/>
                    <a:pt x="103" y="89"/>
                    <a:pt x="103" y="89"/>
                  </a:cubicBezTo>
                  <a:lnTo>
                    <a:pt x="103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7" name="î$1íḋé">
              <a:extLst>
                <a:ext uri="{FF2B5EF4-FFF2-40B4-BE49-F238E27FC236}">
                  <a16:creationId xmlns:a16="http://schemas.microsoft.com/office/drawing/2014/main" id="{65C16E40-2DAF-421E-B627-B362A2C4FB8F}"/>
                </a:ext>
              </a:extLst>
            </p:cNvPr>
            <p:cNvSpPr/>
            <p:nvPr/>
          </p:nvSpPr>
          <p:spPr bwMode="auto">
            <a:xfrm>
              <a:off x="2956626" y="5340752"/>
              <a:ext cx="73324" cy="73324"/>
            </a:xfrm>
            <a:prstGeom prst="ellipse">
              <a:avLst/>
            </a:pr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8" name="ïṣlïḓè">
              <a:extLst>
                <a:ext uri="{FF2B5EF4-FFF2-40B4-BE49-F238E27FC236}">
                  <a16:creationId xmlns:a16="http://schemas.microsoft.com/office/drawing/2014/main" id="{DD7FB114-CC8D-4C00-A31D-579BCCF04E1F}"/>
                </a:ext>
              </a:extLst>
            </p:cNvPr>
            <p:cNvSpPr/>
            <p:nvPr/>
          </p:nvSpPr>
          <p:spPr bwMode="auto">
            <a:xfrm>
              <a:off x="3485965" y="5340752"/>
              <a:ext cx="71316" cy="73324"/>
            </a:xfrm>
            <a:prstGeom prst="ellipse">
              <a:avLst/>
            </a:pr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9" name="îş1ïḋê">
              <a:extLst>
                <a:ext uri="{FF2B5EF4-FFF2-40B4-BE49-F238E27FC236}">
                  <a16:creationId xmlns:a16="http://schemas.microsoft.com/office/drawing/2014/main" id="{60270612-CD09-42E2-8EA3-84B42D8B97F6}"/>
                </a:ext>
              </a:extLst>
            </p:cNvPr>
            <p:cNvSpPr/>
            <p:nvPr/>
          </p:nvSpPr>
          <p:spPr bwMode="auto">
            <a:xfrm>
              <a:off x="3227825" y="5285507"/>
              <a:ext cx="63280" cy="95422"/>
            </a:xfrm>
            <a:custGeom>
              <a:avLst/>
              <a:gdLst>
                <a:gd name="T0" fmla="*/ 0 w 63"/>
                <a:gd name="T1" fmla="*/ 0 h 95"/>
                <a:gd name="T2" fmla="*/ 30 w 63"/>
                <a:gd name="T3" fmla="*/ 0 h 95"/>
                <a:gd name="T4" fmla="*/ 63 w 63"/>
                <a:gd name="T5" fmla="*/ 0 h 95"/>
                <a:gd name="T6" fmla="*/ 52 w 63"/>
                <a:gd name="T7" fmla="*/ 95 h 95"/>
                <a:gd name="T8" fmla="*/ 30 w 63"/>
                <a:gd name="T9" fmla="*/ 95 h 95"/>
                <a:gd name="T10" fmla="*/ 11 w 63"/>
                <a:gd name="T11" fmla="*/ 95 h 95"/>
                <a:gd name="T12" fmla="*/ 0 w 63"/>
                <a:gd name="T1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95">
                  <a:moveTo>
                    <a:pt x="0" y="0"/>
                  </a:moveTo>
                  <a:lnTo>
                    <a:pt x="30" y="0"/>
                  </a:lnTo>
                  <a:lnTo>
                    <a:pt x="63" y="0"/>
                  </a:lnTo>
                  <a:lnTo>
                    <a:pt x="52" y="95"/>
                  </a:lnTo>
                  <a:lnTo>
                    <a:pt x="30" y="95"/>
                  </a:lnTo>
                  <a:lnTo>
                    <a:pt x="11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0" name="í$1íḍê">
              <a:extLst>
                <a:ext uri="{FF2B5EF4-FFF2-40B4-BE49-F238E27FC236}">
                  <a16:creationId xmlns:a16="http://schemas.microsoft.com/office/drawing/2014/main" id="{2BD00969-4681-47A3-BC17-9DB4A3778E72}"/>
                </a:ext>
              </a:extLst>
            </p:cNvPr>
            <p:cNvSpPr/>
            <p:nvPr/>
          </p:nvSpPr>
          <p:spPr bwMode="auto">
            <a:xfrm>
              <a:off x="3222802" y="5340752"/>
              <a:ext cx="71316" cy="73324"/>
            </a:xfrm>
            <a:prstGeom prst="ellipse">
              <a:avLst/>
            </a:pr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1" name="îṡḻíḓê">
              <a:extLst>
                <a:ext uri="{FF2B5EF4-FFF2-40B4-BE49-F238E27FC236}">
                  <a16:creationId xmlns:a16="http://schemas.microsoft.com/office/drawing/2014/main" id="{C1930DB7-5F23-4A4D-A60D-A849A4A13C08}"/>
                </a:ext>
              </a:extLst>
            </p:cNvPr>
            <p:cNvSpPr/>
            <p:nvPr/>
          </p:nvSpPr>
          <p:spPr bwMode="auto">
            <a:xfrm>
              <a:off x="3574356" y="5245329"/>
              <a:ext cx="412825" cy="166737"/>
            </a:xfrm>
            <a:custGeom>
              <a:avLst/>
              <a:gdLst>
                <a:gd name="T0" fmla="*/ 7 w 174"/>
                <a:gd name="T1" fmla="*/ 1 h 70"/>
                <a:gd name="T2" fmla="*/ 0 w 174"/>
                <a:gd name="T3" fmla="*/ 48 h 70"/>
                <a:gd name="T4" fmla="*/ 47 w 174"/>
                <a:gd name="T5" fmla="*/ 56 h 70"/>
                <a:gd name="T6" fmla="*/ 48 w 174"/>
                <a:gd name="T7" fmla="*/ 48 h 70"/>
                <a:gd name="T8" fmla="*/ 122 w 174"/>
                <a:gd name="T9" fmla="*/ 70 h 70"/>
                <a:gd name="T10" fmla="*/ 170 w 174"/>
                <a:gd name="T11" fmla="*/ 65 h 70"/>
                <a:gd name="T12" fmla="*/ 170 w 174"/>
                <a:gd name="T13" fmla="*/ 58 h 70"/>
                <a:gd name="T14" fmla="*/ 166 w 174"/>
                <a:gd name="T15" fmla="*/ 50 h 70"/>
                <a:gd name="T16" fmla="*/ 82 w 174"/>
                <a:gd name="T17" fmla="*/ 1 h 70"/>
                <a:gd name="T18" fmla="*/ 7 w 174"/>
                <a:gd name="T19" fmla="*/ 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70">
                  <a:moveTo>
                    <a:pt x="7" y="1"/>
                  </a:moveTo>
                  <a:cubicBezTo>
                    <a:pt x="7" y="3"/>
                    <a:pt x="0" y="48"/>
                    <a:pt x="0" y="48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65" y="64"/>
                    <a:pt x="115" y="70"/>
                    <a:pt x="122" y="70"/>
                  </a:cubicBezTo>
                  <a:cubicBezTo>
                    <a:pt x="147" y="70"/>
                    <a:pt x="170" y="65"/>
                    <a:pt x="170" y="65"/>
                  </a:cubicBezTo>
                  <a:cubicBezTo>
                    <a:pt x="170" y="58"/>
                    <a:pt x="170" y="58"/>
                    <a:pt x="170" y="58"/>
                  </a:cubicBezTo>
                  <a:cubicBezTo>
                    <a:pt x="170" y="58"/>
                    <a:pt x="174" y="52"/>
                    <a:pt x="166" y="50"/>
                  </a:cubicBezTo>
                  <a:cubicBezTo>
                    <a:pt x="108" y="40"/>
                    <a:pt x="83" y="18"/>
                    <a:pt x="82" y="1"/>
                  </a:cubicBezTo>
                  <a:cubicBezTo>
                    <a:pt x="82" y="0"/>
                    <a:pt x="7" y="1"/>
                    <a:pt x="7" y="1"/>
                  </a:cubicBezTo>
                </a:path>
              </a:pathLst>
            </a:custGeom>
            <a:solidFill>
              <a:srgbClr val="202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2" name="î$ḷîḋè">
              <a:extLst>
                <a:ext uri="{FF2B5EF4-FFF2-40B4-BE49-F238E27FC236}">
                  <a16:creationId xmlns:a16="http://schemas.microsoft.com/office/drawing/2014/main" id="{F2337FE1-2398-4FFC-81CF-382C68EEC53C}"/>
                </a:ext>
              </a:extLst>
            </p:cNvPr>
            <p:cNvSpPr/>
            <p:nvPr/>
          </p:nvSpPr>
          <p:spPr bwMode="auto">
            <a:xfrm>
              <a:off x="3925910" y="5245329"/>
              <a:ext cx="414834" cy="168746"/>
            </a:xfrm>
            <a:custGeom>
              <a:avLst/>
              <a:gdLst>
                <a:gd name="T0" fmla="*/ 0 w 175"/>
                <a:gd name="T1" fmla="*/ 25 h 71"/>
                <a:gd name="T2" fmla="*/ 12 w 175"/>
                <a:gd name="T3" fmla="*/ 71 h 71"/>
                <a:gd name="T4" fmla="*/ 58 w 175"/>
                <a:gd name="T5" fmla="*/ 60 h 71"/>
                <a:gd name="T6" fmla="*/ 56 w 175"/>
                <a:gd name="T7" fmla="*/ 53 h 71"/>
                <a:gd name="T8" fmla="*/ 132 w 175"/>
                <a:gd name="T9" fmla="*/ 44 h 71"/>
                <a:gd name="T10" fmla="*/ 175 w 175"/>
                <a:gd name="T11" fmla="*/ 20 h 71"/>
                <a:gd name="T12" fmla="*/ 172 w 175"/>
                <a:gd name="T13" fmla="*/ 14 h 71"/>
                <a:gd name="T14" fmla="*/ 165 w 175"/>
                <a:gd name="T15" fmla="*/ 8 h 71"/>
                <a:gd name="T16" fmla="*/ 52 w 175"/>
                <a:gd name="T17" fmla="*/ 0 h 71"/>
                <a:gd name="T18" fmla="*/ 0 w 175"/>
                <a:gd name="T19" fmla="*/ 2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71">
                  <a:moveTo>
                    <a:pt x="0" y="25"/>
                  </a:moveTo>
                  <a:cubicBezTo>
                    <a:pt x="0" y="27"/>
                    <a:pt x="12" y="71"/>
                    <a:pt x="12" y="71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78" y="61"/>
                    <a:pt x="126" y="47"/>
                    <a:pt x="132" y="44"/>
                  </a:cubicBezTo>
                  <a:cubicBezTo>
                    <a:pt x="155" y="33"/>
                    <a:pt x="175" y="20"/>
                    <a:pt x="175" y="20"/>
                  </a:cubicBezTo>
                  <a:cubicBezTo>
                    <a:pt x="172" y="14"/>
                    <a:pt x="172" y="14"/>
                    <a:pt x="172" y="14"/>
                  </a:cubicBezTo>
                  <a:cubicBezTo>
                    <a:pt x="172" y="14"/>
                    <a:pt x="173" y="7"/>
                    <a:pt x="165" y="8"/>
                  </a:cubicBezTo>
                  <a:cubicBezTo>
                    <a:pt x="88" y="20"/>
                    <a:pt x="67" y="3"/>
                    <a:pt x="52" y="0"/>
                  </a:cubicBezTo>
                  <a:cubicBezTo>
                    <a:pt x="50" y="0"/>
                    <a:pt x="0" y="25"/>
                    <a:pt x="0" y="25"/>
                  </a:cubicBezTo>
                </a:path>
              </a:pathLst>
            </a:custGeom>
            <a:solidFill>
              <a:srgbClr val="2626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3" name="îṩḷiďê">
              <a:extLst>
                <a:ext uri="{FF2B5EF4-FFF2-40B4-BE49-F238E27FC236}">
                  <a16:creationId xmlns:a16="http://schemas.microsoft.com/office/drawing/2014/main" id="{A68BBCCA-8DDF-4699-8407-27E01615F195}"/>
                </a:ext>
              </a:extLst>
            </p:cNvPr>
            <p:cNvSpPr/>
            <p:nvPr/>
          </p:nvSpPr>
          <p:spPr bwMode="auto">
            <a:xfrm>
              <a:off x="3170571" y="4568337"/>
              <a:ext cx="703107" cy="713152"/>
            </a:xfrm>
            <a:custGeom>
              <a:avLst/>
              <a:gdLst>
                <a:gd name="T0" fmla="*/ 0 w 296"/>
                <a:gd name="T1" fmla="*/ 81 h 300"/>
                <a:gd name="T2" fmla="*/ 13 w 296"/>
                <a:gd name="T3" fmla="*/ 0 h 300"/>
                <a:gd name="T4" fmla="*/ 284 w 296"/>
                <a:gd name="T5" fmla="*/ 49 h 300"/>
                <a:gd name="T6" fmla="*/ 264 w 296"/>
                <a:gd name="T7" fmla="*/ 300 h 300"/>
                <a:gd name="T8" fmla="*/ 172 w 296"/>
                <a:gd name="T9" fmla="*/ 298 h 300"/>
                <a:gd name="T10" fmla="*/ 208 w 296"/>
                <a:gd name="T11" fmla="*/ 96 h 300"/>
                <a:gd name="T12" fmla="*/ 0 w 296"/>
                <a:gd name="T13" fmla="*/ 81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6" h="300">
                  <a:moveTo>
                    <a:pt x="0" y="81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269" y="14"/>
                    <a:pt x="284" y="49"/>
                  </a:cubicBezTo>
                  <a:cubicBezTo>
                    <a:pt x="296" y="78"/>
                    <a:pt x="264" y="300"/>
                    <a:pt x="264" y="300"/>
                  </a:cubicBezTo>
                  <a:cubicBezTo>
                    <a:pt x="172" y="298"/>
                    <a:pt x="172" y="298"/>
                    <a:pt x="172" y="298"/>
                  </a:cubicBezTo>
                  <a:cubicBezTo>
                    <a:pt x="172" y="298"/>
                    <a:pt x="212" y="98"/>
                    <a:pt x="208" y="96"/>
                  </a:cubicBezTo>
                  <a:cubicBezTo>
                    <a:pt x="204" y="95"/>
                    <a:pt x="0" y="81"/>
                    <a:pt x="0" y="81"/>
                  </a:cubicBezTo>
                </a:path>
              </a:pathLst>
            </a:custGeom>
            <a:solidFill>
              <a:srgbClr val="3535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4" name="ísľiḍè">
              <a:extLst>
                <a:ext uri="{FF2B5EF4-FFF2-40B4-BE49-F238E27FC236}">
                  <a16:creationId xmlns:a16="http://schemas.microsoft.com/office/drawing/2014/main" id="{FF6B9740-F57D-4F12-8BB8-A3B701A4D3E5}"/>
                </a:ext>
              </a:extLst>
            </p:cNvPr>
            <p:cNvSpPr/>
            <p:nvPr/>
          </p:nvSpPr>
          <p:spPr bwMode="auto">
            <a:xfrm>
              <a:off x="2961648" y="4578382"/>
              <a:ext cx="1137025" cy="769400"/>
            </a:xfrm>
            <a:custGeom>
              <a:avLst/>
              <a:gdLst>
                <a:gd name="T0" fmla="*/ 5 w 479"/>
                <a:gd name="T1" fmla="*/ 2 h 324"/>
                <a:gd name="T2" fmla="*/ 9 w 479"/>
                <a:gd name="T3" fmla="*/ 49 h 324"/>
                <a:gd name="T4" fmla="*/ 64 w 479"/>
                <a:gd name="T5" fmla="*/ 89 h 324"/>
                <a:gd name="T6" fmla="*/ 307 w 479"/>
                <a:gd name="T7" fmla="*/ 106 h 324"/>
                <a:gd name="T8" fmla="*/ 403 w 479"/>
                <a:gd name="T9" fmla="*/ 324 h 324"/>
                <a:gd name="T10" fmla="*/ 479 w 479"/>
                <a:gd name="T11" fmla="*/ 280 h 324"/>
                <a:gd name="T12" fmla="*/ 400 w 479"/>
                <a:gd name="T13" fmla="*/ 107 h 324"/>
                <a:gd name="T14" fmla="*/ 330 w 479"/>
                <a:gd name="T15" fmla="*/ 34 h 324"/>
                <a:gd name="T16" fmla="*/ 132 w 479"/>
                <a:gd name="T17" fmla="*/ 0 h 324"/>
                <a:gd name="T18" fmla="*/ 5 w 479"/>
                <a:gd name="T19" fmla="*/ 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9" h="324">
                  <a:moveTo>
                    <a:pt x="5" y="2"/>
                  </a:moveTo>
                  <a:cubicBezTo>
                    <a:pt x="0" y="15"/>
                    <a:pt x="2" y="26"/>
                    <a:pt x="9" y="49"/>
                  </a:cubicBezTo>
                  <a:cubicBezTo>
                    <a:pt x="16" y="71"/>
                    <a:pt x="35" y="85"/>
                    <a:pt x="64" y="89"/>
                  </a:cubicBezTo>
                  <a:cubicBezTo>
                    <a:pt x="93" y="93"/>
                    <a:pt x="307" y="106"/>
                    <a:pt x="307" y="106"/>
                  </a:cubicBezTo>
                  <a:cubicBezTo>
                    <a:pt x="403" y="324"/>
                    <a:pt x="403" y="324"/>
                    <a:pt x="403" y="324"/>
                  </a:cubicBezTo>
                  <a:cubicBezTo>
                    <a:pt x="479" y="280"/>
                    <a:pt x="479" y="280"/>
                    <a:pt x="479" y="280"/>
                  </a:cubicBezTo>
                  <a:cubicBezTo>
                    <a:pt x="446" y="207"/>
                    <a:pt x="433" y="180"/>
                    <a:pt x="400" y="107"/>
                  </a:cubicBezTo>
                  <a:cubicBezTo>
                    <a:pt x="380" y="63"/>
                    <a:pt x="378" y="43"/>
                    <a:pt x="330" y="34"/>
                  </a:cubicBezTo>
                  <a:cubicBezTo>
                    <a:pt x="132" y="0"/>
                    <a:pt x="132" y="0"/>
                    <a:pt x="132" y="0"/>
                  </a:cubicBezTo>
                  <a:lnTo>
                    <a:pt x="5" y="2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5" name="íš1ïḓè">
              <a:extLst>
                <a:ext uri="{FF2B5EF4-FFF2-40B4-BE49-F238E27FC236}">
                  <a16:creationId xmlns:a16="http://schemas.microsoft.com/office/drawing/2014/main" id="{F7F8279B-DE4B-42B9-A461-7C8D3B40DC2A}"/>
                </a:ext>
              </a:extLst>
            </p:cNvPr>
            <p:cNvSpPr/>
            <p:nvPr/>
          </p:nvSpPr>
          <p:spPr bwMode="auto">
            <a:xfrm>
              <a:off x="3873678" y="3953621"/>
              <a:ext cx="384701" cy="189839"/>
            </a:xfrm>
            <a:custGeom>
              <a:avLst/>
              <a:gdLst>
                <a:gd name="T0" fmla="*/ 0 w 162"/>
                <a:gd name="T1" fmla="*/ 35 h 80"/>
                <a:gd name="T2" fmla="*/ 73 w 162"/>
                <a:gd name="T3" fmla="*/ 1 h 80"/>
                <a:gd name="T4" fmla="*/ 125 w 162"/>
                <a:gd name="T5" fmla="*/ 15 h 80"/>
                <a:gd name="T6" fmla="*/ 159 w 162"/>
                <a:gd name="T7" fmla="*/ 57 h 80"/>
                <a:gd name="T8" fmla="*/ 147 w 162"/>
                <a:gd name="T9" fmla="*/ 58 h 80"/>
                <a:gd name="T10" fmla="*/ 132 w 162"/>
                <a:gd name="T11" fmla="*/ 47 h 80"/>
                <a:gd name="T12" fmla="*/ 121 w 162"/>
                <a:gd name="T13" fmla="*/ 36 h 80"/>
                <a:gd name="T14" fmla="*/ 104 w 162"/>
                <a:gd name="T15" fmla="*/ 33 h 80"/>
                <a:gd name="T16" fmla="*/ 104 w 162"/>
                <a:gd name="T17" fmla="*/ 54 h 80"/>
                <a:gd name="T18" fmla="*/ 90 w 162"/>
                <a:gd name="T19" fmla="*/ 74 h 80"/>
                <a:gd name="T20" fmla="*/ 49 w 162"/>
                <a:gd name="T21" fmla="*/ 76 h 80"/>
                <a:gd name="T22" fmla="*/ 33 w 162"/>
                <a:gd name="T23" fmla="*/ 70 h 80"/>
                <a:gd name="T24" fmla="*/ 0 w 162"/>
                <a:gd name="T25" fmla="*/ 3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2" h="80">
                  <a:moveTo>
                    <a:pt x="0" y="35"/>
                  </a:moveTo>
                  <a:cubicBezTo>
                    <a:pt x="9" y="33"/>
                    <a:pt x="69" y="3"/>
                    <a:pt x="73" y="1"/>
                  </a:cubicBezTo>
                  <a:cubicBezTo>
                    <a:pt x="77" y="0"/>
                    <a:pt x="121" y="12"/>
                    <a:pt x="125" y="15"/>
                  </a:cubicBezTo>
                  <a:cubicBezTo>
                    <a:pt x="128" y="19"/>
                    <a:pt x="162" y="55"/>
                    <a:pt x="159" y="57"/>
                  </a:cubicBezTo>
                  <a:cubicBezTo>
                    <a:pt x="155" y="58"/>
                    <a:pt x="153" y="59"/>
                    <a:pt x="147" y="58"/>
                  </a:cubicBezTo>
                  <a:cubicBezTo>
                    <a:pt x="141" y="57"/>
                    <a:pt x="132" y="47"/>
                    <a:pt x="132" y="47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6" y="46"/>
                    <a:pt x="104" y="54"/>
                  </a:cubicBezTo>
                  <a:cubicBezTo>
                    <a:pt x="102" y="62"/>
                    <a:pt x="100" y="68"/>
                    <a:pt x="90" y="74"/>
                  </a:cubicBezTo>
                  <a:cubicBezTo>
                    <a:pt x="79" y="80"/>
                    <a:pt x="60" y="80"/>
                    <a:pt x="49" y="76"/>
                  </a:cubicBezTo>
                  <a:cubicBezTo>
                    <a:pt x="38" y="72"/>
                    <a:pt x="33" y="70"/>
                    <a:pt x="33" y="70"/>
                  </a:cubicBezTo>
                  <a:lnTo>
                    <a:pt x="0" y="35"/>
                  </a:lnTo>
                  <a:close/>
                </a:path>
              </a:pathLst>
            </a:custGeom>
            <a:solidFill>
              <a:srgbClr val="EDC5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6" name="iṡḷiḑê">
              <a:extLst>
                <a:ext uri="{FF2B5EF4-FFF2-40B4-BE49-F238E27FC236}">
                  <a16:creationId xmlns:a16="http://schemas.microsoft.com/office/drawing/2014/main" id="{DD9BBB2F-6130-45CC-94C8-9985C4706728}"/>
                </a:ext>
              </a:extLst>
            </p:cNvPr>
            <p:cNvSpPr/>
            <p:nvPr/>
          </p:nvSpPr>
          <p:spPr bwMode="auto">
            <a:xfrm>
              <a:off x="4450225" y="3598050"/>
              <a:ext cx="92409" cy="588601"/>
            </a:xfrm>
            <a:custGeom>
              <a:avLst/>
              <a:gdLst>
                <a:gd name="T0" fmla="*/ 38 w 39"/>
                <a:gd name="T1" fmla="*/ 9 h 248"/>
                <a:gd name="T2" fmla="*/ 16 w 39"/>
                <a:gd name="T3" fmla="*/ 240 h 248"/>
                <a:gd name="T4" fmla="*/ 8 w 39"/>
                <a:gd name="T5" fmla="*/ 247 h 248"/>
                <a:gd name="T6" fmla="*/ 1 w 39"/>
                <a:gd name="T7" fmla="*/ 239 h 248"/>
                <a:gd name="T8" fmla="*/ 23 w 39"/>
                <a:gd name="T9" fmla="*/ 7 h 248"/>
                <a:gd name="T10" fmla="*/ 31 w 39"/>
                <a:gd name="T11" fmla="*/ 0 h 248"/>
                <a:gd name="T12" fmla="*/ 38 w 39"/>
                <a:gd name="T13" fmla="*/ 9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248">
                  <a:moveTo>
                    <a:pt x="38" y="9"/>
                  </a:moveTo>
                  <a:cubicBezTo>
                    <a:pt x="16" y="240"/>
                    <a:pt x="16" y="240"/>
                    <a:pt x="16" y="240"/>
                  </a:cubicBezTo>
                  <a:cubicBezTo>
                    <a:pt x="16" y="245"/>
                    <a:pt x="12" y="248"/>
                    <a:pt x="8" y="247"/>
                  </a:cubicBezTo>
                  <a:cubicBezTo>
                    <a:pt x="3" y="247"/>
                    <a:pt x="0" y="243"/>
                    <a:pt x="1" y="239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3"/>
                    <a:pt x="27" y="0"/>
                    <a:pt x="31" y="0"/>
                  </a:cubicBezTo>
                  <a:cubicBezTo>
                    <a:pt x="36" y="1"/>
                    <a:pt x="39" y="5"/>
                    <a:pt x="38" y="9"/>
                  </a:cubicBezTo>
                </a:path>
              </a:pathLst>
            </a:custGeom>
            <a:solidFill>
              <a:srgbClr val="5E60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7" name="ïṥḻíḋé">
              <a:extLst>
                <a:ext uri="{FF2B5EF4-FFF2-40B4-BE49-F238E27FC236}">
                  <a16:creationId xmlns:a16="http://schemas.microsoft.com/office/drawing/2014/main" id="{5E9E7377-5882-417E-9FEF-756CD01144E2}"/>
                </a:ext>
              </a:extLst>
            </p:cNvPr>
            <p:cNvSpPr/>
            <p:nvPr/>
          </p:nvSpPr>
          <p:spPr bwMode="auto">
            <a:xfrm>
              <a:off x="4467301" y="3598050"/>
              <a:ext cx="75333" cy="588601"/>
            </a:xfrm>
            <a:custGeom>
              <a:avLst/>
              <a:gdLst>
                <a:gd name="T0" fmla="*/ 31 w 32"/>
                <a:gd name="T1" fmla="*/ 9 h 248"/>
                <a:gd name="T2" fmla="*/ 9 w 32"/>
                <a:gd name="T3" fmla="*/ 240 h 248"/>
                <a:gd name="T4" fmla="*/ 1 w 32"/>
                <a:gd name="T5" fmla="*/ 247 h 248"/>
                <a:gd name="T6" fmla="*/ 0 w 32"/>
                <a:gd name="T7" fmla="*/ 247 h 248"/>
                <a:gd name="T8" fmla="*/ 24 w 32"/>
                <a:gd name="T9" fmla="*/ 0 h 248"/>
                <a:gd name="T10" fmla="*/ 31 w 32"/>
                <a:gd name="T11" fmla="*/ 9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48">
                  <a:moveTo>
                    <a:pt x="31" y="9"/>
                  </a:moveTo>
                  <a:cubicBezTo>
                    <a:pt x="9" y="240"/>
                    <a:pt x="9" y="240"/>
                    <a:pt x="9" y="240"/>
                  </a:cubicBezTo>
                  <a:cubicBezTo>
                    <a:pt x="9" y="245"/>
                    <a:pt x="5" y="248"/>
                    <a:pt x="1" y="247"/>
                  </a:cubicBezTo>
                  <a:cubicBezTo>
                    <a:pt x="1" y="247"/>
                    <a:pt x="0" y="247"/>
                    <a:pt x="0" y="247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9" y="1"/>
                    <a:pt x="32" y="5"/>
                    <a:pt x="31" y="9"/>
                  </a:cubicBezTo>
                </a:path>
              </a:pathLst>
            </a:custGeom>
            <a:solidFill>
              <a:srgbClr val="4F4E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8" name="ïSļîdê">
              <a:extLst>
                <a:ext uri="{FF2B5EF4-FFF2-40B4-BE49-F238E27FC236}">
                  <a16:creationId xmlns:a16="http://schemas.microsoft.com/office/drawing/2014/main" id="{90246F5B-BA78-416C-B2FE-00D3B636E0B6}"/>
                </a:ext>
              </a:extLst>
            </p:cNvPr>
            <p:cNvSpPr/>
            <p:nvPr/>
          </p:nvSpPr>
          <p:spPr bwMode="auto">
            <a:xfrm>
              <a:off x="4366859" y="4157521"/>
              <a:ext cx="50221" cy="10045"/>
            </a:xfrm>
            <a:custGeom>
              <a:avLst/>
              <a:gdLst>
                <a:gd name="T0" fmla="*/ 50 w 50"/>
                <a:gd name="T1" fmla="*/ 10 h 10"/>
                <a:gd name="T2" fmla="*/ 0 w 50"/>
                <a:gd name="T3" fmla="*/ 10 h 10"/>
                <a:gd name="T4" fmla="*/ 0 w 50"/>
                <a:gd name="T5" fmla="*/ 0 h 10"/>
                <a:gd name="T6" fmla="*/ 50 w 50"/>
                <a:gd name="T7" fmla="*/ 3 h 10"/>
                <a:gd name="T8" fmla="*/ 50 w 50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10">
                  <a:moveTo>
                    <a:pt x="50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50" y="3"/>
                  </a:lnTo>
                  <a:lnTo>
                    <a:pt x="50" y="10"/>
                  </a:lnTo>
                  <a:close/>
                </a:path>
              </a:pathLst>
            </a:custGeom>
            <a:solidFill>
              <a:srgbClr val="595B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9" name="ísliďè">
              <a:extLst>
                <a:ext uri="{FF2B5EF4-FFF2-40B4-BE49-F238E27FC236}">
                  <a16:creationId xmlns:a16="http://schemas.microsoft.com/office/drawing/2014/main" id="{F4EC6520-1CBD-45DE-89EE-BF4C20F0FB8F}"/>
                </a:ext>
              </a:extLst>
            </p:cNvPr>
            <p:cNvSpPr/>
            <p:nvPr/>
          </p:nvSpPr>
          <p:spPr bwMode="auto">
            <a:xfrm>
              <a:off x="4314628" y="4157521"/>
              <a:ext cx="50221" cy="10045"/>
            </a:xfrm>
            <a:prstGeom prst="rect">
              <a:avLst/>
            </a:prstGeom>
            <a:solidFill>
              <a:srgbClr val="595B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0" name="íṣḻîďê">
              <a:extLst>
                <a:ext uri="{FF2B5EF4-FFF2-40B4-BE49-F238E27FC236}">
                  <a16:creationId xmlns:a16="http://schemas.microsoft.com/office/drawing/2014/main" id="{102EAFDD-1700-4937-BF7A-CF0449FBF7E2}"/>
                </a:ext>
              </a:extLst>
            </p:cNvPr>
            <p:cNvSpPr/>
            <p:nvPr/>
          </p:nvSpPr>
          <p:spPr bwMode="auto">
            <a:xfrm>
              <a:off x="4262396" y="4157521"/>
              <a:ext cx="48213" cy="10045"/>
            </a:xfrm>
            <a:prstGeom prst="rect">
              <a:avLst/>
            </a:prstGeom>
            <a:solidFill>
              <a:srgbClr val="595B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1" name="ïšľíḑê">
              <a:extLst>
                <a:ext uri="{FF2B5EF4-FFF2-40B4-BE49-F238E27FC236}">
                  <a16:creationId xmlns:a16="http://schemas.microsoft.com/office/drawing/2014/main" id="{D681B2FE-E104-4F74-A0F0-3F75B27DA70A}"/>
                </a:ext>
              </a:extLst>
            </p:cNvPr>
            <p:cNvSpPr/>
            <p:nvPr/>
          </p:nvSpPr>
          <p:spPr bwMode="auto">
            <a:xfrm>
              <a:off x="4208158" y="4157521"/>
              <a:ext cx="50221" cy="10045"/>
            </a:xfrm>
            <a:prstGeom prst="rect">
              <a:avLst/>
            </a:prstGeom>
            <a:solidFill>
              <a:srgbClr val="595B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2" name="îṣḻïḍè">
              <a:extLst>
                <a:ext uri="{FF2B5EF4-FFF2-40B4-BE49-F238E27FC236}">
                  <a16:creationId xmlns:a16="http://schemas.microsoft.com/office/drawing/2014/main" id="{54D893D8-E65F-4EC1-ACC4-9BE6D9A6D5AB}"/>
                </a:ext>
              </a:extLst>
            </p:cNvPr>
            <p:cNvSpPr/>
            <p:nvPr/>
          </p:nvSpPr>
          <p:spPr bwMode="auto">
            <a:xfrm>
              <a:off x="4155927" y="4157521"/>
              <a:ext cx="50221" cy="10045"/>
            </a:xfrm>
            <a:prstGeom prst="rect">
              <a:avLst/>
            </a:prstGeom>
            <a:solidFill>
              <a:srgbClr val="595B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3" name="ïSḻïḍè">
              <a:extLst>
                <a:ext uri="{FF2B5EF4-FFF2-40B4-BE49-F238E27FC236}">
                  <a16:creationId xmlns:a16="http://schemas.microsoft.com/office/drawing/2014/main" id="{FC829498-DB49-4331-A8D4-F04D0905A577}"/>
                </a:ext>
              </a:extLst>
            </p:cNvPr>
            <p:cNvSpPr/>
            <p:nvPr/>
          </p:nvSpPr>
          <p:spPr bwMode="auto">
            <a:xfrm>
              <a:off x="4103696" y="4157521"/>
              <a:ext cx="50221" cy="10045"/>
            </a:xfrm>
            <a:prstGeom prst="rect">
              <a:avLst/>
            </a:prstGeom>
            <a:solidFill>
              <a:srgbClr val="595B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4" name="îŝḷíḑé">
              <a:extLst>
                <a:ext uri="{FF2B5EF4-FFF2-40B4-BE49-F238E27FC236}">
                  <a16:creationId xmlns:a16="http://schemas.microsoft.com/office/drawing/2014/main" id="{E880ED87-6BDE-4B76-9402-29B7085DC692}"/>
                </a:ext>
              </a:extLst>
            </p:cNvPr>
            <p:cNvSpPr/>
            <p:nvPr/>
          </p:nvSpPr>
          <p:spPr bwMode="auto">
            <a:xfrm>
              <a:off x="3896781" y="4162544"/>
              <a:ext cx="589606" cy="38169"/>
            </a:xfrm>
            <a:custGeom>
              <a:avLst/>
              <a:gdLst>
                <a:gd name="T0" fmla="*/ 8 w 248"/>
                <a:gd name="T1" fmla="*/ 0 h 16"/>
                <a:gd name="T2" fmla="*/ 240 w 248"/>
                <a:gd name="T3" fmla="*/ 0 h 16"/>
                <a:gd name="T4" fmla="*/ 248 w 248"/>
                <a:gd name="T5" fmla="*/ 8 h 16"/>
                <a:gd name="T6" fmla="*/ 240 w 248"/>
                <a:gd name="T7" fmla="*/ 16 h 16"/>
                <a:gd name="T8" fmla="*/ 8 w 248"/>
                <a:gd name="T9" fmla="*/ 15 h 16"/>
                <a:gd name="T10" fmla="*/ 0 w 248"/>
                <a:gd name="T11" fmla="*/ 8 h 16"/>
                <a:gd name="T12" fmla="*/ 8 w 248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" h="16">
                  <a:moveTo>
                    <a:pt x="8" y="0"/>
                  </a:moveTo>
                  <a:cubicBezTo>
                    <a:pt x="240" y="0"/>
                    <a:pt x="240" y="0"/>
                    <a:pt x="240" y="0"/>
                  </a:cubicBezTo>
                  <a:cubicBezTo>
                    <a:pt x="245" y="0"/>
                    <a:pt x="248" y="4"/>
                    <a:pt x="248" y="8"/>
                  </a:cubicBezTo>
                  <a:cubicBezTo>
                    <a:pt x="248" y="12"/>
                    <a:pt x="244" y="16"/>
                    <a:pt x="240" y="16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</a:path>
              </a:pathLst>
            </a:custGeom>
            <a:solidFill>
              <a:srgbClr val="4241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5" name="ïṧľíḓê">
              <a:extLst>
                <a:ext uri="{FF2B5EF4-FFF2-40B4-BE49-F238E27FC236}">
                  <a16:creationId xmlns:a16="http://schemas.microsoft.com/office/drawing/2014/main" id="{D8E019EE-C374-4EAB-8D02-79CE64F0DE2A}"/>
                </a:ext>
              </a:extLst>
            </p:cNvPr>
            <p:cNvSpPr/>
            <p:nvPr/>
          </p:nvSpPr>
          <p:spPr bwMode="auto">
            <a:xfrm>
              <a:off x="4037403" y="4176606"/>
              <a:ext cx="47209" cy="12054"/>
            </a:xfrm>
            <a:prstGeom prst="rect">
              <a:avLst/>
            </a:prstGeom>
            <a:solidFill>
              <a:srgbClr val="3737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6" name="ïśļiḑè">
              <a:extLst>
                <a:ext uri="{FF2B5EF4-FFF2-40B4-BE49-F238E27FC236}">
                  <a16:creationId xmlns:a16="http://schemas.microsoft.com/office/drawing/2014/main" id="{E5A27B2D-2233-4467-ACB4-F9B3745EA6E7}"/>
                </a:ext>
              </a:extLst>
            </p:cNvPr>
            <p:cNvSpPr/>
            <p:nvPr/>
          </p:nvSpPr>
          <p:spPr bwMode="auto">
            <a:xfrm>
              <a:off x="3971110" y="4176606"/>
              <a:ext cx="49217" cy="12054"/>
            </a:xfrm>
            <a:prstGeom prst="rect">
              <a:avLst/>
            </a:prstGeom>
            <a:solidFill>
              <a:srgbClr val="3737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7" name="iṡľîḋè">
              <a:extLst>
                <a:ext uri="{FF2B5EF4-FFF2-40B4-BE49-F238E27FC236}">
                  <a16:creationId xmlns:a16="http://schemas.microsoft.com/office/drawing/2014/main" id="{0B96CBFB-DB0A-465F-A9C0-F3DC70CF400F}"/>
                </a:ext>
              </a:extLst>
            </p:cNvPr>
            <p:cNvSpPr/>
            <p:nvPr/>
          </p:nvSpPr>
          <p:spPr bwMode="auto">
            <a:xfrm>
              <a:off x="4117758" y="4172589"/>
              <a:ext cx="297314" cy="21093"/>
            </a:xfrm>
            <a:custGeom>
              <a:avLst/>
              <a:gdLst>
                <a:gd name="T0" fmla="*/ 123 w 125"/>
                <a:gd name="T1" fmla="*/ 0 h 9"/>
                <a:gd name="T2" fmla="*/ 2 w 125"/>
                <a:gd name="T3" fmla="*/ 0 h 9"/>
                <a:gd name="T4" fmla="*/ 0 w 125"/>
                <a:gd name="T5" fmla="*/ 2 h 9"/>
                <a:gd name="T6" fmla="*/ 0 w 125"/>
                <a:gd name="T7" fmla="*/ 7 h 9"/>
                <a:gd name="T8" fmla="*/ 1 w 125"/>
                <a:gd name="T9" fmla="*/ 9 h 9"/>
                <a:gd name="T10" fmla="*/ 123 w 125"/>
                <a:gd name="T11" fmla="*/ 9 h 9"/>
                <a:gd name="T12" fmla="*/ 125 w 125"/>
                <a:gd name="T13" fmla="*/ 7 h 9"/>
                <a:gd name="T14" fmla="*/ 125 w 125"/>
                <a:gd name="T15" fmla="*/ 2 h 9"/>
                <a:gd name="T16" fmla="*/ 123 w 125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5" h="9">
                  <a:moveTo>
                    <a:pt x="12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23" y="9"/>
                    <a:pt x="123" y="9"/>
                    <a:pt x="123" y="9"/>
                  </a:cubicBezTo>
                  <a:cubicBezTo>
                    <a:pt x="124" y="9"/>
                    <a:pt x="125" y="8"/>
                    <a:pt x="125" y="7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125" y="1"/>
                    <a:pt x="124" y="0"/>
                    <a:pt x="123" y="0"/>
                  </a:cubicBezTo>
                </a:path>
              </a:pathLst>
            </a:custGeom>
            <a:solidFill>
              <a:srgbClr val="3737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8" name="ïṩḷïḍê">
              <a:extLst>
                <a:ext uri="{FF2B5EF4-FFF2-40B4-BE49-F238E27FC236}">
                  <a16:creationId xmlns:a16="http://schemas.microsoft.com/office/drawing/2014/main" id="{E8B17D10-85D2-4709-AD77-12104703298E}"/>
                </a:ext>
              </a:extLst>
            </p:cNvPr>
            <p:cNvSpPr/>
            <p:nvPr/>
          </p:nvSpPr>
          <p:spPr bwMode="auto">
            <a:xfrm>
              <a:off x="2826050" y="3723604"/>
              <a:ext cx="1149077" cy="553446"/>
            </a:xfrm>
            <a:custGeom>
              <a:avLst/>
              <a:gdLst>
                <a:gd name="T0" fmla="*/ 83 w 484"/>
                <a:gd name="T1" fmla="*/ 25 h 233"/>
                <a:gd name="T2" fmla="*/ 279 w 484"/>
                <a:gd name="T3" fmla="*/ 141 h 233"/>
                <a:gd name="T4" fmla="*/ 467 w 484"/>
                <a:gd name="T5" fmla="*/ 113 h 233"/>
                <a:gd name="T6" fmla="*/ 484 w 484"/>
                <a:gd name="T7" fmla="*/ 173 h 233"/>
                <a:gd name="T8" fmla="*/ 236 w 484"/>
                <a:gd name="T9" fmla="*/ 189 h 233"/>
                <a:gd name="T10" fmla="*/ 37 w 484"/>
                <a:gd name="T11" fmla="*/ 78 h 233"/>
                <a:gd name="T12" fmla="*/ 83 w 484"/>
                <a:gd name="T13" fmla="*/ 2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4" h="233">
                  <a:moveTo>
                    <a:pt x="83" y="25"/>
                  </a:moveTo>
                  <a:cubicBezTo>
                    <a:pt x="83" y="25"/>
                    <a:pt x="206" y="105"/>
                    <a:pt x="279" y="141"/>
                  </a:cubicBezTo>
                  <a:cubicBezTo>
                    <a:pt x="345" y="173"/>
                    <a:pt x="467" y="112"/>
                    <a:pt x="467" y="113"/>
                  </a:cubicBezTo>
                  <a:cubicBezTo>
                    <a:pt x="484" y="173"/>
                    <a:pt x="484" y="173"/>
                    <a:pt x="484" y="173"/>
                  </a:cubicBezTo>
                  <a:cubicBezTo>
                    <a:pt x="484" y="173"/>
                    <a:pt x="326" y="233"/>
                    <a:pt x="236" y="189"/>
                  </a:cubicBezTo>
                  <a:cubicBezTo>
                    <a:pt x="154" y="149"/>
                    <a:pt x="38" y="78"/>
                    <a:pt x="37" y="78"/>
                  </a:cubicBezTo>
                  <a:cubicBezTo>
                    <a:pt x="0" y="44"/>
                    <a:pt x="50" y="0"/>
                    <a:pt x="83" y="25"/>
                  </a:cubicBezTo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9" name="íṥlíḓè">
              <a:extLst>
                <a:ext uri="{FF2B5EF4-FFF2-40B4-BE49-F238E27FC236}">
                  <a16:creationId xmlns:a16="http://schemas.microsoft.com/office/drawing/2014/main" id="{260B1195-6E93-4768-BCDE-E74780A5E35D}"/>
                </a:ext>
              </a:extLst>
            </p:cNvPr>
            <p:cNvSpPr/>
            <p:nvPr/>
          </p:nvSpPr>
          <p:spPr bwMode="auto">
            <a:xfrm>
              <a:off x="2775828" y="3640236"/>
              <a:ext cx="570521" cy="1014484"/>
            </a:xfrm>
            <a:custGeom>
              <a:avLst/>
              <a:gdLst>
                <a:gd name="T0" fmla="*/ 82 w 240"/>
                <a:gd name="T1" fmla="*/ 17 h 427"/>
                <a:gd name="T2" fmla="*/ 39 w 240"/>
                <a:gd name="T3" fmla="*/ 175 h 427"/>
                <a:gd name="T4" fmla="*/ 67 w 240"/>
                <a:gd name="T5" fmla="*/ 414 h 427"/>
                <a:gd name="T6" fmla="*/ 225 w 240"/>
                <a:gd name="T7" fmla="*/ 391 h 427"/>
                <a:gd name="T8" fmla="*/ 222 w 240"/>
                <a:gd name="T9" fmla="*/ 253 h 427"/>
                <a:gd name="T10" fmla="*/ 82 w 240"/>
                <a:gd name="T11" fmla="*/ 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0" h="427">
                  <a:moveTo>
                    <a:pt x="82" y="17"/>
                  </a:moveTo>
                  <a:cubicBezTo>
                    <a:pt x="82" y="17"/>
                    <a:pt x="0" y="4"/>
                    <a:pt x="39" y="175"/>
                  </a:cubicBezTo>
                  <a:cubicBezTo>
                    <a:pt x="59" y="263"/>
                    <a:pt x="26" y="427"/>
                    <a:pt x="67" y="414"/>
                  </a:cubicBezTo>
                  <a:cubicBezTo>
                    <a:pt x="225" y="391"/>
                    <a:pt x="225" y="391"/>
                    <a:pt x="225" y="391"/>
                  </a:cubicBezTo>
                  <a:cubicBezTo>
                    <a:pt x="240" y="390"/>
                    <a:pt x="230" y="328"/>
                    <a:pt x="222" y="253"/>
                  </a:cubicBezTo>
                  <a:cubicBezTo>
                    <a:pt x="210" y="140"/>
                    <a:pt x="181" y="0"/>
                    <a:pt x="82" y="17"/>
                  </a:cubicBezTo>
                </a:path>
              </a:pathLst>
            </a:custGeom>
            <a:solidFill>
              <a:srgbClr val="DFE9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0" name="iṩľïḍê">
              <a:extLst>
                <a:ext uri="{FF2B5EF4-FFF2-40B4-BE49-F238E27FC236}">
                  <a16:creationId xmlns:a16="http://schemas.microsoft.com/office/drawing/2014/main" id="{2B3D9470-2E33-454B-8D5C-590DD161C3F3}"/>
                </a:ext>
              </a:extLst>
            </p:cNvPr>
            <p:cNvSpPr/>
            <p:nvPr/>
          </p:nvSpPr>
          <p:spPr bwMode="auto">
            <a:xfrm>
              <a:off x="8211851" y="5269436"/>
              <a:ext cx="405793" cy="154684"/>
            </a:xfrm>
            <a:custGeom>
              <a:avLst/>
              <a:gdLst>
                <a:gd name="T0" fmla="*/ 168 w 171"/>
                <a:gd name="T1" fmla="*/ 2 h 65"/>
                <a:gd name="T2" fmla="*/ 171 w 171"/>
                <a:gd name="T3" fmla="*/ 61 h 65"/>
                <a:gd name="T4" fmla="*/ 124 w 171"/>
                <a:gd name="T5" fmla="*/ 60 h 65"/>
                <a:gd name="T6" fmla="*/ 125 w 171"/>
                <a:gd name="T7" fmla="*/ 53 h 65"/>
                <a:gd name="T8" fmla="*/ 48 w 171"/>
                <a:gd name="T9" fmla="*/ 60 h 65"/>
                <a:gd name="T10" fmla="*/ 1 w 171"/>
                <a:gd name="T11" fmla="*/ 46 h 65"/>
                <a:gd name="T12" fmla="*/ 2 w 171"/>
                <a:gd name="T13" fmla="*/ 40 h 65"/>
                <a:gd name="T14" fmla="*/ 8 w 171"/>
                <a:gd name="T15" fmla="*/ 33 h 65"/>
                <a:gd name="T16" fmla="*/ 117 w 171"/>
                <a:gd name="T17" fmla="*/ 1 h 65"/>
                <a:gd name="T18" fmla="*/ 168 w 171"/>
                <a:gd name="T19" fmla="*/ 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65">
                  <a:moveTo>
                    <a:pt x="168" y="2"/>
                  </a:moveTo>
                  <a:cubicBezTo>
                    <a:pt x="168" y="5"/>
                    <a:pt x="171" y="61"/>
                    <a:pt x="171" y="61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5" y="53"/>
                    <a:pt x="125" y="53"/>
                    <a:pt x="125" y="53"/>
                  </a:cubicBezTo>
                  <a:cubicBezTo>
                    <a:pt x="104" y="65"/>
                    <a:pt x="55" y="62"/>
                    <a:pt x="48" y="60"/>
                  </a:cubicBezTo>
                  <a:cubicBezTo>
                    <a:pt x="23" y="55"/>
                    <a:pt x="1" y="46"/>
                    <a:pt x="1" y="4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0" y="33"/>
                    <a:pt x="8" y="33"/>
                  </a:cubicBezTo>
                  <a:cubicBezTo>
                    <a:pt x="86" y="28"/>
                    <a:pt x="103" y="6"/>
                    <a:pt x="117" y="1"/>
                  </a:cubicBezTo>
                  <a:cubicBezTo>
                    <a:pt x="119" y="0"/>
                    <a:pt x="168" y="2"/>
                    <a:pt x="168" y="2"/>
                  </a:cubicBezTo>
                </a:path>
              </a:pathLst>
            </a:custGeom>
            <a:solidFill>
              <a:srgbClr val="202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1" name="îsḻïďe">
              <a:extLst>
                <a:ext uri="{FF2B5EF4-FFF2-40B4-BE49-F238E27FC236}">
                  <a16:creationId xmlns:a16="http://schemas.microsoft.com/office/drawing/2014/main" id="{8E397F5F-EDD3-4C1C-AF7C-0AC6E45DEC8D}"/>
                </a:ext>
              </a:extLst>
            </p:cNvPr>
            <p:cNvSpPr/>
            <p:nvPr/>
          </p:nvSpPr>
          <p:spPr bwMode="auto">
            <a:xfrm>
              <a:off x="8319325" y="4568338"/>
              <a:ext cx="705116" cy="753330"/>
            </a:xfrm>
            <a:custGeom>
              <a:avLst/>
              <a:gdLst>
                <a:gd name="T0" fmla="*/ 297 w 297"/>
                <a:gd name="T1" fmla="*/ 81 h 317"/>
                <a:gd name="T2" fmla="*/ 283 w 297"/>
                <a:gd name="T3" fmla="*/ 0 h 317"/>
                <a:gd name="T4" fmla="*/ 12 w 297"/>
                <a:gd name="T5" fmla="*/ 49 h 317"/>
                <a:gd name="T6" fmla="*/ 29 w 297"/>
                <a:gd name="T7" fmla="*/ 317 h 317"/>
                <a:gd name="T8" fmla="*/ 129 w 297"/>
                <a:gd name="T9" fmla="*/ 301 h 317"/>
                <a:gd name="T10" fmla="*/ 88 w 297"/>
                <a:gd name="T11" fmla="*/ 96 h 317"/>
                <a:gd name="T12" fmla="*/ 297 w 297"/>
                <a:gd name="T13" fmla="*/ 81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7" h="317">
                  <a:moveTo>
                    <a:pt x="297" y="81"/>
                  </a:moveTo>
                  <a:cubicBezTo>
                    <a:pt x="283" y="0"/>
                    <a:pt x="283" y="0"/>
                    <a:pt x="283" y="0"/>
                  </a:cubicBezTo>
                  <a:cubicBezTo>
                    <a:pt x="283" y="0"/>
                    <a:pt x="27" y="14"/>
                    <a:pt x="12" y="49"/>
                  </a:cubicBezTo>
                  <a:cubicBezTo>
                    <a:pt x="0" y="78"/>
                    <a:pt x="29" y="317"/>
                    <a:pt x="29" y="317"/>
                  </a:cubicBezTo>
                  <a:cubicBezTo>
                    <a:pt x="129" y="301"/>
                    <a:pt x="129" y="301"/>
                    <a:pt x="129" y="301"/>
                  </a:cubicBezTo>
                  <a:cubicBezTo>
                    <a:pt x="129" y="301"/>
                    <a:pt x="84" y="98"/>
                    <a:pt x="88" y="96"/>
                  </a:cubicBezTo>
                  <a:cubicBezTo>
                    <a:pt x="93" y="95"/>
                    <a:pt x="297" y="81"/>
                    <a:pt x="297" y="81"/>
                  </a:cubicBezTo>
                </a:path>
              </a:pathLst>
            </a:custGeom>
            <a:solidFill>
              <a:srgbClr val="3535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2" name="ïŝļîḓê">
              <a:extLst>
                <a:ext uri="{FF2B5EF4-FFF2-40B4-BE49-F238E27FC236}">
                  <a16:creationId xmlns:a16="http://schemas.microsoft.com/office/drawing/2014/main" id="{0E4B5FA9-B2CD-48E8-90E2-4137649EAEFD}"/>
                </a:ext>
              </a:extLst>
            </p:cNvPr>
            <p:cNvSpPr/>
            <p:nvPr/>
          </p:nvSpPr>
          <p:spPr bwMode="auto">
            <a:xfrm>
              <a:off x="9062610" y="4893776"/>
              <a:ext cx="108479" cy="116515"/>
            </a:xfrm>
            <a:custGeom>
              <a:avLst/>
              <a:gdLst>
                <a:gd name="T0" fmla="*/ 13 w 46"/>
                <a:gd name="T1" fmla="*/ 24 h 49"/>
                <a:gd name="T2" fmla="*/ 16 w 46"/>
                <a:gd name="T3" fmla="*/ 35 h 49"/>
                <a:gd name="T4" fmla="*/ 30 w 46"/>
                <a:gd name="T5" fmla="*/ 46 h 49"/>
                <a:gd name="T6" fmla="*/ 43 w 46"/>
                <a:gd name="T7" fmla="*/ 44 h 49"/>
                <a:gd name="T8" fmla="*/ 41 w 46"/>
                <a:gd name="T9" fmla="*/ 32 h 49"/>
                <a:gd name="T10" fmla="*/ 26 w 46"/>
                <a:gd name="T11" fmla="*/ 20 h 49"/>
                <a:gd name="T12" fmla="*/ 15 w 46"/>
                <a:gd name="T13" fmla="*/ 21 h 49"/>
                <a:gd name="T14" fmla="*/ 5 w 46"/>
                <a:gd name="T15" fmla="*/ 14 h 49"/>
                <a:gd name="T16" fmla="*/ 3 w 46"/>
                <a:gd name="T17" fmla="*/ 0 h 49"/>
                <a:gd name="T18" fmla="*/ 0 w 46"/>
                <a:gd name="T19" fmla="*/ 0 h 49"/>
                <a:gd name="T20" fmla="*/ 1 w 46"/>
                <a:gd name="T21" fmla="*/ 15 h 49"/>
                <a:gd name="T22" fmla="*/ 1 w 46"/>
                <a:gd name="T23" fmla="*/ 15 h 49"/>
                <a:gd name="T24" fmla="*/ 2 w 46"/>
                <a:gd name="T25" fmla="*/ 16 h 49"/>
                <a:gd name="T26" fmla="*/ 13 w 46"/>
                <a:gd name="T27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49">
                  <a:moveTo>
                    <a:pt x="13" y="24"/>
                  </a:moveTo>
                  <a:cubicBezTo>
                    <a:pt x="11" y="27"/>
                    <a:pt x="12" y="32"/>
                    <a:pt x="16" y="3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4" y="49"/>
                    <a:pt x="40" y="48"/>
                    <a:pt x="43" y="44"/>
                  </a:cubicBezTo>
                  <a:cubicBezTo>
                    <a:pt x="46" y="40"/>
                    <a:pt x="45" y="35"/>
                    <a:pt x="41" y="32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3" y="18"/>
                    <a:pt x="18" y="18"/>
                    <a:pt x="15" y="21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lnTo>
                    <a:pt x="13" y="24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3" name="iSľíḍe">
              <a:extLst>
                <a:ext uri="{FF2B5EF4-FFF2-40B4-BE49-F238E27FC236}">
                  <a16:creationId xmlns:a16="http://schemas.microsoft.com/office/drawing/2014/main" id="{A3B21E14-A6D5-4664-B971-696F1E218938}"/>
                </a:ext>
              </a:extLst>
            </p:cNvPr>
            <p:cNvSpPr/>
            <p:nvPr/>
          </p:nvSpPr>
          <p:spPr bwMode="auto">
            <a:xfrm>
              <a:off x="8902905" y="4877705"/>
              <a:ext cx="59262" cy="240061"/>
            </a:xfrm>
            <a:prstGeom prst="rect">
              <a:avLst/>
            </a:pr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4" name="ïSľíďe">
              <a:extLst>
                <a:ext uri="{FF2B5EF4-FFF2-40B4-BE49-F238E27FC236}">
                  <a16:creationId xmlns:a16="http://schemas.microsoft.com/office/drawing/2014/main" id="{C95A4E7B-206B-4608-9CBE-B10FD956362A}"/>
                </a:ext>
              </a:extLst>
            </p:cNvPr>
            <p:cNvSpPr/>
            <p:nvPr/>
          </p:nvSpPr>
          <p:spPr bwMode="auto">
            <a:xfrm>
              <a:off x="8902905" y="4877705"/>
              <a:ext cx="31138" cy="240061"/>
            </a:xfrm>
            <a:prstGeom prst="rect">
              <a:avLst/>
            </a:prstGeom>
            <a:solidFill>
              <a:srgbClr val="8D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5" name="îṩļíde">
              <a:extLst>
                <a:ext uri="{FF2B5EF4-FFF2-40B4-BE49-F238E27FC236}">
                  <a16:creationId xmlns:a16="http://schemas.microsoft.com/office/drawing/2014/main" id="{DE8FEA4B-40A8-4AF5-BB95-892D6EB8FB66}"/>
                </a:ext>
              </a:extLst>
            </p:cNvPr>
            <p:cNvSpPr/>
            <p:nvPr/>
          </p:nvSpPr>
          <p:spPr bwMode="auto">
            <a:xfrm>
              <a:off x="9216289" y="4224819"/>
              <a:ext cx="206914" cy="649872"/>
            </a:xfrm>
            <a:custGeom>
              <a:avLst/>
              <a:gdLst>
                <a:gd name="T0" fmla="*/ 64 w 87"/>
                <a:gd name="T1" fmla="*/ 0 h 274"/>
                <a:gd name="T2" fmla="*/ 65 w 87"/>
                <a:gd name="T3" fmla="*/ 50 h 274"/>
                <a:gd name="T4" fmla="*/ 0 w 87"/>
                <a:gd name="T5" fmla="*/ 256 h 274"/>
                <a:gd name="T6" fmla="*/ 1 w 87"/>
                <a:gd name="T7" fmla="*/ 274 h 274"/>
                <a:gd name="T8" fmla="*/ 83 w 87"/>
                <a:gd name="T9" fmla="*/ 50 h 274"/>
                <a:gd name="T10" fmla="*/ 82 w 87"/>
                <a:gd name="T11" fmla="*/ 0 h 274"/>
                <a:gd name="T12" fmla="*/ 64 w 87"/>
                <a:gd name="T1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274">
                  <a:moveTo>
                    <a:pt x="64" y="0"/>
                  </a:moveTo>
                  <a:cubicBezTo>
                    <a:pt x="65" y="17"/>
                    <a:pt x="65" y="34"/>
                    <a:pt x="65" y="50"/>
                  </a:cubicBezTo>
                  <a:cubicBezTo>
                    <a:pt x="67" y="160"/>
                    <a:pt x="69" y="254"/>
                    <a:pt x="0" y="256"/>
                  </a:cubicBezTo>
                  <a:cubicBezTo>
                    <a:pt x="1" y="274"/>
                    <a:pt x="1" y="274"/>
                    <a:pt x="1" y="274"/>
                  </a:cubicBezTo>
                  <a:cubicBezTo>
                    <a:pt x="87" y="271"/>
                    <a:pt x="85" y="169"/>
                    <a:pt x="83" y="50"/>
                  </a:cubicBezTo>
                  <a:cubicBezTo>
                    <a:pt x="82" y="33"/>
                    <a:pt x="82" y="17"/>
                    <a:pt x="82" y="0"/>
                  </a:cubicBezTo>
                  <a:lnTo>
                    <a:pt x="64" y="0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6" name="ïś1îde">
              <a:extLst>
                <a:ext uri="{FF2B5EF4-FFF2-40B4-BE49-F238E27FC236}">
                  <a16:creationId xmlns:a16="http://schemas.microsoft.com/office/drawing/2014/main" id="{759A962A-FA84-4008-A146-4A094A4E3FA4}"/>
                </a:ext>
              </a:extLst>
            </p:cNvPr>
            <p:cNvSpPr/>
            <p:nvPr/>
          </p:nvSpPr>
          <p:spPr bwMode="auto">
            <a:xfrm>
              <a:off x="9216289" y="4224819"/>
              <a:ext cx="185821" cy="647864"/>
            </a:xfrm>
            <a:custGeom>
              <a:avLst/>
              <a:gdLst>
                <a:gd name="T0" fmla="*/ 64 w 78"/>
                <a:gd name="T1" fmla="*/ 0 h 273"/>
                <a:gd name="T2" fmla="*/ 65 w 78"/>
                <a:gd name="T3" fmla="*/ 50 h 273"/>
                <a:gd name="T4" fmla="*/ 0 w 78"/>
                <a:gd name="T5" fmla="*/ 256 h 273"/>
                <a:gd name="T6" fmla="*/ 1 w 78"/>
                <a:gd name="T7" fmla="*/ 273 h 273"/>
                <a:gd name="T8" fmla="*/ 74 w 78"/>
                <a:gd name="T9" fmla="*/ 50 h 273"/>
                <a:gd name="T10" fmla="*/ 73 w 78"/>
                <a:gd name="T11" fmla="*/ 0 h 273"/>
                <a:gd name="T12" fmla="*/ 64 w 78"/>
                <a:gd name="T13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73">
                  <a:moveTo>
                    <a:pt x="64" y="0"/>
                  </a:moveTo>
                  <a:cubicBezTo>
                    <a:pt x="65" y="17"/>
                    <a:pt x="65" y="34"/>
                    <a:pt x="65" y="50"/>
                  </a:cubicBezTo>
                  <a:cubicBezTo>
                    <a:pt x="67" y="160"/>
                    <a:pt x="69" y="254"/>
                    <a:pt x="0" y="256"/>
                  </a:cubicBezTo>
                  <a:cubicBezTo>
                    <a:pt x="1" y="273"/>
                    <a:pt x="1" y="273"/>
                    <a:pt x="1" y="273"/>
                  </a:cubicBezTo>
                  <a:cubicBezTo>
                    <a:pt x="78" y="263"/>
                    <a:pt x="76" y="165"/>
                    <a:pt x="74" y="50"/>
                  </a:cubicBezTo>
                  <a:cubicBezTo>
                    <a:pt x="74" y="33"/>
                    <a:pt x="73" y="17"/>
                    <a:pt x="73" y="0"/>
                  </a:cubicBezTo>
                  <a:lnTo>
                    <a:pt x="64" y="0"/>
                  </a:lnTo>
                  <a:close/>
                </a:path>
              </a:pathLst>
            </a:custGeom>
            <a:solidFill>
              <a:srgbClr val="494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7" name="îşľîdé">
              <a:extLst>
                <a:ext uri="{FF2B5EF4-FFF2-40B4-BE49-F238E27FC236}">
                  <a16:creationId xmlns:a16="http://schemas.microsoft.com/office/drawing/2014/main" id="{C75B82A2-3906-4EF5-8AEE-6542C78D23A6}"/>
                </a:ext>
              </a:extLst>
            </p:cNvPr>
            <p:cNvSpPr/>
            <p:nvPr/>
          </p:nvSpPr>
          <p:spPr bwMode="auto">
            <a:xfrm>
              <a:off x="8542310" y="4710968"/>
              <a:ext cx="785472" cy="166737"/>
            </a:xfrm>
            <a:custGeom>
              <a:avLst/>
              <a:gdLst>
                <a:gd name="T0" fmla="*/ 165 w 331"/>
                <a:gd name="T1" fmla="*/ 0 h 70"/>
                <a:gd name="T2" fmla="*/ 0 w 331"/>
                <a:gd name="T3" fmla="*/ 63 h 70"/>
                <a:gd name="T4" fmla="*/ 1 w 331"/>
                <a:gd name="T5" fmla="*/ 70 h 70"/>
                <a:gd name="T6" fmla="*/ 330 w 331"/>
                <a:gd name="T7" fmla="*/ 70 h 70"/>
                <a:gd name="T8" fmla="*/ 331 w 331"/>
                <a:gd name="T9" fmla="*/ 63 h 70"/>
                <a:gd name="T10" fmla="*/ 165 w 331"/>
                <a:gd name="T1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1" h="70">
                  <a:moveTo>
                    <a:pt x="165" y="0"/>
                  </a:moveTo>
                  <a:cubicBezTo>
                    <a:pt x="74" y="0"/>
                    <a:pt x="0" y="28"/>
                    <a:pt x="0" y="63"/>
                  </a:cubicBezTo>
                  <a:cubicBezTo>
                    <a:pt x="0" y="65"/>
                    <a:pt x="0" y="68"/>
                    <a:pt x="1" y="70"/>
                  </a:cubicBezTo>
                  <a:cubicBezTo>
                    <a:pt x="330" y="70"/>
                    <a:pt x="330" y="70"/>
                    <a:pt x="330" y="70"/>
                  </a:cubicBezTo>
                  <a:cubicBezTo>
                    <a:pt x="330" y="68"/>
                    <a:pt x="331" y="65"/>
                    <a:pt x="331" y="63"/>
                  </a:cubicBezTo>
                  <a:cubicBezTo>
                    <a:pt x="331" y="28"/>
                    <a:pt x="257" y="0"/>
                    <a:pt x="165" y="0"/>
                  </a:cubicBezTo>
                </a:path>
              </a:pathLst>
            </a:custGeom>
            <a:solidFill>
              <a:srgbClr val="4352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8" name="íšḻíḍé">
              <a:extLst>
                <a:ext uri="{FF2B5EF4-FFF2-40B4-BE49-F238E27FC236}">
                  <a16:creationId xmlns:a16="http://schemas.microsoft.com/office/drawing/2014/main" id="{6311A275-A9C2-48FE-AE16-DE4CD1729796}"/>
                </a:ext>
              </a:extLst>
            </p:cNvPr>
            <p:cNvSpPr/>
            <p:nvPr/>
          </p:nvSpPr>
          <p:spPr bwMode="auto">
            <a:xfrm>
              <a:off x="8539297" y="4858620"/>
              <a:ext cx="788485" cy="68302"/>
            </a:xfrm>
            <a:custGeom>
              <a:avLst/>
              <a:gdLst>
                <a:gd name="T0" fmla="*/ 0 w 332"/>
                <a:gd name="T1" fmla="*/ 0 h 29"/>
                <a:gd name="T2" fmla="*/ 0 w 332"/>
                <a:gd name="T3" fmla="*/ 2 h 29"/>
                <a:gd name="T4" fmla="*/ 17 w 332"/>
                <a:gd name="T5" fmla="*/ 19 h 29"/>
                <a:gd name="T6" fmla="*/ 80 w 332"/>
                <a:gd name="T7" fmla="*/ 19 h 29"/>
                <a:gd name="T8" fmla="*/ 166 w 332"/>
                <a:gd name="T9" fmla="*/ 29 h 29"/>
                <a:gd name="T10" fmla="*/ 251 w 332"/>
                <a:gd name="T11" fmla="*/ 19 h 29"/>
                <a:gd name="T12" fmla="*/ 315 w 332"/>
                <a:gd name="T13" fmla="*/ 19 h 29"/>
                <a:gd name="T14" fmla="*/ 332 w 332"/>
                <a:gd name="T15" fmla="*/ 2 h 29"/>
                <a:gd name="T16" fmla="*/ 332 w 332"/>
                <a:gd name="T17" fmla="*/ 0 h 29"/>
                <a:gd name="T18" fmla="*/ 0 w 332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2" h="29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11"/>
                    <a:pt x="7" y="19"/>
                    <a:pt x="17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7" y="25"/>
                    <a:pt x="123" y="29"/>
                    <a:pt x="166" y="29"/>
                  </a:cubicBezTo>
                  <a:cubicBezTo>
                    <a:pt x="209" y="29"/>
                    <a:pt x="244" y="25"/>
                    <a:pt x="251" y="19"/>
                  </a:cubicBezTo>
                  <a:cubicBezTo>
                    <a:pt x="315" y="19"/>
                    <a:pt x="315" y="19"/>
                    <a:pt x="315" y="19"/>
                  </a:cubicBezTo>
                  <a:cubicBezTo>
                    <a:pt x="324" y="19"/>
                    <a:pt x="332" y="11"/>
                    <a:pt x="332" y="2"/>
                  </a:cubicBezTo>
                  <a:cubicBezTo>
                    <a:pt x="332" y="1"/>
                    <a:pt x="332" y="1"/>
                    <a:pt x="33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9" name="ïŝ1idè">
              <a:extLst>
                <a:ext uri="{FF2B5EF4-FFF2-40B4-BE49-F238E27FC236}">
                  <a16:creationId xmlns:a16="http://schemas.microsoft.com/office/drawing/2014/main" id="{BE01EF41-D4B2-4C2F-AA7B-A17E3B2E1D07}"/>
                </a:ext>
              </a:extLst>
            </p:cNvPr>
            <p:cNvSpPr/>
            <p:nvPr/>
          </p:nvSpPr>
          <p:spPr bwMode="auto">
            <a:xfrm>
              <a:off x="9325773" y="4105291"/>
              <a:ext cx="106471" cy="180799"/>
            </a:xfrm>
            <a:custGeom>
              <a:avLst/>
              <a:gdLst>
                <a:gd name="T0" fmla="*/ 31 w 45"/>
                <a:gd name="T1" fmla="*/ 0 h 76"/>
                <a:gd name="T2" fmla="*/ 14 w 45"/>
                <a:gd name="T3" fmla="*/ 0 h 76"/>
                <a:gd name="T4" fmla="*/ 0 w 45"/>
                <a:gd name="T5" fmla="*/ 14 h 76"/>
                <a:gd name="T6" fmla="*/ 0 w 45"/>
                <a:gd name="T7" fmla="*/ 62 h 76"/>
                <a:gd name="T8" fmla="*/ 14 w 45"/>
                <a:gd name="T9" fmla="*/ 76 h 76"/>
                <a:gd name="T10" fmla="*/ 31 w 45"/>
                <a:gd name="T11" fmla="*/ 76 h 76"/>
                <a:gd name="T12" fmla="*/ 45 w 45"/>
                <a:gd name="T13" fmla="*/ 62 h 76"/>
                <a:gd name="T14" fmla="*/ 45 w 45"/>
                <a:gd name="T15" fmla="*/ 14 h 76"/>
                <a:gd name="T16" fmla="*/ 31 w 45"/>
                <a:gd name="T1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76">
                  <a:moveTo>
                    <a:pt x="31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70"/>
                    <a:pt x="6" y="76"/>
                    <a:pt x="14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8" y="76"/>
                    <a:pt x="45" y="70"/>
                    <a:pt x="45" y="62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6"/>
                    <a:pt x="38" y="0"/>
                    <a:pt x="31" y="0"/>
                  </a:cubicBezTo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0" name="íSlïḋè">
              <a:extLst>
                <a:ext uri="{FF2B5EF4-FFF2-40B4-BE49-F238E27FC236}">
                  <a16:creationId xmlns:a16="http://schemas.microsoft.com/office/drawing/2014/main" id="{FEC4C1C7-B771-4888-A85B-BD5EEF42FEEA}"/>
                </a:ext>
              </a:extLst>
            </p:cNvPr>
            <p:cNvSpPr/>
            <p:nvPr/>
          </p:nvSpPr>
          <p:spPr bwMode="auto">
            <a:xfrm>
              <a:off x="9230352" y="3892350"/>
              <a:ext cx="208923" cy="616725"/>
            </a:xfrm>
            <a:custGeom>
              <a:avLst/>
              <a:gdLst>
                <a:gd name="T0" fmla="*/ 12 w 88"/>
                <a:gd name="T1" fmla="*/ 124 h 260"/>
                <a:gd name="T2" fmla="*/ 39 w 88"/>
                <a:gd name="T3" fmla="*/ 260 h 260"/>
                <a:gd name="T4" fmla="*/ 45 w 88"/>
                <a:gd name="T5" fmla="*/ 260 h 260"/>
                <a:gd name="T6" fmla="*/ 88 w 88"/>
                <a:gd name="T7" fmla="*/ 6 h 260"/>
                <a:gd name="T8" fmla="*/ 82 w 88"/>
                <a:gd name="T9" fmla="*/ 4 h 260"/>
                <a:gd name="T10" fmla="*/ 12 w 88"/>
                <a:gd name="T11" fmla="*/ 124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260">
                  <a:moveTo>
                    <a:pt x="12" y="124"/>
                  </a:moveTo>
                  <a:cubicBezTo>
                    <a:pt x="0" y="194"/>
                    <a:pt x="12" y="255"/>
                    <a:pt x="39" y="260"/>
                  </a:cubicBezTo>
                  <a:cubicBezTo>
                    <a:pt x="41" y="260"/>
                    <a:pt x="43" y="260"/>
                    <a:pt x="45" y="260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6" y="5"/>
                    <a:pt x="84" y="4"/>
                    <a:pt x="82" y="4"/>
                  </a:cubicBezTo>
                  <a:cubicBezTo>
                    <a:pt x="55" y="0"/>
                    <a:pt x="24" y="53"/>
                    <a:pt x="12" y="124"/>
                  </a:cubicBezTo>
                </a:path>
              </a:pathLst>
            </a:custGeom>
            <a:solidFill>
              <a:srgbClr val="4352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1" name="îṥļíḑè">
              <a:extLst>
                <a:ext uri="{FF2B5EF4-FFF2-40B4-BE49-F238E27FC236}">
                  <a16:creationId xmlns:a16="http://schemas.microsoft.com/office/drawing/2014/main" id="{E133AF07-A4D8-401C-99B9-37F687674F3B}"/>
                </a:ext>
              </a:extLst>
            </p:cNvPr>
            <p:cNvSpPr/>
            <p:nvPr/>
          </p:nvSpPr>
          <p:spPr bwMode="auto">
            <a:xfrm>
              <a:off x="9306689" y="3901390"/>
              <a:ext cx="132586" cy="607686"/>
            </a:xfrm>
            <a:custGeom>
              <a:avLst/>
              <a:gdLst>
                <a:gd name="T0" fmla="*/ 0 w 56"/>
                <a:gd name="T1" fmla="*/ 253 h 256"/>
                <a:gd name="T2" fmla="*/ 7 w 56"/>
                <a:gd name="T3" fmla="*/ 256 h 256"/>
                <a:gd name="T4" fmla="*/ 13 w 56"/>
                <a:gd name="T5" fmla="*/ 256 h 256"/>
                <a:gd name="T6" fmla="*/ 56 w 56"/>
                <a:gd name="T7" fmla="*/ 2 h 256"/>
                <a:gd name="T8" fmla="*/ 50 w 56"/>
                <a:gd name="T9" fmla="*/ 0 h 256"/>
                <a:gd name="T10" fmla="*/ 42 w 56"/>
                <a:gd name="T11" fmla="*/ 0 h 256"/>
                <a:gd name="T12" fmla="*/ 0 w 56"/>
                <a:gd name="T13" fmla="*/ 253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256">
                  <a:moveTo>
                    <a:pt x="0" y="253"/>
                  </a:moveTo>
                  <a:cubicBezTo>
                    <a:pt x="2" y="254"/>
                    <a:pt x="4" y="255"/>
                    <a:pt x="7" y="256"/>
                  </a:cubicBezTo>
                  <a:cubicBezTo>
                    <a:pt x="9" y="256"/>
                    <a:pt x="11" y="256"/>
                    <a:pt x="13" y="256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4" y="1"/>
                    <a:pt x="52" y="0"/>
                    <a:pt x="50" y="0"/>
                  </a:cubicBezTo>
                  <a:cubicBezTo>
                    <a:pt x="48" y="0"/>
                    <a:pt x="45" y="0"/>
                    <a:pt x="42" y="0"/>
                  </a:cubicBezTo>
                  <a:lnTo>
                    <a:pt x="0" y="253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2" name="ïṡḻíḓè">
              <a:extLst>
                <a:ext uri="{FF2B5EF4-FFF2-40B4-BE49-F238E27FC236}">
                  <a16:creationId xmlns:a16="http://schemas.microsoft.com/office/drawing/2014/main" id="{E3B27F90-8B2A-4D76-A222-E78B167F099A}"/>
                </a:ext>
              </a:extLst>
            </p:cNvPr>
            <p:cNvSpPr/>
            <p:nvPr/>
          </p:nvSpPr>
          <p:spPr bwMode="auto">
            <a:xfrm>
              <a:off x="8643760" y="5074574"/>
              <a:ext cx="579562" cy="304346"/>
            </a:xfrm>
            <a:custGeom>
              <a:avLst/>
              <a:gdLst>
                <a:gd name="T0" fmla="*/ 141 w 244"/>
                <a:gd name="T1" fmla="*/ 0 h 128"/>
                <a:gd name="T2" fmla="*/ 102 w 244"/>
                <a:gd name="T3" fmla="*/ 0 h 128"/>
                <a:gd name="T4" fmla="*/ 102 w 244"/>
                <a:gd name="T5" fmla="*/ 89 h 128"/>
                <a:gd name="T6" fmla="*/ 11 w 244"/>
                <a:gd name="T7" fmla="*/ 104 h 128"/>
                <a:gd name="T8" fmla="*/ 0 w 244"/>
                <a:gd name="T9" fmla="*/ 116 h 128"/>
                <a:gd name="T10" fmla="*/ 0 w 244"/>
                <a:gd name="T11" fmla="*/ 116 h 128"/>
                <a:gd name="T12" fmla="*/ 11 w 244"/>
                <a:gd name="T13" fmla="*/ 127 h 128"/>
                <a:gd name="T14" fmla="*/ 110 w 244"/>
                <a:gd name="T15" fmla="*/ 110 h 128"/>
                <a:gd name="T16" fmla="*/ 133 w 244"/>
                <a:gd name="T17" fmla="*/ 110 h 128"/>
                <a:gd name="T18" fmla="*/ 233 w 244"/>
                <a:gd name="T19" fmla="*/ 127 h 128"/>
                <a:gd name="T20" fmla="*/ 244 w 244"/>
                <a:gd name="T21" fmla="*/ 116 h 128"/>
                <a:gd name="T22" fmla="*/ 244 w 244"/>
                <a:gd name="T23" fmla="*/ 116 h 128"/>
                <a:gd name="T24" fmla="*/ 233 w 244"/>
                <a:gd name="T25" fmla="*/ 104 h 128"/>
                <a:gd name="T26" fmla="*/ 141 w 244"/>
                <a:gd name="T27" fmla="*/ 89 h 128"/>
                <a:gd name="T28" fmla="*/ 141 w 244"/>
                <a:gd name="T29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4" h="128">
                  <a:moveTo>
                    <a:pt x="141" y="0"/>
                  </a:moveTo>
                  <a:cubicBezTo>
                    <a:pt x="102" y="0"/>
                    <a:pt x="102" y="0"/>
                    <a:pt x="102" y="0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5" y="105"/>
                    <a:pt x="0" y="109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2"/>
                    <a:pt x="5" y="128"/>
                    <a:pt x="11" y="127"/>
                  </a:cubicBezTo>
                  <a:cubicBezTo>
                    <a:pt x="110" y="110"/>
                    <a:pt x="110" y="110"/>
                    <a:pt x="110" y="110"/>
                  </a:cubicBezTo>
                  <a:cubicBezTo>
                    <a:pt x="133" y="110"/>
                    <a:pt x="133" y="110"/>
                    <a:pt x="133" y="110"/>
                  </a:cubicBezTo>
                  <a:cubicBezTo>
                    <a:pt x="233" y="127"/>
                    <a:pt x="233" y="127"/>
                    <a:pt x="233" y="127"/>
                  </a:cubicBezTo>
                  <a:cubicBezTo>
                    <a:pt x="239" y="128"/>
                    <a:pt x="244" y="122"/>
                    <a:pt x="244" y="116"/>
                  </a:cubicBezTo>
                  <a:cubicBezTo>
                    <a:pt x="244" y="116"/>
                    <a:pt x="244" y="116"/>
                    <a:pt x="244" y="116"/>
                  </a:cubicBezTo>
                  <a:cubicBezTo>
                    <a:pt x="244" y="109"/>
                    <a:pt x="239" y="105"/>
                    <a:pt x="233" y="104"/>
                  </a:cubicBezTo>
                  <a:cubicBezTo>
                    <a:pt x="141" y="89"/>
                    <a:pt x="141" y="89"/>
                    <a:pt x="141" y="89"/>
                  </a:cubicBezTo>
                  <a:lnTo>
                    <a:pt x="141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3" name="îSḻïde">
              <a:extLst>
                <a:ext uri="{FF2B5EF4-FFF2-40B4-BE49-F238E27FC236}">
                  <a16:creationId xmlns:a16="http://schemas.microsoft.com/office/drawing/2014/main" id="{6D1C1D3A-1CD7-4D55-BC1D-C89177ED5E16}"/>
                </a:ext>
              </a:extLst>
            </p:cNvPr>
            <p:cNvSpPr/>
            <p:nvPr/>
          </p:nvSpPr>
          <p:spPr bwMode="auto">
            <a:xfrm>
              <a:off x="9162049" y="5340752"/>
              <a:ext cx="73324" cy="73324"/>
            </a:xfrm>
            <a:prstGeom prst="ellipse">
              <a:avLst/>
            </a:pr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4" name="íṩḻïḍè">
              <a:extLst>
                <a:ext uri="{FF2B5EF4-FFF2-40B4-BE49-F238E27FC236}">
                  <a16:creationId xmlns:a16="http://schemas.microsoft.com/office/drawing/2014/main" id="{528A61F6-375D-4FD5-93F4-0E930EE85E27}"/>
                </a:ext>
              </a:extLst>
            </p:cNvPr>
            <p:cNvSpPr/>
            <p:nvPr/>
          </p:nvSpPr>
          <p:spPr bwMode="auto">
            <a:xfrm>
              <a:off x="8634719" y="5340752"/>
              <a:ext cx="71316" cy="73324"/>
            </a:xfrm>
            <a:prstGeom prst="ellipse">
              <a:avLst/>
            </a:pr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5" name="iṧlîḋe">
              <a:extLst>
                <a:ext uri="{FF2B5EF4-FFF2-40B4-BE49-F238E27FC236}">
                  <a16:creationId xmlns:a16="http://schemas.microsoft.com/office/drawing/2014/main" id="{71F08B78-C2DB-49D8-BCA1-B2B6DBD644E2}"/>
                </a:ext>
              </a:extLst>
            </p:cNvPr>
            <p:cNvSpPr/>
            <p:nvPr/>
          </p:nvSpPr>
          <p:spPr bwMode="auto">
            <a:xfrm>
              <a:off x="8900895" y="5285507"/>
              <a:ext cx="66293" cy="95422"/>
            </a:xfrm>
            <a:custGeom>
              <a:avLst/>
              <a:gdLst>
                <a:gd name="T0" fmla="*/ 66 w 66"/>
                <a:gd name="T1" fmla="*/ 0 h 95"/>
                <a:gd name="T2" fmla="*/ 33 w 66"/>
                <a:gd name="T3" fmla="*/ 0 h 95"/>
                <a:gd name="T4" fmla="*/ 0 w 66"/>
                <a:gd name="T5" fmla="*/ 0 h 95"/>
                <a:gd name="T6" fmla="*/ 12 w 66"/>
                <a:gd name="T7" fmla="*/ 95 h 95"/>
                <a:gd name="T8" fmla="*/ 33 w 66"/>
                <a:gd name="T9" fmla="*/ 95 h 95"/>
                <a:gd name="T10" fmla="*/ 52 w 66"/>
                <a:gd name="T11" fmla="*/ 95 h 95"/>
                <a:gd name="T12" fmla="*/ 66 w 66"/>
                <a:gd name="T1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95">
                  <a:moveTo>
                    <a:pt x="66" y="0"/>
                  </a:moveTo>
                  <a:lnTo>
                    <a:pt x="33" y="0"/>
                  </a:lnTo>
                  <a:lnTo>
                    <a:pt x="0" y="0"/>
                  </a:lnTo>
                  <a:lnTo>
                    <a:pt x="12" y="95"/>
                  </a:lnTo>
                  <a:lnTo>
                    <a:pt x="33" y="95"/>
                  </a:lnTo>
                  <a:lnTo>
                    <a:pt x="52" y="95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6" name="ïšḷiḋé">
              <a:extLst>
                <a:ext uri="{FF2B5EF4-FFF2-40B4-BE49-F238E27FC236}">
                  <a16:creationId xmlns:a16="http://schemas.microsoft.com/office/drawing/2014/main" id="{35429C05-02D8-4A2F-AF44-4CB21CEC59B3}"/>
                </a:ext>
              </a:extLst>
            </p:cNvPr>
            <p:cNvSpPr/>
            <p:nvPr/>
          </p:nvSpPr>
          <p:spPr bwMode="auto">
            <a:xfrm>
              <a:off x="8897883" y="5340752"/>
              <a:ext cx="71316" cy="73324"/>
            </a:xfrm>
            <a:prstGeom prst="ellipse">
              <a:avLst/>
            </a:pr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7" name="işlíḋe">
              <a:extLst>
                <a:ext uri="{FF2B5EF4-FFF2-40B4-BE49-F238E27FC236}">
                  <a16:creationId xmlns:a16="http://schemas.microsoft.com/office/drawing/2014/main" id="{25D35D18-C89C-454A-8758-9669456C0DF6}"/>
                </a:ext>
              </a:extLst>
            </p:cNvPr>
            <p:cNvSpPr/>
            <p:nvPr/>
          </p:nvSpPr>
          <p:spPr bwMode="auto">
            <a:xfrm>
              <a:off x="8154597" y="5269436"/>
              <a:ext cx="410816" cy="154684"/>
            </a:xfrm>
            <a:custGeom>
              <a:avLst/>
              <a:gdLst>
                <a:gd name="T0" fmla="*/ 173 w 173"/>
                <a:gd name="T1" fmla="*/ 13 h 65"/>
                <a:gd name="T2" fmla="*/ 171 w 173"/>
                <a:gd name="T3" fmla="*/ 61 h 65"/>
                <a:gd name="T4" fmla="*/ 124 w 173"/>
                <a:gd name="T5" fmla="*/ 60 h 65"/>
                <a:gd name="T6" fmla="*/ 125 w 173"/>
                <a:gd name="T7" fmla="*/ 53 h 65"/>
                <a:gd name="T8" fmla="*/ 48 w 173"/>
                <a:gd name="T9" fmla="*/ 60 h 65"/>
                <a:gd name="T10" fmla="*/ 1 w 173"/>
                <a:gd name="T11" fmla="*/ 46 h 65"/>
                <a:gd name="T12" fmla="*/ 2 w 173"/>
                <a:gd name="T13" fmla="*/ 40 h 65"/>
                <a:gd name="T14" fmla="*/ 8 w 173"/>
                <a:gd name="T15" fmla="*/ 33 h 65"/>
                <a:gd name="T16" fmla="*/ 117 w 173"/>
                <a:gd name="T17" fmla="*/ 1 h 65"/>
                <a:gd name="T18" fmla="*/ 173 w 173"/>
                <a:gd name="T19" fmla="*/ 1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3" h="65">
                  <a:moveTo>
                    <a:pt x="173" y="13"/>
                  </a:moveTo>
                  <a:cubicBezTo>
                    <a:pt x="173" y="16"/>
                    <a:pt x="171" y="61"/>
                    <a:pt x="171" y="61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5" y="53"/>
                    <a:pt x="125" y="53"/>
                    <a:pt x="125" y="53"/>
                  </a:cubicBezTo>
                  <a:cubicBezTo>
                    <a:pt x="104" y="65"/>
                    <a:pt x="55" y="62"/>
                    <a:pt x="48" y="60"/>
                  </a:cubicBezTo>
                  <a:cubicBezTo>
                    <a:pt x="23" y="55"/>
                    <a:pt x="1" y="46"/>
                    <a:pt x="1" y="4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0" y="33"/>
                    <a:pt x="8" y="33"/>
                  </a:cubicBezTo>
                  <a:cubicBezTo>
                    <a:pt x="86" y="28"/>
                    <a:pt x="103" y="6"/>
                    <a:pt x="117" y="1"/>
                  </a:cubicBezTo>
                  <a:cubicBezTo>
                    <a:pt x="119" y="0"/>
                    <a:pt x="173" y="13"/>
                    <a:pt x="173" y="13"/>
                  </a:cubicBezTo>
                </a:path>
              </a:pathLst>
            </a:custGeom>
            <a:solidFill>
              <a:srgbClr val="2626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8" name="ïṩḻîḑe">
              <a:extLst>
                <a:ext uri="{FF2B5EF4-FFF2-40B4-BE49-F238E27FC236}">
                  <a16:creationId xmlns:a16="http://schemas.microsoft.com/office/drawing/2014/main" id="{4A5A91F7-8DF0-47D8-B896-C7C5910731A6}"/>
                </a:ext>
              </a:extLst>
            </p:cNvPr>
            <p:cNvSpPr/>
            <p:nvPr/>
          </p:nvSpPr>
          <p:spPr bwMode="auto">
            <a:xfrm>
              <a:off x="8304260" y="4578381"/>
              <a:ext cx="926092" cy="736254"/>
            </a:xfrm>
            <a:custGeom>
              <a:avLst/>
              <a:gdLst>
                <a:gd name="T0" fmla="*/ 385 w 390"/>
                <a:gd name="T1" fmla="*/ 2 h 310"/>
                <a:gd name="T2" fmla="*/ 381 w 390"/>
                <a:gd name="T3" fmla="*/ 49 h 310"/>
                <a:gd name="T4" fmla="*/ 327 w 390"/>
                <a:gd name="T5" fmla="*/ 89 h 310"/>
                <a:gd name="T6" fmla="*/ 80 w 390"/>
                <a:gd name="T7" fmla="*/ 107 h 310"/>
                <a:gd name="T8" fmla="*/ 110 w 390"/>
                <a:gd name="T9" fmla="*/ 304 h 310"/>
                <a:gd name="T10" fmla="*/ 19 w 390"/>
                <a:gd name="T11" fmla="*/ 310 h 310"/>
                <a:gd name="T12" fmla="*/ 5 w 390"/>
                <a:gd name="T13" fmla="*/ 112 h 310"/>
                <a:gd name="T14" fmla="*/ 71 w 390"/>
                <a:gd name="T15" fmla="*/ 34 h 310"/>
                <a:gd name="T16" fmla="*/ 258 w 390"/>
                <a:gd name="T17" fmla="*/ 0 h 310"/>
                <a:gd name="T18" fmla="*/ 385 w 390"/>
                <a:gd name="T19" fmla="*/ 2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0" h="310">
                  <a:moveTo>
                    <a:pt x="385" y="2"/>
                  </a:moveTo>
                  <a:cubicBezTo>
                    <a:pt x="390" y="15"/>
                    <a:pt x="389" y="26"/>
                    <a:pt x="381" y="49"/>
                  </a:cubicBezTo>
                  <a:cubicBezTo>
                    <a:pt x="374" y="71"/>
                    <a:pt x="356" y="85"/>
                    <a:pt x="327" y="89"/>
                  </a:cubicBezTo>
                  <a:cubicBezTo>
                    <a:pt x="298" y="93"/>
                    <a:pt x="80" y="107"/>
                    <a:pt x="80" y="107"/>
                  </a:cubicBezTo>
                  <a:cubicBezTo>
                    <a:pt x="110" y="304"/>
                    <a:pt x="110" y="304"/>
                    <a:pt x="110" y="304"/>
                  </a:cubicBezTo>
                  <a:cubicBezTo>
                    <a:pt x="19" y="310"/>
                    <a:pt x="19" y="310"/>
                    <a:pt x="19" y="310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0" y="56"/>
                    <a:pt x="29" y="40"/>
                    <a:pt x="71" y="34"/>
                  </a:cubicBezTo>
                  <a:cubicBezTo>
                    <a:pt x="258" y="0"/>
                    <a:pt x="258" y="0"/>
                    <a:pt x="258" y="0"/>
                  </a:cubicBezTo>
                  <a:lnTo>
                    <a:pt x="385" y="2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9" name="íṣḻiḍê">
              <a:extLst>
                <a:ext uri="{FF2B5EF4-FFF2-40B4-BE49-F238E27FC236}">
                  <a16:creationId xmlns:a16="http://schemas.microsoft.com/office/drawing/2014/main" id="{2AF03043-7B21-4113-8651-C5C4976524D2}"/>
                </a:ext>
              </a:extLst>
            </p:cNvPr>
            <p:cNvSpPr/>
            <p:nvPr/>
          </p:nvSpPr>
          <p:spPr bwMode="auto">
            <a:xfrm>
              <a:off x="8281156" y="3963665"/>
              <a:ext cx="320416" cy="191849"/>
            </a:xfrm>
            <a:custGeom>
              <a:avLst/>
              <a:gdLst>
                <a:gd name="T0" fmla="*/ 135 w 135"/>
                <a:gd name="T1" fmla="*/ 42 h 81"/>
                <a:gd name="T2" fmla="*/ 96 w 135"/>
                <a:gd name="T3" fmla="*/ 12 h 81"/>
                <a:gd name="T4" fmla="*/ 38 w 135"/>
                <a:gd name="T5" fmla="*/ 12 h 81"/>
                <a:gd name="T6" fmla="*/ 14 w 135"/>
                <a:gd name="T7" fmla="*/ 63 h 81"/>
                <a:gd name="T8" fmla="*/ 99 w 135"/>
                <a:gd name="T9" fmla="*/ 77 h 81"/>
                <a:gd name="T10" fmla="*/ 135 w 135"/>
                <a:gd name="T11" fmla="*/ 4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" h="81">
                  <a:moveTo>
                    <a:pt x="135" y="42"/>
                  </a:moveTo>
                  <a:cubicBezTo>
                    <a:pt x="135" y="42"/>
                    <a:pt x="118" y="21"/>
                    <a:pt x="96" y="12"/>
                  </a:cubicBezTo>
                  <a:cubicBezTo>
                    <a:pt x="73" y="2"/>
                    <a:pt x="52" y="0"/>
                    <a:pt x="38" y="12"/>
                  </a:cubicBezTo>
                  <a:cubicBezTo>
                    <a:pt x="23" y="23"/>
                    <a:pt x="0" y="47"/>
                    <a:pt x="14" y="63"/>
                  </a:cubicBezTo>
                  <a:cubicBezTo>
                    <a:pt x="29" y="79"/>
                    <a:pt x="75" y="81"/>
                    <a:pt x="99" y="77"/>
                  </a:cubicBezTo>
                  <a:cubicBezTo>
                    <a:pt x="123" y="73"/>
                    <a:pt x="135" y="42"/>
                    <a:pt x="135" y="42"/>
                  </a:cubicBezTo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0" name="íṧ1iḍê">
              <a:extLst>
                <a:ext uri="{FF2B5EF4-FFF2-40B4-BE49-F238E27FC236}">
                  <a16:creationId xmlns:a16="http://schemas.microsoft.com/office/drawing/2014/main" id="{12DBFF66-8A5F-43E3-9147-8D5906654A98}"/>
                </a:ext>
              </a:extLst>
            </p:cNvPr>
            <p:cNvSpPr/>
            <p:nvPr/>
          </p:nvSpPr>
          <p:spPr bwMode="auto">
            <a:xfrm>
              <a:off x="8509165" y="3870251"/>
              <a:ext cx="26116" cy="33147"/>
            </a:xfrm>
            <a:custGeom>
              <a:avLst/>
              <a:gdLst>
                <a:gd name="T0" fmla="*/ 4 w 11"/>
                <a:gd name="T1" fmla="*/ 14 h 14"/>
                <a:gd name="T2" fmla="*/ 0 w 11"/>
                <a:gd name="T3" fmla="*/ 11 h 14"/>
                <a:gd name="T4" fmla="*/ 6 w 11"/>
                <a:gd name="T5" fmla="*/ 1 h 14"/>
                <a:gd name="T6" fmla="*/ 8 w 11"/>
                <a:gd name="T7" fmla="*/ 0 h 14"/>
                <a:gd name="T8" fmla="*/ 10 w 11"/>
                <a:gd name="T9" fmla="*/ 2 h 14"/>
                <a:gd name="T10" fmla="*/ 11 w 11"/>
                <a:gd name="T11" fmla="*/ 4 h 14"/>
                <a:gd name="T12" fmla="*/ 4 w 11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4">
                  <a:moveTo>
                    <a:pt x="4" y="14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0"/>
                    <a:pt x="8" y="0"/>
                    <a:pt x="8" y="0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2"/>
                    <a:pt x="11" y="3"/>
                    <a:pt x="11" y="4"/>
                  </a:cubicBezTo>
                  <a:lnTo>
                    <a:pt x="4" y="14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1" name="iślïḍê">
              <a:extLst>
                <a:ext uri="{FF2B5EF4-FFF2-40B4-BE49-F238E27FC236}">
                  <a16:creationId xmlns:a16="http://schemas.microsoft.com/office/drawing/2014/main" id="{F129DC82-EABE-4484-960C-8616F5111EBA}"/>
                </a:ext>
              </a:extLst>
            </p:cNvPr>
            <p:cNvSpPr/>
            <p:nvPr/>
          </p:nvSpPr>
          <p:spPr bwMode="auto">
            <a:xfrm>
              <a:off x="8518204" y="3873265"/>
              <a:ext cx="17076" cy="21093"/>
            </a:xfrm>
            <a:custGeom>
              <a:avLst/>
              <a:gdLst>
                <a:gd name="T0" fmla="*/ 5 w 7"/>
                <a:gd name="T1" fmla="*/ 0 h 9"/>
                <a:gd name="T2" fmla="*/ 6 w 7"/>
                <a:gd name="T3" fmla="*/ 1 h 9"/>
                <a:gd name="T4" fmla="*/ 7 w 7"/>
                <a:gd name="T5" fmla="*/ 3 h 9"/>
                <a:gd name="T6" fmla="*/ 3 w 7"/>
                <a:gd name="T7" fmla="*/ 8 h 9"/>
                <a:gd name="T8" fmla="*/ 0 w 7"/>
                <a:gd name="T9" fmla="*/ 9 h 9"/>
                <a:gd name="T10" fmla="*/ 1 w 7"/>
                <a:gd name="T11" fmla="*/ 7 h 9"/>
                <a:gd name="T12" fmla="*/ 5 w 7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9">
                  <a:moveTo>
                    <a:pt x="5" y="0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2"/>
                    <a:pt x="7" y="3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7"/>
                    <a:pt x="1" y="7"/>
                    <a:pt x="1" y="7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2" name="îṣḻiḓe">
              <a:extLst>
                <a:ext uri="{FF2B5EF4-FFF2-40B4-BE49-F238E27FC236}">
                  <a16:creationId xmlns:a16="http://schemas.microsoft.com/office/drawing/2014/main" id="{25A9E303-581B-4B38-9ED1-CA65E2AEE938}"/>
                </a:ext>
              </a:extLst>
            </p:cNvPr>
            <p:cNvSpPr/>
            <p:nvPr/>
          </p:nvSpPr>
          <p:spPr bwMode="auto">
            <a:xfrm>
              <a:off x="8492088" y="3882305"/>
              <a:ext cx="40178" cy="40178"/>
            </a:xfrm>
            <a:custGeom>
              <a:avLst/>
              <a:gdLst>
                <a:gd name="T0" fmla="*/ 11 w 17"/>
                <a:gd name="T1" fmla="*/ 17 h 17"/>
                <a:gd name="T2" fmla="*/ 0 w 17"/>
                <a:gd name="T3" fmla="*/ 10 h 17"/>
                <a:gd name="T4" fmla="*/ 6 w 17"/>
                <a:gd name="T5" fmla="*/ 1 h 17"/>
                <a:gd name="T6" fmla="*/ 7 w 17"/>
                <a:gd name="T7" fmla="*/ 0 h 17"/>
                <a:gd name="T8" fmla="*/ 8 w 17"/>
                <a:gd name="T9" fmla="*/ 0 h 17"/>
                <a:gd name="T10" fmla="*/ 16 w 17"/>
                <a:gd name="T11" fmla="*/ 5 h 17"/>
                <a:gd name="T12" fmla="*/ 17 w 17"/>
                <a:gd name="T13" fmla="*/ 6 h 17"/>
                <a:gd name="T14" fmla="*/ 17 w 17"/>
                <a:gd name="T15" fmla="*/ 8 h 17"/>
                <a:gd name="T16" fmla="*/ 11 w 17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7">
                  <a:moveTo>
                    <a:pt x="11" y="17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0"/>
                    <a:pt x="8" y="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5"/>
                    <a:pt x="17" y="6"/>
                    <a:pt x="17" y="6"/>
                  </a:cubicBezTo>
                  <a:cubicBezTo>
                    <a:pt x="17" y="7"/>
                    <a:pt x="17" y="7"/>
                    <a:pt x="17" y="8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3" name="îṧ1ïde">
              <a:extLst>
                <a:ext uri="{FF2B5EF4-FFF2-40B4-BE49-F238E27FC236}">
                  <a16:creationId xmlns:a16="http://schemas.microsoft.com/office/drawing/2014/main" id="{CD1C2695-152A-420F-8DDA-BC5E153A76D8}"/>
                </a:ext>
              </a:extLst>
            </p:cNvPr>
            <p:cNvSpPr/>
            <p:nvPr/>
          </p:nvSpPr>
          <p:spPr bwMode="auto">
            <a:xfrm>
              <a:off x="8509165" y="3887328"/>
              <a:ext cx="23102" cy="33147"/>
            </a:xfrm>
            <a:custGeom>
              <a:avLst/>
              <a:gdLst>
                <a:gd name="T0" fmla="*/ 5 w 10"/>
                <a:gd name="T1" fmla="*/ 0 h 14"/>
                <a:gd name="T2" fmla="*/ 5 w 10"/>
                <a:gd name="T3" fmla="*/ 1 h 14"/>
                <a:gd name="T4" fmla="*/ 8 w 10"/>
                <a:gd name="T5" fmla="*/ 2 h 14"/>
                <a:gd name="T6" fmla="*/ 9 w 10"/>
                <a:gd name="T7" fmla="*/ 3 h 14"/>
                <a:gd name="T8" fmla="*/ 10 w 10"/>
                <a:gd name="T9" fmla="*/ 4 h 14"/>
                <a:gd name="T10" fmla="*/ 10 w 10"/>
                <a:gd name="T11" fmla="*/ 6 h 14"/>
                <a:gd name="T12" fmla="*/ 4 w 10"/>
                <a:gd name="T13" fmla="*/ 14 h 14"/>
                <a:gd name="T14" fmla="*/ 0 w 10"/>
                <a:gd name="T15" fmla="*/ 9 h 14"/>
                <a:gd name="T16" fmla="*/ 5 w 10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4">
                  <a:moveTo>
                    <a:pt x="5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4"/>
                    <a:pt x="10" y="4"/>
                  </a:cubicBezTo>
                  <a:cubicBezTo>
                    <a:pt x="10" y="5"/>
                    <a:pt x="10" y="5"/>
                    <a:pt x="10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4" name="íṩliḋé">
              <a:extLst>
                <a:ext uri="{FF2B5EF4-FFF2-40B4-BE49-F238E27FC236}">
                  <a16:creationId xmlns:a16="http://schemas.microsoft.com/office/drawing/2014/main" id="{694C2796-208A-4145-BF8B-8966F9F7316D}"/>
                </a:ext>
              </a:extLst>
            </p:cNvPr>
            <p:cNvSpPr/>
            <p:nvPr/>
          </p:nvSpPr>
          <p:spPr bwMode="auto">
            <a:xfrm>
              <a:off x="8368543" y="3892350"/>
              <a:ext cx="159706" cy="230017"/>
            </a:xfrm>
            <a:custGeom>
              <a:avLst/>
              <a:gdLst>
                <a:gd name="T0" fmla="*/ 0 w 159"/>
                <a:gd name="T1" fmla="*/ 212 h 229"/>
                <a:gd name="T2" fmla="*/ 133 w 159"/>
                <a:gd name="T3" fmla="*/ 0 h 229"/>
                <a:gd name="T4" fmla="*/ 159 w 159"/>
                <a:gd name="T5" fmla="*/ 16 h 229"/>
                <a:gd name="T6" fmla="*/ 26 w 159"/>
                <a:gd name="T7" fmla="*/ 229 h 229"/>
                <a:gd name="T8" fmla="*/ 0 w 159"/>
                <a:gd name="T9" fmla="*/ 21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229">
                  <a:moveTo>
                    <a:pt x="0" y="212"/>
                  </a:moveTo>
                  <a:lnTo>
                    <a:pt x="133" y="0"/>
                  </a:lnTo>
                  <a:lnTo>
                    <a:pt x="159" y="16"/>
                  </a:lnTo>
                  <a:lnTo>
                    <a:pt x="26" y="229"/>
                  </a:lnTo>
                  <a:lnTo>
                    <a:pt x="0" y="212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5" name="iŝľïḑè">
              <a:extLst>
                <a:ext uri="{FF2B5EF4-FFF2-40B4-BE49-F238E27FC236}">
                  <a16:creationId xmlns:a16="http://schemas.microsoft.com/office/drawing/2014/main" id="{02F68BEE-1B69-4CD4-9E60-ACFC86C036B4}"/>
                </a:ext>
              </a:extLst>
            </p:cNvPr>
            <p:cNvSpPr/>
            <p:nvPr/>
          </p:nvSpPr>
          <p:spPr bwMode="auto">
            <a:xfrm>
              <a:off x="8380596" y="3899381"/>
              <a:ext cx="147653" cy="222987"/>
            </a:xfrm>
            <a:custGeom>
              <a:avLst/>
              <a:gdLst>
                <a:gd name="T0" fmla="*/ 0 w 147"/>
                <a:gd name="T1" fmla="*/ 213 h 222"/>
                <a:gd name="T2" fmla="*/ 132 w 147"/>
                <a:gd name="T3" fmla="*/ 0 h 222"/>
                <a:gd name="T4" fmla="*/ 147 w 147"/>
                <a:gd name="T5" fmla="*/ 9 h 222"/>
                <a:gd name="T6" fmla="*/ 14 w 147"/>
                <a:gd name="T7" fmla="*/ 222 h 222"/>
                <a:gd name="T8" fmla="*/ 0 w 147"/>
                <a:gd name="T9" fmla="*/ 213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222">
                  <a:moveTo>
                    <a:pt x="0" y="213"/>
                  </a:moveTo>
                  <a:lnTo>
                    <a:pt x="132" y="0"/>
                  </a:lnTo>
                  <a:lnTo>
                    <a:pt x="147" y="9"/>
                  </a:lnTo>
                  <a:lnTo>
                    <a:pt x="14" y="222"/>
                  </a:lnTo>
                  <a:lnTo>
                    <a:pt x="0" y="213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6" name="îşľîḋe">
              <a:extLst>
                <a:ext uri="{FF2B5EF4-FFF2-40B4-BE49-F238E27FC236}">
                  <a16:creationId xmlns:a16="http://schemas.microsoft.com/office/drawing/2014/main" id="{170F4061-0738-4247-9AE8-D309A2720C9E}"/>
                </a:ext>
              </a:extLst>
            </p:cNvPr>
            <p:cNvSpPr/>
            <p:nvPr/>
          </p:nvSpPr>
          <p:spPr bwMode="auto">
            <a:xfrm>
              <a:off x="8458943" y="3885319"/>
              <a:ext cx="71316" cy="68302"/>
            </a:xfrm>
            <a:custGeom>
              <a:avLst/>
              <a:gdLst>
                <a:gd name="T0" fmla="*/ 29 w 30"/>
                <a:gd name="T1" fmla="*/ 10 h 29"/>
                <a:gd name="T2" fmla="*/ 30 w 30"/>
                <a:gd name="T3" fmla="*/ 9 h 29"/>
                <a:gd name="T4" fmla="*/ 17 w 30"/>
                <a:gd name="T5" fmla="*/ 1 h 29"/>
                <a:gd name="T6" fmla="*/ 15 w 30"/>
                <a:gd name="T7" fmla="*/ 1 h 29"/>
                <a:gd name="T8" fmla="*/ 0 w 30"/>
                <a:gd name="T9" fmla="*/ 26 h 29"/>
                <a:gd name="T10" fmla="*/ 1 w 30"/>
                <a:gd name="T11" fmla="*/ 29 h 29"/>
                <a:gd name="T12" fmla="*/ 6 w 30"/>
                <a:gd name="T13" fmla="*/ 20 h 29"/>
                <a:gd name="T14" fmla="*/ 6 w 30"/>
                <a:gd name="T15" fmla="*/ 19 h 29"/>
                <a:gd name="T16" fmla="*/ 16 w 30"/>
                <a:gd name="T17" fmla="*/ 3 h 29"/>
                <a:gd name="T18" fmla="*/ 17 w 30"/>
                <a:gd name="T19" fmla="*/ 3 h 29"/>
                <a:gd name="T20" fmla="*/ 29 w 30"/>
                <a:gd name="T21" fmla="*/ 1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29">
                  <a:moveTo>
                    <a:pt x="29" y="10"/>
                  </a:moveTo>
                  <a:cubicBezTo>
                    <a:pt x="30" y="9"/>
                    <a:pt x="30" y="9"/>
                    <a:pt x="30" y="9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0"/>
                    <a:pt x="16" y="0"/>
                    <a:pt x="15" y="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6" y="2"/>
                    <a:pt x="17" y="3"/>
                  </a:cubicBezTo>
                  <a:lnTo>
                    <a:pt x="29" y="10"/>
                  </a:lnTo>
                  <a:close/>
                </a:path>
              </a:pathLst>
            </a:custGeom>
            <a:solidFill>
              <a:srgbClr val="ABAC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7" name="ïşḻiďê">
              <a:extLst>
                <a:ext uri="{FF2B5EF4-FFF2-40B4-BE49-F238E27FC236}">
                  <a16:creationId xmlns:a16="http://schemas.microsoft.com/office/drawing/2014/main" id="{F08EFFC1-ED33-48AE-9E46-E5FF06989EC0}"/>
                </a:ext>
              </a:extLst>
            </p:cNvPr>
            <p:cNvSpPr/>
            <p:nvPr/>
          </p:nvSpPr>
          <p:spPr bwMode="auto">
            <a:xfrm>
              <a:off x="8521218" y="3873265"/>
              <a:ext cx="14062" cy="19085"/>
            </a:xfrm>
            <a:custGeom>
              <a:avLst/>
              <a:gdLst>
                <a:gd name="T0" fmla="*/ 4 w 6"/>
                <a:gd name="T1" fmla="*/ 0 h 8"/>
                <a:gd name="T2" fmla="*/ 5 w 6"/>
                <a:gd name="T3" fmla="*/ 1 h 8"/>
                <a:gd name="T4" fmla="*/ 6 w 6"/>
                <a:gd name="T5" fmla="*/ 3 h 8"/>
                <a:gd name="T6" fmla="*/ 2 w 6"/>
                <a:gd name="T7" fmla="*/ 8 h 8"/>
                <a:gd name="T8" fmla="*/ 1 w 6"/>
                <a:gd name="T9" fmla="*/ 7 h 8"/>
                <a:gd name="T10" fmla="*/ 0 w 6"/>
                <a:gd name="T11" fmla="*/ 6 h 8"/>
                <a:gd name="T12" fmla="*/ 4 w 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">
                  <a:moveTo>
                    <a:pt x="4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2"/>
                    <a:pt x="6" y="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A7A7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8" name="i$ḻïḍé">
              <a:extLst>
                <a:ext uri="{FF2B5EF4-FFF2-40B4-BE49-F238E27FC236}">
                  <a16:creationId xmlns:a16="http://schemas.microsoft.com/office/drawing/2014/main" id="{5301F6AE-494A-4DAD-BA7A-5BD6594EBB12}"/>
                </a:ext>
              </a:extLst>
            </p:cNvPr>
            <p:cNvSpPr/>
            <p:nvPr/>
          </p:nvSpPr>
          <p:spPr bwMode="auto">
            <a:xfrm>
              <a:off x="8511173" y="3702511"/>
              <a:ext cx="835693" cy="626770"/>
            </a:xfrm>
            <a:custGeom>
              <a:avLst/>
              <a:gdLst>
                <a:gd name="T0" fmla="*/ 272 w 352"/>
                <a:gd name="T1" fmla="*/ 48 h 264"/>
                <a:gd name="T2" fmla="*/ 208 w 352"/>
                <a:gd name="T3" fmla="*/ 177 h 264"/>
                <a:gd name="T4" fmla="*/ 23 w 352"/>
                <a:gd name="T5" fmla="*/ 134 h 264"/>
                <a:gd name="T6" fmla="*/ 0 w 352"/>
                <a:gd name="T7" fmla="*/ 192 h 264"/>
                <a:gd name="T8" fmla="*/ 246 w 352"/>
                <a:gd name="T9" fmla="*/ 230 h 264"/>
                <a:gd name="T10" fmla="*/ 272 w 352"/>
                <a:gd name="T11" fmla="*/ 4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2" h="264">
                  <a:moveTo>
                    <a:pt x="272" y="48"/>
                  </a:moveTo>
                  <a:cubicBezTo>
                    <a:pt x="272" y="48"/>
                    <a:pt x="285" y="149"/>
                    <a:pt x="208" y="177"/>
                  </a:cubicBezTo>
                  <a:cubicBezTo>
                    <a:pt x="140" y="202"/>
                    <a:pt x="23" y="134"/>
                    <a:pt x="23" y="134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193"/>
                    <a:pt x="152" y="264"/>
                    <a:pt x="246" y="230"/>
                  </a:cubicBezTo>
                  <a:cubicBezTo>
                    <a:pt x="327" y="201"/>
                    <a:pt x="352" y="0"/>
                    <a:pt x="272" y="48"/>
                  </a:cubicBezTo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9" name="îṥḷïḑê">
              <a:extLst>
                <a:ext uri="{FF2B5EF4-FFF2-40B4-BE49-F238E27FC236}">
                  <a16:creationId xmlns:a16="http://schemas.microsoft.com/office/drawing/2014/main" id="{28E2EF69-4B23-4E3A-B39C-1A0897523379}"/>
                </a:ext>
              </a:extLst>
            </p:cNvPr>
            <p:cNvSpPr/>
            <p:nvPr/>
          </p:nvSpPr>
          <p:spPr bwMode="auto">
            <a:xfrm>
              <a:off x="8803465" y="3713559"/>
              <a:ext cx="572530" cy="938146"/>
            </a:xfrm>
            <a:custGeom>
              <a:avLst/>
              <a:gdLst>
                <a:gd name="T0" fmla="*/ 158 w 241"/>
                <a:gd name="T1" fmla="*/ 13 h 395"/>
                <a:gd name="T2" fmla="*/ 202 w 241"/>
                <a:gd name="T3" fmla="*/ 160 h 395"/>
                <a:gd name="T4" fmla="*/ 173 w 241"/>
                <a:gd name="T5" fmla="*/ 383 h 395"/>
                <a:gd name="T6" fmla="*/ 15 w 241"/>
                <a:gd name="T7" fmla="*/ 362 h 395"/>
                <a:gd name="T8" fmla="*/ 18 w 241"/>
                <a:gd name="T9" fmla="*/ 233 h 395"/>
                <a:gd name="T10" fmla="*/ 158 w 241"/>
                <a:gd name="T11" fmla="*/ 13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1" h="395">
                  <a:moveTo>
                    <a:pt x="158" y="13"/>
                  </a:moveTo>
                  <a:cubicBezTo>
                    <a:pt x="158" y="13"/>
                    <a:pt x="241" y="0"/>
                    <a:pt x="202" y="160"/>
                  </a:cubicBezTo>
                  <a:cubicBezTo>
                    <a:pt x="181" y="243"/>
                    <a:pt x="214" y="395"/>
                    <a:pt x="173" y="383"/>
                  </a:cubicBezTo>
                  <a:cubicBezTo>
                    <a:pt x="15" y="362"/>
                    <a:pt x="15" y="362"/>
                    <a:pt x="15" y="362"/>
                  </a:cubicBezTo>
                  <a:cubicBezTo>
                    <a:pt x="0" y="360"/>
                    <a:pt x="10" y="303"/>
                    <a:pt x="18" y="233"/>
                  </a:cubicBezTo>
                  <a:cubicBezTo>
                    <a:pt x="30" y="127"/>
                    <a:pt x="49" y="61"/>
                    <a:pt x="158" y="13"/>
                  </a:cubicBezTo>
                </a:path>
              </a:pathLst>
            </a:custGeom>
            <a:solidFill>
              <a:srgbClr val="DFE9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0" name="îş1îḓé">
              <a:extLst>
                <a:ext uri="{FF2B5EF4-FFF2-40B4-BE49-F238E27FC236}">
                  <a16:creationId xmlns:a16="http://schemas.microsoft.com/office/drawing/2014/main" id="{16BD1958-2889-419D-A3F3-9EA1DA57BB3B}"/>
                </a:ext>
              </a:extLst>
            </p:cNvPr>
            <p:cNvSpPr/>
            <p:nvPr/>
          </p:nvSpPr>
          <p:spPr bwMode="auto">
            <a:xfrm>
              <a:off x="3985173" y="4240891"/>
              <a:ext cx="4319088" cy="1178208"/>
            </a:xfrm>
            <a:prstGeom prst="rect">
              <a:avLst/>
            </a:prstGeom>
            <a:solidFill>
              <a:srgbClr val="C96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1" name="îŝ1íḑé">
              <a:extLst>
                <a:ext uri="{FF2B5EF4-FFF2-40B4-BE49-F238E27FC236}">
                  <a16:creationId xmlns:a16="http://schemas.microsoft.com/office/drawing/2014/main" id="{5D4E5EE8-93CA-493C-8CFB-6EEECD7FDB38}"/>
                </a:ext>
              </a:extLst>
            </p:cNvPr>
            <p:cNvSpPr/>
            <p:nvPr/>
          </p:nvSpPr>
          <p:spPr bwMode="auto">
            <a:xfrm>
              <a:off x="5072979" y="4554275"/>
              <a:ext cx="228007" cy="869845"/>
            </a:xfrm>
            <a:custGeom>
              <a:avLst/>
              <a:gdLst>
                <a:gd name="T0" fmla="*/ 15 w 96"/>
                <a:gd name="T1" fmla="*/ 17 h 366"/>
                <a:gd name="T2" fmla="*/ 19 w 96"/>
                <a:gd name="T3" fmla="*/ 121 h 366"/>
                <a:gd name="T4" fmla="*/ 11 w 96"/>
                <a:gd name="T5" fmla="*/ 288 h 366"/>
                <a:gd name="T6" fmla="*/ 11 w 96"/>
                <a:gd name="T7" fmla="*/ 292 h 366"/>
                <a:gd name="T8" fmla="*/ 11 w 96"/>
                <a:gd name="T9" fmla="*/ 304 h 366"/>
                <a:gd name="T10" fmla="*/ 8 w 96"/>
                <a:gd name="T11" fmla="*/ 358 h 366"/>
                <a:gd name="T12" fmla="*/ 38 w 96"/>
                <a:gd name="T13" fmla="*/ 359 h 366"/>
                <a:gd name="T14" fmla="*/ 40 w 96"/>
                <a:gd name="T15" fmla="*/ 326 h 366"/>
                <a:gd name="T16" fmla="*/ 51 w 96"/>
                <a:gd name="T17" fmla="*/ 256 h 366"/>
                <a:gd name="T18" fmla="*/ 75 w 96"/>
                <a:gd name="T19" fmla="*/ 125 h 366"/>
                <a:gd name="T20" fmla="*/ 96 w 96"/>
                <a:gd name="T21" fmla="*/ 23 h 366"/>
                <a:gd name="T22" fmla="*/ 15 w 96"/>
                <a:gd name="T23" fmla="*/ 17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366">
                  <a:moveTo>
                    <a:pt x="15" y="17"/>
                  </a:moveTo>
                  <a:cubicBezTo>
                    <a:pt x="9" y="42"/>
                    <a:pt x="10" y="63"/>
                    <a:pt x="19" y="121"/>
                  </a:cubicBezTo>
                  <a:cubicBezTo>
                    <a:pt x="0" y="186"/>
                    <a:pt x="10" y="239"/>
                    <a:pt x="11" y="288"/>
                  </a:cubicBezTo>
                  <a:cubicBezTo>
                    <a:pt x="10" y="288"/>
                    <a:pt x="11" y="289"/>
                    <a:pt x="11" y="292"/>
                  </a:cubicBezTo>
                  <a:cubicBezTo>
                    <a:pt x="11" y="296"/>
                    <a:pt x="11" y="300"/>
                    <a:pt x="11" y="304"/>
                  </a:cubicBezTo>
                  <a:cubicBezTo>
                    <a:pt x="9" y="323"/>
                    <a:pt x="6" y="348"/>
                    <a:pt x="8" y="358"/>
                  </a:cubicBezTo>
                  <a:cubicBezTo>
                    <a:pt x="10" y="366"/>
                    <a:pt x="38" y="359"/>
                    <a:pt x="38" y="359"/>
                  </a:cubicBezTo>
                  <a:cubicBezTo>
                    <a:pt x="38" y="359"/>
                    <a:pt x="50" y="357"/>
                    <a:pt x="40" y="326"/>
                  </a:cubicBezTo>
                  <a:cubicBezTo>
                    <a:pt x="34" y="309"/>
                    <a:pt x="44" y="274"/>
                    <a:pt x="51" y="256"/>
                  </a:cubicBezTo>
                  <a:cubicBezTo>
                    <a:pt x="67" y="208"/>
                    <a:pt x="80" y="163"/>
                    <a:pt x="75" y="125"/>
                  </a:cubicBezTo>
                  <a:cubicBezTo>
                    <a:pt x="71" y="83"/>
                    <a:pt x="96" y="49"/>
                    <a:pt x="96" y="23"/>
                  </a:cubicBezTo>
                  <a:cubicBezTo>
                    <a:pt x="96" y="0"/>
                    <a:pt x="15" y="17"/>
                    <a:pt x="15" y="17"/>
                  </a:cubicBezTo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2" name="îsļide">
              <a:extLst>
                <a:ext uri="{FF2B5EF4-FFF2-40B4-BE49-F238E27FC236}">
                  <a16:creationId xmlns:a16="http://schemas.microsoft.com/office/drawing/2014/main" id="{F0840ADE-F2F9-47EC-B202-C4F8FCBE86A6}"/>
                </a:ext>
              </a:extLst>
            </p:cNvPr>
            <p:cNvSpPr/>
            <p:nvPr/>
          </p:nvSpPr>
          <p:spPr bwMode="auto">
            <a:xfrm>
              <a:off x="5065949" y="5335728"/>
              <a:ext cx="125555" cy="78346"/>
            </a:xfrm>
            <a:custGeom>
              <a:avLst/>
              <a:gdLst>
                <a:gd name="T0" fmla="*/ 45 w 53"/>
                <a:gd name="T1" fmla="*/ 6 h 33"/>
                <a:gd name="T2" fmla="*/ 6 w 53"/>
                <a:gd name="T3" fmla="*/ 3 h 33"/>
                <a:gd name="T4" fmla="*/ 8 w 53"/>
                <a:gd name="T5" fmla="*/ 33 h 33"/>
                <a:gd name="T6" fmla="*/ 45 w 53"/>
                <a:gd name="T7" fmla="*/ 33 h 33"/>
                <a:gd name="T8" fmla="*/ 45 w 53"/>
                <a:gd name="T9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3">
                  <a:moveTo>
                    <a:pt x="45" y="6"/>
                  </a:moveTo>
                  <a:cubicBezTo>
                    <a:pt x="36" y="3"/>
                    <a:pt x="22" y="0"/>
                    <a:pt x="6" y="3"/>
                  </a:cubicBezTo>
                  <a:cubicBezTo>
                    <a:pt x="6" y="3"/>
                    <a:pt x="0" y="27"/>
                    <a:pt x="8" y="33"/>
                  </a:cubicBezTo>
                  <a:cubicBezTo>
                    <a:pt x="16" y="33"/>
                    <a:pt x="41" y="33"/>
                    <a:pt x="45" y="33"/>
                  </a:cubicBezTo>
                  <a:cubicBezTo>
                    <a:pt x="53" y="22"/>
                    <a:pt x="45" y="6"/>
                    <a:pt x="4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3" name="iṡļídê">
              <a:extLst>
                <a:ext uri="{FF2B5EF4-FFF2-40B4-BE49-F238E27FC236}">
                  <a16:creationId xmlns:a16="http://schemas.microsoft.com/office/drawing/2014/main" id="{FAB3821F-0EAF-4AEB-A281-2ECD102A848F}"/>
                </a:ext>
              </a:extLst>
            </p:cNvPr>
            <p:cNvSpPr/>
            <p:nvPr/>
          </p:nvSpPr>
          <p:spPr bwMode="auto">
            <a:xfrm>
              <a:off x="4880127" y="4554275"/>
              <a:ext cx="228007" cy="869845"/>
            </a:xfrm>
            <a:custGeom>
              <a:avLst/>
              <a:gdLst>
                <a:gd name="T0" fmla="*/ 81 w 96"/>
                <a:gd name="T1" fmla="*/ 17 h 366"/>
                <a:gd name="T2" fmla="*/ 77 w 96"/>
                <a:gd name="T3" fmla="*/ 121 h 366"/>
                <a:gd name="T4" fmla="*/ 85 w 96"/>
                <a:gd name="T5" fmla="*/ 288 h 366"/>
                <a:gd name="T6" fmla="*/ 85 w 96"/>
                <a:gd name="T7" fmla="*/ 292 h 366"/>
                <a:gd name="T8" fmla="*/ 85 w 96"/>
                <a:gd name="T9" fmla="*/ 304 h 366"/>
                <a:gd name="T10" fmla="*/ 88 w 96"/>
                <a:gd name="T11" fmla="*/ 358 h 366"/>
                <a:gd name="T12" fmla="*/ 58 w 96"/>
                <a:gd name="T13" fmla="*/ 359 h 366"/>
                <a:gd name="T14" fmla="*/ 56 w 96"/>
                <a:gd name="T15" fmla="*/ 326 h 366"/>
                <a:gd name="T16" fmla="*/ 45 w 96"/>
                <a:gd name="T17" fmla="*/ 256 h 366"/>
                <a:gd name="T18" fmla="*/ 21 w 96"/>
                <a:gd name="T19" fmla="*/ 125 h 366"/>
                <a:gd name="T20" fmla="*/ 0 w 96"/>
                <a:gd name="T21" fmla="*/ 23 h 366"/>
                <a:gd name="T22" fmla="*/ 81 w 96"/>
                <a:gd name="T23" fmla="*/ 17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366">
                  <a:moveTo>
                    <a:pt x="81" y="17"/>
                  </a:moveTo>
                  <a:cubicBezTo>
                    <a:pt x="87" y="42"/>
                    <a:pt x="86" y="63"/>
                    <a:pt x="77" y="121"/>
                  </a:cubicBezTo>
                  <a:cubicBezTo>
                    <a:pt x="96" y="186"/>
                    <a:pt x="86" y="239"/>
                    <a:pt x="85" y="288"/>
                  </a:cubicBezTo>
                  <a:cubicBezTo>
                    <a:pt x="86" y="288"/>
                    <a:pt x="85" y="289"/>
                    <a:pt x="85" y="292"/>
                  </a:cubicBezTo>
                  <a:cubicBezTo>
                    <a:pt x="85" y="296"/>
                    <a:pt x="85" y="300"/>
                    <a:pt x="85" y="304"/>
                  </a:cubicBezTo>
                  <a:cubicBezTo>
                    <a:pt x="87" y="323"/>
                    <a:pt x="90" y="348"/>
                    <a:pt x="88" y="358"/>
                  </a:cubicBezTo>
                  <a:cubicBezTo>
                    <a:pt x="86" y="366"/>
                    <a:pt x="58" y="359"/>
                    <a:pt x="58" y="359"/>
                  </a:cubicBezTo>
                  <a:cubicBezTo>
                    <a:pt x="58" y="359"/>
                    <a:pt x="46" y="357"/>
                    <a:pt x="56" y="326"/>
                  </a:cubicBezTo>
                  <a:cubicBezTo>
                    <a:pt x="62" y="309"/>
                    <a:pt x="52" y="274"/>
                    <a:pt x="45" y="256"/>
                  </a:cubicBezTo>
                  <a:cubicBezTo>
                    <a:pt x="29" y="208"/>
                    <a:pt x="16" y="163"/>
                    <a:pt x="21" y="125"/>
                  </a:cubicBezTo>
                  <a:cubicBezTo>
                    <a:pt x="25" y="83"/>
                    <a:pt x="0" y="49"/>
                    <a:pt x="0" y="23"/>
                  </a:cubicBezTo>
                  <a:cubicBezTo>
                    <a:pt x="0" y="0"/>
                    <a:pt x="81" y="17"/>
                    <a:pt x="81" y="17"/>
                  </a:cubicBezTo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4" name="îṡlîḋê">
              <a:extLst>
                <a:ext uri="{FF2B5EF4-FFF2-40B4-BE49-F238E27FC236}">
                  <a16:creationId xmlns:a16="http://schemas.microsoft.com/office/drawing/2014/main" id="{6D39810F-F53F-424A-AE13-D33787ED68B8}"/>
                </a:ext>
              </a:extLst>
            </p:cNvPr>
            <p:cNvSpPr/>
            <p:nvPr/>
          </p:nvSpPr>
          <p:spPr bwMode="auto">
            <a:xfrm>
              <a:off x="4989610" y="5335728"/>
              <a:ext cx="125555" cy="78346"/>
            </a:xfrm>
            <a:custGeom>
              <a:avLst/>
              <a:gdLst>
                <a:gd name="T0" fmla="*/ 8 w 53"/>
                <a:gd name="T1" fmla="*/ 6 h 33"/>
                <a:gd name="T2" fmla="*/ 47 w 53"/>
                <a:gd name="T3" fmla="*/ 3 h 33"/>
                <a:gd name="T4" fmla="*/ 45 w 53"/>
                <a:gd name="T5" fmla="*/ 32 h 33"/>
                <a:gd name="T6" fmla="*/ 8 w 53"/>
                <a:gd name="T7" fmla="*/ 33 h 33"/>
                <a:gd name="T8" fmla="*/ 8 w 53"/>
                <a:gd name="T9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3">
                  <a:moveTo>
                    <a:pt x="8" y="6"/>
                  </a:moveTo>
                  <a:cubicBezTo>
                    <a:pt x="17" y="3"/>
                    <a:pt x="31" y="0"/>
                    <a:pt x="47" y="3"/>
                  </a:cubicBezTo>
                  <a:cubicBezTo>
                    <a:pt x="47" y="3"/>
                    <a:pt x="53" y="27"/>
                    <a:pt x="45" y="32"/>
                  </a:cubicBezTo>
                  <a:cubicBezTo>
                    <a:pt x="37" y="33"/>
                    <a:pt x="12" y="33"/>
                    <a:pt x="8" y="33"/>
                  </a:cubicBezTo>
                  <a:cubicBezTo>
                    <a:pt x="0" y="22"/>
                    <a:pt x="8" y="6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5" name="îṣľîďè">
              <a:extLst>
                <a:ext uri="{FF2B5EF4-FFF2-40B4-BE49-F238E27FC236}">
                  <a16:creationId xmlns:a16="http://schemas.microsoft.com/office/drawing/2014/main" id="{DAFBF1B7-8310-4323-9588-85FB37E8543C}"/>
                </a:ext>
              </a:extLst>
            </p:cNvPr>
            <p:cNvSpPr/>
            <p:nvPr/>
          </p:nvSpPr>
          <p:spPr bwMode="auto">
            <a:xfrm>
              <a:off x="7381179" y="5257383"/>
              <a:ext cx="198880" cy="156692"/>
            </a:xfrm>
            <a:custGeom>
              <a:avLst/>
              <a:gdLst>
                <a:gd name="T0" fmla="*/ 16 w 84"/>
                <a:gd name="T1" fmla="*/ 0 h 66"/>
                <a:gd name="T2" fmla="*/ 3 w 84"/>
                <a:gd name="T3" fmla="*/ 30 h 66"/>
                <a:gd name="T4" fmla="*/ 3 w 84"/>
                <a:gd name="T5" fmla="*/ 56 h 66"/>
                <a:gd name="T6" fmla="*/ 5 w 84"/>
                <a:gd name="T7" fmla="*/ 66 h 66"/>
                <a:gd name="T8" fmla="*/ 42 w 84"/>
                <a:gd name="T9" fmla="*/ 66 h 66"/>
                <a:gd name="T10" fmla="*/ 79 w 84"/>
                <a:gd name="T11" fmla="*/ 66 h 66"/>
                <a:gd name="T12" fmla="*/ 81 w 84"/>
                <a:gd name="T13" fmla="*/ 56 h 66"/>
                <a:gd name="T14" fmla="*/ 81 w 84"/>
                <a:gd name="T15" fmla="*/ 30 h 66"/>
                <a:gd name="T16" fmla="*/ 68 w 84"/>
                <a:gd name="T17" fmla="*/ 0 h 66"/>
                <a:gd name="T18" fmla="*/ 42 w 84"/>
                <a:gd name="T19" fmla="*/ 3 h 66"/>
                <a:gd name="T20" fmla="*/ 16 w 84"/>
                <a:gd name="T2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6">
                  <a:moveTo>
                    <a:pt x="16" y="0"/>
                  </a:moveTo>
                  <a:cubicBezTo>
                    <a:pt x="16" y="0"/>
                    <a:pt x="6" y="20"/>
                    <a:pt x="3" y="30"/>
                  </a:cubicBezTo>
                  <a:cubicBezTo>
                    <a:pt x="0" y="40"/>
                    <a:pt x="2" y="54"/>
                    <a:pt x="3" y="56"/>
                  </a:cubicBezTo>
                  <a:cubicBezTo>
                    <a:pt x="4" y="58"/>
                    <a:pt x="5" y="66"/>
                    <a:pt x="5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79" y="66"/>
                    <a:pt x="80" y="58"/>
                    <a:pt x="81" y="56"/>
                  </a:cubicBezTo>
                  <a:cubicBezTo>
                    <a:pt x="82" y="54"/>
                    <a:pt x="84" y="40"/>
                    <a:pt x="81" y="30"/>
                  </a:cubicBezTo>
                  <a:cubicBezTo>
                    <a:pt x="78" y="20"/>
                    <a:pt x="68" y="0"/>
                    <a:pt x="68" y="0"/>
                  </a:cubicBezTo>
                  <a:cubicBezTo>
                    <a:pt x="68" y="0"/>
                    <a:pt x="56" y="1"/>
                    <a:pt x="42" y="3"/>
                  </a:cubicBezTo>
                  <a:cubicBezTo>
                    <a:pt x="28" y="1"/>
                    <a:pt x="16" y="0"/>
                    <a:pt x="16" y="0"/>
                  </a:cubicBezTo>
                </a:path>
              </a:pathLst>
            </a:custGeom>
            <a:solidFill>
              <a:srgbClr val="2626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6" name="ïślíḑe">
              <a:extLst>
                <a:ext uri="{FF2B5EF4-FFF2-40B4-BE49-F238E27FC236}">
                  <a16:creationId xmlns:a16="http://schemas.microsoft.com/office/drawing/2014/main" id="{4A0B7798-2144-4499-A706-F91A62462844}"/>
                </a:ext>
              </a:extLst>
            </p:cNvPr>
            <p:cNvSpPr/>
            <p:nvPr/>
          </p:nvSpPr>
          <p:spPr bwMode="auto">
            <a:xfrm>
              <a:off x="7371135" y="4661750"/>
              <a:ext cx="220976" cy="642841"/>
            </a:xfrm>
            <a:prstGeom prst="rect">
              <a:avLst/>
            </a:prstGeom>
            <a:solidFill>
              <a:srgbClr val="3D3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7" name="ïṣļidè">
              <a:extLst>
                <a:ext uri="{FF2B5EF4-FFF2-40B4-BE49-F238E27FC236}">
                  <a16:creationId xmlns:a16="http://schemas.microsoft.com/office/drawing/2014/main" id="{2085C063-4D99-4020-95A9-BFE518D88D7B}"/>
                </a:ext>
              </a:extLst>
            </p:cNvPr>
            <p:cNvSpPr/>
            <p:nvPr/>
          </p:nvSpPr>
          <p:spPr bwMode="auto">
            <a:xfrm>
              <a:off x="3985173" y="4281068"/>
              <a:ext cx="4319088" cy="26116"/>
            </a:xfrm>
            <a:prstGeom prst="rect">
              <a:avLst/>
            </a:prstGeom>
            <a:solidFill>
              <a:srgbClr val="984A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8" name="iṣļîďè">
              <a:extLst>
                <a:ext uri="{FF2B5EF4-FFF2-40B4-BE49-F238E27FC236}">
                  <a16:creationId xmlns:a16="http://schemas.microsoft.com/office/drawing/2014/main" id="{ED950BC1-3820-4A63-8F8E-9B0FBEF95675}"/>
                </a:ext>
              </a:extLst>
            </p:cNvPr>
            <p:cNvSpPr/>
            <p:nvPr/>
          </p:nvSpPr>
          <p:spPr bwMode="auto">
            <a:xfrm>
              <a:off x="3612524" y="4200712"/>
              <a:ext cx="5065385" cy="80355"/>
            </a:xfrm>
            <a:prstGeom prst="rect">
              <a:avLst/>
            </a:prstGeom>
            <a:solidFill>
              <a:srgbClr val="B55A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9" name="íśḻiḓè">
              <a:extLst>
                <a:ext uri="{FF2B5EF4-FFF2-40B4-BE49-F238E27FC236}">
                  <a16:creationId xmlns:a16="http://schemas.microsoft.com/office/drawing/2014/main" id="{C85F3B67-35D2-4425-9518-A508B04B5B06}"/>
                </a:ext>
              </a:extLst>
            </p:cNvPr>
            <p:cNvSpPr/>
            <p:nvPr/>
          </p:nvSpPr>
          <p:spPr bwMode="auto">
            <a:xfrm>
              <a:off x="3612524" y="4200712"/>
              <a:ext cx="5065385" cy="40178"/>
            </a:xfrm>
            <a:prstGeom prst="rect">
              <a:avLst/>
            </a:prstGeom>
            <a:solidFill>
              <a:srgbClr val="C96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0" name="íšľiḓê">
              <a:extLst>
                <a:ext uri="{FF2B5EF4-FFF2-40B4-BE49-F238E27FC236}">
                  <a16:creationId xmlns:a16="http://schemas.microsoft.com/office/drawing/2014/main" id="{B9A45B78-E693-40C2-9605-E19AE96151FA}"/>
                </a:ext>
              </a:extLst>
            </p:cNvPr>
            <p:cNvSpPr/>
            <p:nvPr/>
          </p:nvSpPr>
          <p:spPr bwMode="auto">
            <a:xfrm>
              <a:off x="5219628" y="4893776"/>
              <a:ext cx="109484" cy="116515"/>
            </a:xfrm>
            <a:custGeom>
              <a:avLst/>
              <a:gdLst>
                <a:gd name="T0" fmla="*/ 13 w 46"/>
                <a:gd name="T1" fmla="*/ 24 h 49"/>
                <a:gd name="T2" fmla="*/ 15 w 46"/>
                <a:gd name="T3" fmla="*/ 35 h 49"/>
                <a:gd name="T4" fmla="*/ 30 w 46"/>
                <a:gd name="T5" fmla="*/ 46 h 49"/>
                <a:gd name="T6" fmla="*/ 43 w 46"/>
                <a:gd name="T7" fmla="*/ 44 h 49"/>
                <a:gd name="T8" fmla="*/ 41 w 46"/>
                <a:gd name="T9" fmla="*/ 32 h 49"/>
                <a:gd name="T10" fmla="*/ 26 w 46"/>
                <a:gd name="T11" fmla="*/ 20 h 49"/>
                <a:gd name="T12" fmla="*/ 15 w 46"/>
                <a:gd name="T13" fmla="*/ 21 h 49"/>
                <a:gd name="T14" fmla="*/ 4 w 46"/>
                <a:gd name="T15" fmla="*/ 14 h 49"/>
                <a:gd name="T16" fmla="*/ 3 w 46"/>
                <a:gd name="T17" fmla="*/ 0 h 49"/>
                <a:gd name="T18" fmla="*/ 0 w 46"/>
                <a:gd name="T19" fmla="*/ 0 h 49"/>
                <a:gd name="T20" fmla="*/ 1 w 46"/>
                <a:gd name="T21" fmla="*/ 15 h 49"/>
                <a:gd name="T22" fmla="*/ 1 w 46"/>
                <a:gd name="T23" fmla="*/ 15 h 49"/>
                <a:gd name="T24" fmla="*/ 2 w 46"/>
                <a:gd name="T25" fmla="*/ 16 h 49"/>
                <a:gd name="T26" fmla="*/ 13 w 46"/>
                <a:gd name="T27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49">
                  <a:moveTo>
                    <a:pt x="13" y="24"/>
                  </a:moveTo>
                  <a:cubicBezTo>
                    <a:pt x="11" y="27"/>
                    <a:pt x="12" y="32"/>
                    <a:pt x="15" y="3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4" y="49"/>
                    <a:pt x="40" y="48"/>
                    <a:pt x="43" y="44"/>
                  </a:cubicBezTo>
                  <a:cubicBezTo>
                    <a:pt x="46" y="40"/>
                    <a:pt x="45" y="35"/>
                    <a:pt x="41" y="32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3" y="18"/>
                    <a:pt x="18" y="18"/>
                    <a:pt x="15" y="21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lnTo>
                    <a:pt x="13" y="24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1" name="íslidé">
              <a:extLst>
                <a:ext uri="{FF2B5EF4-FFF2-40B4-BE49-F238E27FC236}">
                  <a16:creationId xmlns:a16="http://schemas.microsoft.com/office/drawing/2014/main" id="{C12787D5-7C61-46E6-BCDB-0A569B6B984F}"/>
                </a:ext>
              </a:extLst>
            </p:cNvPr>
            <p:cNvSpPr/>
            <p:nvPr/>
          </p:nvSpPr>
          <p:spPr bwMode="auto">
            <a:xfrm>
              <a:off x="5060927" y="4877705"/>
              <a:ext cx="59262" cy="240061"/>
            </a:xfrm>
            <a:prstGeom prst="rect">
              <a:avLst/>
            </a:pr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2" name="ïṧḷíḍè">
              <a:extLst>
                <a:ext uri="{FF2B5EF4-FFF2-40B4-BE49-F238E27FC236}">
                  <a16:creationId xmlns:a16="http://schemas.microsoft.com/office/drawing/2014/main" id="{53790C38-3DEF-4ABC-BA5E-6C0185F20C1D}"/>
                </a:ext>
              </a:extLst>
            </p:cNvPr>
            <p:cNvSpPr/>
            <p:nvPr/>
          </p:nvSpPr>
          <p:spPr bwMode="auto">
            <a:xfrm>
              <a:off x="5060926" y="4877705"/>
              <a:ext cx="31138" cy="240061"/>
            </a:xfrm>
            <a:prstGeom prst="rect">
              <a:avLst/>
            </a:prstGeom>
            <a:solidFill>
              <a:srgbClr val="8D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3" name="íṥlïḑé">
              <a:extLst>
                <a:ext uri="{FF2B5EF4-FFF2-40B4-BE49-F238E27FC236}">
                  <a16:creationId xmlns:a16="http://schemas.microsoft.com/office/drawing/2014/main" id="{5852A90C-34AE-4897-AC9F-E6F9AFD5F2A0}"/>
                </a:ext>
              </a:extLst>
            </p:cNvPr>
            <p:cNvSpPr/>
            <p:nvPr/>
          </p:nvSpPr>
          <p:spPr bwMode="auto">
            <a:xfrm>
              <a:off x="4697319" y="4710968"/>
              <a:ext cx="788485" cy="166737"/>
            </a:xfrm>
            <a:custGeom>
              <a:avLst/>
              <a:gdLst>
                <a:gd name="T0" fmla="*/ 166 w 332"/>
                <a:gd name="T1" fmla="*/ 0 h 70"/>
                <a:gd name="T2" fmla="*/ 0 w 332"/>
                <a:gd name="T3" fmla="*/ 63 h 70"/>
                <a:gd name="T4" fmla="*/ 2 w 332"/>
                <a:gd name="T5" fmla="*/ 70 h 70"/>
                <a:gd name="T6" fmla="*/ 331 w 332"/>
                <a:gd name="T7" fmla="*/ 70 h 70"/>
                <a:gd name="T8" fmla="*/ 332 w 332"/>
                <a:gd name="T9" fmla="*/ 63 h 70"/>
                <a:gd name="T10" fmla="*/ 166 w 332"/>
                <a:gd name="T1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2" h="70">
                  <a:moveTo>
                    <a:pt x="166" y="0"/>
                  </a:moveTo>
                  <a:cubicBezTo>
                    <a:pt x="75" y="0"/>
                    <a:pt x="0" y="28"/>
                    <a:pt x="0" y="63"/>
                  </a:cubicBezTo>
                  <a:cubicBezTo>
                    <a:pt x="0" y="65"/>
                    <a:pt x="1" y="68"/>
                    <a:pt x="2" y="70"/>
                  </a:cubicBezTo>
                  <a:cubicBezTo>
                    <a:pt x="331" y="70"/>
                    <a:pt x="331" y="70"/>
                    <a:pt x="331" y="70"/>
                  </a:cubicBezTo>
                  <a:cubicBezTo>
                    <a:pt x="331" y="68"/>
                    <a:pt x="332" y="65"/>
                    <a:pt x="332" y="63"/>
                  </a:cubicBezTo>
                  <a:cubicBezTo>
                    <a:pt x="332" y="28"/>
                    <a:pt x="258" y="0"/>
                    <a:pt x="166" y="0"/>
                  </a:cubicBezTo>
                </a:path>
              </a:pathLst>
            </a:custGeom>
            <a:solidFill>
              <a:srgbClr val="4352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4" name="íşḷidé">
              <a:extLst>
                <a:ext uri="{FF2B5EF4-FFF2-40B4-BE49-F238E27FC236}">
                  <a16:creationId xmlns:a16="http://schemas.microsoft.com/office/drawing/2014/main" id="{C946C48C-BD38-4BDC-BF06-3183BEE8B1A0}"/>
                </a:ext>
              </a:extLst>
            </p:cNvPr>
            <p:cNvSpPr/>
            <p:nvPr/>
          </p:nvSpPr>
          <p:spPr bwMode="auto">
            <a:xfrm>
              <a:off x="4697319" y="4858620"/>
              <a:ext cx="788485" cy="68302"/>
            </a:xfrm>
            <a:custGeom>
              <a:avLst/>
              <a:gdLst>
                <a:gd name="T0" fmla="*/ 0 w 332"/>
                <a:gd name="T1" fmla="*/ 0 h 29"/>
                <a:gd name="T2" fmla="*/ 0 w 332"/>
                <a:gd name="T3" fmla="*/ 2 h 29"/>
                <a:gd name="T4" fmla="*/ 17 w 332"/>
                <a:gd name="T5" fmla="*/ 19 h 29"/>
                <a:gd name="T6" fmla="*/ 80 w 332"/>
                <a:gd name="T7" fmla="*/ 19 h 29"/>
                <a:gd name="T8" fmla="*/ 166 w 332"/>
                <a:gd name="T9" fmla="*/ 29 h 29"/>
                <a:gd name="T10" fmla="*/ 251 w 332"/>
                <a:gd name="T11" fmla="*/ 19 h 29"/>
                <a:gd name="T12" fmla="*/ 315 w 332"/>
                <a:gd name="T13" fmla="*/ 19 h 29"/>
                <a:gd name="T14" fmla="*/ 332 w 332"/>
                <a:gd name="T15" fmla="*/ 2 h 29"/>
                <a:gd name="T16" fmla="*/ 332 w 332"/>
                <a:gd name="T17" fmla="*/ 0 h 29"/>
                <a:gd name="T18" fmla="*/ 0 w 332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2" h="29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11"/>
                    <a:pt x="7" y="19"/>
                    <a:pt x="17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7" y="25"/>
                    <a:pt x="123" y="29"/>
                    <a:pt x="166" y="29"/>
                  </a:cubicBezTo>
                  <a:cubicBezTo>
                    <a:pt x="208" y="29"/>
                    <a:pt x="244" y="25"/>
                    <a:pt x="251" y="19"/>
                  </a:cubicBezTo>
                  <a:cubicBezTo>
                    <a:pt x="315" y="19"/>
                    <a:pt x="315" y="19"/>
                    <a:pt x="315" y="19"/>
                  </a:cubicBezTo>
                  <a:cubicBezTo>
                    <a:pt x="324" y="19"/>
                    <a:pt x="332" y="11"/>
                    <a:pt x="332" y="2"/>
                  </a:cubicBezTo>
                  <a:cubicBezTo>
                    <a:pt x="332" y="1"/>
                    <a:pt x="332" y="1"/>
                    <a:pt x="33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5" name="íṧľïḓé">
              <a:extLst>
                <a:ext uri="{FF2B5EF4-FFF2-40B4-BE49-F238E27FC236}">
                  <a16:creationId xmlns:a16="http://schemas.microsoft.com/office/drawing/2014/main" id="{34780734-38D2-4256-8577-9748273FB610}"/>
                </a:ext>
              </a:extLst>
            </p:cNvPr>
            <p:cNvSpPr/>
            <p:nvPr/>
          </p:nvSpPr>
          <p:spPr bwMode="auto">
            <a:xfrm>
              <a:off x="4801780" y="5074574"/>
              <a:ext cx="579562" cy="304346"/>
            </a:xfrm>
            <a:custGeom>
              <a:avLst/>
              <a:gdLst>
                <a:gd name="T0" fmla="*/ 141 w 244"/>
                <a:gd name="T1" fmla="*/ 0 h 128"/>
                <a:gd name="T2" fmla="*/ 102 w 244"/>
                <a:gd name="T3" fmla="*/ 0 h 128"/>
                <a:gd name="T4" fmla="*/ 102 w 244"/>
                <a:gd name="T5" fmla="*/ 89 h 128"/>
                <a:gd name="T6" fmla="*/ 11 w 244"/>
                <a:gd name="T7" fmla="*/ 104 h 128"/>
                <a:gd name="T8" fmla="*/ 0 w 244"/>
                <a:gd name="T9" fmla="*/ 116 h 128"/>
                <a:gd name="T10" fmla="*/ 0 w 244"/>
                <a:gd name="T11" fmla="*/ 116 h 128"/>
                <a:gd name="T12" fmla="*/ 11 w 244"/>
                <a:gd name="T13" fmla="*/ 127 h 128"/>
                <a:gd name="T14" fmla="*/ 110 w 244"/>
                <a:gd name="T15" fmla="*/ 110 h 128"/>
                <a:gd name="T16" fmla="*/ 133 w 244"/>
                <a:gd name="T17" fmla="*/ 110 h 128"/>
                <a:gd name="T18" fmla="*/ 232 w 244"/>
                <a:gd name="T19" fmla="*/ 127 h 128"/>
                <a:gd name="T20" fmla="*/ 244 w 244"/>
                <a:gd name="T21" fmla="*/ 116 h 128"/>
                <a:gd name="T22" fmla="*/ 244 w 244"/>
                <a:gd name="T23" fmla="*/ 116 h 128"/>
                <a:gd name="T24" fmla="*/ 232 w 244"/>
                <a:gd name="T25" fmla="*/ 104 h 128"/>
                <a:gd name="T26" fmla="*/ 141 w 244"/>
                <a:gd name="T27" fmla="*/ 89 h 128"/>
                <a:gd name="T28" fmla="*/ 141 w 244"/>
                <a:gd name="T29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4" h="128">
                  <a:moveTo>
                    <a:pt x="141" y="0"/>
                  </a:moveTo>
                  <a:cubicBezTo>
                    <a:pt x="102" y="0"/>
                    <a:pt x="102" y="0"/>
                    <a:pt x="102" y="0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5" y="105"/>
                    <a:pt x="0" y="109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2"/>
                    <a:pt x="5" y="128"/>
                    <a:pt x="11" y="127"/>
                  </a:cubicBezTo>
                  <a:cubicBezTo>
                    <a:pt x="110" y="110"/>
                    <a:pt x="110" y="110"/>
                    <a:pt x="110" y="110"/>
                  </a:cubicBezTo>
                  <a:cubicBezTo>
                    <a:pt x="133" y="110"/>
                    <a:pt x="133" y="110"/>
                    <a:pt x="133" y="110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9" y="128"/>
                    <a:pt x="244" y="122"/>
                    <a:pt x="244" y="116"/>
                  </a:cubicBezTo>
                  <a:cubicBezTo>
                    <a:pt x="244" y="116"/>
                    <a:pt x="244" y="116"/>
                    <a:pt x="244" y="116"/>
                  </a:cubicBezTo>
                  <a:cubicBezTo>
                    <a:pt x="244" y="109"/>
                    <a:pt x="239" y="105"/>
                    <a:pt x="232" y="104"/>
                  </a:cubicBezTo>
                  <a:cubicBezTo>
                    <a:pt x="141" y="89"/>
                    <a:pt x="141" y="89"/>
                    <a:pt x="141" y="89"/>
                  </a:cubicBezTo>
                  <a:lnTo>
                    <a:pt x="141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6" name="ïṣḷîḓe">
              <a:extLst>
                <a:ext uri="{FF2B5EF4-FFF2-40B4-BE49-F238E27FC236}">
                  <a16:creationId xmlns:a16="http://schemas.microsoft.com/office/drawing/2014/main" id="{05690510-B042-4F92-9F44-CD8C6C411384}"/>
                </a:ext>
              </a:extLst>
            </p:cNvPr>
            <p:cNvSpPr/>
            <p:nvPr/>
          </p:nvSpPr>
          <p:spPr bwMode="auto">
            <a:xfrm>
              <a:off x="5320071" y="5340752"/>
              <a:ext cx="73324" cy="73324"/>
            </a:xfrm>
            <a:prstGeom prst="ellipse">
              <a:avLst/>
            </a:pr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7" name="işľïďe">
              <a:extLst>
                <a:ext uri="{FF2B5EF4-FFF2-40B4-BE49-F238E27FC236}">
                  <a16:creationId xmlns:a16="http://schemas.microsoft.com/office/drawing/2014/main" id="{5B6D6FD8-BEA3-434F-B1FC-3FCDB3224B6E}"/>
                </a:ext>
              </a:extLst>
            </p:cNvPr>
            <p:cNvSpPr/>
            <p:nvPr/>
          </p:nvSpPr>
          <p:spPr bwMode="auto">
            <a:xfrm>
              <a:off x="4792741" y="5340752"/>
              <a:ext cx="71316" cy="73324"/>
            </a:xfrm>
            <a:prstGeom prst="ellipse">
              <a:avLst/>
            </a:pr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8" name="íşḻîḓè">
              <a:extLst>
                <a:ext uri="{FF2B5EF4-FFF2-40B4-BE49-F238E27FC236}">
                  <a16:creationId xmlns:a16="http://schemas.microsoft.com/office/drawing/2014/main" id="{32F85F82-F27E-4841-A4F7-BE7192AE1DE9}"/>
                </a:ext>
              </a:extLst>
            </p:cNvPr>
            <p:cNvSpPr/>
            <p:nvPr/>
          </p:nvSpPr>
          <p:spPr bwMode="auto">
            <a:xfrm>
              <a:off x="5057913" y="5285507"/>
              <a:ext cx="64284" cy="95422"/>
            </a:xfrm>
            <a:custGeom>
              <a:avLst/>
              <a:gdLst>
                <a:gd name="T0" fmla="*/ 64 w 64"/>
                <a:gd name="T1" fmla="*/ 0 h 95"/>
                <a:gd name="T2" fmla="*/ 34 w 64"/>
                <a:gd name="T3" fmla="*/ 0 h 95"/>
                <a:gd name="T4" fmla="*/ 0 w 64"/>
                <a:gd name="T5" fmla="*/ 0 h 95"/>
                <a:gd name="T6" fmla="*/ 12 w 64"/>
                <a:gd name="T7" fmla="*/ 95 h 95"/>
                <a:gd name="T8" fmla="*/ 34 w 64"/>
                <a:gd name="T9" fmla="*/ 95 h 95"/>
                <a:gd name="T10" fmla="*/ 52 w 64"/>
                <a:gd name="T11" fmla="*/ 95 h 95"/>
                <a:gd name="T12" fmla="*/ 64 w 64"/>
                <a:gd name="T1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5">
                  <a:moveTo>
                    <a:pt x="64" y="0"/>
                  </a:moveTo>
                  <a:lnTo>
                    <a:pt x="34" y="0"/>
                  </a:lnTo>
                  <a:lnTo>
                    <a:pt x="0" y="0"/>
                  </a:lnTo>
                  <a:lnTo>
                    <a:pt x="12" y="95"/>
                  </a:lnTo>
                  <a:lnTo>
                    <a:pt x="34" y="95"/>
                  </a:lnTo>
                  <a:lnTo>
                    <a:pt x="52" y="95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9" name="iṥlîḓê">
              <a:extLst>
                <a:ext uri="{FF2B5EF4-FFF2-40B4-BE49-F238E27FC236}">
                  <a16:creationId xmlns:a16="http://schemas.microsoft.com/office/drawing/2014/main" id="{39FBC58F-90BF-42BB-89A8-E0CF521B85BC}"/>
                </a:ext>
              </a:extLst>
            </p:cNvPr>
            <p:cNvSpPr/>
            <p:nvPr/>
          </p:nvSpPr>
          <p:spPr bwMode="auto">
            <a:xfrm>
              <a:off x="5055905" y="5340752"/>
              <a:ext cx="71316" cy="73324"/>
            </a:xfrm>
            <a:prstGeom prst="ellipse">
              <a:avLst/>
            </a:pr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0" name="íś1îďè">
              <a:extLst>
                <a:ext uri="{FF2B5EF4-FFF2-40B4-BE49-F238E27FC236}">
                  <a16:creationId xmlns:a16="http://schemas.microsoft.com/office/drawing/2014/main" id="{0DAF070C-1043-4CD5-9EF4-788B6F2DE405}"/>
                </a:ext>
              </a:extLst>
            </p:cNvPr>
            <p:cNvSpPr/>
            <p:nvPr/>
          </p:nvSpPr>
          <p:spPr bwMode="auto">
            <a:xfrm>
              <a:off x="4770642" y="4542223"/>
              <a:ext cx="641837" cy="283251"/>
            </a:xfrm>
            <a:custGeom>
              <a:avLst/>
              <a:gdLst>
                <a:gd name="T0" fmla="*/ 54 w 270"/>
                <a:gd name="T1" fmla="*/ 0 h 119"/>
                <a:gd name="T2" fmla="*/ 9 w 270"/>
                <a:gd name="T3" fmla="*/ 35 h 119"/>
                <a:gd name="T4" fmla="*/ 36 w 270"/>
                <a:gd name="T5" fmla="*/ 110 h 119"/>
                <a:gd name="T6" fmla="*/ 135 w 270"/>
                <a:gd name="T7" fmla="*/ 117 h 119"/>
                <a:gd name="T8" fmla="*/ 235 w 270"/>
                <a:gd name="T9" fmla="*/ 110 h 119"/>
                <a:gd name="T10" fmla="*/ 261 w 270"/>
                <a:gd name="T11" fmla="*/ 35 h 119"/>
                <a:gd name="T12" fmla="*/ 216 w 270"/>
                <a:gd name="T13" fmla="*/ 0 h 119"/>
                <a:gd name="T14" fmla="*/ 135 w 270"/>
                <a:gd name="T15" fmla="*/ 3 h 119"/>
                <a:gd name="T16" fmla="*/ 54 w 270"/>
                <a:gd name="T1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0" h="119">
                  <a:moveTo>
                    <a:pt x="54" y="0"/>
                  </a:moveTo>
                  <a:cubicBezTo>
                    <a:pt x="48" y="3"/>
                    <a:pt x="19" y="10"/>
                    <a:pt x="9" y="35"/>
                  </a:cubicBezTo>
                  <a:cubicBezTo>
                    <a:pt x="0" y="60"/>
                    <a:pt x="7" y="104"/>
                    <a:pt x="36" y="110"/>
                  </a:cubicBezTo>
                  <a:cubicBezTo>
                    <a:pt x="64" y="115"/>
                    <a:pt x="85" y="119"/>
                    <a:pt x="135" y="117"/>
                  </a:cubicBezTo>
                  <a:cubicBezTo>
                    <a:pt x="185" y="119"/>
                    <a:pt x="207" y="115"/>
                    <a:pt x="235" y="110"/>
                  </a:cubicBezTo>
                  <a:cubicBezTo>
                    <a:pt x="263" y="104"/>
                    <a:pt x="270" y="60"/>
                    <a:pt x="261" y="35"/>
                  </a:cubicBezTo>
                  <a:cubicBezTo>
                    <a:pt x="252" y="10"/>
                    <a:pt x="222" y="3"/>
                    <a:pt x="216" y="0"/>
                  </a:cubicBezTo>
                  <a:cubicBezTo>
                    <a:pt x="216" y="0"/>
                    <a:pt x="178" y="1"/>
                    <a:pt x="135" y="3"/>
                  </a:cubicBezTo>
                  <a:cubicBezTo>
                    <a:pt x="93" y="1"/>
                    <a:pt x="54" y="0"/>
                    <a:pt x="54" y="0"/>
                  </a:cubicBezTo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1" name="išḻiḑê">
              <a:extLst>
                <a:ext uri="{FF2B5EF4-FFF2-40B4-BE49-F238E27FC236}">
                  <a16:creationId xmlns:a16="http://schemas.microsoft.com/office/drawing/2014/main" id="{DA5872FE-0758-4DF4-A102-75E8E90101CD}"/>
                </a:ext>
              </a:extLst>
            </p:cNvPr>
            <p:cNvSpPr/>
            <p:nvPr/>
          </p:nvSpPr>
          <p:spPr bwMode="auto">
            <a:xfrm>
              <a:off x="4443196" y="4087211"/>
              <a:ext cx="386709" cy="130577"/>
            </a:xfrm>
            <a:custGeom>
              <a:avLst/>
              <a:gdLst>
                <a:gd name="T0" fmla="*/ 24 w 163"/>
                <a:gd name="T1" fmla="*/ 55 h 55"/>
                <a:gd name="T2" fmla="*/ 163 w 163"/>
                <a:gd name="T3" fmla="*/ 48 h 55"/>
                <a:gd name="T4" fmla="*/ 159 w 163"/>
                <a:gd name="T5" fmla="*/ 4 h 55"/>
                <a:gd name="T6" fmla="*/ 7 w 163"/>
                <a:gd name="T7" fmla="*/ 4 h 55"/>
                <a:gd name="T8" fmla="*/ 24 w 163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" h="55">
                  <a:moveTo>
                    <a:pt x="24" y="55"/>
                  </a:moveTo>
                  <a:cubicBezTo>
                    <a:pt x="163" y="48"/>
                    <a:pt x="163" y="48"/>
                    <a:pt x="163" y="48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59" y="4"/>
                    <a:pt x="14" y="8"/>
                    <a:pt x="7" y="4"/>
                  </a:cubicBezTo>
                  <a:cubicBezTo>
                    <a:pt x="0" y="0"/>
                    <a:pt x="24" y="55"/>
                    <a:pt x="24" y="55"/>
                  </a:cubicBezTo>
                </a:path>
              </a:pathLst>
            </a:custGeom>
            <a:solidFill>
              <a:srgbClr val="4B4B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2" name="îṧḷiďé">
              <a:extLst>
                <a:ext uri="{FF2B5EF4-FFF2-40B4-BE49-F238E27FC236}">
                  <a16:creationId xmlns:a16="http://schemas.microsoft.com/office/drawing/2014/main" id="{43F1B110-ECF6-4EDE-B598-CD06A0E5A860}"/>
                </a:ext>
              </a:extLst>
            </p:cNvPr>
            <p:cNvSpPr/>
            <p:nvPr/>
          </p:nvSpPr>
          <p:spPr bwMode="auto">
            <a:xfrm>
              <a:off x="4412058" y="3803959"/>
              <a:ext cx="489162" cy="477109"/>
            </a:xfrm>
            <a:custGeom>
              <a:avLst/>
              <a:gdLst>
                <a:gd name="T0" fmla="*/ 206 w 206"/>
                <a:gd name="T1" fmla="*/ 22 h 201"/>
                <a:gd name="T2" fmla="*/ 137 w 206"/>
                <a:gd name="T3" fmla="*/ 0 h 201"/>
                <a:gd name="T4" fmla="*/ 21 w 206"/>
                <a:gd name="T5" fmla="*/ 111 h 201"/>
                <a:gd name="T6" fmla="*/ 21 w 206"/>
                <a:gd name="T7" fmla="*/ 167 h 201"/>
                <a:gd name="T8" fmla="*/ 178 w 206"/>
                <a:gd name="T9" fmla="*/ 89 h 201"/>
                <a:gd name="T10" fmla="*/ 206 w 206"/>
                <a:gd name="T11" fmla="*/ 2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6" h="201">
                  <a:moveTo>
                    <a:pt x="206" y="22"/>
                  </a:moveTo>
                  <a:cubicBezTo>
                    <a:pt x="202" y="19"/>
                    <a:pt x="137" y="0"/>
                    <a:pt x="137" y="0"/>
                  </a:cubicBezTo>
                  <a:cubicBezTo>
                    <a:pt x="137" y="0"/>
                    <a:pt x="39" y="95"/>
                    <a:pt x="21" y="111"/>
                  </a:cubicBezTo>
                  <a:cubicBezTo>
                    <a:pt x="3" y="126"/>
                    <a:pt x="0" y="133"/>
                    <a:pt x="21" y="167"/>
                  </a:cubicBezTo>
                  <a:cubicBezTo>
                    <a:pt x="41" y="201"/>
                    <a:pt x="158" y="103"/>
                    <a:pt x="178" y="89"/>
                  </a:cubicBezTo>
                  <a:cubicBezTo>
                    <a:pt x="198" y="75"/>
                    <a:pt x="206" y="22"/>
                    <a:pt x="206" y="22"/>
                  </a:cubicBezTo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3" name="iṣ1îḑe">
              <a:extLst>
                <a:ext uri="{FF2B5EF4-FFF2-40B4-BE49-F238E27FC236}">
                  <a16:creationId xmlns:a16="http://schemas.microsoft.com/office/drawing/2014/main" id="{1E6D9607-CEAE-4B36-8EBC-22376836726E}"/>
                </a:ext>
              </a:extLst>
            </p:cNvPr>
            <p:cNvSpPr/>
            <p:nvPr/>
          </p:nvSpPr>
          <p:spPr bwMode="auto">
            <a:xfrm>
              <a:off x="5174428" y="3602067"/>
              <a:ext cx="451998" cy="560477"/>
            </a:xfrm>
            <a:custGeom>
              <a:avLst/>
              <a:gdLst>
                <a:gd name="T0" fmla="*/ 97 w 450"/>
                <a:gd name="T1" fmla="*/ 0 h 558"/>
                <a:gd name="T2" fmla="*/ 450 w 450"/>
                <a:gd name="T3" fmla="*/ 71 h 558"/>
                <a:gd name="T4" fmla="*/ 353 w 450"/>
                <a:gd name="T5" fmla="*/ 558 h 558"/>
                <a:gd name="T6" fmla="*/ 0 w 450"/>
                <a:gd name="T7" fmla="*/ 487 h 558"/>
                <a:gd name="T8" fmla="*/ 97 w 450"/>
                <a:gd name="T9" fmla="*/ 0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0" h="558">
                  <a:moveTo>
                    <a:pt x="97" y="0"/>
                  </a:moveTo>
                  <a:lnTo>
                    <a:pt x="450" y="71"/>
                  </a:lnTo>
                  <a:lnTo>
                    <a:pt x="353" y="558"/>
                  </a:lnTo>
                  <a:lnTo>
                    <a:pt x="0" y="487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4" name="ïš1iḓè">
              <a:extLst>
                <a:ext uri="{FF2B5EF4-FFF2-40B4-BE49-F238E27FC236}">
                  <a16:creationId xmlns:a16="http://schemas.microsoft.com/office/drawing/2014/main" id="{88B891C8-19AA-42B2-BF55-C618AD52BF48}"/>
                </a:ext>
              </a:extLst>
            </p:cNvPr>
            <p:cNvSpPr/>
            <p:nvPr/>
          </p:nvSpPr>
          <p:spPr bwMode="auto">
            <a:xfrm>
              <a:off x="5297974" y="3647267"/>
              <a:ext cx="285261" cy="66293"/>
            </a:xfrm>
            <a:custGeom>
              <a:avLst/>
              <a:gdLst>
                <a:gd name="T0" fmla="*/ 3 w 284"/>
                <a:gd name="T1" fmla="*/ 0 h 66"/>
                <a:gd name="T2" fmla="*/ 284 w 284"/>
                <a:gd name="T3" fmla="*/ 57 h 66"/>
                <a:gd name="T4" fmla="*/ 282 w 284"/>
                <a:gd name="T5" fmla="*/ 66 h 66"/>
                <a:gd name="T6" fmla="*/ 0 w 284"/>
                <a:gd name="T7" fmla="*/ 10 h 66"/>
                <a:gd name="T8" fmla="*/ 3 w 284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66">
                  <a:moveTo>
                    <a:pt x="3" y="0"/>
                  </a:moveTo>
                  <a:lnTo>
                    <a:pt x="284" y="57"/>
                  </a:lnTo>
                  <a:lnTo>
                    <a:pt x="282" y="66"/>
                  </a:lnTo>
                  <a:lnTo>
                    <a:pt x="0" y="1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5" name="íSḷïḋè">
              <a:extLst>
                <a:ext uri="{FF2B5EF4-FFF2-40B4-BE49-F238E27FC236}">
                  <a16:creationId xmlns:a16="http://schemas.microsoft.com/office/drawing/2014/main" id="{70699B7A-66EA-4C4E-8403-8CDF3195C62E}"/>
                </a:ext>
              </a:extLst>
            </p:cNvPr>
            <p:cNvSpPr/>
            <p:nvPr/>
          </p:nvSpPr>
          <p:spPr bwMode="auto">
            <a:xfrm>
              <a:off x="5293955" y="3676396"/>
              <a:ext cx="284256" cy="66293"/>
            </a:xfrm>
            <a:custGeom>
              <a:avLst/>
              <a:gdLst>
                <a:gd name="T0" fmla="*/ 0 w 283"/>
                <a:gd name="T1" fmla="*/ 0 h 66"/>
                <a:gd name="T2" fmla="*/ 283 w 283"/>
                <a:gd name="T3" fmla="*/ 56 h 66"/>
                <a:gd name="T4" fmla="*/ 281 w 283"/>
                <a:gd name="T5" fmla="*/ 66 h 66"/>
                <a:gd name="T6" fmla="*/ 0 w 283"/>
                <a:gd name="T7" fmla="*/ 9 h 66"/>
                <a:gd name="T8" fmla="*/ 0 w 283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66">
                  <a:moveTo>
                    <a:pt x="0" y="0"/>
                  </a:moveTo>
                  <a:lnTo>
                    <a:pt x="283" y="56"/>
                  </a:lnTo>
                  <a:lnTo>
                    <a:pt x="281" y="66"/>
                  </a:ln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6" name="iṥ1iḑe">
              <a:extLst>
                <a:ext uri="{FF2B5EF4-FFF2-40B4-BE49-F238E27FC236}">
                  <a16:creationId xmlns:a16="http://schemas.microsoft.com/office/drawing/2014/main" id="{F776823B-FCCF-4E32-80B7-65658605B4E9}"/>
                </a:ext>
              </a:extLst>
            </p:cNvPr>
            <p:cNvSpPr/>
            <p:nvPr/>
          </p:nvSpPr>
          <p:spPr bwMode="auto">
            <a:xfrm>
              <a:off x="5285921" y="3704520"/>
              <a:ext cx="285261" cy="66293"/>
            </a:xfrm>
            <a:custGeom>
              <a:avLst/>
              <a:gdLst>
                <a:gd name="T0" fmla="*/ 3 w 284"/>
                <a:gd name="T1" fmla="*/ 0 h 66"/>
                <a:gd name="T2" fmla="*/ 284 w 284"/>
                <a:gd name="T3" fmla="*/ 57 h 66"/>
                <a:gd name="T4" fmla="*/ 282 w 284"/>
                <a:gd name="T5" fmla="*/ 66 h 66"/>
                <a:gd name="T6" fmla="*/ 0 w 284"/>
                <a:gd name="T7" fmla="*/ 9 h 66"/>
                <a:gd name="T8" fmla="*/ 3 w 284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66">
                  <a:moveTo>
                    <a:pt x="3" y="0"/>
                  </a:moveTo>
                  <a:lnTo>
                    <a:pt x="284" y="57"/>
                  </a:lnTo>
                  <a:lnTo>
                    <a:pt x="282" y="66"/>
                  </a:lnTo>
                  <a:lnTo>
                    <a:pt x="0" y="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7" name="iṡľiďê">
              <a:extLst>
                <a:ext uri="{FF2B5EF4-FFF2-40B4-BE49-F238E27FC236}">
                  <a16:creationId xmlns:a16="http://schemas.microsoft.com/office/drawing/2014/main" id="{62BBF81C-37B5-4B9D-A57A-F02520A3C1E5}"/>
                </a:ext>
              </a:extLst>
            </p:cNvPr>
            <p:cNvSpPr/>
            <p:nvPr/>
          </p:nvSpPr>
          <p:spPr bwMode="auto">
            <a:xfrm>
              <a:off x="5281902" y="3732644"/>
              <a:ext cx="284256" cy="66293"/>
            </a:xfrm>
            <a:custGeom>
              <a:avLst/>
              <a:gdLst>
                <a:gd name="T0" fmla="*/ 0 w 283"/>
                <a:gd name="T1" fmla="*/ 0 h 66"/>
                <a:gd name="T2" fmla="*/ 283 w 283"/>
                <a:gd name="T3" fmla="*/ 57 h 66"/>
                <a:gd name="T4" fmla="*/ 281 w 283"/>
                <a:gd name="T5" fmla="*/ 66 h 66"/>
                <a:gd name="T6" fmla="*/ 0 w 283"/>
                <a:gd name="T7" fmla="*/ 10 h 66"/>
                <a:gd name="T8" fmla="*/ 0 w 283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66">
                  <a:moveTo>
                    <a:pt x="0" y="0"/>
                  </a:moveTo>
                  <a:lnTo>
                    <a:pt x="283" y="57"/>
                  </a:lnTo>
                  <a:lnTo>
                    <a:pt x="281" y="66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8" name="îşḷîḑe">
              <a:extLst>
                <a:ext uri="{FF2B5EF4-FFF2-40B4-BE49-F238E27FC236}">
                  <a16:creationId xmlns:a16="http://schemas.microsoft.com/office/drawing/2014/main" id="{ADA5E251-DE1E-41FC-A92C-D2E6397EC117}"/>
                </a:ext>
              </a:extLst>
            </p:cNvPr>
            <p:cNvSpPr/>
            <p:nvPr/>
          </p:nvSpPr>
          <p:spPr bwMode="auto">
            <a:xfrm>
              <a:off x="5274872" y="3763782"/>
              <a:ext cx="284256" cy="64284"/>
            </a:xfrm>
            <a:custGeom>
              <a:avLst/>
              <a:gdLst>
                <a:gd name="T0" fmla="*/ 2 w 283"/>
                <a:gd name="T1" fmla="*/ 0 h 64"/>
                <a:gd name="T2" fmla="*/ 283 w 283"/>
                <a:gd name="T3" fmla="*/ 57 h 64"/>
                <a:gd name="T4" fmla="*/ 281 w 283"/>
                <a:gd name="T5" fmla="*/ 64 h 64"/>
                <a:gd name="T6" fmla="*/ 0 w 283"/>
                <a:gd name="T7" fmla="*/ 7 h 64"/>
                <a:gd name="T8" fmla="*/ 2 w 283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64">
                  <a:moveTo>
                    <a:pt x="2" y="0"/>
                  </a:moveTo>
                  <a:lnTo>
                    <a:pt x="283" y="57"/>
                  </a:lnTo>
                  <a:lnTo>
                    <a:pt x="281" y="64"/>
                  </a:lnTo>
                  <a:lnTo>
                    <a:pt x="0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9" name="ïŝļïḓê">
              <a:extLst>
                <a:ext uri="{FF2B5EF4-FFF2-40B4-BE49-F238E27FC236}">
                  <a16:creationId xmlns:a16="http://schemas.microsoft.com/office/drawing/2014/main" id="{78410142-ED9D-4311-8E17-3DEE193D8C0F}"/>
                </a:ext>
              </a:extLst>
            </p:cNvPr>
            <p:cNvSpPr/>
            <p:nvPr/>
          </p:nvSpPr>
          <p:spPr bwMode="auto">
            <a:xfrm>
              <a:off x="5269849" y="3791906"/>
              <a:ext cx="285261" cy="64284"/>
            </a:xfrm>
            <a:custGeom>
              <a:avLst/>
              <a:gdLst>
                <a:gd name="T0" fmla="*/ 2 w 284"/>
                <a:gd name="T1" fmla="*/ 0 h 64"/>
                <a:gd name="T2" fmla="*/ 284 w 284"/>
                <a:gd name="T3" fmla="*/ 57 h 64"/>
                <a:gd name="T4" fmla="*/ 281 w 284"/>
                <a:gd name="T5" fmla="*/ 64 h 64"/>
                <a:gd name="T6" fmla="*/ 0 w 284"/>
                <a:gd name="T7" fmla="*/ 7 h 64"/>
                <a:gd name="T8" fmla="*/ 2 w 284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64">
                  <a:moveTo>
                    <a:pt x="2" y="0"/>
                  </a:moveTo>
                  <a:lnTo>
                    <a:pt x="284" y="57"/>
                  </a:lnTo>
                  <a:lnTo>
                    <a:pt x="281" y="64"/>
                  </a:lnTo>
                  <a:lnTo>
                    <a:pt x="0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0" name="íS1îḓé">
              <a:extLst>
                <a:ext uri="{FF2B5EF4-FFF2-40B4-BE49-F238E27FC236}">
                  <a16:creationId xmlns:a16="http://schemas.microsoft.com/office/drawing/2014/main" id="{2AFAA916-077B-4659-A258-91CC39DE57DE}"/>
                </a:ext>
              </a:extLst>
            </p:cNvPr>
            <p:cNvSpPr/>
            <p:nvPr/>
          </p:nvSpPr>
          <p:spPr bwMode="auto">
            <a:xfrm>
              <a:off x="5262818" y="3821035"/>
              <a:ext cx="284256" cy="64284"/>
            </a:xfrm>
            <a:custGeom>
              <a:avLst/>
              <a:gdLst>
                <a:gd name="T0" fmla="*/ 2 w 283"/>
                <a:gd name="T1" fmla="*/ 0 h 64"/>
                <a:gd name="T2" fmla="*/ 283 w 283"/>
                <a:gd name="T3" fmla="*/ 56 h 64"/>
                <a:gd name="T4" fmla="*/ 283 w 283"/>
                <a:gd name="T5" fmla="*/ 64 h 64"/>
                <a:gd name="T6" fmla="*/ 0 w 283"/>
                <a:gd name="T7" fmla="*/ 7 h 64"/>
                <a:gd name="T8" fmla="*/ 2 w 283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64">
                  <a:moveTo>
                    <a:pt x="2" y="0"/>
                  </a:moveTo>
                  <a:lnTo>
                    <a:pt x="283" y="56"/>
                  </a:lnTo>
                  <a:lnTo>
                    <a:pt x="283" y="64"/>
                  </a:lnTo>
                  <a:lnTo>
                    <a:pt x="0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1" name="iṣľíḋè">
              <a:extLst>
                <a:ext uri="{FF2B5EF4-FFF2-40B4-BE49-F238E27FC236}">
                  <a16:creationId xmlns:a16="http://schemas.microsoft.com/office/drawing/2014/main" id="{AEC7103B-1DCD-4D05-B6AD-84BE813C5B16}"/>
                </a:ext>
              </a:extLst>
            </p:cNvPr>
            <p:cNvSpPr/>
            <p:nvPr/>
          </p:nvSpPr>
          <p:spPr bwMode="auto">
            <a:xfrm>
              <a:off x="5257797" y="3849160"/>
              <a:ext cx="285261" cy="66293"/>
            </a:xfrm>
            <a:custGeom>
              <a:avLst/>
              <a:gdLst>
                <a:gd name="T0" fmla="*/ 2 w 284"/>
                <a:gd name="T1" fmla="*/ 0 h 66"/>
                <a:gd name="T2" fmla="*/ 284 w 284"/>
                <a:gd name="T3" fmla="*/ 57 h 66"/>
                <a:gd name="T4" fmla="*/ 281 w 284"/>
                <a:gd name="T5" fmla="*/ 66 h 66"/>
                <a:gd name="T6" fmla="*/ 0 w 284"/>
                <a:gd name="T7" fmla="*/ 10 h 66"/>
                <a:gd name="T8" fmla="*/ 2 w 284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66">
                  <a:moveTo>
                    <a:pt x="2" y="0"/>
                  </a:moveTo>
                  <a:lnTo>
                    <a:pt x="284" y="57"/>
                  </a:lnTo>
                  <a:lnTo>
                    <a:pt x="281" y="66"/>
                  </a:lnTo>
                  <a:lnTo>
                    <a:pt x="0" y="1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2" name="îS1iḍè">
              <a:extLst>
                <a:ext uri="{FF2B5EF4-FFF2-40B4-BE49-F238E27FC236}">
                  <a16:creationId xmlns:a16="http://schemas.microsoft.com/office/drawing/2014/main" id="{C0F981B6-E77F-4C38-A530-21A80C54E057}"/>
                </a:ext>
              </a:extLst>
            </p:cNvPr>
            <p:cNvSpPr/>
            <p:nvPr/>
          </p:nvSpPr>
          <p:spPr bwMode="auto">
            <a:xfrm>
              <a:off x="5250765" y="3877283"/>
              <a:ext cx="285261" cy="67298"/>
            </a:xfrm>
            <a:custGeom>
              <a:avLst/>
              <a:gdLst>
                <a:gd name="T0" fmla="*/ 2 w 284"/>
                <a:gd name="T1" fmla="*/ 0 h 67"/>
                <a:gd name="T2" fmla="*/ 284 w 284"/>
                <a:gd name="T3" fmla="*/ 57 h 67"/>
                <a:gd name="T4" fmla="*/ 284 w 284"/>
                <a:gd name="T5" fmla="*/ 67 h 67"/>
                <a:gd name="T6" fmla="*/ 0 w 284"/>
                <a:gd name="T7" fmla="*/ 10 h 67"/>
                <a:gd name="T8" fmla="*/ 2 w 284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67">
                  <a:moveTo>
                    <a:pt x="2" y="0"/>
                  </a:moveTo>
                  <a:lnTo>
                    <a:pt x="284" y="57"/>
                  </a:lnTo>
                  <a:lnTo>
                    <a:pt x="284" y="67"/>
                  </a:lnTo>
                  <a:lnTo>
                    <a:pt x="0" y="1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3" name="ïṧḻiḓê">
              <a:extLst>
                <a:ext uri="{FF2B5EF4-FFF2-40B4-BE49-F238E27FC236}">
                  <a16:creationId xmlns:a16="http://schemas.microsoft.com/office/drawing/2014/main" id="{C5311DC4-7B17-4810-A1E5-8D68B25DCC36}"/>
                </a:ext>
              </a:extLst>
            </p:cNvPr>
            <p:cNvSpPr/>
            <p:nvPr/>
          </p:nvSpPr>
          <p:spPr bwMode="auto">
            <a:xfrm>
              <a:off x="5245743" y="3906413"/>
              <a:ext cx="285261" cy="66293"/>
            </a:xfrm>
            <a:custGeom>
              <a:avLst/>
              <a:gdLst>
                <a:gd name="T0" fmla="*/ 3 w 284"/>
                <a:gd name="T1" fmla="*/ 0 h 66"/>
                <a:gd name="T2" fmla="*/ 284 w 284"/>
                <a:gd name="T3" fmla="*/ 57 h 66"/>
                <a:gd name="T4" fmla="*/ 282 w 284"/>
                <a:gd name="T5" fmla="*/ 66 h 66"/>
                <a:gd name="T6" fmla="*/ 0 w 284"/>
                <a:gd name="T7" fmla="*/ 9 h 66"/>
                <a:gd name="T8" fmla="*/ 3 w 284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66">
                  <a:moveTo>
                    <a:pt x="3" y="0"/>
                  </a:moveTo>
                  <a:lnTo>
                    <a:pt x="284" y="57"/>
                  </a:lnTo>
                  <a:lnTo>
                    <a:pt x="282" y="66"/>
                  </a:lnTo>
                  <a:lnTo>
                    <a:pt x="0" y="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4" name="îŝļîḋé">
              <a:extLst>
                <a:ext uri="{FF2B5EF4-FFF2-40B4-BE49-F238E27FC236}">
                  <a16:creationId xmlns:a16="http://schemas.microsoft.com/office/drawing/2014/main" id="{C573A077-2F10-4D1A-BE58-69E27EE804CD}"/>
                </a:ext>
              </a:extLst>
            </p:cNvPr>
            <p:cNvSpPr/>
            <p:nvPr/>
          </p:nvSpPr>
          <p:spPr bwMode="auto">
            <a:xfrm>
              <a:off x="5240721" y="3934537"/>
              <a:ext cx="285261" cy="66293"/>
            </a:xfrm>
            <a:custGeom>
              <a:avLst/>
              <a:gdLst>
                <a:gd name="T0" fmla="*/ 0 w 284"/>
                <a:gd name="T1" fmla="*/ 0 h 66"/>
                <a:gd name="T2" fmla="*/ 284 w 284"/>
                <a:gd name="T3" fmla="*/ 57 h 66"/>
                <a:gd name="T4" fmla="*/ 282 w 284"/>
                <a:gd name="T5" fmla="*/ 66 h 66"/>
                <a:gd name="T6" fmla="*/ 0 w 284"/>
                <a:gd name="T7" fmla="*/ 10 h 66"/>
                <a:gd name="T8" fmla="*/ 0 w 284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66">
                  <a:moveTo>
                    <a:pt x="0" y="0"/>
                  </a:moveTo>
                  <a:lnTo>
                    <a:pt x="284" y="57"/>
                  </a:lnTo>
                  <a:lnTo>
                    <a:pt x="282" y="66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5" name="ïsḷiďé">
              <a:extLst>
                <a:ext uri="{FF2B5EF4-FFF2-40B4-BE49-F238E27FC236}">
                  <a16:creationId xmlns:a16="http://schemas.microsoft.com/office/drawing/2014/main" id="{88B5DEFE-87E1-47C8-9092-89776F2246DB}"/>
                </a:ext>
              </a:extLst>
            </p:cNvPr>
            <p:cNvSpPr/>
            <p:nvPr/>
          </p:nvSpPr>
          <p:spPr bwMode="auto">
            <a:xfrm>
              <a:off x="5233690" y="3963665"/>
              <a:ext cx="285261" cy="66293"/>
            </a:xfrm>
            <a:custGeom>
              <a:avLst/>
              <a:gdLst>
                <a:gd name="T0" fmla="*/ 3 w 284"/>
                <a:gd name="T1" fmla="*/ 0 h 66"/>
                <a:gd name="T2" fmla="*/ 284 w 284"/>
                <a:gd name="T3" fmla="*/ 56 h 66"/>
                <a:gd name="T4" fmla="*/ 282 w 284"/>
                <a:gd name="T5" fmla="*/ 66 h 66"/>
                <a:gd name="T6" fmla="*/ 0 w 284"/>
                <a:gd name="T7" fmla="*/ 9 h 66"/>
                <a:gd name="T8" fmla="*/ 3 w 284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66">
                  <a:moveTo>
                    <a:pt x="3" y="0"/>
                  </a:moveTo>
                  <a:lnTo>
                    <a:pt x="284" y="56"/>
                  </a:lnTo>
                  <a:lnTo>
                    <a:pt x="282" y="66"/>
                  </a:lnTo>
                  <a:lnTo>
                    <a:pt x="0" y="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6" name="ïṩļïďè">
              <a:extLst>
                <a:ext uri="{FF2B5EF4-FFF2-40B4-BE49-F238E27FC236}">
                  <a16:creationId xmlns:a16="http://schemas.microsoft.com/office/drawing/2014/main" id="{1F438FAC-1E75-40D8-8AAB-3894BFFD357E}"/>
                </a:ext>
              </a:extLst>
            </p:cNvPr>
            <p:cNvSpPr/>
            <p:nvPr/>
          </p:nvSpPr>
          <p:spPr bwMode="auto">
            <a:xfrm>
              <a:off x="5229671" y="3993799"/>
              <a:ext cx="284256" cy="64284"/>
            </a:xfrm>
            <a:custGeom>
              <a:avLst/>
              <a:gdLst>
                <a:gd name="T0" fmla="*/ 0 w 283"/>
                <a:gd name="T1" fmla="*/ 0 h 64"/>
                <a:gd name="T2" fmla="*/ 283 w 283"/>
                <a:gd name="T3" fmla="*/ 57 h 64"/>
                <a:gd name="T4" fmla="*/ 281 w 283"/>
                <a:gd name="T5" fmla="*/ 64 h 64"/>
                <a:gd name="T6" fmla="*/ 0 w 283"/>
                <a:gd name="T7" fmla="*/ 7 h 64"/>
                <a:gd name="T8" fmla="*/ 0 w 283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64">
                  <a:moveTo>
                    <a:pt x="0" y="0"/>
                  </a:moveTo>
                  <a:lnTo>
                    <a:pt x="283" y="57"/>
                  </a:lnTo>
                  <a:lnTo>
                    <a:pt x="281" y="64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7" name="í$ḷíḋé">
              <a:extLst>
                <a:ext uri="{FF2B5EF4-FFF2-40B4-BE49-F238E27FC236}">
                  <a16:creationId xmlns:a16="http://schemas.microsoft.com/office/drawing/2014/main" id="{C262809E-329E-4F99-964F-8F5F8A239174}"/>
                </a:ext>
              </a:extLst>
            </p:cNvPr>
            <p:cNvSpPr/>
            <p:nvPr/>
          </p:nvSpPr>
          <p:spPr bwMode="auto">
            <a:xfrm>
              <a:off x="5222641" y="4022927"/>
              <a:ext cx="284256" cy="64284"/>
            </a:xfrm>
            <a:custGeom>
              <a:avLst/>
              <a:gdLst>
                <a:gd name="T0" fmla="*/ 2 w 283"/>
                <a:gd name="T1" fmla="*/ 0 h 64"/>
                <a:gd name="T2" fmla="*/ 283 w 283"/>
                <a:gd name="T3" fmla="*/ 56 h 64"/>
                <a:gd name="T4" fmla="*/ 283 w 283"/>
                <a:gd name="T5" fmla="*/ 64 h 64"/>
                <a:gd name="T6" fmla="*/ 0 w 283"/>
                <a:gd name="T7" fmla="*/ 7 h 64"/>
                <a:gd name="T8" fmla="*/ 2 w 283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64">
                  <a:moveTo>
                    <a:pt x="2" y="0"/>
                  </a:moveTo>
                  <a:lnTo>
                    <a:pt x="283" y="56"/>
                  </a:lnTo>
                  <a:lnTo>
                    <a:pt x="283" y="64"/>
                  </a:lnTo>
                  <a:lnTo>
                    <a:pt x="0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8" name="iŝlíde">
              <a:extLst>
                <a:ext uri="{FF2B5EF4-FFF2-40B4-BE49-F238E27FC236}">
                  <a16:creationId xmlns:a16="http://schemas.microsoft.com/office/drawing/2014/main" id="{CE05A587-114B-4B73-A285-250B9AA09754}"/>
                </a:ext>
              </a:extLst>
            </p:cNvPr>
            <p:cNvSpPr/>
            <p:nvPr/>
          </p:nvSpPr>
          <p:spPr bwMode="auto">
            <a:xfrm>
              <a:off x="5217619" y="4051052"/>
              <a:ext cx="285261" cy="66293"/>
            </a:xfrm>
            <a:custGeom>
              <a:avLst/>
              <a:gdLst>
                <a:gd name="T0" fmla="*/ 2 w 284"/>
                <a:gd name="T1" fmla="*/ 0 h 66"/>
                <a:gd name="T2" fmla="*/ 284 w 284"/>
                <a:gd name="T3" fmla="*/ 57 h 66"/>
                <a:gd name="T4" fmla="*/ 281 w 284"/>
                <a:gd name="T5" fmla="*/ 66 h 66"/>
                <a:gd name="T6" fmla="*/ 0 w 284"/>
                <a:gd name="T7" fmla="*/ 10 h 66"/>
                <a:gd name="T8" fmla="*/ 2 w 284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66">
                  <a:moveTo>
                    <a:pt x="2" y="0"/>
                  </a:moveTo>
                  <a:lnTo>
                    <a:pt x="284" y="57"/>
                  </a:lnTo>
                  <a:lnTo>
                    <a:pt x="281" y="66"/>
                  </a:lnTo>
                  <a:lnTo>
                    <a:pt x="0" y="1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9" name="islíde">
              <a:extLst>
                <a:ext uri="{FF2B5EF4-FFF2-40B4-BE49-F238E27FC236}">
                  <a16:creationId xmlns:a16="http://schemas.microsoft.com/office/drawing/2014/main" id="{FD52713B-C265-45A7-B307-7EEDC641E2CE}"/>
                </a:ext>
              </a:extLst>
            </p:cNvPr>
            <p:cNvSpPr/>
            <p:nvPr/>
          </p:nvSpPr>
          <p:spPr bwMode="auto">
            <a:xfrm>
              <a:off x="5362258" y="4089220"/>
              <a:ext cx="396753" cy="142630"/>
            </a:xfrm>
            <a:custGeom>
              <a:avLst/>
              <a:gdLst>
                <a:gd name="T0" fmla="*/ 139 w 167"/>
                <a:gd name="T1" fmla="*/ 60 h 60"/>
                <a:gd name="T2" fmla="*/ 0 w 167"/>
                <a:gd name="T3" fmla="*/ 44 h 60"/>
                <a:gd name="T4" fmla="*/ 7 w 167"/>
                <a:gd name="T5" fmla="*/ 0 h 60"/>
                <a:gd name="T6" fmla="*/ 159 w 167"/>
                <a:gd name="T7" fmla="*/ 10 h 60"/>
                <a:gd name="T8" fmla="*/ 139 w 167"/>
                <a:gd name="T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60">
                  <a:moveTo>
                    <a:pt x="139" y="60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152" y="14"/>
                    <a:pt x="159" y="10"/>
                  </a:cubicBezTo>
                  <a:cubicBezTo>
                    <a:pt x="167" y="7"/>
                    <a:pt x="139" y="60"/>
                    <a:pt x="139" y="60"/>
                  </a:cubicBezTo>
                </a:path>
              </a:pathLst>
            </a:custGeom>
            <a:solidFill>
              <a:srgbClr val="4B4B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0" name="iṡľïḍe">
              <a:extLst>
                <a:ext uri="{FF2B5EF4-FFF2-40B4-BE49-F238E27FC236}">
                  <a16:creationId xmlns:a16="http://schemas.microsoft.com/office/drawing/2014/main" id="{97A5907C-87DD-4362-93A3-A353B2222713}"/>
                </a:ext>
              </a:extLst>
            </p:cNvPr>
            <p:cNvSpPr/>
            <p:nvPr/>
          </p:nvSpPr>
          <p:spPr bwMode="auto">
            <a:xfrm>
              <a:off x="5290942" y="3818021"/>
              <a:ext cx="489162" cy="478113"/>
            </a:xfrm>
            <a:custGeom>
              <a:avLst/>
              <a:gdLst>
                <a:gd name="T0" fmla="*/ 0 w 206"/>
                <a:gd name="T1" fmla="*/ 22 h 201"/>
                <a:gd name="T2" fmla="*/ 69 w 206"/>
                <a:gd name="T3" fmla="*/ 0 h 201"/>
                <a:gd name="T4" fmla="*/ 186 w 206"/>
                <a:gd name="T5" fmla="*/ 111 h 201"/>
                <a:gd name="T6" fmla="*/ 186 w 206"/>
                <a:gd name="T7" fmla="*/ 167 h 201"/>
                <a:gd name="T8" fmla="*/ 28 w 206"/>
                <a:gd name="T9" fmla="*/ 89 h 201"/>
                <a:gd name="T10" fmla="*/ 0 w 206"/>
                <a:gd name="T11" fmla="*/ 2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6" h="201">
                  <a:moveTo>
                    <a:pt x="0" y="22"/>
                  </a:moveTo>
                  <a:cubicBezTo>
                    <a:pt x="4" y="19"/>
                    <a:pt x="69" y="0"/>
                    <a:pt x="69" y="0"/>
                  </a:cubicBezTo>
                  <a:cubicBezTo>
                    <a:pt x="69" y="0"/>
                    <a:pt x="167" y="95"/>
                    <a:pt x="186" y="111"/>
                  </a:cubicBezTo>
                  <a:cubicBezTo>
                    <a:pt x="204" y="127"/>
                    <a:pt x="206" y="133"/>
                    <a:pt x="186" y="167"/>
                  </a:cubicBezTo>
                  <a:cubicBezTo>
                    <a:pt x="165" y="201"/>
                    <a:pt x="48" y="103"/>
                    <a:pt x="28" y="89"/>
                  </a:cubicBezTo>
                  <a:cubicBezTo>
                    <a:pt x="8" y="75"/>
                    <a:pt x="0" y="22"/>
                    <a:pt x="0" y="22"/>
                  </a:cubicBezTo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1" name="îṩ1îdê">
              <a:extLst>
                <a:ext uri="{FF2B5EF4-FFF2-40B4-BE49-F238E27FC236}">
                  <a16:creationId xmlns:a16="http://schemas.microsoft.com/office/drawing/2014/main" id="{14AFACF4-66A7-43B8-8577-4D4CC2903337}"/>
                </a:ext>
              </a:extLst>
            </p:cNvPr>
            <p:cNvSpPr/>
            <p:nvPr/>
          </p:nvSpPr>
          <p:spPr bwMode="auto">
            <a:xfrm>
              <a:off x="4737497" y="3772821"/>
              <a:ext cx="724200" cy="908013"/>
            </a:xfrm>
            <a:custGeom>
              <a:avLst/>
              <a:gdLst>
                <a:gd name="T0" fmla="*/ 0 w 305"/>
                <a:gd name="T1" fmla="*/ 13 h 382"/>
                <a:gd name="T2" fmla="*/ 8 w 305"/>
                <a:gd name="T3" fmla="*/ 115 h 382"/>
                <a:gd name="T4" fmla="*/ 18 w 305"/>
                <a:gd name="T5" fmla="*/ 373 h 382"/>
                <a:gd name="T6" fmla="*/ 153 w 305"/>
                <a:gd name="T7" fmla="*/ 380 h 382"/>
                <a:gd name="T8" fmla="*/ 288 w 305"/>
                <a:gd name="T9" fmla="*/ 373 h 382"/>
                <a:gd name="T10" fmla="*/ 298 w 305"/>
                <a:gd name="T11" fmla="*/ 115 h 382"/>
                <a:gd name="T12" fmla="*/ 305 w 305"/>
                <a:gd name="T13" fmla="*/ 21 h 382"/>
                <a:gd name="T14" fmla="*/ 242 w 305"/>
                <a:gd name="T15" fmla="*/ 0 h 382"/>
                <a:gd name="T16" fmla="*/ 153 w 305"/>
                <a:gd name="T17" fmla="*/ 0 h 382"/>
                <a:gd name="T18" fmla="*/ 64 w 305"/>
                <a:gd name="T19" fmla="*/ 0 h 382"/>
                <a:gd name="T20" fmla="*/ 0 w 305"/>
                <a:gd name="T21" fmla="*/ 13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82">
                  <a:moveTo>
                    <a:pt x="0" y="13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51" y="173"/>
                    <a:pt x="47" y="298"/>
                    <a:pt x="18" y="373"/>
                  </a:cubicBezTo>
                  <a:cubicBezTo>
                    <a:pt x="46" y="381"/>
                    <a:pt x="99" y="382"/>
                    <a:pt x="153" y="380"/>
                  </a:cubicBezTo>
                  <a:cubicBezTo>
                    <a:pt x="207" y="382"/>
                    <a:pt x="260" y="381"/>
                    <a:pt x="288" y="373"/>
                  </a:cubicBezTo>
                  <a:cubicBezTo>
                    <a:pt x="259" y="298"/>
                    <a:pt x="255" y="173"/>
                    <a:pt x="298" y="115"/>
                  </a:cubicBezTo>
                  <a:cubicBezTo>
                    <a:pt x="305" y="21"/>
                    <a:pt x="305" y="21"/>
                    <a:pt x="305" y="21"/>
                  </a:cubicBezTo>
                  <a:cubicBezTo>
                    <a:pt x="303" y="21"/>
                    <a:pt x="276" y="10"/>
                    <a:pt x="242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30" y="10"/>
                    <a:pt x="2" y="13"/>
                    <a:pt x="0" y="13"/>
                  </a:cubicBezTo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2" name="îSḷîḓè">
              <a:extLst>
                <a:ext uri="{FF2B5EF4-FFF2-40B4-BE49-F238E27FC236}">
                  <a16:creationId xmlns:a16="http://schemas.microsoft.com/office/drawing/2014/main" id="{E0B90233-7940-48F1-836B-B75BEAFE664F}"/>
                </a:ext>
              </a:extLst>
            </p:cNvPr>
            <p:cNvSpPr/>
            <p:nvPr/>
          </p:nvSpPr>
          <p:spPr bwMode="auto">
            <a:xfrm>
              <a:off x="4754572" y="3901390"/>
              <a:ext cx="673979" cy="607686"/>
            </a:xfrm>
            <a:custGeom>
              <a:avLst/>
              <a:gdLst>
                <a:gd name="T0" fmla="*/ 69 w 284"/>
                <a:gd name="T1" fmla="*/ 0 h 256"/>
                <a:gd name="T2" fmla="*/ 215 w 284"/>
                <a:gd name="T3" fmla="*/ 0 h 256"/>
                <a:gd name="T4" fmla="*/ 284 w 284"/>
                <a:gd name="T5" fmla="*/ 68 h 256"/>
                <a:gd name="T6" fmla="*/ 284 w 284"/>
                <a:gd name="T7" fmla="*/ 188 h 256"/>
                <a:gd name="T8" fmla="*/ 215 w 284"/>
                <a:gd name="T9" fmla="*/ 256 h 256"/>
                <a:gd name="T10" fmla="*/ 69 w 284"/>
                <a:gd name="T11" fmla="*/ 256 h 256"/>
                <a:gd name="T12" fmla="*/ 0 w 284"/>
                <a:gd name="T13" fmla="*/ 188 h 256"/>
                <a:gd name="T14" fmla="*/ 0 w 284"/>
                <a:gd name="T15" fmla="*/ 68 h 256"/>
                <a:gd name="T16" fmla="*/ 69 w 284"/>
                <a:gd name="T17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256">
                  <a:moveTo>
                    <a:pt x="69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53" y="0"/>
                    <a:pt x="284" y="31"/>
                    <a:pt x="284" y="68"/>
                  </a:cubicBezTo>
                  <a:cubicBezTo>
                    <a:pt x="284" y="188"/>
                    <a:pt x="284" y="188"/>
                    <a:pt x="284" y="188"/>
                  </a:cubicBezTo>
                  <a:cubicBezTo>
                    <a:pt x="284" y="225"/>
                    <a:pt x="253" y="256"/>
                    <a:pt x="215" y="256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31" y="256"/>
                    <a:pt x="0" y="225"/>
                    <a:pt x="0" y="18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1"/>
                    <a:pt x="31" y="0"/>
                    <a:pt x="69" y="0"/>
                  </a:cubicBezTo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3" name="iśľïḑé">
              <a:extLst>
                <a:ext uri="{FF2B5EF4-FFF2-40B4-BE49-F238E27FC236}">
                  <a16:creationId xmlns:a16="http://schemas.microsoft.com/office/drawing/2014/main" id="{771572BD-3651-478A-82C1-4C6051301944}"/>
                </a:ext>
              </a:extLst>
            </p:cNvPr>
            <p:cNvSpPr/>
            <p:nvPr/>
          </p:nvSpPr>
          <p:spPr bwMode="auto">
            <a:xfrm>
              <a:off x="5048872" y="4286090"/>
              <a:ext cx="85377" cy="572530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4" name="íṩ1îdê">
              <a:extLst>
                <a:ext uri="{FF2B5EF4-FFF2-40B4-BE49-F238E27FC236}">
                  <a16:creationId xmlns:a16="http://schemas.microsoft.com/office/drawing/2014/main" id="{1FBFD630-0350-4318-8A3A-7D8A8E0B6D61}"/>
                </a:ext>
              </a:extLst>
            </p:cNvPr>
            <p:cNvSpPr/>
            <p:nvPr/>
          </p:nvSpPr>
          <p:spPr bwMode="auto">
            <a:xfrm>
              <a:off x="4949433" y="4105291"/>
              <a:ext cx="284256" cy="180799"/>
            </a:xfrm>
            <a:custGeom>
              <a:avLst/>
              <a:gdLst>
                <a:gd name="T0" fmla="*/ 17 w 120"/>
                <a:gd name="T1" fmla="*/ 0 h 76"/>
                <a:gd name="T2" fmla="*/ 103 w 120"/>
                <a:gd name="T3" fmla="*/ 0 h 76"/>
                <a:gd name="T4" fmla="*/ 120 w 120"/>
                <a:gd name="T5" fmla="*/ 17 h 76"/>
                <a:gd name="T6" fmla="*/ 120 w 120"/>
                <a:gd name="T7" fmla="*/ 60 h 76"/>
                <a:gd name="T8" fmla="*/ 103 w 120"/>
                <a:gd name="T9" fmla="*/ 76 h 76"/>
                <a:gd name="T10" fmla="*/ 17 w 120"/>
                <a:gd name="T11" fmla="*/ 76 h 76"/>
                <a:gd name="T12" fmla="*/ 0 w 120"/>
                <a:gd name="T13" fmla="*/ 60 h 76"/>
                <a:gd name="T14" fmla="*/ 0 w 120"/>
                <a:gd name="T15" fmla="*/ 17 h 76"/>
                <a:gd name="T16" fmla="*/ 17 w 120"/>
                <a:gd name="T1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76">
                  <a:moveTo>
                    <a:pt x="17" y="0"/>
                  </a:moveTo>
                  <a:cubicBezTo>
                    <a:pt x="103" y="0"/>
                    <a:pt x="103" y="0"/>
                    <a:pt x="103" y="0"/>
                  </a:cubicBezTo>
                  <a:cubicBezTo>
                    <a:pt x="112" y="0"/>
                    <a:pt x="120" y="8"/>
                    <a:pt x="120" y="17"/>
                  </a:cubicBezTo>
                  <a:cubicBezTo>
                    <a:pt x="120" y="60"/>
                    <a:pt x="120" y="60"/>
                    <a:pt x="120" y="60"/>
                  </a:cubicBezTo>
                  <a:cubicBezTo>
                    <a:pt x="120" y="69"/>
                    <a:pt x="112" y="76"/>
                    <a:pt x="103" y="76"/>
                  </a:cubicBezTo>
                  <a:cubicBezTo>
                    <a:pt x="17" y="76"/>
                    <a:pt x="17" y="76"/>
                    <a:pt x="17" y="76"/>
                  </a:cubicBezTo>
                  <a:cubicBezTo>
                    <a:pt x="8" y="76"/>
                    <a:pt x="0" y="69"/>
                    <a:pt x="0" y="6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5" name="iṣľîḓé">
              <a:extLst>
                <a:ext uri="{FF2B5EF4-FFF2-40B4-BE49-F238E27FC236}">
                  <a16:creationId xmlns:a16="http://schemas.microsoft.com/office/drawing/2014/main" id="{9950AB53-9AB7-4D10-87A2-9A8F84375EB2}"/>
                </a:ext>
              </a:extLst>
            </p:cNvPr>
            <p:cNvSpPr/>
            <p:nvPr/>
          </p:nvSpPr>
          <p:spPr bwMode="auto">
            <a:xfrm>
              <a:off x="6552517" y="5257383"/>
              <a:ext cx="198880" cy="156692"/>
            </a:xfrm>
            <a:custGeom>
              <a:avLst/>
              <a:gdLst>
                <a:gd name="T0" fmla="*/ 17 w 84"/>
                <a:gd name="T1" fmla="*/ 0 h 66"/>
                <a:gd name="T2" fmla="*/ 3 w 84"/>
                <a:gd name="T3" fmla="*/ 30 h 66"/>
                <a:gd name="T4" fmla="*/ 3 w 84"/>
                <a:gd name="T5" fmla="*/ 56 h 66"/>
                <a:gd name="T6" fmla="*/ 5 w 84"/>
                <a:gd name="T7" fmla="*/ 66 h 66"/>
                <a:gd name="T8" fmla="*/ 42 w 84"/>
                <a:gd name="T9" fmla="*/ 66 h 66"/>
                <a:gd name="T10" fmla="*/ 42 w 84"/>
                <a:gd name="T11" fmla="*/ 66 h 66"/>
                <a:gd name="T12" fmla="*/ 80 w 84"/>
                <a:gd name="T13" fmla="*/ 66 h 66"/>
                <a:gd name="T14" fmla="*/ 82 w 84"/>
                <a:gd name="T15" fmla="*/ 56 h 66"/>
                <a:gd name="T16" fmla="*/ 81 w 84"/>
                <a:gd name="T17" fmla="*/ 30 h 66"/>
                <a:gd name="T18" fmla="*/ 68 w 84"/>
                <a:gd name="T19" fmla="*/ 0 h 66"/>
                <a:gd name="T20" fmla="*/ 42 w 84"/>
                <a:gd name="T21" fmla="*/ 3 h 66"/>
                <a:gd name="T22" fmla="*/ 17 w 84"/>
                <a:gd name="T2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4" h="66">
                  <a:moveTo>
                    <a:pt x="17" y="0"/>
                  </a:moveTo>
                  <a:cubicBezTo>
                    <a:pt x="17" y="0"/>
                    <a:pt x="6" y="20"/>
                    <a:pt x="3" y="30"/>
                  </a:cubicBezTo>
                  <a:cubicBezTo>
                    <a:pt x="0" y="40"/>
                    <a:pt x="2" y="54"/>
                    <a:pt x="3" y="56"/>
                  </a:cubicBezTo>
                  <a:cubicBezTo>
                    <a:pt x="4" y="58"/>
                    <a:pt x="5" y="66"/>
                    <a:pt x="5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66"/>
                    <a:pt x="81" y="58"/>
                    <a:pt x="82" y="56"/>
                  </a:cubicBezTo>
                  <a:cubicBezTo>
                    <a:pt x="83" y="54"/>
                    <a:pt x="84" y="40"/>
                    <a:pt x="81" y="30"/>
                  </a:cubicBezTo>
                  <a:cubicBezTo>
                    <a:pt x="78" y="20"/>
                    <a:pt x="68" y="0"/>
                    <a:pt x="68" y="0"/>
                  </a:cubicBezTo>
                  <a:cubicBezTo>
                    <a:pt x="68" y="0"/>
                    <a:pt x="56" y="1"/>
                    <a:pt x="42" y="3"/>
                  </a:cubicBezTo>
                  <a:cubicBezTo>
                    <a:pt x="29" y="1"/>
                    <a:pt x="17" y="0"/>
                    <a:pt x="17" y="0"/>
                  </a:cubicBezTo>
                </a:path>
              </a:pathLst>
            </a:custGeom>
            <a:solidFill>
              <a:srgbClr val="2626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6" name="ïṣḷîḓê">
              <a:extLst>
                <a:ext uri="{FF2B5EF4-FFF2-40B4-BE49-F238E27FC236}">
                  <a16:creationId xmlns:a16="http://schemas.microsoft.com/office/drawing/2014/main" id="{5B44C33E-C3AE-4FEE-AFA4-A1976EE94A6D}"/>
                </a:ext>
              </a:extLst>
            </p:cNvPr>
            <p:cNvSpPr/>
            <p:nvPr/>
          </p:nvSpPr>
          <p:spPr bwMode="auto">
            <a:xfrm>
              <a:off x="6549504" y="4663759"/>
              <a:ext cx="220976" cy="643846"/>
            </a:xfrm>
            <a:prstGeom prst="rect">
              <a:avLst/>
            </a:prstGeom>
            <a:solidFill>
              <a:srgbClr val="3D3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7" name="íṥļíḓe">
              <a:extLst>
                <a:ext uri="{FF2B5EF4-FFF2-40B4-BE49-F238E27FC236}">
                  <a16:creationId xmlns:a16="http://schemas.microsoft.com/office/drawing/2014/main" id="{A82FF5DF-554E-487B-B15A-9CC7404D31F8}"/>
                </a:ext>
              </a:extLst>
            </p:cNvPr>
            <p:cNvSpPr/>
            <p:nvPr/>
          </p:nvSpPr>
          <p:spPr bwMode="auto">
            <a:xfrm>
              <a:off x="6675059" y="4710968"/>
              <a:ext cx="788485" cy="166737"/>
            </a:xfrm>
            <a:custGeom>
              <a:avLst/>
              <a:gdLst>
                <a:gd name="T0" fmla="*/ 166 w 332"/>
                <a:gd name="T1" fmla="*/ 0 h 70"/>
                <a:gd name="T2" fmla="*/ 0 w 332"/>
                <a:gd name="T3" fmla="*/ 63 h 70"/>
                <a:gd name="T4" fmla="*/ 2 w 332"/>
                <a:gd name="T5" fmla="*/ 70 h 70"/>
                <a:gd name="T6" fmla="*/ 330 w 332"/>
                <a:gd name="T7" fmla="*/ 70 h 70"/>
                <a:gd name="T8" fmla="*/ 332 w 332"/>
                <a:gd name="T9" fmla="*/ 63 h 70"/>
                <a:gd name="T10" fmla="*/ 166 w 332"/>
                <a:gd name="T1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2" h="70">
                  <a:moveTo>
                    <a:pt x="166" y="0"/>
                  </a:moveTo>
                  <a:cubicBezTo>
                    <a:pt x="75" y="0"/>
                    <a:pt x="0" y="28"/>
                    <a:pt x="0" y="63"/>
                  </a:cubicBezTo>
                  <a:cubicBezTo>
                    <a:pt x="0" y="65"/>
                    <a:pt x="1" y="68"/>
                    <a:pt x="2" y="70"/>
                  </a:cubicBezTo>
                  <a:cubicBezTo>
                    <a:pt x="330" y="70"/>
                    <a:pt x="330" y="70"/>
                    <a:pt x="330" y="70"/>
                  </a:cubicBezTo>
                  <a:cubicBezTo>
                    <a:pt x="331" y="68"/>
                    <a:pt x="332" y="65"/>
                    <a:pt x="332" y="63"/>
                  </a:cubicBezTo>
                  <a:cubicBezTo>
                    <a:pt x="332" y="28"/>
                    <a:pt x="257" y="0"/>
                    <a:pt x="166" y="0"/>
                  </a:cubicBezTo>
                </a:path>
              </a:pathLst>
            </a:custGeom>
            <a:solidFill>
              <a:srgbClr val="4352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8" name="iṩľïḋê">
              <a:extLst>
                <a:ext uri="{FF2B5EF4-FFF2-40B4-BE49-F238E27FC236}">
                  <a16:creationId xmlns:a16="http://schemas.microsoft.com/office/drawing/2014/main" id="{863195F5-DC60-4AC3-AC15-AD47A23A1F08}"/>
                </a:ext>
              </a:extLst>
            </p:cNvPr>
            <p:cNvSpPr/>
            <p:nvPr/>
          </p:nvSpPr>
          <p:spPr bwMode="auto">
            <a:xfrm>
              <a:off x="6521379" y="4554275"/>
              <a:ext cx="322425" cy="245083"/>
            </a:xfrm>
            <a:custGeom>
              <a:avLst/>
              <a:gdLst>
                <a:gd name="T0" fmla="*/ 48 w 136"/>
                <a:gd name="T1" fmla="*/ 2 h 103"/>
                <a:gd name="T2" fmla="*/ 131 w 136"/>
                <a:gd name="T3" fmla="*/ 0 h 103"/>
                <a:gd name="T4" fmla="*/ 136 w 136"/>
                <a:gd name="T5" fmla="*/ 103 h 103"/>
                <a:gd name="T6" fmla="*/ 40 w 136"/>
                <a:gd name="T7" fmla="*/ 87 h 103"/>
                <a:gd name="T8" fmla="*/ 48 w 136"/>
                <a:gd name="T9" fmla="*/ 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03">
                  <a:moveTo>
                    <a:pt x="48" y="2"/>
                  </a:moveTo>
                  <a:cubicBezTo>
                    <a:pt x="131" y="0"/>
                    <a:pt x="131" y="0"/>
                    <a:pt x="131" y="0"/>
                  </a:cubicBezTo>
                  <a:cubicBezTo>
                    <a:pt x="136" y="103"/>
                    <a:pt x="136" y="103"/>
                    <a:pt x="136" y="103"/>
                  </a:cubicBezTo>
                  <a:cubicBezTo>
                    <a:pt x="103" y="94"/>
                    <a:pt x="73" y="96"/>
                    <a:pt x="40" y="87"/>
                  </a:cubicBezTo>
                  <a:cubicBezTo>
                    <a:pt x="0" y="61"/>
                    <a:pt x="4" y="24"/>
                    <a:pt x="48" y="2"/>
                  </a:cubicBezTo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9" name="îsḷïḍê">
              <a:extLst>
                <a:ext uri="{FF2B5EF4-FFF2-40B4-BE49-F238E27FC236}">
                  <a16:creationId xmlns:a16="http://schemas.microsoft.com/office/drawing/2014/main" id="{725FA858-BFCF-4076-AC0D-DA1796347FE5}"/>
                </a:ext>
              </a:extLst>
            </p:cNvPr>
            <p:cNvSpPr/>
            <p:nvPr/>
          </p:nvSpPr>
          <p:spPr bwMode="auto">
            <a:xfrm>
              <a:off x="7297811" y="4554275"/>
              <a:ext cx="322425" cy="245083"/>
            </a:xfrm>
            <a:custGeom>
              <a:avLst/>
              <a:gdLst>
                <a:gd name="T0" fmla="*/ 88 w 136"/>
                <a:gd name="T1" fmla="*/ 2 h 103"/>
                <a:gd name="T2" fmla="*/ 5 w 136"/>
                <a:gd name="T3" fmla="*/ 0 h 103"/>
                <a:gd name="T4" fmla="*/ 0 w 136"/>
                <a:gd name="T5" fmla="*/ 103 h 103"/>
                <a:gd name="T6" fmla="*/ 96 w 136"/>
                <a:gd name="T7" fmla="*/ 87 h 103"/>
                <a:gd name="T8" fmla="*/ 88 w 136"/>
                <a:gd name="T9" fmla="*/ 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03">
                  <a:moveTo>
                    <a:pt x="88" y="2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33" y="93"/>
                    <a:pt x="63" y="96"/>
                    <a:pt x="96" y="87"/>
                  </a:cubicBezTo>
                  <a:cubicBezTo>
                    <a:pt x="136" y="60"/>
                    <a:pt x="132" y="24"/>
                    <a:pt x="88" y="2"/>
                  </a:cubicBezTo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0" name="ïšľíḋé">
              <a:extLst>
                <a:ext uri="{FF2B5EF4-FFF2-40B4-BE49-F238E27FC236}">
                  <a16:creationId xmlns:a16="http://schemas.microsoft.com/office/drawing/2014/main" id="{7FA7C368-7D18-4EB6-849E-2024038BA572}"/>
                </a:ext>
              </a:extLst>
            </p:cNvPr>
            <p:cNvSpPr/>
            <p:nvPr/>
          </p:nvSpPr>
          <p:spPr bwMode="auto">
            <a:xfrm>
              <a:off x="6749388" y="4538205"/>
              <a:ext cx="640832" cy="282247"/>
            </a:xfrm>
            <a:custGeom>
              <a:avLst/>
              <a:gdLst>
                <a:gd name="T0" fmla="*/ 53 w 270"/>
                <a:gd name="T1" fmla="*/ 0 h 119"/>
                <a:gd name="T2" fmla="*/ 9 w 270"/>
                <a:gd name="T3" fmla="*/ 35 h 119"/>
                <a:gd name="T4" fmla="*/ 35 w 270"/>
                <a:gd name="T5" fmla="*/ 109 h 119"/>
                <a:gd name="T6" fmla="*/ 135 w 270"/>
                <a:gd name="T7" fmla="*/ 116 h 119"/>
                <a:gd name="T8" fmla="*/ 234 w 270"/>
                <a:gd name="T9" fmla="*/ 109 h 119"/>
                <a:gd name="T10" fmla="*/ 260 w 270"/>
                <a:gd name="T11" fmla="*/ 35 h 119"/>
                <a:gd name="T12" fmla="*/ 216 w 270"/>
                <a:gd name="T13" fmla="*/ 0 h 119"/>
                <a:gd name="T14" fmla="*/ 135 w 270"/>
                <a:gd name="T15" fmla="*/ 3 h 119"/>
                <a:gd name="T16" fmla="*/ 53 w 270"/>
                <a:gd name="T1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0" h="119">
                  <a:moveTo>
                    <a:pt x="53" y="0"/>
                  </a:moveTo>
                  <a:cubicBezTo>
                    <a:pt x="48" y="3"/>
                    <a:pt x="18" y="10"/>
                    <a:pt x="9" y="35"/>
                  </a:cubicBezTo>
                  <a:cubicBezTo>
                    <a:pt x="0" y="59"/>
                    <a:pt x="7" y="103"/>
                    <a:pt x="35" y="109"/>
                  </a:cubicBezTo>
                  <a:cubicBezTo>
                    <a:pt x="63" y="115"/>
                    <a:pt x="85" y="119"/>
                    <a:pt x="135" y="116"/>
                  </a:cubicBezTo>
                  <a:cubicBezTo>
                    <a:pt x="185" y="119"/>
                    <a:pt x="206" y="115"/>
                    <a:pt x="234" y="109"/>
                  </a:cubicBezTo>
                  <a:cubicBezTo>
                    <a:pt x="263" y="103"/>
                    <a:pt x="270" y="59"/>
                    <a:pt x="260" y="35"/>
                  </a:cubicBezTo>
                  <a:cubicBezTo>
                    <a:pt x="251" y="10"/>
                    <a:pt x="222" y="3"/>
                    <a:pt x="216" y="0"/>
                  </a:cubicBezTo>
                  <a:cubicBezTo>
                    <a:pt x="216" y="0"/>
                    <a:pt x="177" y="0"/>
                    <a:pt x="135" y="3"/>
                  </a:cubicBezTo>
                  <a:cubicBezTo>
                    <a:pt x="92" y="0"/>
                    <a:pt x="53" y="0"/>
                    <a:pt x="53" y="0"/>
                  </a:cubicBezTo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1" name="íSliḑe">
              <a:extLst>
                <a:ext uri="{FF2B5EF4-FFF2-40B4-BE49-F238E27FC236}">
                  <a16:creationId xmlns:a16="http://schemas.microsoft.com/office/drawing/2014/main" id="{099C62E8-E745-4C64-894A-9847D879FFEB}"/>
                </a:ext>
              </a:extLst>
            </p:cNvPr>
            <p:cNvSpPr/>
            <p:nvPr/>
          </p:nvSpPr>
          <p:spPr bwMode="auto">
            <a:xfrm>
              <a:off x="6770481" y="3091811"/>
              <a:ext cx="572530" cy="626770"/>
            </a:xfrm>
            <a:prstGeom prst="ellipse">
              <a:avLst/>
            </a:pr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2" name="îṡľîḑe">
              <a:extLst>
                <a:ext uri="{FF2B5EF4-FFF2-40B4-BE49-F238E27FC236}">
                  <a16:creationId xmlns:a16="http://schemas.microsoft.com/office/drawing/2014/main" id="{4680F365-0843-4735-8AFA-8DA32698D548}"/>
                </a:ext>
              </a:extLst>
            </p:cNvPr>
            <p:cNvSpPr/>
            <p:nvPr/>
          </p:nvSpPr>
          <p:spPr bwMode="auto">
            <a:xfrm>
              <a:off x="6903067" y="3687444"/>
              <a:ext cx="311376" cy="78346"/>
            </a:xfrm>
            <a:custGeom>
              <a:avLst/>
              <a:gdLst>
                <a:gd name="T0" fmla="*/ 131 w 131"/>
                <a:gd name="T1" fmla="*/ 33 h 33"/>
                <a:gd name="T2" fmla="*/ 123 w 131"/>
                <a:gd name="T3" fmla="*/ 2 h 33"/>
                <a:gd name="T4" fmla="*/ 10 w 131"/>
                <a:gd name="T5" fmla="*/ 2 h 33"/>
                <a:gd name="T6" fmla="*/ 0 w 131"/>
                <a:gd name="T7" fmla="*/ 33 h 33"/>
                <a:gd name="T8" fmla="*/ 131 w 131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33">
                  <a:moveTo>
                    <a:pt x="131" y="33"/>
                  </a:moveTo>
                  <a:cubicBezTo>
                    <a:pt x="123" y="2"/>
                    <a:pt x="123" y="2"/>
                    <a:pt x="123" y="2"/>
                  </a:cubicBezTo>
                  <a:cubicBezTo>
                    <a:pt x="123" y="2"/>
                    <a:pt x="11" y="0"/>
                    <a:pt x="10" y="2"/>
                  </a:cubicBezTo>
                  <a:cubicBezTo>
                    <a:pt x="8" y="5"/>
                    <a:pt x="0" y="33"/>
                    <a:pt x="0" y="33"/>
                  </a:cubicBezTo>
                  <a:lnTo>
                    <a:pt x="131" y="33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3" name="ïSḷiḍé">
              <a:extLst>
                <a:ext uri="{FF2B5EF4-FFF2-40B4-BE49-F238E27FC236}">
                  <a16:creationId xmlns:a16="http://schemas.microsoft.com/office/drawing/2014/main" id="{3831A1B8-1307-4C77-A9C7-451271096308}"/>
                </a:ext>
              </a:extLst>
            </p:cNvPr>
            <p:cNvSpPr/>
            <p:nvPr/>
          </p:nvSpPr>
          <p:spPr bwMode="auto">
            <a:xfrm>
              <a:off x="7658404" y="3561889"/>
              <a:ext cx="163724" cy="259145"/>
            </a:xfrm>
            <a:custGeom>
              <a:avLst/>
              <a:gdLst>
                <a:gd name="T0" fmla="*/ 39 w 69"/>
                <a:gd name="T1" fmla="*/ 109 h 109"/>
                <a:gd name="T2" fmla="*/ 61 w 69"/>
                <a:gd name="T3" fmla="*/ 82 h 109"/>
                <a:gd name="T4" fmla="*/ 60 w 69"/>
                <a:gd name="T5" fmla="*/ 32 h 109"/>
                <a:gd name="T6" fmla="*/ 23 w 69"/>
                <a:gd name="T7" fmla="*/ 6 h 109"/>
                <a:gd name="T8" fmla="*/ 2 w 69"/>
                <a:gd name="T9" fmla="*/ 56 h 109"/>
                <a:gd name="T10" fmla="*/ 11 w 69"/>
                <a:gd name="T11" fmla="*/ 103 h 109"/>
                <a:gd name="T12" fmla="*/ 39 w 69"/>
                <a:gd name="T13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09">
                  <a:moveTo>
                    <a:pt x="39" y="109"/>
                  </a:moveTo>
                  <a:cubicBezTo>
                    <a:pt x="42" y="108"/>
                    <a:pt x="57" y="93"/>
                    <a:pt x="61" y="82"/>
                  </a:cubicBezTo>
                  <a:cubicBezTo>
                    <a:pt x="64" y="71"/>
                    <a:pt x="69" y="49"/>
                    <a:pt x="60" y="32"/>
                  </a:cubicBezTo>
                  <a:cubicBezTo>
                    <a:pt x="51" y="14"/>
                    <a:pt x="39" y="0"/>
                    <a:pt x="23" y="6"/>
                  </a:cubicBezTo>
                  <a:cubicBezTo>
                    <a:pt x="6" y="12"/>
                    <a:pt x="3" y="39"/>
                    <a:pt x="2" y="56"/>
                  </a:cubicBezTo>
                  <a:cubicBezTo>
                    <a:pt x="0" y="73"/>
                    <a:pt x="7" y="102"/>
                    <a:pt x="11" y="103"/>
                  </a:cubicBezTo>
                  <a:cubicBezTo>
                    <a:pt x="16" y="105"/>
                    <a:pt x="39" y="109"/>
                    <a:pt x="39" y="109"/>
                  </a:cubicBezTo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4" name="íṡľîdé">
              <a:extLst>
                <a:ext uri="{FF2B5EF4-FFF2-40B4-BE49-F238E27FC236}">
                  <a16:creationId xmlns:a16="http://schemas.microsoft.com/office/drawing/2014/main" id="{B19147E8-CF2F-46E7-98A3-3D134D532E05}"/>
                </a:ext>
              </a:extLst>
            </p:cNvPr>
            <p:cNvSpPr/>
            <p:nvPr/>
          </p:nvSpPr>
          <p:spPr bwMode="auto">
            <a:xfrm>
              <a:off x="7276718" y="3269598"/>
              <a:ext cx="496193" cy="558468"/>
            </a:xfrm>
            <a:custGeom>
              <a:avLst/>
              <a:gdLst>
                <a:gd name="T0" fmla="*/ 41 w 209"/>
                <a:gd name="T1" fmla="*/ 0 h 235"/>
                <a:gd name="T2" fmla="*/ 125 w 209"/>
                <a:gd name="T3" fmla="*/ 17 h 235"/>
                <a:gd name="T4" fmla="*/ 209 w 209"/>
                <a:gd name="T5" fmla="*/ 34 h 235"/>
                <a:gd name="T6" fmla="*/ 189 w 209"/>
                <a:gd name="T7" fmla="*/ 135 h 235"/>
                <a:gd name="T8" fmla="*/ 168 w 209"/>
                <a:gd name="T9" fmla="*/ 235 h 235"/>
                <a:gd name="T10" fmla="*/ 84 w 209"/>
                <a:gd name="T11" fmla="*/ 218 h 235"/>
                <a:gd name="T12" fmla="*/ 0 w 209"/>
                <a:gd name="T13" fmla="*/ 201 h 235"/>
                <a:gd name="T14" fmla="*/ 20 w 209"/>
                <a:gd name="T15" fmla="*/ 100 h 235"/>
                <a:gd name="T16" fmla="*/ 41 w 209"/>
                <a:gd name="T17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9" h="235">
                  <a:moveTo>
                    <a:pt x="41" y="0"/>
                  </a:moveTo>
                  <a:cubicBezTo>
                    <a:pt x="69" y="5"/>
                    <a:pt x="97" y="11"/>
                    <a:pt x="125" y="17"/>
                  </a:cubicBezTo>
                  <a:cubicBezTo>
                    <a:pt x="153" y="22"/>
                    <a:pt x="181" y="28"/>
                    <a:pt x="209" y="34"/>
                  </a:cubicBezTo>
                  <a:cubicBezTo>
                    <a:pt x="202" y="67"/>
                    <a:pt x="195" y="101"/>
                    <a:pt x="189" y="135"/>
                  </a:cubicBezTo>
                  <a:cubicBezTo>
                    <a:pt x="182" y="168"/>
                    <a:pt x="175" y="202"/>
                    <a:pt x="168" y="235"/>
                  </a:cubicBezTo>
                  <a:cubicBezTo>
                    <a:pt x="140" y="230"/>
                    <a:pt x="112" y="224"/>
                    <a:pt x="84" y="218"/>
                  </a:cubicBezTo>
                  <a:cubicBezTo>
                    <a:pt x="56" y="213"/>
                    <a:pt x="28" y="207"/>
                    <a:pt x="0" y="201"/>
                  </a:cubicBezTo>
                  <a:cubicBezTo>
                    <a:pt x="7" y="168"/>
                    <a:pt x="14" y="134"/>
                    <a:pt x="20" y="100"/>
                  </a:cubicBezTo>
                  <a:cubicBezTo>
                    <a:pt x="27" y="67"/>
                    <a:pt x="34" y="33"/>
                    <a:pt x="41" y="0"/>
                  </a:cubicBezTo>
                </a:path>
              </a:pathLst>
            </a:custGeom>
            <a:solidFill>
              <a:srgbClr val="BABB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5" name="ïslïḓê">
              <a:extLst>
                <a:ext uri="{FF2B5EF4-FFF2-40B4-BE49-F238E27FC236}">
                  <a16:creationId xmlns:a16="http://schemas.microsoft.com/office/drawing/2014/main" id="{FE8D2DD0-7560-4154-B73C-8D3F8562F768}"/>
                </a:ext>
              </a:extLst>
            </p:cNvPr>
            <p:cNvSpPr/>
            <p:nvPr/>
          </p:nvSpPr>
          <p:spPr bwMode="auto">
            <a:xfrm>
              <a:off x="7247590" y="3281650"/>
              <a:ext cx="570521" cy="605677"/>
            </a:xfrm>
            <a:custGeom>
              <a:avLst/>
              <a:gdLst>
                <a:gd name="T0" fmla="*/ 149 w 568"/>
                <a:gd name="T1" fmla="*/ 0 h 603"/>
                <a:gd name="T2" fmla="*/ 568 w 568"/>
                <a:gd name="T3" fmla="*/ 125 h 603"/>
                <a:gd name="T4" fmla="*/ 442 w 568"/>
                <a:gd name="T5" fmla="*/ 541 h 603"/>
                <a:gd name="T6" fmla="*/ 442 w 568"/>
                <a:gd name="T7" fmla="*/ 539 h 603"/>
                <a:gd name="T8" fmla="*/ 341 w 568"/>
                <a:gd name="T9" fmla="*/ 603 h 603"/>
                <a:gd name="T10" fmla="*/ 0 w 568"/>
                <a:gd name="T11" fmla="*/ 501 h 603"/>
                <a:gd name="T12" fmla="*/ 149 w 568"/>
                <a:gd name="T13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8" h="603">
                  <a:moveTo>
                    <a:pt x="149" y="0"/>
                  </a:moveTo>
                  <a:lnTo>
                    <a:pt x="568" y="125"/>
                  </a:lnTo>
                  <a:lnTo>
                    <a:pt x="442" y="541"/>
                  </a:lnTo>
                  <a:lnTo>
                    <a:pt x="442" y="539"/>
                  </a:lnTo>
                  <a:lnTo>
                    <a:pt x="341" y="603"/>
                  </a:lnTo>
                  <a:lnTo>
                    <a:pt x="0" y="501"/>
                  </a:lnTo>
                  <a:lnTo>
                    <a:pt x="149" y="0"/>
                  </a:lnTo>
                  <a:close/>
                </a:path>
              </a:pathLst>
            </a:custGeom>
            <a:solidFill>
              <a:srgbClr val="F1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6" name="ísliďé">
              <a:extLst>
                <a:ext uri="{FF2B5EF4-FFF2-40B4-BE49-F238E27FC236}">
                  <a16:creationId xmlns:a16="http://schemas.microsoft.com/office/drawing/2014/main" id="{304E37ED-E2A4-4F09-98D4-A4911AD095EE}"/>
                </a:ext>
              </a:extLst>
            </p:cNvPr>
            <p:cNvSpPr/>
            <p:nvPr/>
          </p:nvSpPr>
          <p:spPr bwMode="auto">
            <a:xfrm>
              <a:off x="7428388" y="3412228"/>
              <a:ext cx="45200" cy="92409"/>
            </a:xfrm>
            <a:custGeom>
              <a:avLst/>
              <a:gdLst>
                <a:gd name="T0" fmla="*/ 26 w 45"/>
                <a:gd name="T1" fmla="*/ 0 h 92"/>
                <a:gd name="T2" fmla="*/ 45 w 45"/>
                <a:gd name="T3" fmla="*/ 5 h 92"/>
                <a:gd name="T4" fmla="*/ 19 w 45"/>
                <a:gd name="T5" fmla="*/ 92 h 92"/>
                <a:gd name="T6" fmla="*/ 0 w 45"/>
                <a:gd name="T7" fmla="*/ 85 h 92"/>
                <a:gd name="T8" fmla="*/ 26 w 45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92">
                  <a:moveTo>
                    <a:pt x="26" y="0"/>
                  </a:moveTo>
                  <a:lnTo>
                    <a:pt x="45" y="5"/>
                  </a:lnTo>
                  <a:lnTo>
                    <a:pt x="19" y="92"/>
                  </a:lnTo>
                  <a:lnTo>
                    <a:pt x="0" y="8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6DB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7" name="îSḻíḋê">
              <a:extLst>
                <a:ext uri="{FF2B5EF4-FFF2-40B4-BE49-F238E27FC236}">
                  <a16:creationId xmlns:a16="http://schemas.microsoft.com/office/drawing/2014/main" id="{09A19040-8CC3-4E8B-8C48-CC62FFEDE065}"/>
                </a:ext>
              </a:extLst>
            </p:cNvPr>
            <p:cNvSpPr/>
            <p:nvPr/>
          </p:nvSpPr>
          <p:spPr bwMode="auto">
            <a:xfrm>
              <a:off x="7459527" y="3386112"/>
              <a:ext cx="52231" cy="125555"/>
            </a:xfrm>
            <a:custGeom>
              <a:avLst/>
              <a:gdLst>
                <a:gd name="T0" fmla="*/ 35 w 52"/>
                <a:gd name="T1" fmla="*/ 0 h 125"/>
                <a:gd name="T2" fmla="*/ 52 w 52"/>
                <a:gd name="T3" fmla="*/ 5 h 125"/>
                <a:gd name="T4" fmla="*/ 16 w 52"/>
                <a:gd name="T5" fmla="*/ 125 h 125"/>
                <a:gd name="T6" fmla="*/ 0 w 52"/>
                <a:gd name="T7" fmla="*/ 121 h 125"/>
                <a:gd name="T8" fmla="*/ 35 w 52"/>
                <a:gd name="T9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25">
                  <a:moveTo>
                    <a:pt x="35" y="0"/>
                  </a:moveTo>
                  <a:lnTo>
                    <a:pt x="52" y="5"/>
                  </a:lnTo>
                  <a:lnTo>
                    <a:pt x="16" y="125"/>
                  </a:lnTo>
                  <a:lnTo>
                    <a:pt x="0" y="121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EB6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8" name="íšļïďè">
              <a:extLst>
                <a:ext uri="{FF2B5EF4-FFF2-40B4-BE49-F238E27FC236}">
                  <a16:creationId xmlns:a16="http://schemas.microsoft.com/office/drawing/2014/main" id="{E594745B-3F96-45E1-9F75-24D7BBD62F3B}"/>
                </a:ext>
              </a:extLst>
            </p:cNvPr>
            <p:cNvSpPr/>
            <p:nvPr/>
          </p:nvSpPr>
          <p:spPr bwMode="auto">
            <a:xfrm>
              <a:off x="7487650" y="3412229"/>
              <a:ext cx="47209" cy="109484"/>
            </a:xfrm>
            <a:custGeom>
              <a:avLst/>
              <a:gdLst>
                <a:gd name="T0" fmla="*/ 31 w 47"/>
                <a:gd name="T1" fmla="*/ 0 h 109"/>
                <a:gd name="T2" fmla="*/ 47 w 47"/>
                <a:gd name="T3" fmla="*/ 5 h 109"/>
                <a:gd name="T4" fmla="*/ 17 w 47"/>
                <a:gd name="T5" fmla="*/ 109 h 109"/>
                <a:gd name="T6" fmla="*/ 0 w 47"/>
                <a:gd name="T7" fmla="*/ 104 h 109"/>
                <a:gd name="T8" fmla="*/ 31 w 47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09">
                  <a:moveTo>
                    <a:pt x="31" y="0"/>
                  </a:moveTo>
                  <a:lnTo>
                    <a:pt x="47" y="5"/>
                  </a:lnTo>
                  <a:lnTo>
                    <a:pt x="17" y="109"/>
                  </a:lnTo>
                  <a:lnTo>
                    <a:pt x="0" y="104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FA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9" name="íšľïďê">
              <a:extLst>
                <a:ext uri="{FF2B5EF4-FFF2-40B4-BE49-F238E27FC236}">
                  <a16:creationId xmlns:a16="http://schemas.microsoft.com/office/drawing/2014/main" id="{D06FDD92-0C33-4989-8894-7D03E5775C7A}"/>
                </a:ext>
              </a:extLst>
            </p:cNvPr>
            <p:cNvSpPr/>
            <p:nvPr/>
          </p:nvSpPr>
          <p:spPr bwMode="auto">
            <a:xfrm>
              <a:off x="7515774" y="3445374"/>
              <a:ext cx="41183" cy="85377"/>
            </a:xfrm>
            <a:custGeom>
              <a:avLst/>
              <a:gdLst>
                <a:gd name="T0" fmla="*/ 24 w 41"/>
                <a:gd name="T1" fmla="*/ 0 h 85"/>
                <a:gd name="T2" fmla="*/ 41 w 41"/>
                <a:gd name="T3" fmla="*/ 5 h 85"/>
                <a:gd name="T4" fmla="*/ 17 w 41"/>
                <a:gd name="T5" fmla="*/ 85 h 85"/>
                <a:gd name="T6" fmla="*/ 0 w 41"/>
                <a:gd name="T7" fmla="*/ 78 h 85"/>
                <a:gd name="T8" fmla="*/ 24 w 41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5">
                  <a:moveTo>
                    <a:pt x="24" y="0"/>
                  </a:moveTo>
                  <a:lnTo>
                    <a:pt x="41" y="5"/>
                  </a:lnTo>
                  <a:lnTo>
                    <a:pt x="17" y="85"/>
                  </a:lnTo>
                  <a:lnTo>
                    <a:pt x="0" y="78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6DB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0" name="iṧḻîḋè">
              <a:extLst>
                <a:ext uri="{FF2B5EF4-FFF2-40B4-BE49-F238E27FC236}">
                  <a16:creationId xmlns:a16="http://schemas.microsoft.com/office/drawing/2014/main" id="{215ABD1E-D339-49C3-8A2D-3BE42878E263}"/>
                </a:ext>
              </a:extLst>
            </p:cNvPr>
            <p:cNvSpPr/>
            <p:nvPr/>
          </p:nvSpPr>
          <p:spPr bwMode="auto">
            <a:xfrm>
              <a:off x="7544903" y="3429303"/>
              <a:ext cx="49217" cy="108479"/>
            </a:xfrm>
            <a:custGeom>
              <a:avLst/>
              <a:gdLst>
                <a:gd name="T0" fmla="*/ 31 w 49"/>
                <a:gd name="T1" fmla="*/ 0 h 108"/>
                <a:gd name="T2" fmla="*/ 49 w 49"/>
                <a:gd name="T3" fmla="*/ 4 h 108"/>
                <a:gd name="T4" fmla="*/ 16 w 49"/>
                <a:gd name="T5" fmla="*/ 108 h 108"/>
                <a:gd name="T6" fmla="*/ 0 w 49"/>
                <a:gd name="T7" fmla="*/ 104 h 108"/>
                <a:gd name="T8" fmla="*/ 31 w 49"/>
                <a:gd name="T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08">
                  <a:moveTo>
                    <a:pt x="31" y="0"/>
                  </a:moveTo>
                  <a:lnTo>
                    <a:pt x="49" y="4"/>
                  </a:lnTo>
                  <a:lnTo>
                    <a:pt x="16" y="108"/>
                  </a:lnTo>
                  <a:lnTo>
                    <a:pt x="0" y="104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B6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1" name="ïṧļîḍè">
              <a:extLst>
                <a:ext uri="{FF2B5EF4-FFF2-40B4-BE49-F238E27FC236}">
                  <a16:creationId xmlns:a16="http://schemas.microsoft.com/office/drawing/2014/main" id="{06BE289B-6473-4C54-8781-0FC570315B29}"/>
                </a:ext>
              </a:extLst>
            </p:cNvPr>
            <p:cNvSpPr/>
            <p:nvPr/>
          </p:nvSpPr>
          <p:spPr bwMode="auto">
            <a:xfrm>
              <a:off x="7573028" y="3417250"/>
              <a:ext cx="55244" cy="130577"/>
            </a:xfrm>
            <a:custGeom>
              <a:avLst/>
              <a:gdLst>
                <a:gd name="T0" fmla="*/ 38 w 55"/>
                <a:gd name="T1" fmla="*/ 0 h 130"/>
                <a:gd name="T2" fmla="*/ 55 w 55"/>
                <a:gd name="T3" fmla="*/ 7 h 130"/>
                <a:gd name="T4" fmla="*/ 19 w 55"/>
                <a:gd name="T5" fmla="*/ 130 h 130"/>
                <a:gd name="T6" fmla="*/ 0 w 55"/>
                <a:gd name="T7" fmla="*/ 125 h 130"/>
                <a:gd name="T8" fmla="*/ 38 w 55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130">
                  <a:moveTo>
                    <a:pt x="38" y="0"/>
                  </a:moveTo>
                  <a:lnTo>
                    <a:pt x="55" y="7"/>
                  </a:lnTo>
                  <a:lnTo>
                    <a:pt x="19" y="130"/>
                  </a:lnTo>
                  <a:lnTo>
                    <a:pt x="0" y="125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EFA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2" name="ïşliḋè">
              <a:extLst>
                <a:ext uri="{FF2B5EF4-FFF2-40B4-BE49-F238E27FC236}">
                  <a16:creationId xmlns:a16="http://schemas.microsoft.com/office/drawing/2014/main" id="{1FD55805-3D8C-47E1-BC81-B8F523942EDF}"/>
                </a:ext>
              </a:extLst>
            </p:cNvPr>
            <p:cNvSpPr/>
            <p:nvPr/>
          </p:nvSpPr>
          <p:spPr bwMode="auto">
            <a:xfrm>
              <a:off x="7602156" y="3405197"/>
              <a:ext cx="61271" cy="149662"/>
            </a:xfrm>
            <a:custGeom>
              <a:avLst/>
              <a:gdLst>
                <a:gd name="T0" fmla="*/ 44 w 61"/>
                <a:gd name="T1" fmla="*/ 0 h 149"/>
                <a:gd name="T2" fmla="*/ 61 w 61"/>
                <a:gd name="T3" fmla="*/ 5 h 149"/>
                <a:gd name="T4" fmla="*/ 18 w 61"/>
                <a:gd name="T5" fmla="*/ 149 h 149"/>
                <a:gd name="T6" fmla="*/ 0 w 61"/>
                <a:gd name="T7" fmla="*/ 144 h 149"/>
                <a:gd name="T8" fmla="*/ 44 w 61"/>
                <a:gd name="T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49">
                  <a:moveTo>
                    <a:pt x="44" y="0"/>
                  </a:moveTo>
                  <a:lnTo>
                    <a:pt x="61" y="5"/>
                  </a:lnTo>
                  <a:lnTo>
                    <a:pt x="18" y="149"/>
                  </a:lnTo>
                  <a:lnTo>
                    <a:pt x="0" y="144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6DB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3" name="îs1íḍe">
              <a:extLst>
                <a:ext uri="{FF2B5EF4-FFF2-40B4-BE49-F238E27FC236}">
                  <a16:creationId xmlns:a16="http://schemas.microsoft.com/office/drawing/2014/main" id="{572B322C-AB64-4ABC-8667-6D95A966A9E8}"/>
                </a:ext>
              </a:extLst>
            </p:cNvPr>
            <p:cNvSpPr/>
            <p:nvPr/>
          </p:nvSpPr>
          <p:spPr bwMode="auto">
            <a:xfrm>
              <a:off x="7632290" y="3443365"/>
              <a:ext cx="52231" cy="120533"/>
            </a:xfrm>
            <a:custGeom>
              <a:avLst/>
              <a:gdLst>
                <a:gd name="T0" fmla="*/ 33 w 52"/>
                <a:gd name="T1" fmla="*/ 0 h 120"/>
                <a:gd name="T2" fmla="*/ 52 w 52"/>
                <a:gd name="T3" fmla="*/ 5 h 120"/>
                <a:gd name="T4" fmla="*/ 17 w 52"/>
                <a:gd name="T5" fmla="*/ 120 h 120"/>
                <a:gd name="T6" fmla="*/ 0 w 52"/>
                <a:gd name="T7" fmla="*/ 116 h 120"/>
                <a:gd name="T8" fmla="*/ 33 w 52"/>
                <a:gd name="T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20">
                  <a:moveTo>
                    <a:pt x="33" y="0"/>
                  </a:moveTo>
                  <a:lnTo>
                    <a:pt x="52" y="5"/>
                  </a:lnTo>
                  <a:lnTo>
                    <a:pt x="17" y="120"/>
                  </a:lnTo>
                  <a:lnTo>
                    <a:pt x="0" y="116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EB6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4" name="islïḑê">
              <a:extLst>
                <a:ext uri="{FF2B5EF4-FFF2-40B4-BE49-F238E27FC236}">
                  <a16:creationId xmlns:a16="http://schemas.microsoft.com/office/drawing/2014/main" id="{0BD8BF9B-9C6F-4616-B2CB-9461CD3CCE45}"/>
                </a:ext>
              </a:extLst>
            </p:cNvPr>
            <p:cNvSpPr/>
            <p:nvPr/>
          </p:nvSpPr>
          <p:spPr bwMode="auto">
            <a:xfrm>
              <a:off x="7661418" y="3476512"/>
              <a:ext cx="45200" cy="97430"/>
            </a:xfrm>
            <a:custGeom>
              <a:avLst/>
              <a:gdLst>
                <a:gd name="T0" fmla="*/ 26 w 45"/>
                <a:gd name="T1" fmla="*/ 0 h 97"/>
                <a:gd name="T2" fmla="*/ 45 w 45"/>
                <a:gd name="T3" fmla="*/ 5 h 97"/>
                <a:gd name="T4" fmla="*/ 16 w 45"/>
                <a:gd name="T5" fmla="*/ 97 h 97"/>
                <a:gd name="T6" fmla="*/ 0 w 45"/>
                <a:gd name="T7" fmla="*/ 92 h 97"/>
                <a:gd name="T8" fmla="*/ 26 w 4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97">
                  <a:moveTo>
                    <a:pt x="26" y="0"/>
                  </a:moveTo>
                  <a:lnTo>
                    <a:pt x="45" y="5"/>
                  </a:lnTo>
                  <a:lnTo>
                    <a:pt x="16" y="97"/>
                  </a:lnTo>
                  <a:lnTo>
                    <a:pt x="0" y="9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EFA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5" name="îṥ1íďe">
              <a:extLst>
                <a:ext uri="{FF2B5EF4-FFF2-40B4-BE49-F238E27FC236}">
                  <a16:creationId xmlns:a16="http://schemas.microsoft.com/office/drawing/2014/main" id="{D7F76575-9831-4A7C-9CF1-B8EECF581803}"/>
                </a:ext>
              </a:extLst>
            </p:cNvPr>
            <p:cNvSpPr/>
            <p:nvPr/>
          </p:nvSpPr>
          <p:spPr bwMode="auto">
            <a:xfrm>
              <a:off x="7604164" y="3626174"/>
              <a:ext cx="28124" cy="19085"/>
            </a:xfrm>
            <a:custGeom>
              <a:avLst/>
              <a:gdLst>
                <a:gd name="T0" fmla="*/ 0 w 12"/>
                <a:gd name="T1" fmla="*/ 0 h 8"/>
                <a:gd name="T2" fmla="*/ 10 w 12"/>
                <a:gd name="T3" fmla="*/ 8 h 8"/>
                <a:gd name="T4" fmla="*/ 12 w 12"/>
                <a:gd name="T5" fmla="*/ 1 h 8"/>
                <a:gd name="T6" fmla="*/ 12 w 12"/>
                <a:gd name="T7" fmla="*/ 1 h 8"/>
                <a:gd name="T8" fmla="*/ 0 w 12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">
                  <a:moveTo>
                    <a:pt x="0" y="0"/>
                  </a:moveTo>
                  <a:cubicBezTo>
                    <a:pt x="10" y="8"/>
                    <a:pt x="10" y="8"/>
                    <a:pt x="10" y="8"/>
                  </a:cubicBezTo>
                  <a:cubicBezTo>
                    <a:pt x="12" y="6"/>
                    <a:pt x="12" y="3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B6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6" name="îsḷíḍè">
              <a:extLst>
                <a:ext uri="{FF2B5EF4-FFF2-40B4-BE49-F238E27FC236}">
                  <a16:creationId xmlns:a16="http://schemas.microsoft.com/office/drawing/2014/main" id="{97779B5B-CB9C-420A-BBD0-F71F79CE03F4}"/>
                </a:ext>
              </a:extLst>
            </p:cNvPr>
            <p:cNvSpPr/>
            <p:nvPr/>
          </p:nvSpPr>
          <p:spPr bwMode="auto">
            <a:xfrm>
              <a:off x="7604164" y="3598048"/>
              <a:ext cx="31138" cy="30133"/>
            </a:xfrm>
            <a:custGeom>
              <a:avLst/>
              <a:gdLst>
                <a:gd name="T0" fmla="*/ 0 w 13"/>
                <a:gd name="T1" fmla="*/ 12 h 13"/>
                <a:gd name="T2" fmla="*/ 12 w 13"/>
                <a:gd name="T3" fmla="*/ 13 h 13"/>
                <a:gd name="T4" fmla="*/ 0 w 13"/>
                <a:gd name="T5" fmla="*/ 0 h 13"/>
                <a:gd name="T6" fmla="*/ 0 w 13"/>
                <a:gd name="T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">
                  <a:moveTo>
                    <a:pt x="0" y="12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3" y="6"/>
                    <a:pt x="7" y="0"/>
                    <a:pt x="0" y="0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EFA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7" name="íŝľidê">
              <a:extLst>
                <a:ext uri="{FF2B5EF4-FFF2-40B4-BE49-F238E27FC236}">
                  <a16:creationId xmlns:a16="http://schemas.microsoft.com/office/drawing/2014/main" id="{6FB194F8-BD52-4710-B6AC-91F9AD99F4EA}"/>
                </a:ext>
              </a:extLst>
            </p:cNvPr>
            <p:cNvSpPr/>
            <p:nvPr/>
          </p:nvSpPr>
          <p:spPr bwMode="auto">
            <a:xfrm>
              <a:off x="7573028" y="3598050"/>
              <a:ext cx="55244" cy="59262"/>
            </a:xfrm>
            <a:custGeom>
              <a:avLst/>
              <a:gdLst>
                <a:gd name="T0" fmla="*/ 13 w 23"/>
                <a:gd name="T1" fmla="*/ 12 h 25"/>
                <a:gd name="T2" fmla="*/ 13 w 23"/>
                <a:gd name="T3" fmla="*/ 0 h 25"/>
                <a:gd name="T4" fmla="*/ 1 w 23"/>
                <a:gd name="T5" fmla="*/ 12 h 25"/>
                <a:gd name="T6" fmla="*/ 13 w 23"/>
                <a:gd name="T7" fmla="*/ 25 h 25"/>
                <a:gd name="T8" fmla="*/ 23 w 23"/>
                <a:gd name="T9" fmla="*/ 20 h 25"/>
                <a:gd name="T10" fmla="*/ 13 w 23"/>
                <a:gd name="T11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5">
                  <a:moveTo>
                    <a:pt x="13" y="12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7" y="0"/>
                    <a:pt x="1" y="5"/>
                    <a:pt x="1" y="12"/>
                  </a:cubicBezTo>
                  <a:cubicBezTo>
                    <a:pt x="0" y="19"/>
                    <a:pt x="6" y="25"/>
                    <a:pt x="13" y="25"/>
                  </a:cubicBezTo>
                  <a:cubicBezTo>
                    <a:pt x="17" y="25"/>
                    <a:pt x="21" y="23"/>
                    <a:pt x="23" y="20"/>
                  </a:cubicBezTo>
                  <a:cubicBezTo>
                    <a:pt x="13" y="12"/>
                    <a:pt x="13" y="12"/>
                    <a:pt x="13" y="12"/>
                  </a:cubicBezTo>
                  <a:close/>
                </a:path>
              </a:pathLst>
            </a:custGeom>
            <a:solidFill>
              <a:srgbClr val="6DB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8" name="i$ļïdê">
              <a:extLst>
                <a:ext uri="{FF2B5EF4-FFF2-40B4-BE49-F238E27FC236}">
                  <a16:creationId xmlns:a16="http://schemas.microsoft.com/office/drawing/2014/main" id="{D99F3588-5BC8-4A53-AA19-B55F24AA64AC}"/>
                </a:ext>
              </a:extLst>
            </p:cNvPr>
            <p:cNvSpPr/>
            <p:nvPr/>
          </p:nvSpPr>
          <p:spPr bwMode="auto">
            <a:xfrm>
              <a:off x="7492673" y="3570929"/>
              <a:ext cx="61271" cy="60266"/>
            </a:xfrm>
            <a:custGeom>
              <a:avLst/>
              <a:gdLst>
                <a:gd name="T0" fmla="*/ 13 w 26"/>
                <a:gd name="T1" fmla="*/ 0 h 25"/>
                <a:gd name="T2" fmla="*/ 1 w 26"/>
                <a:gd name="T3" fmla="*/ 12 h 25"/>
                <a:gd name="T4" fmla="*/ 13 w 26"/>
                <a:gd name="T5" fmla="*/ 25 h 25"/>
                <a:gd name="T6" fmla="*/ 23 w 26"/>
                <a:gd name="T7" fmla="*/ 20 h 25"/>
                <a:gd name="T8" fmla="*/ 25 w 26"/>
                <a:gd name="T9" fmla="*/ 13 h 25"/>
                <a:gd name="T10" fmla="*/ 25 w 26"/>
                <a:gd name="T11" fmla="*/ 13 h 25"/>
                <a:gd name="T12" fmla="*/ 13 w 26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13" y="0"/>
                  </a:moveTo>
                  <a:cubicBezTo>
                    <a:pt x="6" y="0"/>
                    <a:pt x="1" y="5"/>
                    <a:pt x="1" y="12"/>
                  </a:cubicBezTo>
                  <a:cubicBezTo>
                    <a:pt x="0" y="19"/>
                    <a:pt x="6" y="25"/>
                    <a:pt x="13" y="25"/>
                  </a:cubicBezTo>
                  <a:cubicBezTo>
                    <a:pt x="17" y="25"/>
                    <a:pt x="21" y="23"/>
                    <a:pt x="23" y="20"/>
                  </a:cubicBezTo>
                  <a:cubicBezTo>
                    <a:pt x="24" y="18"/>
                    <a:pt x="25" y="16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6"/>
                    <a:pt x="20" y="1"/>
                    <a:pt x="13" y="0"/>
                  </a:cubicBezTo>
                </a:path>
              </a:pathLst>
            </a:custGeom>
            <a:solidFill>
              <a:srgbClr val="6DB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9" name="ïŝľïḑe">
              <a:extLst>
                <a:ext uri="{FF2B5EF4-FFF2-40B4-BE49-F238E27FC236}">
                  <a16:creationId xmlns:a16="http://schemas.microsoft.com/office/drawing/2014/main" id="{7BF43042-2D62-4891-A03F-64B237AE7FC6}"/>
                </a:ext>
              </a:extLst>
            </p:cNvPr>
            <p:cNvSpPr/>
            <p:nvPr/>
          </p:nvSpPr>
          <p:spPr bwMode="auto">
            <a:xfrm>
              <a:off x="7523810" y="3570930"/>
              <a:ext cx="28124" cy="31138"/>
            </a:xfrm>
            <a:custGeom>
              <a:avLst/>
              <a:gdLst>
                <a:gd name="T0" fmla="*/ 0 w 12"/>
                <a:gd name="T1" fmla="*/ 0 h 13"/>
                <a:gd name="T2" fmla="*/ 0 w 12"/>
                <a:gd name="T3" fmla="*/ 13 h 13"/>
                <a:gd name="T4" fmla="*/ 0 w 12"/>
                <a:gd name="T5" fmla="*/ 13 h 13"/>
                <a:gd name="T6" fmla="*/ 0 w 12"/>
                <a:gd name="T7" fmla="*/ 13 h 13"/>
                <a:gd name="T8" fmla="*/ 12 w 12"/>
                <a:gd name="T9" fmla="*/ 9 h 13"/>
                <a:gd name="T10" fmla="*/ 0 w 12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3">
                  <a:moveTo>
                    <a:pt x="0" y="0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0" y="4"/>
                    <a:pt x="6" y="1"/>
                    <a:pt x="0" y="0"/>
                  </a:cubicBezTo>
                </a:path>
              </a:pathLst>
            </a:custGeom>
            <a:solidFill>
              <a:srgbClr val="EFA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0" name="islîdê">
              <a:extLst>
                <a:ext uri="{FF2B5EF4-FFF2-40B4-BE49-F238E27FC236}">
                  <a16:creationId xmlns:a16="http://schemas.microsoft.com/office/drawing/2014/main" id="{9F40B5CC-A5BD-4DBB-9045-C732ECDBDBE8}"/>
                </a:ext>
              </a:extLst>
            </p:cNvPr>
            <p:cNvSpPr/>
            <p:nvPr/>
          </p:nvSpPr>
          <p:spPr bwMode="auto">
            <a:xfrm>
              <a:off x="7501712" y="3593026"/>
              <a:ext cx="50221" cy="38169"/>
            </a:xfrm>
            <a:custGeom>
              <a:avLst/>
              <a:gdLst>
                <a:gd name="T0" fmla="*/ 21 w 21"/>
                <a:gd name="T1" fmla="*/ 0 h 16"/>
                <a:gd name="T2" fmla="*/ 9 w 21"/>
                <a:gd name="T3" fmla="*/ 4 h 16"/>
                <a:gd name="T4" fmla="*/ 9 w 21"/>
                <a:gd name="T5" fmla="*/ 4 h 16"/>
                <a:gd name="T6" fmla="*/ 0 w 21"/>
                <a:gd name="T7" fmla="*/ 12 h 16"/>
                <a:gd name="T8" fmla="*/ 9 w 21"/>
                <a:gd name="T9" fmla="*/ 16 h 16"/>
                <a:gd name="T10" fmla="*/ 18 w 21"/>
                <a:gd name="T11" fmla="*/ 12 h 16"/>
                <a:gd name="T12" fmla="*/ 21 w 21"/>
                <a:gd name="T13" fmla="*/ 4 h 16"/>
                <a:gd name="T14" fmla="*/ 21 w 21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6">
                  <a:moveTo>
                    <a:pt x="21" y="0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15"/>
                    <a:pt x="5" y="16"/>
                    <a:pt x="9" y="16"/>
                  </a:cubicBezTo>
                  <a:cubicBezTo>
                    <a:pt x="12" y="16"/>
                    <a:pt x="16" y="15"/>
                    <a:pt x="18" y="12"/>
                  </a:cubicBezTo>
                  <a:cubicBezTo>
                    <a:pt x="20" y="10"/>
                    <a:pt x="21" y="7"/>
                    <a:pt x="21" y="4"/>
                  </a:cubicBezTo>
                  <a:cubicBezTo>
                    <a:pt x="21" y="3"/>
                    <a:pt x="21" y="2"/>
                    <a:pt x="21" y="0"/>
                  </a:cubicBezTo>
                </a:path>
              </a:pathLst>
            </a:custGeom>
            <a:solidFill>
              <a:srgbClr val="EB6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1" name="íṩ1iḋe">
              <a:extLst>
                <a:ext uri="{FF2B5EF4-FFF2-40B4-BE49-F238E27FC236}">
                  <a16:creationId xmlns:a16="http://schemas.microsoft.com/office/drawing/2014/main" id="{59C49C7A-6BF1-4E69-968B-1B0B009E3211}"/>
                </a:ext>
              </a:extLst>
            </p:cNvPr>
            <p:cNvSpPr/>
            <p:nvPr/>
          </p:nvSpPr>
          <p:spPr bwMode="auto">
            <a:xfrm>
              <a:off x="7411313" y="3547828"/>
              <a:ext cx="60267" cy="59262"/>
            </a:xfrm>
            <a:custGeom>
              <a:avLst/>
              <a:gdLst>
                <a:gd name="T0" fmla="*/ 13 w 25"/>
                <a:gd name="T1" fmla="*/ 1 h 25"/>
                <a:gd name="T2" fmla="*/ 0 w 25"/>
                <a:gd name="T3" fmla="*/ 13 h 25"/>
                <a:gd name="T4" fmla="*/ 12 w 25"/>
                <a:gd name="T5" fmla="*/ 25 h 25"/>
                <a:gd name="T6" fmla="*/ 23 w 25"/>
                <a:gd name="T7" fmla="*/ 20 h 25"/>
                <a:gd name="T8" fmla="*/ 25 w 25"/>
                <a:gd name="T9" fmla="*/ 13 h 25"/>
                <a:gd name="T10" fmla="*/ 25 w 25"/>
                <a:gd name="T11" fmla="*/ 13 h 25"/>
                <a:gd name="T12" fmla="*/ 13 w 25"/>
                <a:gd name="T13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13" y="1"/>
                  </a:moveTo>
                  <a:cubicBezTo>
                    <a:pt x="6" y="0"/>
                    <a:pt x="0" y="6"/>
                    <a:pt x="0" y="13"/>
                  </a:cubicBezTo>
                  <a:cubicBezTo>
                    <a:pt x="0" y="19"/>
                    <a:pt x="5" y="25"/>
                    <a:pt x="12" y="25"/>
                  </a:cubicBezTo>
                  <a:cubicBezTo>
                    <a:pt x="16" y="25"/>
                    <a:pt x="20" y="23"/>
                    <a:pt x="23" y="20"/>
                  </a:cubicBezTo>
                  <a:cubicBezTo>
                    <a:pt x="24" y="18"/>
                    <a:pt x="25" y="16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6"/>
                    <a:pt x="20" y="1"/>
                    <a:pt x="13" y="1"/>
                  </a:cubicBezTo>
                </a:path>
              </a:pathLst>
            </a:custGeom>
            <a:solidFill>
              <a:srgbClr val="6DB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2" name="îśḷîdé">
              <a:extLst>
                <a:ext uri="{FF2B5EF4-FFF2-40B4-BE49-F238E27FC236}">
                  <a16:creationId xmlns:a16="http://schemas.microsoft.com/office/drawing/2014/main" id="{87000BDC-C7F8-485D-8190-270E0E39DC03}"/>
                </a:ext>
              </a:extLst>
            </p:cNvPr>
            <p:cNvSpPr/>
            <p:nvPr/>
          </p:nvSpPr>
          <p:spPr bwMode="auto">
            <a:xfrm>
              <a:off x="7414326" y="3578964"/>
              <a:ext cx="42186" cy="28124"/>
            </a:xfrm>
            <a:custGeom>
              <a:avLst/>
              <a:gdLst>
                <a:gd name="T0" fmla="*/ 18 w 18"/>
                <a:gd name="T1" fmla="*/ 10 h 12"/>
                <a:gd name="T2" fmla="*/ 11 w 18"/>
                <a:gd name="T3" fmla="*/ 0 h 12"/>
                <a:gd name="T4" fmla="*/ 0 w 18"/>
                <a:gd name="T5" fmla="*/ 3 h 12"/>
                <a:gd name="T6" fmla="*/ 11 w 18"/>
                <a:gd name="T7" fmla="*/ 12 h 12"/>
                <a:gd name="T8" fmla="*/ 18 w 18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8" y="1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8"/>
                    <a:pt x="6" y="12"/>
                    <a:pt x="11" y="12"/>
                  </a:cubicBezTo>
                  <a:cubicBezTo>
                    <a:pt x="14" y="12"/>
                    <a:pt x="16" y="12"/>
                    <a:pt x="18" y="10"/>
                  </a:cubicBezTo>
                </a:path>
              </a:pathLst>
            </a:custGeom>
            <a:solidFill>
              <a:srgbClr val="EB6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3" name="îS1íḑè">
              <a:extLst>
                <a:ext uri="{FF2B5EF4-FFF2-40B4-BE49-F238E27FC236}">
                  <a16:creationId xmlns:a16="http://schemas.microsoft.com/office/drawing/2014/main" id="{33F8A4CE-D766-41CE-9A29-12E63AEF71A5}"/>
                </a:ext>
              </a:extLst>
            </p:cNvPr>
            <p:cNvSpPr/>
            <p:nvPr/>
          </p:nvSpPr>
          <p:spPr bwMode="auto">
            <a:xfrm>
              <a:off x="7440441" y="3559881"/>
              <a:ext cx="31138" cy="42186"/>
            </a:xfrm>
            <a:custGeom>
              <a:avLst/>
              <a:gdLst>
                <a:gd name="T0" fmla="*/ 0 w 13"/>
                <a:gd name="T1" fmla="*/ 8 h 18"/>
                <a:gd name="T2" fmla="*/ 7 w 13"/>
                <a:gd name="T3" fmla="*/ 18 h 18"/>
                <a:gd name="T4" fmla="*/ 13 w 13"/>
                <a:gd name="T5" fmla="*/ 8 h 18"/>
                <a:gd name="T6" fmla="*/ 10 w 13"/>
                <a:gd name="T7" fmla="*/ 0 h 18"/>
                <a:gd name="T8" fmla="*/ 0 w 13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8">
                  <a:moveTo>
                    <a:pt x="0" y="8"/>
                  </a:moveTo>
                  <a:cubicBezTo>
                    <a:pt x="7" y="18"/>
                    <a:pt x="7" y="18"/>
                    <a:pt x="7" y="18"/>
                  </a:cubicBezTo>
                  <a:cubicBezTo>
                    <a:pt x="10" y="16"/>
                    <a:pt x="13" y="13"/>
                    <a:pt x="13" y="8"/>
                  </a:cubicBezTo>
                  <a:cubicBezTo>
                    <a:pt x="13" y="5"/>
                    <a:pt x="12" y="2"/>
                    <a:pt x="10" y="0"/>
                  </a:cubicBezTo>
                  <a:cubicBezTo>
                    <a:pt x="0" y="8"/>
                    <a:pt x="0" y="8"/>
                    <a:pt x="0" y="8"/>
                  </a:cubicBezTo>
                  <a:close/>
                </a:path>
              </a:pathLst>
            </a:custGeom>
            <a:solidFill>
              <a:srgbClr val="EFA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4" name="íṥľíḍe">
              <a:extLst>
                <a:ext uri="{FF2B5EF4-FFF2-40B4-BE49-F238E27FC236}">
                  <a16:creationId xmlns:a16="http://schemas.microsoft.com/office/drawing/2014/main" id="{A722DB7B-9AA4-4A7C-BF85-3931B741B207}"/>
                </a:ext>
              </a:extLst>
            </p:cNvPr>
            <p:cNvSpPr/>
            <p:nvPr/>
          </p:nvSpPr>
          <p:spPr bwMode="auto">
            <a:xfrm>
              <a:off x="7355064" y="3626173"/>
              <a:ext cx="94417" cy="33147"/>
            </a:xfrm>
            <a:custGeom>
              <a:avLst/>
              <a:gdLst>
                <a:gd name="T0" fmla="*/ 2 w 94"/>
                <a:gd name="T1" fmla="*/ 0 h 33"/>
                <a:gd name="T2" fmla="*/ 94 w 94"/>
                <a:gd name="T3" fmla="*/ 28 h 33"/>
                <a:gd name="T4" fmla="*/ 92 w 94"/>
                <a:gd name="T5" fmla="*/ 33 h 33"/>
                <a:gd name="T6" fmla="*/ 0 w 94"/>
                <a:gd name="T7" fmla="*/ 5 h 33"/>
                <a:gd name="T8" fmla="*/ 2 w 94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33">
                  <a:moveTo>
                    <a:pt x="2" y="0"/>
                  </a:moveTo>
                  <a:lnTo>
                    <a:pt x="94" y="28"/>
                  </a:lnTo>
                  <a:lnTo>
                    <a:pt x="92" y="33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5" name="îşļîḋe">
              <a:extLst>
                <a:ext uri="{FF2B5EF4-FFF2-40B4-BE49-F238E27FC236}">
                  <a16:creationId xmlns:a16="http://schemas.microsoft.com/office/drawing/2014/main" id="{BDFFDED2-1157-400C-82B5-AC49B58D8A21}"/>
                </a:ext>
              </a:extLst>
            </p:cNvPr>
            <p:cNvSpPr/>
            <p:nvPr/>
          </p:nvSpPr>
          <p:spPr bwMode="auto">
            <a:xfrm>
              <a:off x="7350042" y="3640236"/>
              <a:ext cx="95422" cy="33147"/>
            </a:xfrm>
            <a:custGeom>
              <a:avLst/>
              <a:gdLst>
                <a:gd name="T0" fmla="*/ 2 w 95"/>
                <a:gd name="T1" fmla="*/ 0 h 33"/>
                <a:gd name="T2" fmla="*/ 95 w 95"/>
                <a:gd name="T3" fmla="*/ 28 h 33"/>
                <a:gd name="T4" fmla="*/ 95 w 95"/>
                <a:gd name="T5" fmla="*/ 33 h 33"/>
                <a:gd name="T6" fmla="*/ 0 w 95"/>
                <a:gd name="T7" fmla="*/ 5 h 33"/>
                <a:gd name="T8" fmla="*/ 2 w 95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33">
                  <a:moveTo>
                    <a:pt x="2" y="0"/>
                  </a:moveTo>
                  <a:lnTo>
                    <a:pt x="95" y="28"/>
                  </a:lnTo>
                  <a:lnTo>
                    <a:pt x="95" y="33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6" name="iṧļîḓé">
              <a:extLst>
                <a:ext uri="{FF2B5EF4-FFF2-40B4-BE49-F238E27FC236}">
                  <a16:creationId xmlns:a16="http://schemas.microsoft.com/office/drawing/2014/main" id="{46766405-0DDA-4E54-BADB-3226895EAB0D}"/>
                </a:ext>
              </a:extLst>
            </p:cNvPr>
            <p:cNvSpPr/>
            <p:nvPr/>
          </p:nvSpPr>
          <p:spPr bwMode="auto">
            <a:xfrm>
              <a:off x="7345020" y="3654298"/>
              <a:ext cx="97431" cy="33147"/>
            </a:xfrm>
            <a:custGeom>
              <a:avLst/>
              <a:gdLst>
                <a:gd name="T0" fmla="*/ 3 w 97"/>
                <a:gd name="T1" fmla="*/ 0 h 33"/>
                <a:gd name="T2" fmla="*/ 97 w 97"/>
                <a:gd name="T3" fmla="*/ 29 h 33"/>
                <a:gd name="T4" fmla="*/ 95 w 97"/>
                <a:gd name="T5" fmla="*/ 33 h 33"/>
                <a:gd name="T6" fmla="*/ 0 w 97"/>
                <a:gd name="T7" fmla="*/ 7 h 33"/>
                <a:gd name="T8" fmla="*/ 3 w 97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3">
                  <a:moveTo>
                    <a:pt x="3" y="0"/>
                  </a:moveTo>
                  <a:lnTo>
                    <a:pt x="97" y="29"/>
                  </a:lnTo>
                  <a:lnTo>
                    <a:pt x="95" y="33"/>
                  </a:lnTo>
                  <a:lnTo>
                    <a:pt x="0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7" name="ïSḻíḍê">
              <a:extLst>
                <a:ext uri="{FF2B5EF4-FFF2-40B4-BE49-F238E27FC236}">
                  <a16:creationId xmlns:a16="http://schemas.microsoft.com/office/drawing/2014/main" id="{85CAD48B-C4A6-4305-99F5-0DCDD4E28666}"/>
                </a:ext>
              </a:extLst>
            </p:cNvPr>
            <p:cNvSpPr/>
            <p:nvPr/>
          </p:nvSpPr>
          <p:spPr bwMode="auto">
            <a:xfrm>
              <a:off x="7339998" y="3668359"/>
              <a:ext cx="97431" cy="34151"/>
            </a:xfrm>
            <a:custGeom>
              <a:avLst/>
              <a:gdLst>
                <a:gd name="T0" fmla="*/ 3 w 97"/>
                <a:gd name="T1" fmla="*/ 0 h 34"/>
                <a:gd name="T2" fmla="*/ 97 w 97"/>
                <a:gd name="T3" fmla="*/ 29 h 34"/>
                <a:gd name="T4" fmla="*/ 95 w 97"/>
                <a:gd name="T5" fmla="*/ 34 h 34"/>
                <a:gd name="T6" fmla="*/ 0 w 97"/>
                <a:gd name="T7" fmla="*/ 8 h 34"/>
                <a:gd name="T8" fmla="*/ 3 w 97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4">
                  <a:moveTo>
                    <a:pt x="3" y="0"/>
                  </a:moveTo>
                  <a:lnTo>
                    <a:pt x="97" y="29"/>
                  </a:lnTo>
                  <a:lnTo>
                    <a:pt x="95" y="34"/>
                  </a:lnTo>
                  <a:lnTo>
                    <a:pt x="0" y="8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8" name="isļïdè">
              <a:extLst>
                <a:ext uri="{FF2B5EF4-FFF2-40B4-BE49-F238E27FC236}">
                  <a16:creationId xmlns:a16="http://schemas.microsoft.com/office/drawing/2014/main" id="{67DE4293-75A4-4AD6-A58C-66294C6B3876}"/>
                </a:ext>
              </a:extLst>
            </p:cNvPr>
            <p:cNvSpPr/>
            <p:nvPr/>
          </p:nvSpPr>
          <p:spPr bwMode="auto">
            <a:xfrm>
              <a:off x="7337988" y="3683426"/>
              <a:ext cx="95422" cy="35156"/>
            </a:xfrm>
            <a:custGeom>
              <a:avLst/>
              <a:gdLst>
                <a:gd name="T0" fmla="*/ 0 w 95"/>
                <a:gd name="T1" fmla="*/ 0 h 35"/>
                <a:gd name="T2" fmla="*/ 95 w 95"/>
                <a:gd name="T3" fmla="*/ 28 h 35"/>
                <a:gd name="T4" fmla="*/ 92 w 95"/>
                <a:gd name="T5" fmla="*/ 35 h 35"/>
                <a:gd name="T6" fmla="*/ 0 w 95"/>
                <a:gd name="T7" fmla="*/ 7 h 35"/>
                <a:gd name="T8" fmla="*/ 0 w 95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35">
                  <a:moveTo>
                    <a:pt x="0" y="0"/>
                  </a:moveTo>
                  <a:lnTo>
                    <a:pt x="95" y="28"/>
                  </a:lnTo>
                  <a:lnTo>
                    <a:pt x="92" y="35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9" name="išļïdé">
              <a:extLst>
                <a:ext uri="{FF2B5EF4-FFF2-40B4-BE49-F238E27FC236}">
                  <a16:creationId xmlns:a16="http://schemas.microsoft.com/office/drawing/2014/main" id="{60909176-B82D-4400-B80E-3196CA529EAB}"/>
                </a:ext>
              </a:extLst>
            </p:cNvPr>
            <p:cNvSpPr/>
            <p:nvPr/>
          </p:nvSpPr>
          <p:spPr bwMode="auto">
            <a:xfrm>
              <a:off x="7332966" y="3697488"/>
              <a:ext cx="95422" cy="35156"/>
            </a:xfrm>
            <a:custGeom>
              <a:avLst/>
              <a:gdLst>
                <a:gd name="T0" fmla="*/ 0 w 95"/>
                <a:gd name="T1" fmla="*/ 0 h 35"/>
                <a:gd name="T2" fmla="*/ 95 w 95"/>
                <a:gd name="T3" fmla="*/ 28 h 35"/>
                <a:gd name="T4" fmla="*/ 93 w 95"/>
                <a:gd name="T5" fmla="*/ 35 h 35"/>
                <a:gd name="T6" fmla="*/ 0 w 95"/>
                <a:gd name="T7" fmla="*/ 7 h 35"/>
                <a:gd name="T8" fmla="*/ 0 w 95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35">
                  <a:moveTo>
                    <a:pt x="0" y="0"/>
                  </a:moveTo>
                  <a:lnTo>
                    <a:pt x="95" y="28"/>
                  </a:lnTo>
                  <a:lnTo>
                    <a:pt x="93" y="35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0" name="íşḻïḑè">
              <a:extLst>
                <a:ext uri="{FF2B5EF4-FFF2-40B4-BE49-F238E27FC236}">
                  <a16:creationId xmlns:a16="http://schemas.microsoft.com/office/drawing/2014/main" id="{B924D672-4E5E-4EF0-B480-7B034212939F}"/>
                </a:ext>
              </a:extLst>
            </p:cNvPr>
            <p:cNvSpPr/>
            <p:nvPr/>
          </p:nvSpPr>
          <p:spPr bwMode="auto">
            <a:xfrm>
              <a:off x="7328949" y="3711550"/>
              <a:ext cx="71316" cy="28124"/>
            </a:xfrm>
            <a:custGeom>
              <a:avLst/>
              <a:gdLst>
                <a:gd name="T0" fmla="*/ 2 w 71"/>
                <a:gd name="T1" fmla="*/ 0 h 28"/>
                <a:gd name="T2" fmla="*/ 71 w 71"/>
                <a:gd name="T3" fmla="*/ 21 h 28"/>
                <a:gd name="T4" fmla="*/ 68 w 71"/>
                <a:gd name="T5" fmla="*/ 28 h 28"/>
                <a:gd name="T6" fmla="*/ 0 w 71"/>
                <a:gd name="T7" fmla="*/ 7 h 28"/>
                <a:gd name="T8" fmla="*/ 2 w 71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28">
                  <a:moveTo>
                    <a:pt x="2" y="0"/>
                  </a:moveTo>
                  <a:lnTo>
                    <a:pt x="71" y="21"/>
                  </a:lnTo>
                  <a:lnTo>
                    <a:pt x="68" y="28"/>
                  </a:lnTo>
                  <a:lnTo>
                    <a:pt x="0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1" name="îS1îḑè">
              <a:extLst>
                <a:ext uri="{FF2B5EF4-FFF2-40B4-BE49-F238E27FC236}">
                  <a16:creationId xmlns:a16="http://schemas.microsoft.com/office/drawing/2014/main" id="{086F0350-85E5-40D2-BB75-781EB71844CD}"/>
                </a:ext>
              </a:extLst>
            </p:cNvPr>
            <p:cNvSpPr/>
            <p:nvPr/>
          </p:nvSpPr>
          <p:spPr bwMode="auto">
            <a:xfrm>
              <a:off x="7461534" y="3657311"/>
              <a:ext cx="95422" cy="35156"/>
            </a:xfrm>
            <a:custGeom>
              <a:avLst/>
              <a:gdLst>
                <a:gd name="T0" fmla="*/ 2 w 95"/>
                <a:gd name="T1" fmla="*/ 0 h 35"/>
                <a:gd name="T2" fmla="*/ 95 w 95"/>
                <a:gd name="T3" fmla="*/ 28 h 35"/>
                <a:gd name="T4" fmla="*/ 95 w 95"/>
                <a:gd name="T5" fmla="*/ 35 h 35"/>
                <a:gd name="T6" fmla="*/ 0 w 95"/>
                <a:gd name="T7" fmla="*/ 7 h 35"/>
                <a:gd name="T8" fmla="*/ 2 w 95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35">
                  <a:moveTo>
                    <a:pt x="2" y="0"/>
                  </a:moveTo>
                  <a:lnTo>
                    <a:pt x="95" y="28"/>
                  </a:lnTo>
                  <a:lnTo>
                    <a:pt x="95" y="35"/>
                  </a:lnTo>
                  <a:lnTo>
                    <a:pt x="0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2" name="iSlîḍè">
              <a:extLst>
                <a:ext uri="{FF2B5EF4-FFF2-40B4-BE49-F238E27FC236}">
                  <a16:creationId xmlns:a16="http://schemas.microsoft.com/office/drawing/2014/main" id="{D6A86FC0-7A6A-4879-8972-70865413F4AD}"/>
                </a:ext>
              </a:extLst>
            </p:cNvPr>
            <p:cNvSpPr/>
            <p:nvPr/>
          </p:nvSpPr>
          <p:spPr bwMode="auto">
            <a:xfrm>
              <a:off x="7456512" y="3671374"/>
              <a:ext cx="95422" cy="35156"/>
            </a:xfrm>
            <a:custGeom>
              <a:avLst/>
              <a:gdLst>
                <a:gd name="T0" fmla="*/ 3 w 95"/>
                <a:gd name="T1" fmla="*/ 0 h 35"/>
                <a:gd name="T2" fmla="*/ 95 w 95"/>
                <a:gd name="T3" fmla="*/ 28 h 35"/>
                <a:gd name="T4" fmla="*/ 95 w 95"/>
                <a:gd name="T5" fmla="*/ 35 h 35"/>
                <a:gd name="T6" fmla="*/ 0 w 95"/>
                <a:gd name="T7" fmla="*/ 7 h 35"/>
                <a:gd name="T8" fmla="*/ 3 w 95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35">
                  <a:moveTo>
                    <a:pt x="3" y="0"/>
                  </a:moveTo>
                  <a:lnTo>
                    <a:pt x="95" y="28"/>
                  </a:lnTo>
                  <a:lnTo>
                    <a:pt x="95" y="35"/>
                  </a:lnTo>
                  <a:lnTo>
                    <a:pt x="0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3" name="íslîḋè">
              <a:extLst>
                <a:ext uri="{FF2B5EF4-FFF2-40B4-BE49-F238E27FC236}">
                  <a16:creationId xmlns:a16="http://schemas.microsoft.com/office/drawing/2014/main" id="{67AFD619-F0AF-4602-A738-E03B19FA9289}"/>
                </a:ext>
              </a:extLst>
            </p:cNvPr>
            <p:cNvSpPr/>
            <p:nvPr/>
          </p:nvSpPr>
          <p:spPr bwMode="auto">
            <a:xfrm>
              <a:off x="7452495" y="3685436"/>
              <a:ext cx="97431" cy="35156"/>
            </a:xfrm>
            <a:custGeom>
              <a:avLst/>
              <a:gdLst>
                <a:gd name="T0" fmla="*/ 2 w 97"/>
                <a:gd name="T1" fmla="*/ 0 h 35"/>
                <a:gd name="T2" fmla="*/ 97 w 97"/>
                <a:gd name="T3" fmla="*/ 28 h 35"/>
                <a:gd name="T4" fmla="*/ 94 w 97"/>
                <a:gd name="T5" fmla="*/ 35 h 35"/>
                <a:gd name="T6" fmla="*/ 0 w 97"/>
                <a:gd name="T7" fmla="*/ 7 h 35"/>
                <a:gd name="T8" fmla="*/ 2 w 97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5">
                  <a:moveTo>
                    <a:pt x="2" y="0"/>
                  </a:moveTo>
                  <a:lnTo>
                    <a:pt x="97" y="28"/>
                  </a:lnTo>
                  <a:lnTo>
                    <a:pt x="94" y="35"/>
                  </a:lnTo>
                  <a:lnTo>
                    <a:pt x="0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4" name="îṧḻiḍè">
              <a:extLst>
                <a:ext uri="{FF2B5EF4-FFF2-40B4-BE49-F238E27FC236}">
                  <a16:creationId xmlns:a16="http://schemas.microsoft.com/office/drawing/2014/main" id="{002B53BD-23A6-4232-8FE4-E98FCFDCDC75}"/>
                </a:ext>
              </a:extLst>
            </p:cNvPr>
            <p:cNvSpPr/>
            <p:nvPr/>
          </p:nvSpPr>
          <p:spPr bwMode="auto">
            <a:xfrm>
              <a:off x="7447472" y="3702511"/>
              <a:ext cx="97431" cy="33147"/>
            </a:xfrm>
            <a:custGeom>
              <a:avLst/>
              <a:gdLst>
                <a:gd name="T0" fmla="*/ 2 w 97"/>
                <a:gd name="T1" fmla="*/ 0 h 33"/>
                <a:gd name="T2" fmla="*/ 97 w 97"/>
                <a:gd name="T3" fmla="*/ 26 h 33"/>
                <a:gd name="T4" fmla="*/ 94 w 97"/>
                <a:gd name="T5" fmla="*/ 33 h 33"/>
                <a:gd name="T6" fmla="*/ 0 w 97"/>
                <a:gd name="T7" fmla="*/ 4 h 33"/>
                <a:gd name="T8" fmla="*/ 2 w 97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3">
                  <a:moveTo>
                    <a:pt x="2" y="0"/>
                  </a:moveTo>
                  <a:lnTo>
                    <a:pt x="97" y="26"/>
                  </a:lnTo>
                  <a:lnTo>
                    <a:pt x="94" y="33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5" name="î$ļiḋê">
              <a:extLst>
                <a:ext uri="{FF2B5EF4-FFF2-40B4-BE49-F238E27FC236}">
                  <a16:creationId xmlns:a16="http://schemas.microsoft.com/office/drawing/2014/main" id="{44B12E7E-5534-4A64-9AE2-63E1608EFA3A}"/>
                </a:ext>
              </a:extLst>
            </p:cNvPr>
            <p:cNvSpPr/>
            <p:nvPr/>
          </p:nvSpPr>
          <p:spPr bwMode="auto">
            <a:xfrm>
              <a:off x="7445463" y="3716573"/>
              <a:ext cx="94417" cy="33147"/>
            </a:xfrm>
            <a:custGeom>
              <a:avLst/>
              <a:gdLst>
                <a:gd name="T0" fmla="*/ 0 w 94"/>
                <a:gd name="T1" fmla="*/ 0 h 33"/>
                <a:gd name="T2" fmla="*/ 94 w 94"/>
                <a:gd name="T3" fmla="*/ 26 h 33"/>
                <a:gd name="T4" fmla="*/ 92 w 94"/>
                <a:gd name="T5" fmla="*/ 33 h 33"/>
                <a:gd name="T6" fmla="*/ 0 w 94"/>
                <a:gd name="T7" fmla="*/ 4 h 33"/>
                <a:gd name="T8" fmla="*/ 0 w 94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33">
                  <a:moveTo>
                    <a:pt x="0" y="0"/>
                  </a:moveTo>
                  <a:lnTo>
                    <a:pt x="94" y="26"/>
                  </a:lnTo>
                  <a:lnTo>
                    <a:pt x="92" y="33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6" name="îşľîḑè">
              <a:extLst>
                <a:ext uri="{FF2B5EF4-FFF2-40B4-BE49-F238E27FC236}">
                  <a16:creationId xmlns:a16="http://schemas.microsoft.com/office/drawing/2014/main" id="{7700B12D-92A1-4DC4-AC0D-BA25A6CFCC5B}"/>
                </a:ext>
              </a:extLst>
            </p:cNvPr>
            <p:cNvSpPr/>
            <p:nvPr/>
          </p:nvSpPr>
          <p:spPr bwMode="auto">
            <a:xfrm>
              <a:off x="7440441" y="3730635"/>
              <a:ext cx="94417" cy="33147"/>
            </a:xfrm>
            <a:custGeom>
              <a:avLst/>
              <a:gdLst>
                <a:gd name="T0" fmla="*/ 2 w 94"/>
                <a:gd name="T1" fmla="*/ 0 h 33"/>
                <a:gd name="T2" fmla="*/ 94 w 94"/>
                <a:gd name="T3" fmla="*/ 28 h 33"/>
                <a:gd name="T4" fmla="*/ 92 w 94"/>
                <a:gd name="T5" fmla="*/ 33 h 33"/>
                <a:gd name="T6" fmla="*/ 0 w 94"/>
                <a:gd name="T7" fmla="*/ 5 h 33"/>
                <a:gd name="T8" fmla="*/ 2 w 94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33">
                  <a:moveTo>
                    <a:pt x="2" y="0"/>
                  </a:moveTo>
                  <a:lnTo>
                    <a:pt x="94" y="28"/>
                  </a:lnTo>
                  <a:lnTo>
                    <a:pt x="92" y="33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7" name="îṥļíḓê">
              <a:extLst>
                <a:ext uri="{FF2B5EF4-FFF2-40B4-BE49-F238E27FC236}">
                  <a16:creationId xmlns:a16="http://schemas.microsoft.com/office/drawing/2014/main" id="{493BD2F4-6D11-4DD5-A630-6A8115307F85}"/>
                </a:ext>
              </a:extLst>
            </p:cNvPr>
            <p:cNvSpPr/>
            <p:nvPr/>
          </p:nvSpPr>
          <p:spPr bwMode="auto">
            <a:xfrm>
              <a:off x="7435419" y="3744697"/>
              <a:ext cx="62275" cy="24106"/>
            </a:xfrm>
            <a:custGeom>
              <a:avLst/>
              <a:gdLst>
                <a:gd name="T0" fmla="*/ 2 w 62"/>
                <a:gd name="T1" fmla="*/ 0 h 24"/>
                <a:gd name="T2" fmla="*/ 62 w 62"/>
                <a:gd name="T3" fmla="*/ 17 h 24"/>
                <a:gd name="T4" fmla="*/ 62 w 62"/>
                <a:gd name="T5" fmla="*/ 24 h 24"/>
                <a:gd name="T6" fmla="*/ 0 w 62"/>
                <a:gd name="T7" fmla="*/ 5 h 24"/>
                <a:gd name="T8" fmla="*/ 2 w 62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24">
                  <a:moveTo>
                    <a:pt x="2" y="0"/>
                  </a:moveTo>
                  <a:lnTo>
                    <a:pt x="62" y="17"/>
                  </a:lnTo>
                  <a:lnTo>
                    <a:pt x="62" y="24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8" name="iṥľiḑe">
              <a:extLst>
                <a:ext uri="{FF2B5EF4-FFF2-40B4-BE49-F238E27FC236}">
                  <a16:creationId xmlns:a16="http://schemas.microsoft.com/office/drawing/2014/main" id="{811AA4D0-B471-41C0-862B-6D893CA54344}"/>
                </a:ext>
              </a:extLst>
            </p:cNvPr>
            <p:cNvSpPr/>
            <p:nvPr/>
          </p:nvSpPr>
          <p:spPr bwMode="auto">
            <a:xfrm>
              <a:off x="7568005" y="3690457"/>
              <a:ext cx="95422" cy="33147"/>
            </a:xfrm>
            <a:custGeom>
              <a:avLst/>
              <a:gdLst>
                <a:gd name="T0" fmla="*/ 3 w 95"/>
                <a:gd name="T1" fmla="*/ 0 h 33"/>
                <a:gd name="T2" fmla="*/ 95 w 95"/>
                <a:gd name="T3" fmla="*/ 28 h 33"/>
                <a:gd name="T4" fmla="*/ 95 w 95"/>
                <a:gd name="T5" fmla="*/ 33 h 33"/>
                <a:gd name="T6" fmla="*/ 0 w 95"/>
                <a:gd name="T7" fmla="*/ 4 h 33"/>
                <a:gd name="T8" fmla="*/ 3 w 95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33">
                  <a:moveTo>
                    <a:pt x="3" y="0"/>
                  </a:moveTo>
                  <a:lnTo>
                    <a:pt x="95" y="28"/>
                  </a:lnTo>
                  <a:lnTo>
                    <a:pt x="95" y="33"/>
                  </a:lnTo>
                  <a:lnTo>
                    <a:pt x="0" y="4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9" name="íšḷîḋê">
              <a:extLst>
                <a:ext uri="{FF2B5EF4-FFF2-40B4-BE49-F238E27FC236}">
                  <a16:creationId xmlns:a16="http://schemas.microsoft.com/office/drawing/2014/main" id="{A90306E3-BD80-43E4-9A3F-19E49C3E4D1F}"/>
                </a:ext>
              </a:extLst>
            </p:cNvPr>
            <p:cNvSpPr/>
            <p:nvPr/>
          </p:nvSpPr>
          <p:spPr bwMode="auto">
            <a:xfrm>
              <a:off x="7563987" y="3704520"/>
              <a:ext cx="97431" cy="33147"/>
            </a:xfrm>
            <a:custGeom>
              <a:avLst/>
              <a:gdLst>
                <a:gd name="T0" fmla="*/ 2 w 97"/>
                <a:gd name="T1" fmla="*/ 0 h 33"/>
                <a:gd name="T2" fmla="*/ 97 w 97"/>
                <a:gd name="T3" fmla="*/ 28 h 33"/>
                <a:gd name="T4" fmla="*/ 94 w 97"/>
                <a:gd name="T5" fmla="*/ 33 h 33"/>
                <a:gd name="T6" fmla="*/ 0 w 97"/>
                <a:gd name="T7" fmla="*/ 5 h 33"/>
                <a:gd name="T8" fmla="*/ 2 w 97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3">
                  <a:moveTo>
                    <a:pt x="2" y="0"/>
                  </a:moveTo>
                  <a:lnTo>
                    <a:pt x="97" y="28"/>
                  </a:lnTo>
                  <a:lnTo>
                    <a:pt x="94" y="33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0" name="íṣļïďè">
              <a:extLst>
                <a:ext uri="{FF2B5EF4-FFF2-40B4-BE49-F238E27FC236}">
                  <a16:creationId xmlns:a16="http://schemas.microsoft.com/office/drawing/2014/main" id="{071DF871-EB74-40C8-8E9E-5FD6AF9752B0}"/>
                </a:ext>
              </a:extLst>
            </p:cNvPr>
            <p:cNvSpPr/>
            <p:nvPr/>
          </p:nvSpPr>
          <p:spPr bwMode="auto">
            <a:xfrm>
              <a:off x="7558965" y="3718581"/>
              <a:ext cx="97431" cy="33147"/>
            </a:xfrm>
            <a:custGeom>
              <a:avLst/>
              <a:gdLst>
                <a:gd name="T0" fmla="*/ 2 w 97"/>
                <a:gd name="T1" fmla="*/ 0 h 33"/>
                <a:gd name="T2" fmla="*/ 97 w 97"/>
                <a:gd name="T3" fmla="*/ 28 h 33"/>
                <a:gd name="T4" fmla="*/ 95 w 97"/>
                <a:gd name="T5" fmla="*/ 33 h 33"/>
                <a:gd name="T6" fmla="*/ 0 w 97"/>
                <a:gd name="T7" fmla="*/ 5 h 33"/>
                <a:gd name="T8" fmla="*/ 2 w 97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3">
                  <a:moveTo>
                    <a:pt x="2" y="0"/>
                  </a:moveTo>
                  <a:lnTo>
                    <a:pt x="97" y="28"/>
                  </a:lnTo>
                  <a:lnTo>
                    <a:pt x="95" y="33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1" name="îšḻîďè">
              <a:extLst>
                <a:ext uri="{FF2B5EF4-FFF2-40B4-BE49-F238E27FC236}">
                  <a16:creationId xmlns:a16="http://schemas.microsoft.com/office/drawing/2014/main" id="{28786E9C-5DF3-46BE-B5E5-A64668B62AD2}"/>
                </a:ext>
              </a:extLst>
            </p:cNvPr>
            <p:cNvSpPr/>
            <p:nvPr/>
          </p:nvSpPr>
          <p:spPr bwMode="auto">
            <a:xfrm>
              <a:off x="7553943" y="3732644"/>
              <a:ext cx="97431" cy="33147"/>
            </a:xfrm>
            <a:custGeom>
              <a:avLst/>
              <a:gdLst>
                <a:gd name="T0" fmla="*/ 3 w 97"/>
                <a:gd name="T1" fmla="*/ 0 h 33"/>
                <a:gd name="T2" fmla="*/ 97 w 97"/>
                <a:gd name="T3" fmla="*/ 29 h 33"/>
                <a:gd name="T4" fmla="*/ 95 w 97"/>
                <a:gd name="T5" fmla="*/ 33 h 33"/>
                <a:gd name="T6" fmla="*/ 0 w 97"/>
                <a:gd name="T7" fmla="*/ 7 h 33"/>
                <a:gd name="T8" fmla="*/ 3 w 97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3">
                  <a:moveTo>
                    <a:pt x="3" y="0"/>
                  </a:moveTo>
                  <a:lnTo>
                    <a:pt x="97" y="29"/>
                  </a:lnTo>
                  <a:lnTo>
                    <a:pt x="95" y="33"/>
                  </a:lnTo>
                  <a:lnTo>
                    <a:pt x="0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2" name="ïṧļïďé">
              <a:extLst>
                <a:ext uri="{FF2B5EF4-FFF2-40B4-BE49-F238E27FC236}">
                  <a16:creationId xmlns:a16="http://schemas.microsoft.com/office/drawing/2014/main" id="{A635592D-2A5C-4DF5-8B43-A841F864981B}"/>
                </a:ext>
              </a:extLst>
            </p:cNvPr>
            <p:cNvSpPr/>
            <p:nvPr/>
          </p:nvSpPr>
          <p:spPr bwMode="auto">
            <a:xfrm>
              <a:off x="7551933" y="3746707"/>
              <a:ext cx="94417" cy="36160"/>
            </a:xfrm>
            <a:custGeom>
              <a:avLst/>
              <a:gdLst>
                <a:gd name="T0" fmla="*/ 0 w 94"/>
                <a:gd name="T1" fmla="*/ 0 h 36"/>
                <a:gd name="T2" fmla="*/ 94 w 94"/>
                <a:gd name="T3" fmla="*/ 29 h 36"/>
                <a:gd name="T4" fmla="*/ 92 w 94"/>
                <a:gd name="T5" fmla="*/ 36 h 36"/>
                <a:gd name="T6" fmla="*/ 0 w 94"/>
                <a:gd name="T7" fmla="*/ 8 h 36"/>
                <a:gd name="T8" fmla="*/ 0 w 94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36">
                  <a:moveTo>
                    <a:pt x="0" y="0"/>
                  </a:moveTo>
                  <a:lnTo>
                    <a:pt x="94" y="29"/>
                  </a:lnTo>
                  <a:lnTo>
                    <a:pt x="92" y="36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3" name="ïś1ïďê">
              <a:extLst>
                <a:ext uri="{FF2B5EF4-FFF2-40B4-BE49-F238E27FC236}">
                  <a16:creationId xmlns:a16="http://schemas.microsoft.com/office/drawing/2014/main" id="{4241E720-ECFC-49E2-A10C-4247F4774DF7}"/>
                </a:ext>
              </a:extLst>
            </p:cNvPr>
            <p:cNvSpPr/>
            <p:nvPr/>
          </p:nvSpPr>
          <p:spPr bwMode="auto">
            <a:xfrm>
              <a:off x="7546911" y="3761773"/>
              <a:ext cx="95422" cy="35156"/>
            </a:xfrm>
            <a:custGeom>
              <a:avLst/>
              <a:gdLst>
                <a:gd name="T0" fmla="*/ 3 w 95"/>
                <a:gd name="T1" fmla="*/ 0 h 35"/>
                <a:gd name="T2" fmla="*/ 95 w 95"/>
                <a:gd name="T3" fmla="*/ 28 h 35"/>
                <a:gd name="T4" fmla="*/ 92 w 95"/>
                <a:gd name="T5" fmla="*/ 35 h 35"/>
                <a:gd name="T6" fmla="*/ 0 w 95"/>
                <a:gd name="T7" fmla="*/ 7 h 35"/>
                <a:gd name="T8" fmla="*/ 3 w 95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35">
                  <a:moveTo>
                    <a:pt x="3" y="0"/>
                  </a:moveTo>
                  <a:lnTo>
                    <a:pt x="95" y="28"/>
                  </a:lnTo>
                  <a:lnTo>
                    <a:pt x="92" y="35"/>
                  </a:lnTo>
                  <a:lnTo>
                    <a:pt x="0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4" name="ïṩļîḓè">
              <a:extLst>
                <a:ext uri="{FF2B5EF4-FFF2-40B4-BE49-F238E27FC236}">
                  <a16:creationId xmlns:a16="http://schemas.microsoft.com/office/drawing/2014/main" id="{22BCAB1A-9D88-455C-B1AF-ECDA64023B67}"/>
                </a:ext>
              </a:extLst>
            </p:cNvPr>
            <p:cNvSpPr/>
            <p:nvPr/>
          </p:nvSpPr>
          <p:spPr bwMode="auto">
            <a:xfrm>
              <a:off x="7541890" y="3775834"/>
              <a:ext cx="71316" cy="28124"/>
            </a:xfrm>
            <a:custGeom>
              <a:avLst/>
              <a:gdLst>
                <a:gd name="T0" fmla="*/ 3 w 71"/>
                <a:gd name="T1" fmla="*/ 0 h 28"/>
                <a:gd name="T2" fmla="*/ 71 w 71"/>
                <a:gd name="T3" fmla="*/ 21 h 28"/>
                <a:gd name="T4" fmla="*/ 69 w 71"/>
                <a:gd name="T5" fmla="*/ 28 h 28"/>
                <a:gd name="T6" fmla="*/ 0 w 71"/>
                <a:gd name="T7" fmla="*/ 7 h 28"/>
                <a:gd name="T8" fmla="*/ 3 w 71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28">
                  <a:moveTo>
                    <a:pt x="3" y="0"/>
                  </a:moveTo>
                  <a:lnTo>
                    <a:pt x="71" y="21"/>
                  </a:lnTo>
                  <a:lnTo>
                    <a:pt x="69" y="28"/>
                  </a:lnTo>
                  <a:lnTo>
                    <a:pt x="0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F9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5" name="işḷîḋê">
              <a:extLst>
                <a:ext uri="{FF2B5EF4-FFF2-40B4-BE49-F238E27FC236}">
                  <a16:creationId xmlns:a16="http://schemas.microsoft.com/office/drawing/2014/main" id="{A2D8EAF0-053D-4B1D-B849-E3262C5C2983}"/>
                </a:ext>
              </a:extLst>
            </p:cNvPr>
            <p:cNvSpPr/>
            <p:nvPr/>
          </p:nvSpPr>
          <p:spPr bwMode="auto">
            <a:xfrm>
              <a:off x="7590102" y="3798936"/>
              <a:ext cx="101448" cy="88391"/>
            </a:xfrm>
            <a:custGeom>
              <a:avLst/>
              <a:gdLst>
                <a:gd name="T0" fmla="*/ 12 w 43"/>
                <a:gd name="T1" fmla="*/ 0 h 37"/>
                <a:gd name="T2" fmla="*/ 0 w 43"/>
                <a:gd name="T3" fmla="*/ 37 h 37"/>
                <a:gd name="T4" fmla="*/ 43 w 43"/>
                <a:gd name="T5" fmla="*/ 10 h 37"/>
                <a:gd name="T6" fmla="*/ 12 w 43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37">
                  <a:moveTo>
                    <a:pt x="12" y="0"/>
                  </a:moveTo>
                  <a:cubicBezTo>
                    <a:pt x="9" y="20"/>
                    <a:pt x="6" y="29"/>
                    <a:pt x="0" y="37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34" y="12"/>
                    <a:pt x="27" y="9"/>
                    <a:pt x="12" y="0"/>
                  </a:cubicBezTo>
                </a:path>
              </a:pathLst>
            </a:custGeom>
            <a:solidFill>
              <a:srgbClr val="BEC0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6" name="ïšļiḑê">
              <a:extLst>
                <a:ext uri="{FF2B5EF4-FFF2-40B4-BE49-F238E27FC236}">
                  <a16:creationId xmlns:a16="http://schemas.microsoft.com/office/drawing/2014/main" id="{52D38850-9103-4AF3-945A-AFB60DF38EFC}"/>
                </a:ext>
              </a:extLst>
            </p:cNvPr>
            <p:cNvSpPr/>
            <p:nvPr/>
          </p:nvSpPr>
          <p:spPr bwMode="auto">
            <a:xfrm>
              <a:off x="7513765" y="3775834"/>
              <a:ext cx="275217" cy="424877"/>
            </a:xfrm>
            <a:custGeom>
              <a:avLst/>
              <a:gdLst>
                <a:gd name="T0" fmla="*/ 116 w 116"/>
                <a:gd name="T1" fmla="*/ 11 h 179"/>
                <a:gd name="T2" fmla="*/ 62 w 116"/>
                <a:gd name="T3" fmla="*/ 0 h 179"/>
                <a:gd name="T4" fmla="*/ 5 w 116"/>
                <a:gd name="T5" fmla="*/ 156 h 179"/>
                <a:gd name="T6" fmla="*/ 54 w 116"/>
                <a:gd name="T7" fmla="*/ 179 h 179"/>
                <a:gd name="T8" fmla="*/ 82 w 116"/>
                <a:gd name="T9" fmla="*/ 133 h 179"/>
                <a:gd name="T10" fmla="*/ 116 w 116"/>
                <a:gd name="T11" fmla="*/ 11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179">
                  <a:moveTo>
                    <a:pt x="116" y="11"/>
                  </a:moveTo>
                  <a:cubicBezTo>
                    <a:pt x="109" y="7"/>
                    <a:pt x="62" y="0"/>
                    <a:pt x="62" y="0"/>
                  </a:cubicBezTo>
                  <a:cubicBezTo>
                    <a:pt x="62" y="0"/>
                    <a:pt x="0" y="153"/>
                    <a:pt x="5" y="156"/>
                  </a:cubicBezTo>
                  <a:cubicBezTo>
                    <a:pt x="9" y="159"/>
                    <a:pt x="38" y="179"/>
                    <a:pt x="54" y="179"/>
                  </a:cubicBezTo>
                  <a:cubicBezTo>
                    <a:pt x="70" y="179"/>
                    <a:pt x="82" y="133"/>
                    <a:pt x="82" y="133"/>
                  </a:cubicBezTo>
                  <a:lnTo>
                    <a:pt x="116" y="11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7" name="iṣļïḋê">
              <a:extLst>
                <a:ext uri="{FF2B5EF4-FFF2-40B4-BE49-F238E27FC236}">
                  <a16:creationId xmlns:a16="http://schemas.microsoft.com/office/drawing/2014/main" id="{6AB1B437-6A86-4950-9D41-53DA5F2D3895}"/>
                </a:ext>
              </a:extLst>
            </p:cNvPr>
            <p:cNvSpPr/>
            <p:nvPr/>
          </p:nvSpPr>
          <p:spPr bwMode="auto">
            <a:xfrm>
              <a:off x="7266674" y="3754742"/>
              <a:ext cx="458024" cy="505233"/>
            </a:xfrm>
            <a:custGeom>
              <a:avLst/>
              <a:gdLst>
                <a:gd name="T0" fmla="*/ 0 w 193"/>
                <a:gd name="T1" fmla="*/ 17 h 213"/>
                <a:gd name="T2" fmla="*/ 75 w 193"/>
                <a:gd name="T3" fmla="*/ 11 h 213"/>
                <a:gd name="T4" fmla="*/ 174 w 193"/>
                <a:gd name="T5" fmla="*/ 126 h 213"/>
                <a:gd name="T6" fmla="*/ 168 w 193"/>
                <a:gd name="T7" fmla="*/ 182 h 213"/>
                <a:gd name="T8" fmla="*/ 21 w 193"/>
                <a:gd name="T9" fmla="*/ 87 h 213"/>
                <a:gd name="T10" fmla="*/ 0 w 193"/>
                <a:gd name="T11" fmla="*/ 17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3" h="213">
                  <a:moveTo>
                    <a:pt x="0" y="17"/>
                  </a:moveTo>
                  <a:cubicBezTo>
                    <a:pt x="5" y="14"/>
                    <a:pt x="56" y="0"/>
                    <a:pt x="75" y="11"/>
                  </a:cubicBezTo>
                  <a:cubicBezTo>
                    <a:pt x="95" y="23"/>
                    <a:pt x="158" y="108"/>
                    <a:pt x="174" y="126"/>
                  </a:cubicBezTo>
                  <a:cubicBezTo>
                    <a:pt x="191" y="144"/>
                    <a:pt x="193" y="151"/>
                    <a:pt x="168" y="182"/>
                  </a:cubicBezTo>
                  <a:cubicBezTo>
                    <a:pt x="144" y="213"/>
                    <a:pt x="39" y="103"/>
                    <a:pt x="21" y="87"/>
                  </a:cubicBezTo>
                  <a:cubicBezTo>
                    <a:pt x="2" y="71"/>
                    <a:pt x="0" y="17"/>
                    <a:pt x="0" y="17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8" name="íṩḻiḓe">
              <a:extLst>
                <a:ext uri="{FF2B5EF4-FFF2-40B4-BE49-F238E27FC236}">
                  <a16:creationId xmlns:a16="http://schemas.microsoft.com/office/drawing/2014/main" id="{17ED3817-58F5-46FD-A028-3572C37B5EDA}"/>
                </a:ext>
              </a:extLst>
            </p:cNvPr>
            <p:cNvSpPr/>
            <p:nvPr/>
          </p:nvSpPr>
          <p:spPr bwMode="auto">
            <a:xfrm>
              <a:off x="6409888" y="4072145"/>
              <a:ext cx="388719" cy="133591"/>
            </a:xfrm>
            <a:custGeom>
              <a:avLst/>
              <a:gdLst>
                <a:gd name="T0" fmla="*/ 25 w 164"/>
                <a:gd name="T1" fmla="*/ 56 h 56"/>
                <a:gd name="T2" fmla="*/ 164 w 164"/>
                <a:gd name="T3" fmla="*/ 48 h 56"/>
                <a:gd name="T4" fmla="*/ 160 w 164"/>
                <a:gd name="T5" fmla="*/ 5 h 56"/>
                <a:gd name="T6" fmla="*/ 7 w 164"/>
                <a:gd name="T7" fmla="*/ 5 h 56"/>
                <a:gd name="T8" fmla="*/ 25 w 164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56">
                  <a:moveTo>
                    <a:pt x="25" y="56"/>
                  </a:moveTo>
                  <a:cubicBezTo>
                    <a:pt x="164" y="48"/>
                    <a:pt x="164" y="48"/>
                    <a:pt x="164" y="48"/>
                  </a:cubicBezTo>
                  <a:cubicBezTo>
                    <a:pt x="160" y="5"/>
                    <a:pt x="160" y="5"/>
                    <a:pt x="160" y="5"/>
                  </a:cubicBezTo>
                  <a:cubicBezTo>
                    <a:pt x="160" y="5"/>
                    <a:pt x="14" y="9"/>
                    <a:pt x="7" y="5"/>
                  </a:cubicBezTo>
                  <a:cubicBezTo>
                    <a:pt x="0" y="0"/>
                    <a:pt x="25" y="56"/>
                    <a:pt x="25" y="56"/>
                  </a:cubicBezTo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9" name="ïṩḷîďé">
              <a:extLst>
                <a:ext uri="{FF2B5EF4-FFF2-40B4-BE49-F238E27FC236}">
                  <a16:creationId xmlns:a16="http://schemas.microsoft.com/office/drawing/2014/main" id="{37B3A72D-5BD2-465C-BB12-550193EC423B}"/>
                </a:ext>
              </a:extLst>
            </p:cNvPr>
            <p:cNvSpPr/>
            <p:nvPr/>
          </p:nvSpPr>
          <p:spPr bwMode="auto">
            <a:xfrm>
              <a:off x="6673050" y="3742688"/>
              <a:ext cx="793507" cy="885916"/>
            </a:xfrm>
            <a:custGeom>
              <a:avLst/>
              <a:gdLst>
                <a:gd name="T0" fmla="*/ 59 w 334"/>
                <a:gd name="T1" fmla="*/ 3 h 373"/>
                <a:gd name="T2" fmla="*/ 9 w 334"/>
                <a:gd name="T3" fmla="*/ 28 h 373"/>
                <a:gd name="T4" fmla="*/ 34 w 334"/>
                <a:gd name="T5" fmla="*/ 294 h 373"/>
                <a:gd name="T6" fmla="*/ 65 w 334"/>
                <a:gd name="T7" fmla="*/ 356 h 373"/>
                <a:gd name="T8" fmla="*/ 167 w 334"/>
                <a:gd name="T9" fmla="*/ 373 h 373"/>
                <a:gd name="T10" fmla="*/ 167 w 334"/>
                <a:gd name="T11" fmla="*/ 373 h 373"/>
                <a:gd name="T12" fmla="*/ 269 w 334"/>
                <a:gd name="T13" fmla="*/ 356 h 373"/>
                <a:gd name="T14" fmla="*/ 300 w 334"/>
                <a:gd name="T15" fmla="*/ 294 h 373"/>
                <a:gd name="T16" fmla="*/ 325 w 334"/>
                <a:gd name="T17" fmla="*/ 28 h 373"/>
                <a:gd name="T18" fmla="*/ 275 w 334"/>
                <a:gd name="T19" fmla="*/ 3 h 373"/>
                <a:gd name="T20" fmla="*/ 167 w 334"/>
                <a:gd name="T21" fmla="*/ 1 h 373"/>
                <a:gd name="T22" fmla="*/ 167 w 334"/>
                <a:gd name="T23" fmla="*/ 1 h 373"/>
                <a:gd name="T24" fmla="*/ 59 w 334"/>
                <a:gd name="T25" fmla="*/ 3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373">
                  <a:moveTo>
                    <a:pt x="59" y="3"/>
                  </a:moveTo>
                  <a:cubicBezTo>
                    <a:pt x="49" y="9"/>
                    <a:pt x="17" y="13"/>
                    <a:pt x="9" y="28"/>
                  </a:cubicBezTo>
                  <a:cubicBezTo>
                    <a:pt x="0" y="44"/>
                    <a:pt x="29" y="240"/>
                    <a:pt x="34" y="294"/>
                  </a:cubicBezTo>
                  <a:cubicBezTo>
                    <a:pt x="39" y="347"/>
                    <a:pt x="52" y="339"/>
                    <a:pt x="65" y="356"/>
                  </a:cubicBezTo>
                  <a:cubicBezTo>
                    <a:pt x="74" y="367"/>
                    <a:pt x="121" y="373"/>
                    <a:pt x="167" y="373"/>
                  </a:cubicBezTo>
                  <a:cubicBezTo>
                    <a:pt x="167" y="373"/>
                    <a:pt x="167" y="373"/>
                    <a:pt x="167" y="373"/>
                  </a:cubicBezTo>
                  <a:cubicBezTo>
                    <a:pt x="213" y="373"/>
                    <a:pt x="260" y="367"/>
                    <a:pt x="269" y="356"/>
                  </a:cubicBezTo>
                  <a:cubicBezTo>
                    <a:pt x="282" y="339"/>
                    <a:pt x="295" y="347"/>
                    <a:pt x="300" y="294"/>
                  </a:cubicBezTo>
                  <a:cubicBezTo>
                    <a:pt x="305" y="240"/>
                    <a:pt x="334" y="44"/>
                    <a:pt x="325" y="28"/>
                  </a:cubicBezTo>
                  <a:cubicBezTo>
                    <a:pt x="317" y="13"/>
                    <a:pt x="285" y="9"/>
                    <a:pt x="275" y="3"/>
                  </a:cubicBezTo>
                  <a:cubicBezTo>
                    <a:pt x="268" y="0"/>
                    <a:pt x="212" y="0"/>
                    <a:pt x="167" y="1"/>
                  </a:cubicBezTo>
                  <a:cubicBezTo>
                    <a:pt x="167" y="1"/>
                    <a:pt x="167" y="1"/>
                    <a:pt x="167" y="1"/>
                  </a:cubicBezTo>
                  <a:cubicBezTo>
                    <a:pt x="122" y="0"/>
                    <a:pt x="66" y="0"/>
                    <a:pt x="59" y="3"/>
                  </a:cubicBezTo>
                </a:path>
              </a:pathLst>
            </a:custGeom>
            <a:solidFill>
              <a:srgbClr val="DFE9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0" name="îs1îḍê">
              <a:extLst>
                <a:ext uri="{FF2B5EF4-FFF2-40B4-BE49-F238E27FC236}">
                  <a16:creationId xmlns:a16="http://schemas.microsoft.com/office/drawing/2014/main" id="{AF600D85-8F2A-4EC9-A878-62284224E52F}"/>
                </a:ext>
              </a:extLst>
            </p:cNvPr>
            <p:cNvSpPr/>
            <p:nvPr/>
          </p:nvSpPr>
          <p:spPr bwMode="auto">
            <a:xfrm>
              <a:off x="6390803" y="3789896"/>
              <a:ext cx="489162" cy="475100"/>
            </a:xfrm>
            <a:custGeom>
              <a:avLst/>
              <a:gdLst>
                <a:gd name="T0" fmla="*/ 206 w 206"/>
                <a:gd name="T1" fmla="*/ 22 h 200"/>
                <a:gd name="T2" fmla="*/ 137 w 206"/>
                <a:gd name="T3" fmla="*/ 0 h 200"/>
                <a:gd name="T4" fmla="*/ 21 w 206"/>
                <a:gd name="T5" fmla="*/ 110 h 200"/>
                <a:gd name="T6" fmla="*/ 21 w 206"/>
                <a:gd name="T7" fmla="*/ 167 h 200"/>
                <a:gd name="T8" fmla="*/ 178 w 206"/>
                <a:gd name="T9" fmla="*/ 89 h 200"/>
                <a:gd name="T10" fmla="*/ 206 w 206"/>
                <a:gd name="T11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6" h="200">
                  <a:moveTo>
                    <a:pt x="206" y="22"/>
                  </a:moveTo>
                  <a:cubicBezTo>
                    <a:pt x="202" y="18"/>
                    <a:pt x="137" y="0"/>
                    <a:pt x="137" y="0"/>
                  </a:cubicBezTo>
                  <a:cubicBezTo>
                    <a:pt x="137" y="0"/>
                    <a:pt x="39" y="94"/>
                    <a:pt x="21" y="110"/>
                  </a:cubicBezTo>
                  <a:cubicBezTo>
                    <a:pt x="3" y="126"/>
                    <a:pt x="0" y="133"/>
                    <a:pt x="21" y="167"/>
                  </a:cubicBezTo>
                  <a:cubicBezTo>
                    <a:pt x="42" y="200"/>
                    <a:pt x="158" y="103"/>
                    <a:pt x="178" y="89"/>
                  </a:cubicBezTo>
                  <a:cubicBezTo>
                    <a:pt x="198" y="75"/>
                    <a:pt x="206" y="22"/>
                    <a:pt x="206" y="22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1" name="ïśļîde">
              <a:extLst>
                <a:ext uri="{FF2B5EF4-FFF2-40B4-BE49-F238E27FC236}">
                  <a16:creationId xmlns:a16="http://schemas.microsoft.com/office/drawing/2014/main" id="{56C2A061-55D3-48F4-9597-26E8526204E6}"/>
                </a:ext>
              </a:extLst>
            </p:cNvPr>
            <p:cNvSpPr/>
            <p:nvPr/>
          </p:nvSpPr>
          <p:spPr bwMode="auto">
            <a:xfrm>
              <a:off x="7198372" y="4893776"/>
              <a:ext cx="108479" cy="116515"/>
            </a:xfrm>
            <a:custGeom>
              <a:avLst/>
              <a:gdLst>
                <a:gd name="T0" fmla="*/ 13 w 46"/>
                <a:gd name="T1" fmla="*/ 24 h 49"/>
                <a:gd name="T2" fmla="*/ 15 w 46"/>
                <a:gd name="T3" fmla="*/ 35 h 49"/>
                <a:gd name="T4" fmla="*/ 30 w 46"/>
                <a:gd name="T5" fmla="*/ 46 h 49"/>
                <a:gd name="T6" fmla="*/ 43 w 46"/>
                <a:gd name="T7" fmla="*/ 44 h 49"/>
                <a:gd name="T8" fmla="*/ 41 w 46"/>
                <a:gd name="T9" fmla="*/ 32 h 49"/>
                <a:gd name="T10" fmla="*/ 26 w 46"/>
                <a:gd name="T11" fmla="*/ 20 h 49"/>
                <a:gd name="T12" fmla="*/ 15 w 46"/>
                <a:gd name="T13" fmla="*/ 21 h 49"/>
                <a:gd name="T14" fmla="*/ 4 w 46"/>
                <a:gd name="T15" fmla="*/ 14 h 49"/>
                <a:gd name="T16" fmla="*/ 3 w 46"/>
                <a:gd name="T17" fmla="*/ 0 h 49"/>
                <a:gd name="T18" fmla="*/ 0 w 46"/>
                <a:gd name="T19" fmla="*/ 0 h 49"/>
                <a:gd name="T20" fmla="*/ 1 w 46"/>
                <a:gd name="T21" fmla="*/ 15 h 49"/>
                <a:gd name="T22" fmla="*/ 1 w 46"/>
                <a:gd name="T23" fmla="*/ 15 h 49"/>
                <a:gd name="T24" fmla="*/ 2 w 46"/>
                <a:gd name="T25" fmla="*/ 16 h 49"/>
                <a:gd name="T26" fmla="*/ 13 w 46"/>
                <a:gd name="T27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49">
                  <a:moveTo>
                    <a:pt x="13" y="24"/>
                  </a:moveTo>
                  <a:cubicBezTo>
                    <a:pt x="11" y="27"/>
                    <a:pt x="12" y="32"/>
                    <a:pt x="15" y="3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4" y="49"/>
                    <a:pt x="40" y="48"/>
                    <a:pt x="43" y="44"/>
                  </a:cubicBezTo>
                  <a:cubicBezTo>
                    <a:pt x="46" y="40"/>
                    <a:pt x="45" y="35"/>
                    <a:pt x="41" y="32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3" y="18"/>
                    <a:pt x="18" y="18"/>
                    <a:pt x="15" y="21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lnTo>
                    <a:pt x="13" y="24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2" name="iṣḷiďe">
              <a:extLst>
                <a:ext uri="{FF2B5EF4-FFF2-40B4-BE49-F238E27FC236}">
                  <a16:creationId xmlns:a16="http://schemas.microsoft.com/office/drawing/2014/main" id="{6F2EB62F-427A-48D5-A970-0BD3324A36EB}"/>
                </a:ext>
              </a:extLst>
            </p:cNvPr>
            <p:cNvSpPr/>
            <p:nvPr/>
          </p:nvSpPr>
          <p:spPr bwMode="auto">
            <a:xfrm>
              <a:off x="7038666" y="4877705"/>
              <a:ext cx="59262" cy="240061"/>
            </a:xfrm>
            <a:prstGeom prst="rect">
              <a:avLst/>
            </a:pr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3" name="íşlïdè">
              <a:extLst>
                <a:ext uri="{FF2B5EF4-FFF2-40B4-BE49-F238E27FC236}">
                  <a16:creationId xmlns:a16="http://schemas.microsoft.com/office/drawing/2014/main" id="{10D0BC9F-36E9-4CB1-826F-AD8578835FA4}"/>
                </a:ext>
              </a:extLst>
            </p:cNvPr>
            <p:cNvSpPr/>
            <p:nvPr/>
          </p:nvSpPr>
          <p:spPr bwMode="auto">
            <a:xfrm>
              <a:off x="7038665" y="4877705"/>
              <a:ext cx="31138" cy="240061"/>
            </a:xfrm>
            <a:prstGeom prst="rect">
              <a:avLst/>
            </a:prstGeom>
            <a:solidFill>
              <a:srgbClr val="8D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4" name="íSlîďé">
              <a:extLst>
                <a:ext uri="{FF2B5EF4-FFF2-40B4-BE49-F238E27FC236}">
                  <a16:creationId xmlns:a16="http://schemas.microsoft.com/office/drawing/2014/main" id="{C304BAC6-C83E-4FFF-BA8E-48F55B1E10D9}"/>
                </a:ext>
              </a:extLst>
            </p:cNvPr>
            <p:cNvSpPr/>
            <p:nvPr/>
          </p:nvSpPr>
          <p:spPr bwMode="auto">
            <a:xfrm>
              <a:off x="6675059" y="4858620"/>
              <a:ext cx="788485" cy="68302"/>
            </a:xfrm>
            <a:custGeom>
              <a:avLst/>
              <a:gdLst>
                <a:gd name="T0" fmla="*/ 0 w 332"/>
                <a:gd name="T1" fmla="*/ 0 h 29"/>
                <a:gd name="T2" fmla="*/ 0 w 332"/>
                <a:gd name="T3" fmla="*/ 2 h 29"/>
                <a:gd name="T4" fmla="*/ 17 w 332"/>
                <a:gd name="T5" fmla="*/ 19 h 29"/>
                <a:gd name="T6" fmla="*/ 80 w 332"/>
                <a:gd name="T7" fmla="*/ 19 h 29"/>
                <a:gd name="T8" fmla="*/ 166 w 332"/>
                <a:gd name="T9" fmla="*/ 29 h 29"/>
                <a:gd name="T10" fmla="*/ 251 w 332"/>
                <a:gd name="T11" fmla="*/ 19 h 29"/>
                <a:gd name="T12" fmla="*/ 315 w 332"/>
                <a:gd name="T13" fmla="*/ 19 h 29"/>
                <a:gd name="T14" fmla="*/ 332 w 332"/>
                <a:gd name="T15" fmla="*/ 2 h 29"/>
                <a:gd name="T16" fmla="*/ 332 w 332"/>
                <a:gd name="T17" fmla="*/ 0 h 29"/>
                <a:gd name="T18" fmla="*/ 0 w 332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2" h="29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11"/>
                    <a:pt x="7" y="19"/>
                    <a:pt x="17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7" y="25"/>
                    <a:pt x="123" y="29"/>
                    <a:pt x="166" y="29"/>
                  </a:cubicBezTo>
                  <a:cubicBezTo>
                    <a:pt x="208" y="29"/>
                    <a:pt x="244" y="25"/>
                    <a:pt x="251" y="19"/>
                  </a:cubicBezTo>
                  <a:cubicBezTo>
                    <a:pt x="315" y="19"/>
                    <a:pt x="315" y="19"/>
                    <a:pt x="315" y="19"/>
                  </a:cubicBezTo>
                  <a:cubicBezTo>
                    <a:pt x="324" y="19"/>
                    <a:pt x="332" y="11"/>
                    <a:pt x="332" y="2"/>
                  </a:cubicBezTo>
                  <a:cubicBezTo>
                    <a:pt x="332" y="1"/>
                    <a:pt x="332" y="1"/>
                    <a:pt x="33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5" name="is1iḍè">
              <a:extLst>
                <a:ext uri="{FF2B5EF4-FFF2-40B4-BE49-F238E27FC236}">
                  <a16:creationId xmlns:a16="http://schemas.microsoft.com/office/drawing/2014/main" id="{A2540C12-5CEB-4372-B563-03262C5659DF}"/>
                </a:ext>
              </a:extLst>
            </p:cNvPr>
            <p:cNvSpPr/>
            <p:nvPr/>
          </p:nvSpPr>
          <p:spPr bwMode="auto">
            <a:xfrm>
              <a:off x="6777512" y="5074574"/>
              <a:ext cx="581570" cy="304346"/>
            </a:xfrm>
            <a:custGeom>
              <a:avLst/>
              <a:gdLst>
                <a:gd name="T0" fmla="*/ 142 w 245"/>
                <a:gd name="T1" fmla="*/ 0 h 128"/>
                <a:gd name="T2" fmla="*/ 103 w 245"/>
                <a:gd name="T3" fmla="*/ 0 h 128"/>
                <a:gd name="T4" fmla="*/ 103 w 245"/>
                <a:gd name="T5" fmla="*/ 89 h 128"/>
                <a:gd name="T6" fmla="*/ 12 w 245"/>
                <a:gd name="T7" fmla="*/ 104 h 128"/>
                <a:gd name="T8" fmla="*/ 0 w 245"/>
                <a:gd name="T9" fmla="*/ 116 h 128"/>
                <a:gd name="T10" fmla="*/ 0 w 245"/>
                <a:gd name="T11" fmla="*/ 116 h 128"/>
                <a:gd name="T12" fmla="*/ 12 w 245"/>
                <a:gd name="T13" fmla="*/ 127 h 128"/>
                <a:gd name="T14" fmla="*/ 111 w 245"/>
                <a:gd name="T15" fmla="*/ 110 h 128"/>
                <a:gd name="T16" fmla="*/ 134 w 245"/>
                <a:gd name="T17" fmla="*/ 110 h 128"/>
                <a:gd name="T18" fmla="*/ 233 w 245"/>
                <a:gd name="T19" fmla="*/ 127 h 128"/>
                <a:gd name="T20" fmla="*/ 245 w 245"/>
                <a:gd name="T21" fmla="*/ 116 h 128"/>
                <a:gd name="T22" fmla="*/ 245 w 245"/>
                <a:gd name="T23" fmla="*/ 116 h 128"/>
                <a:gd name="T24" fmla="*/ 233 w 245"/>
                <a:gd name="T25" fmla="*/ 104 h 128"/>
                <a:gd name="T26" fmla="*/ 142 w 245"/>
                <a:gd name="T27" fmla="*/ 89 h 128"/>
                <a:gd name="T28" fmla="*/ 142 w 245"/>
                <a:gd name="T29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" h="128">
                  <a:moveTo>
                    <a:pt x="142" y="0"/>
                  </a:moveTo>
                  <a:cubicBezTo>
                    <a:pt x="103" y="0"/>
                    <a:pt x="103" y="0"/>
                    <a:pt x="103" y="0"/>
                  </a:cubicBezTo>
                  <a:cubicBezTo>
                    <a:pt x="103" y="89"/>
                    <a:pt x="103" y="89"/>
                    <a:pt x="103" y="89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6" y="105"/>
                    <a:pt x="0" y="109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2"/>
                    <a:pt x="6" y="128"/>
                    <a:pt x="12" y="127"/>
                  </a:cubicBezTo>
                  <a:cubicBezTo>
                    <a:pt x="111" y="110"/>
                    <a:pt x="111" y="110"/>
                    <a:pt x="111" y="110"/>
                  </a:cubicBezTo>
                  <a:cubicBezTo>
                    <a:pt x="134" y="110"/>
                    <a:pt x="134" y="110"/>
                    <a:pt x="134" y="110"/>
                  </a:cubicBezTo>
                  <a:cubicBezTo>
                    <a:pt x="233" y="127"/>
                    <a:pt x="233" y="127"/>
                    <a:pt x="233" y="127"/>
                  </a:cubicBezTo>
                  <a:cubicBezTo>
                    <a:pt x="240" y="128"/>
                    <a:pt x="245" y="122"/>
                    <a:pt x="245" y="116"/>
                  </a:cubicBezTo>
                  <a:cubicBezTo>
                    <a:pt x="245" y="116"/>
                    <a:pt x="245" y="116"/>
                    <a:pt x="245" y="116"/>
                  </a:cubicBezTo>
                  <a:cubicBezTo>
                    <a:pt x="245" y="109"/>
                    <a:pt x="240" y="105"/>
                    <a:pt x="233" y="104"/>
                  </a:cubicBezTo>
                  <a:cubicBezTo>
                    <a:pt x="142" y="89"/>
                    <a:pt x="142" y="89"/>
                    <a:pt x="142" y="89"/>
                  </a:cubicBezTo>
                  <a:lnTo>
                    <a:pt x="142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6" name="ïṣlîḋê">
              <a:extLst>
                <a:ext uri="{FF2B5EF4-FFF2-40B4-BE49-F238E27FC236}">
                  <a16:creationId xmlns:a16="http://schemas.microsoft.com/office/drawing/2014/main" id="{7EFBF7B5-0ED4-4AE1-9685-07CB0EC08944}"/>
                </a:ext>
              </a:extLst>
            </p:cNvPr>
            <p:cNvSpPr/>
            <p:nvPr/>
          </p:nvSpPr>
          <p:spPr bwMode="auto">
            <a:xfrm>
              <a:off x="7297810" y="5340752"/>
              <a:ext cx="73324" cy="73324"/>
            </a:xfrm>
            <a:prstGeom prst="ellipse">
              <a:avLst/>
            </a:pr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7" name="iṧľïďe">
              <a:extLst>
                <a:ext uri="{FF2B5EF4-FFF2-40B4-BE49-F238E27FC236}">
                  <a16:creationId xmlns:a16="http://schemas.microsoft.com/office/drawing/2014/main" id="{88AAA081-A1B4-4579-9D72-9F9EC88CCAA6}"/>
                </a:ext>
              </a:extLst>
            </p:cNvPr>
            <p:cNvSpPr/>
            <p:nvPr/>
          </p:nvSpPr>
          <p:spPr bwMode="auto">
            <a:xfrm>
              <a:off x="6770481" y="5340752"/>
              <a:ext cx="71316" cy="73324"/>
            </a:xfrm>
            <a:prstGeom prst="ellipse">
              <a:avLst/>
            </a:pr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8" name="íṣļîḍê">
              <a:extLst>
                <a:ext uri="{FF2B5EF4-FFF2-40B4-BE49-F238E27FC236}">
                  <a16:creationId xmlns:a16="http://schemas.microsoft.com/office/drawing/2014/main" id="{83F2B64D-E542-48C7-8580-528FEA6169D8}"/>
                </a:ext>
              </a:extLst>
            </p:cNvPr>
            <p:cNvSpPr/>
            <p:nvPr/>
          </p:nvSpPr>
          <p:spPr bwMode="auto">
            <a:xfrm>
              <a:off x="7036658" y="5285507"/>
              <a:ext cx="64284" cy="95422"/>
            </a:xfrm>
            <a:custGeom>
              <a:avLst/>
              <a:gdLst>
                <a:gd name="T0" fmla="*/ 64 w 64"/>
                <a:gd name="T1" fmla="*/ 0 h 95"/>
                <a:gd name="T2" fmla="*/ 33 w 64"/>
                <a:gd name="T3" fmla="*/ 0 h 95"/>
                <a:gd name="T4" fmla="*/ 0 w 64"/>
                <a:gd name="T5" fmla="*/ 0 h 95"/>
                <a:gd name="T6" fmla="*/ 12 w 64"/>
                <a:gd name="T7" fmla="*/ 95 h 95"/>
                <a:gd name="T8" fmla="*/ 33 w 64"/>
                <a:gd name="T9" fmla="*/ 95 h 95"/>
                <a:gd name="T10" fmla="*/ 52 w 64"/>
                <a:gd name="T11" fmla="*/ 95 h 95"/>
                <a:gd name="T12" fmla="*/ 64 w 64"/>
                <a:gd name="T1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5">
                  <a:moveTo>
                    <a:pt x="64" y="0"/>
                  </a:moveTo>
                  <a:lnTo>
                    <a:pt x="33" y="0"/>
                  </a:lnTo>
                  <a:lnTo>
                    <a:pt x="0" y="0"/>
                  </a:lnTo>
                  <a:lnTo>
                    <a:pt x="12" y="95"/>
                  </a:lnTo>
                  <a:lnTo>
                    <a:pt x="33" y="95"/>
                  </a:lnTo>
                  <a:lnTo>
                    <a:pt x="52" y="95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9" name="íšḻîdè">
              <a:extLst>
                <a:ext uri="{FF2B5EF4-FFF2-40B4-BE49-F238E27FC236}">
                  <a16:creationId xmlns:a16="http://schemas.microsoft.com/office/drawing/2014/main" id="{BC455746-B4F7-4085-98F2-7145716C3310}"/>
                </a:ext>
              </a:extLst>
            </p:cNvPr>
            <p:cNvSpPr/>
            <p:nvPr/>
          </p:nvSpPr>
          <p:spPr bwMode="auto">
            <a:xfrm>
              <a:off x="7034649" y="5340752"/>
              <a:ext cx="70310" cy="73324"/>
            </a:xfrm>
            <a:prstGeom prst="ellipse">
              <a:avLst/>
            </a:pr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0" name="ïsľïḍê">
              <a:extLst>
                <a:ext uri="{FF2B5EF4-FFF2-40B4-BE49-F238E27FC236}">
                  <a16:creationId xmlns:a16="http://schemas.microsoft.com/office/drawing/2014/main" id="{637583B7-377F-4613-9E84-D964A50E146F}"/>
                </a:ext>
              </a:extLst>
            </p:cNvPr>
            <p:cNvSpPr/>
            <p:nvPr/>
          </p:nvSpPr>
          <p:spPr bwMode="auto">
            <a:xfrm>
              <a:off x="6732313" y="3901390"/>
              <a:ext cx="674982" cy="607686"/>
            </a:xfrm>
            <a:custGeom>
              <a:avLst/>
              <a:gdLst>
                <a:gd name="T0" fmla="*/ 69 w 284"/>
                <a:gd name="T1" fmla="*/ 0 h 256"/>
                <a:gd name="T2" fmla="*/ 215 w 284"/>
                <a:gd name="T3" fmla="*/ 0 h 256"/>
                <a:gd name="T4" fmla="*/ 284 w 284"/>
                <a:gd name="T5" fmla="*/ 68 h 256"/>
                <a:gd name="T6" fmla="*/ 284 w 284"/>
                <a:gd name="T7" fmla="*/ 188 h 256"/>
                <a:gd name="T8" fmla="*/ 215 w 284"/>
                <a:gd name="T9" fmla="*/ 256 h 256"/>
                <a:gd name="T10" fmla="*/ 69 w 284"/>
                <a:gd name="T11" fmla="*/ 256 h 256"/>
                <a:gd name="T12" fmla="*/ 0 w 284"/>
                <a:gd name="T13" fmla="*/ 188 h 256"/>
                <a:gd name="T14" fmla="*/ 0 w 284"/>
                <a:gd name="T15" fmla="*/ 68 h 256"/>
                <a:gd name="T16" fmla="*/ 69 w 284"/>
                <a:gd name="T17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256">
                  <a:moveTo>
                    <a:pt x="69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53" y="0"/>
                    <a:pt x="284" y="31"/>
                    <a:pt x="284" y="68"/>
                  </a:cubicBezTo>
                  <a:cubicBezTo>
                    <a:pt x="284" y="188"/>
                    <a:pt x="284" y="188"/>
                    <a:pt x="284" y="188"/>
                  </a:cubicBezTo>
                  <a:cubicBezTo>
                    <a:pt x="284" y="225"/>
                    <a:pt x="253" y="256"/>
                    <a:pt x="215" y="256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31" y="256"/>
                    <a:pt x="0" y="225"/>
                    <a:pt x="0" y="18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1"/>
                    <a:pt x="31" y="0"/>
                    <a:pt x="69" y="0"/>
                  </a:cubicBezTo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1" name="işliḋè">
              <a:extLst>
                <a:ext uri="{FF2B5EF4-FFF2-40B4-BE49-F238E27FC236}">
                  <a16:creationId xmlns:a16="http://schemas.microsoft.com/office/drawing/2014/main" id="{EFB0D810-9BE0-4FB7-A40A-5AD35E0A3D96}"/>
                </a:ext>
              </a:extLst>
            </p:cNvPr>
            <p:cNvSpPr/>
            <p:nvPr/>
          </p:nvSpPr>
          <p:spPr bwMode="auto">
            <a:xfrm>
              <a:off x="7026613" y="4286090"/>
              <a:ext cx="86382" cy="572530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2" name="ïṥḷíḓè">
              <a:extLst>
                <a:ext uri="{FF2B5EF4-FFF2-40B4-BE49-F238E27FC236}">
                  <a16:creationId xmlns:a16="http://schemas.microsoft.com/office/drawing/2014/main" id="{711A955C-9EB3-40A1-A92A-86E7228BB936}"/>
                </a:ext>
              </a:extLst>
            </p:cNvPr>
            <p:cNvSpPr/>
            <p:nvPr/>
          </p:nvSpPr>
          <p:spPr bwMode="auto">
            <a:xfrm>
              <a:off x="6927173" y="4105291"/>
              <a:ext cx="285261" cy="180799"/>
            </a:xfrm>
            <a:custGeom>
              <a:avLst/>
              <a:gdLst>
                <a:gd name="T0" fmla="*/ 17 w 120"/>
                <a:gd name="T1" fmla="*/ 0 h 76"/>
                <a:gd name="T2" fmla="*/ 103 w 120"/>
                <a:gd name="T3" fmla="*/ 0 h 76"/>
                <a:gd name="T4" fmla="*/ 120 w 120"/>
                <a:gd name="T5" fmla="*/ 17 h 76"/>
                <a:gd name="T6" fmla="*/ 120 w 120"/>
                <a:gd name="T7" fmla="*/ 60 h 76"/>
                <a:gd name="T8" fmla="*/ 103 w 120"/>
                <a:gd name="T9" fmla="*/ 76 h 76"/>
                <a:gd name="T10" fmla="*/ 17 w 120"/>
                <a:gd name="T11" fmla="*/ 76 h 76"/>
                <a:gd name="T12" fmla="*/ 0 w 120"/>
                <a:gd name="T13" fmla="*/ 60 h 76"/>
                <a:gd name="T14" fmla="*/ 0 w 120"/>
                <a:gd name="T15" fmla="*/ 17 h 76"/>
                <a:gd name="T16" fmla="*/ 17 w 120"/>
                <a:gd name="T1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76">
                  <a:moveTo>
                    <a:pt x="17" y="0"/>
                  </a:moveTo>
                  <a:cubicBezTo>
                    <a:pt x="103" y="0"/>
                    <a:pt x="103" y="0"/>
                    <a:pt x="103" y="0"/>
                  </a:cubicBezTo>
                  <a:cubicBezTo>
                    <a:pt x="112" y="0"/>
                    <a:pt x="120" y="8"/>
                    <a:pt x="120" y="17"/>
                  </a:cubicBezTo>
                  <a:cubicBezTo>
                    <a:pt x="120" y="60"/>
                    <a:pt x="120" y="60"/>
                    <a:pt x="120" y="60"/>
                  </a:cubicBezTo>
                  <a:cubicBezTo>
                    <a:pt x="120" y="69"/>
                    <a:pt x="112" y="76"/>
                    <a:pt x="103" y="76"/>
                  </a:cubicBezTo>
                  <a:cubicBezTo>
                    <a:pt x="17" y="76"/>
                    <a:pt x="17" y="76"/>
                    <a:pt x="17" y="76"/>
                  </a:cubicBezTo>
                  <a:cubicBezTo>
                    <a:pt x="8" y="76"/>
                    <a:pt x="0" y="69"/>
                    <a:pt x="0" y="6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3" name="iṥ1iḍe">
              <a:extLst>
                <a:ext uri="{FF2B5EF4-FFF2-40B4-BE49-F238E27FC236}">
                  <a16:creationId xmlns:a16="http://schemas.microsoft.com/office/drawing/2014/main" id="{4DC40B0E-E5A2-414C-B6E4-0B0D0FE71680}"/>
                </a:ext>
              </a:extLst>
            </p:cNvPr>
            <p:cNvSpPr/>
            <p:nvPr/>
          </p:nvSpPr>
          <p:spPr bwMode="auto">
            <a:xfrm>
              <a:off x="2963657" y="3593027"/>
              <a:ext cx="156692" cy="187831"/>
            </a:xfrm>
            <a:custGeom>
              <a:avLst/>
              <a:gdLst>
                <a:gd name="T0" fmla="*/ 66 w 66"/>
                <a:gd name="T1" fmla="*/ 14 h 79"/>
                <a:gd name="T2" fmla="*/ 66 w 66"/>
                <a:gd name="T3" fmla="*/ 78 h 79"/>
                <a:gd name="T4" fmla="*/ 2 w 66"/>
                <a:gd name="T5" fmla="*/ 49 h 79"/>
                <a:gd name="T6" fmla="*/ 22 w 66"/>
                <a:gd name="T7" fmla="*/ 0 h 79"/>
                <a:gd name="T8" fmla="*/ 66 w 66"/>
                <a:gd name="T9" fmla="*/ 1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9">
                  <a:moveTo>
                    <a:pt x="66" y="14"/>
                  </a:moveTo>
                  <a:cubicBezTo>
                    <a:pt x="60" y="48"/>
                    <a:pt x="66" y="79"/>
                    <a:pt x="66" y="78"/>
                  </a:cubicBezTo>
                  <a:cubicBezTo>
                    <a:pt x="63" y="76"/>
                    <a:pt x="0" y="49"/>
                    <a:pt x="2" y="49"/>
                  </a:cubicBezTo>
                  <a:cubicBezTo>
                    <a:pt x="4" y="49"/>
                    <a:pt x="22" y="0"/>
                    <a:pt x="22" y="0"/>
                  </a:cubicBezTo>
                  <a:lnTo>
                    <a:pt x="66" y="14"/>
                  </a:lnTo>
                  <a:close/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4" name="iṥḷiďé">
              <a:extLst>
                <a:ext uri="{FF2B5EF4-FFF2-40B4-BE49-F238E27FC236}">
                  <a16:creationId xmlns:a16="http://schemas.microsoft.com/office/drawing/2014/main" id="{1F86CB66-0B10-4F7D-9A8D-A855D886F81F}"/>
                </a:ext>
              </a:extLst>
            </p:cNvPr>
            <p:cNvSpPr/>
            <p:nvPr/>
          </p:nvSpPr>
          <p:spPr bwMode="auto">
            <a:xfrm>
              <a:off x="2932520" y="3614120"/>
              <a:ext cx="216959" cy="187831"/>
            </a:xfrm>
            <a:custGeom>
              <a:avLst/>
              <a:gdLst>
                <a:gd name="T0" fmla="*/ 91 w 91"/>
                <a:gd name="T1" fmla="*/ 79 h 79"/>
                <a:gd name="T2" fmla="*/ 91 w 91"/>
                <a:gd name="T3" fmla="*/ 43 h 79"/>
                <a:gd name="T4" fmla="*/ 19 w 91"/>
                <a:gd name="T5" fmla="*/ 1 h 79"/>
                <a:gd name="T6" fmla="*/ 0 w 91"/>
                <a:gd name="T7" fmla="*/ 30 h 79"/>
                <a:gd name="T8" fmla="*/ 91 w 91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79">
                  <a:moveTo>
                    <a:pt x="91" y="79"/>
                  </a:moveTo>
                  <a:cubicBezTo>
                    <a:pt x="91" y="75"/>
                    <a:pt x="91" y="43"/>
                    <a:pt x="91" y="43"/>
                  </a:cubicBezTo>
                  <a:cubicBezTo>
                    <a:pt x="91" y="43"/>
                    <a:pt x="24" y="1"/>
                    <a:pt x="19" y="1"/>
                  </a:cubicBezTo>
                  <a:cubicBezTo>
                    <a:pt x="14" y="0"/>
                    <a:pt x="0" y="30"/>
                    <a:pt x="0" y="30"/>
                  </a:cubicBezTo>
                  <a:lnTo>
                    <a:pt x="91" y="79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5" name="îsļïďe">
              <a:extLst>
                <a:ext uri="{FF2B5EF4-FFF2-40B4-BE49-F238E27FC236}">
                  <a16:creationId xmlns:a16="http://schemas.microsoft.com/office/drawing/2014/main" id="{F917F156-3B22-4112-B3E5-2DC890CE7843}"/>
                </a:ext>
              </a:extLst>
            </p:cNvPr>
            <p:cNvSpPr/>
            <p:nvPr/>
          </p:nvSpPr>
          <p:spPr bwMode="auto">
            <a:xfrm>
              <a:off x="2880289" y="3034557"/>
              <a:ext cx="608690" cy="626770"/>
            </a:xfrm>
            <a:custGeom>
              <a:avLst/>
              <a:gdLst>
                <a:gd name="T0" fmla="*/ 120 w 256"/>
                <a:gd name="T1" fmla="*/ 0 h 264"/>
                <a:gd name="T2" fmla="*/ 243 w 256"/>
                <a:gd name="T3" fmla="*/ 125 h 264"/>
                <a:gd name="T4" fmla="*/ 219 w 256"/>
                <a:gd name="T5" fmla="*/ 163 h 264"/>
                <a:gd name="T6" fmla="*/ 238 w 256"/>
                <a:gd name="T7" fmla="*/ 201 h 264"/>
                <a:gd name="T8" fmla="*/ 216 w 256"/>
                <a:gd name="T9" fmla="*/ 207 h 264"/>
                <a:gd name="T10" fmla="*/ 120 w 256"/>
                <a:gd name="T11" fmla="*/ 264 h 264"/>
                <a:gd name="T12" fmla="*/ 0 w 256"/>
                <a:gd name="T13" fmla="*/ 132 h 264"/>
                <a:gd name="T14" fmla="*/ 120 w 256"/>
                <a:gd name="T15" fmla="*/ 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264">
                  <a:moveTo>
                    <a:pt x="120" y="0"/>
                  </a:moveTo>
                  <a:cubicBezTo>
                    <a:pt x="187" y="0"/>
                    <a:pt x="256" y="53"/>
                    <a:pt x="243" y="125"/>
                  </a:cubicBezTo>
                  <a:cubicBezTo>
                    <a:pt x="240" y="145"/>
                    <a:pt x="220" y="154"/>
                    <a:pt x="219" y="163"/>
                  </a:cubicBezTo>
                  <a:cubicBezTo>
                    <a:pt x="228" y="190"/>
                    <a:pt x="240" y="190"/>
                    <a:pt x="238" y="201"/>
                  </a:cubicBezTo>
                  <a:cubicBezTo>
                    <a:pt x="237" y="205"/>
                    <a:pt x="225" y="207"/>
                    <a:pt x="216" y="207"/>
                  </a:cubicBezTo>
                  <a:cubicBezTo>
                    <a:pt x="204" y="246"/>
                    <a:pt x="163" y="264"/>
                    <a:pt x="120" y="264"/>
                  </a:cubicBezTo>
                  <a:cubicBezTo>
                    <a:pt x="54" y="264"/>
                    <a:pt x="0" y="205"/>
                    <a:pt x="0" y="132"/>
                  </a:cubicBezTo>
                  <a:cubicBezTo>
                    <a:pt x="0" y="59"/>
                    <a:pt x="54" y="0"/>
                    <a:pt x="120" y="0"/>
                  </a:cubicBezTo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6" name="îślíďe">
              <a:extLst>
                <a:ext uri="{FF2B5EF4-FFF2-40B4-BE49-F238E27FC236}">
                  <a16:creationId xmlns:a16="http://schemas.microsoft.com/office/drawing/2014/main" id="{E1B6B3F5-4F77-4AD3-855F-EE967D64C32F}"/>
                </a:ext>
              </a:extLst>
            </p:cNvPr>
            <p:cNvSpPr/>
            <p:nvPr/>
          </p:nvSpPr>
          <p:spPr bwMode="auto">
            <a:xfrm>
              <a:off x="2847143" y="2989358"/>
              <a:ext cx="708130" cy="567508"/>
            </a:xfrm>
            <a:custGeom>
              <a:avLst/>
              <a:gdLst>
                <a:gd name="T0" fmla="*/ 285 w 298"/>
                <a:gd name="T1" fmla="*/ 74 h 239"/>
                <a:gd name="T2" fmla="*/ 287 w 298"/>
                <a:gd name="T3" fmla="*/ 122 h 239"/>
                <a:gd name="T4" fmla="*/ 269 w 298"/>
                <a:gd name="T5" fmla="*/ 98 h 239"/>
                <a:gd name="T6" fmla="*/ 268 w 298"/>
                <a:gd name="T7" fmla="*/ 103 h 239"/>
                <a:gd name="T8" fmla="*/ 241 w 298"/>
                <a:gd name="T9" fmla="*/ 126 h 239"/>
                <a:gd name="T10" fmla="*/ 240 w 298"/>
                <a:gd name="T11" fmla="*/ 111 h 239"/>
                <a:gd name="T12" fmla="*/ 234 w 298"/>
                <a:gd name="T13" fmla="*/ 101 h 239"/>
                <a:gd name="T14" fmla="*/ 228 w 298"/>
                <a:gd name="T15" fmla="*/ 101 h 239"/>
                <a:gd name="T16" fmla="*/ 217 w 298"/>
                <a:gd name="T17" fmla="*/ 111 h 239"/>
                <a:gd name="T18" fmla="*/ 181 w 298"/>
                <a:gd name="T19" fmla="*/ 123 h 239"/>
                <a:gd name="T20" fmla="*/ 192 w 298"/>
                <a:gd name="T21" fmla="*/ 102 h 239"/>
                <a:gd name="T22" fmla="*/ 171 w 298"/>
                <a:gd name="T23" fmla="*/ 101 h 239"/>
                <a:gd name="T24" fmla="*/ 122 w 298"/>
                <a:gd name="T25" fmla="*/ 116 h 239"/>
                <a:gd name="T26" fmla="*/ 101 w 298"/>
                <a:gd name="T27" fmla="*/ 190 h 239"/>
                <a:gd name="T28" fmla="*/ 86 w 298"/>
                <a:gd name="T29" fmla="*/ 185 h 239"/>
                <a:gd name="T30" fmla="*/ 96 w 298"/>
                <a:gd name="T31" fmla="*/ 125 h 239"/>
                <a:gd name="T32" fmla="*/ 65 w 298"/>
                <a:gd name="T33" fmla="*/ 110 h 239"/>
                <a:gd name="T34" fmla="*/ 58 w 298"/>
                <a:gd name="T35" fmla="*/ 186 h 239"/>
                <a:gd name="T36" fmla="*/ 46 w 298"/>
                <a:gd name="T37" fmla="*/ 229 h 239"/>
                <a:gd name="T38" fmla="*/ 29 w 298"/>
                <a:gd name="T39" fmla="*/ 238 h 239"/>
                <a:gd name="T40" fmla="*/ 31 w 298"/>
                <a:gd name="T41" fmla="*/ 225 h 239"/>
                <a:gd name="T42" fmla="*/ 21 w 298"/>
                <a:gd name="T43" fmla="*/ 230 h 239"/>
                <a:gd name="T44" fmla="*/ 20 w 298"/>
                <a:gd name="T45" fmla="*/ 213 h 239"/>
                <a:gd name="T46" fmla="*/ 5 w 298"/>
                <a:gd name="T47" fmla="*/ 136 h 239"/>
                <a:gd name="T48" fmla="*/ 79 w 298"/>
                <a:gd name="T49" fmla="*/ 26 h 239"/>
                <a:gd name="T50" fmla="*/ 285 w 298"/>
                <a:gd name="T51" fmla="*/ 74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8" h="239">
                  <a:moveTo>
                    <a:pt x="285" y="74"/>
                  </a:moveTo>
                  <a:cubicBezTo>
                    <a:pt x="298" y="95"/>
                    <a:pt x="287" y="127"/>
                    <a:pt x="287" y="122"/>
                  </a:cubicBezTo>
                  <a:cubicBezTo>
                    <a:pt x="287" y="118"/>
                    <a:pt x="278" y="106"/>
                    <a:pt x="269" y="98"/>
                  </a:cubicBezTo>
                  <a:cubicBezTo>
                    <a:pt x="269" y="100"/>
                    <a:pt x="269" y="102"/>
                    <a:pt x="268" y="103"/>
                  </a:cubicBezTo>
                  <a:cubicBezTo>
                    <a:pt x="263" y="120"/>
                    <a:pt x="241" y="126"/>
                    <a:pt x="241" y="126"/>
                  </a:cubicBezTo>
                  <a:cubicBezTo>
                    <a:pt x="241" y="126"/>
                    <a:pt x="241" y="122"/>
                    <a:pt x="240" y="111"/>
                  </a:cubicBezTo>
                  <a:cubicBezTo>
                    <a:pt x="240" y="107"/>
                    <a:pt x="237" y="103"/>
                    <a:pt x="234" y="101"/>
                  </a:cubicBezTo>
                  <a:cubicBezTo>
                    <a:pt x="232" y="101"/>
                    <a:pt x="230" y="101"/>
                    <a:pt x="228" y="101"/>
                  </a:cubicBezTo>
                  <a:cubicBezTo>
                    <a:pt x="227" y="104"/>
                    <a:pt x="225" y="107"/>
                    <a:pt x="217" y="111"/>
                  </a:cubicBezTo>
                  <a:cubicBezTo>
                    <a:pt x="200" y="120"/>
                    <a:pt x="179" y="123"/>
                    <a:pt x="181" y="123"/>
                  </a:cubicBezTo>
                  <a:cubicBezTo>
                    <a:pt x="184" y="123"/>
                    <a:pt x="199" y="116"/>
                    <a:pt x="192" y="102"/>
                  </a:cubicBezTo>
                  <a:cubicBezTo>
                    <a:pt x="184" y="102"/>
                    <a:pt x="177" y="102"/>
                    <a:pt x="171" y="101"/>
                  </a:cubicBezTo>
                  <a:cubicBezTo>
                    <a:pt x="145" y="99"/>
                    <a:pt x="133" y="105"/>
                    <a:pt x="122" y="116"/>
                  </a:cubicBezTo>
                  <a:cubicBezTo>
                    <a:pt x="111" y="128"/>
                    <a:pt x="106" y="192"/>
                    <a:pt x="101" y="190"/>
                  </a:cubicBezTo>
                  <a:cubicBezTo>
                    <a:pt x="97" y="188"/>
                    <a:pt x="86" y="185"/>
                    <a:pt x="86" y="185"/>
                  </a:cubicBezTo>
                  <a:cubicBezTo>
                    <a:pt x="86" y="185"/>
                    <a:pt x="99" y="142"/>
                    <a:pt x="96" y="125"/>
                  </a:cubicBezTo>
                  <a:cubicBezTo>
                    <a:pt x="94" y="109"/>
                    <a:pt x="87" y="102"/>
                    <a:pt x="65" y="110"/>
                  </a:cubicBezTo>
                  <a:cubicBezTo>
                    <a:pt x="31" y="121"/>
                    <a:pt x="40" y="162"/>
                    <a:pt x="58" y="186"/>
                  </a:cubicBezTo>
                  <a:cubicBezTo>
                    <a:pt x="58" y="186"/>
                    <a:pt x="52" y="224"/>
                    <a:pt x="46" y="229"/>
                  </a:cubicBezTo>
                  <a:cubicBezTo>
                    <a:pt x="40" y="234"/>
                    <a:pt x="27" y="239"/>
                    <a:pt x="29" y="238"/>
                  </a:cubicBezTo>
                  <a:cubicBezTo>
                    <a:pt x="31" y="237"/>
                    <a:pt x="31" y="225"/>
                    <a:pt x="31" y="225"/>
                  </a:cubicBezTo>
                  <a:cubicBezTo>
                    <a:pt x="21" y="230"/>
                    <a:pt x="21" y="230"/>
                    <a:pt x="21" y="230"/>
                  </a:cubicBezTo>
                  <a:cubicBezTo>
                    <a:pt x="21" y="230"/>
                    <a:pt x="18" y="216"/>
                    <a:pt x="20" y="213"/>
                  </a:cubicBezTo>
                  <a:cubicBezTo>
                    <a:pt x="21" y="210"/>
                    <a:pt x="7" y="166"/>
                    <a:pt x="5" y="136"/>
                  </a:cubicBezTo>
                  <a:cubicBezTo>
                    <a:pt x="0" y="78"/>
                    <a:pt x="28" y="13"/>
                    <a:pt x="79" y="26"/>
                  </a:cubicBezTo>
                  <a:cubicBezTo>
                    <a:pt x="108" y="0"/>
                    <a:pt x="265" y="3"/>
                    <a:pt x="285" y="74"/>
                  </a:cubicBezTo>
                </a:path>
              </a:pathLst>
            </a:custGeom>
            <a:solidFill>
              <a:srgbClr val="C96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7" name="ïSľíḑê">
              <a:extLst>
                <a:ext uri="{FF2B5EF4-FFF2-40B4-BE49-F238E27FC236}">
                  <a16:creationId xmlns:a16="http://schemas.microsoft.com/office/drawing/2014/main" id="{302AC8A5-4F59-408B-8A4D-50FD00F370F2}"/>
                </a:ext>
              </a:extLst>
            </p:cNvPr>
            <p:cNvSpPr/>
            <p:nvPr/>
          </p:nvSpPr>
          <p:spPr bwMode="auto">
            <a:xfrm>
              <a:off x="4777673" y="3126967"/>
              <a:ext cx="617730" cy="667952"/>
            </a:xfrm>
            <a:custGeom>
              <a:avLst/>
              <a:gdLst>
                <a:gd name="T0" fmla="*/ 150 w 260"/>
                <a:gd name="T1" fmla="*/ 10 h 281"/>
                <a:gd name="T2" fmla="*/ 11 w 260"/>
                <a:gd name="T3" fmla="*/ 122 h 281"/>
                <a:gd name="T4" fmla="*/ 110 w 260"/>
                <a:gd name="T5" fmla="*/ 271 h 281"/>
                <a:gd name="T6" fmla="*/ 249 w 260"/>
                <a:gd name="T7" fmla="*/ 159 h 281"/>
                <a:gd name="T8" fmla="*/ 150 w 260"/>
                <a:gd name="T9" fmla="*/ 1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281">
                  <a:moveTo>
                    <a:pt x="150" y="10"/>
                  </a:moveTo>
                  <a:cubicBezTo>
                    <a:pt x="84" y="0"/>
                    <a:pt x="22" y="50"/>
                    <a:pt x="11" y="122"/>
                  </a:cubicBezTo>
                  <a:cubicBezTo>
                    <a:pt x="0" y="194"/>
                    <a:pt x="44" y="260"/>
                    <a:pt x="110" y="271"/>
                  </a:cubicBezTo>
                  <a:cubicBezTo>
                    <a:pt x="176" y="281"/>
                    <a:pt x="238" y="231"/>
                    <a:pt x="249" y="159"/>
                  </a:cubicBezTo>
                  <a:cubicBezTo>
                    <a:pt x="260" y="87"/>
                    <a:pt x="216" y="20"/>
                    <a:pt x="150" y="10"/>
                  </a:cubicBezTo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8" name="işlîḓé">
              <a:extLst>
                <a:ext uri="{FF2B5EF4-FFF2-40B4-BE49-F238E27FC236}">
                  <a16:creationId xmlns:a16="http://schemas.microsoft.com/office/drawing/2014/main" id="{97804E4B-D50C-4948-ACFE-F4CF45DCEDA7}"/>
                </a:ext>
              </a:extLst>
            </p:cNvPr>
            <p:cNvSpPr/>
            <p:nvPr/>
          </p:nvSpPr>
          <p:spPr bwMode="auto">
            <a:xfrm>
              <a:off x="4920303" y="3720591"/>
              <a:ext cx="313386" cy="81360"/>
            </a:xfrm>
            <a:custGeom>
              <a:avLst/>
              <a:gdLst>
                <a:gd name="T0" fmla="*/ 132 w 132"/>
                <a:gd name="T1" fmla="*/ 33 h 34"/>
                <a:gd name="T2" fmla="*/ 123 w 132"/>
                <a:gd name="T3" fmla="*/ 3 h 34"/>
                <a:gd name="T4" fmla="*/ 10 w 132"/>
                <a:gd name="T5" fmla="*/ 3 h 34"/>
                <a:gd name="T6" fmla="*/ 0 w 132"/>
                <a:gd name="T7" fmla="*/ 34 h 34"/>
                <a:gd name="T8" fmla="*/ 132 w 132"/>
                <a:gd name="T9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34">
                  <a:moveTo>
                    <a:pt x="132" y="33"/>
                  </a:move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" y="0"/>
                    <a:pt x="10" y="3"/>
                  </a:cubicBezTo>
                  <a:cubicBezTo>
                    <a:pt x="9" y="5"/>
                    <a:pt x="0" y="34"/>
                    <a:pt x="0" y="34"/>
                  </a:cubicBezTo>
                  <a:lnTo>
                    <a:pt x="132" y="33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9" name="íŝḷiḓê">
              <a:extLst>
                <a:ext uri="{FF2B5EF4-FFF2-40B4-BE49-F238E27FC236}">
                  <a16:creationId xmlns:a16="http://schemas.microsoft.com/office/drawing/2014/main" id="{0F7A0EEB-ED01-40DE-85FD-A1885D1E5A67}"/>
                </a:ext>
              </a:extLst>
            </p:cNvPr>
            <p:cNvSpPr/>
            <p:nvPr/>
          </p:nvSpPr>
          <p:spPr bwMode="auto">
            <a:xfrm>
              <a:off x="4692297" y="3100851"/>
              <a:ext cx="724200" cy="1073746"/>
            </a:xfrm>
            <a:custGeom>
              <a:avLst/>
              <a:gdLst>
                <a:gd name="T0" fmla="*/ 250 w 305"/>
                <a:gd name="T1" fmla="*/ 23 h 452"/>
                <a:gd name="T2" fmla="*/ 296 w 305"/>
                <a:gd name="T3" fmla="*/ 110 h 452"/>
                <a:gd name="T4" fmla="*/ 257 w 305"/>
                <a:gd name="T5" fmla="*/ 227 h 452"/>
                <a:gd name="T6" fmla="*/ 152 w 305"/>
                <a:gd name="T7" fmla="*/ 269 h 452"/>
                <a:gd name="T8" fmla="*/ 121 w 305"/>
                <a:gd name="T9" fmla="*/ 271 h 452"/>
                <a:gd name="T10" fmla="*/ 123 w 305"/>
                <a:gd name="T11" fmla="*/ 304 h 452"/>
                <a:gd name="T12" fmla="*/ 69 w 305"/>
                <a:gd name="T13" fmla="*/ 364 h 452"/>
                <a:gd name="T14" fmla="*/ 30 w 305"/>
                <a:gd name="T15" fmla="*/ 443 h 452"/>
                <a:gd name="T16" fmla="*/ 53 w 305"/>
                <a:gd name="T17" fmla="*/ 295 h 452"/>
                <a:gd name="T18" fmla="*/ 87 w 305"/>
                <a:gd name="T19" fmla="*/ 258 h 452"/>
                <a:gd name="T20" fmla="*/ 40 w 305"/>
                <a:gd name="T21" fmla="*/ 126 h 452"/>
                <a:gd name="T22" fmla="*/ 100 w 305"/>
                <a:gd name="T23" fmla="*/ 12 h 452"/>
                <a:gd name="T24" fmla="*/ 128 w 305"/>
                <a:gd name="T25" fmla="*/ 11 h 452"/>
                <a:gd name="T26" fmla="*/ 177 w 305"/>
                <a:gd name="T27" fmla="*/ 1 h 452"/>
                <a:gd name="T28" fmla="*/ 250 w 305"/>
                <a:gd name="T29" fmla="*/ 23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5" h="452">
                  <a:moveTo>
                    <a:pt x="250" y="23"/>
                  </a:moveTo>
                  <a:cubicBezTo>
                    <a:pt x="261" y="26"/>
                    <a:pt x="286" y="61"/>
                    <a:pt x="296" y="110"/>
                  </a:cubicBezTo>
                  <a:cubicBezTo>
                    <a:pt x="305" y="160"/>
                    <a:pt x="285" y="202"/>
                    <a:pt x="257" y="227"/>
                  </a:cubicBezTo>
                  <a:cubicBezTo>
                    <a:pt x="228" y="253"/>
                    <a:pt x="176" y="265"/>
                    <a:pt x="152" y="269"/>
                  </a:cubicBezTo>
                  <a:cubicBezTo>
                    <a:pt x="143" y="271"/>
                    <a:pt x="132" y="272"/>
                    <a:pt x="121" y="271"/>
                  </a:cubicBezTo>
                  <a:cubicBezTo>
                    <a:pt x="123" y="280"/>
                    <a:pt x="124" y="291"/>
                    <a:pt x="123" y="304"/>
                  </a:cubicBezTo>
                  <a:cubicBezTo>
                    <a:pt x="120" y="337"/>
                    <a:pt x="104" y="337"/>
                    <a:pt x="69" y="364"/>
                  </a:cubicBezTo>
                  <a:cubicBezTo>
                    <a:pt x="34" y="391"/>
                    <a:pt x="29" y="435"/>
                    <a:pt x="30" y="443"/>
                  </a:cubicBezTo>
                  <a:cubicBezTo>
                    <a:pt x="31" y="452"/>
                    <a:pt x="0" y="351"/>
                    <a:pt x="53" y="295"/>
                  </a:cubicBezTo>
                  <a:cubicBezTo>
                    <a:pt x="71" y="277"/>
                    <a:pt x="81" y="266"/>
                    <a:pt x="87" y="258"/>
                  </a:cubicBezTo>
                  <a:cubicBezTo>
                    <a:pt x="59" y="249"/>
                    <a:pt x="39" y="150"/>
                    <a:pt x="40" y="126"/>
                  </a:cubicBezTo>
                  <a:cubicBezTo>
                    <a:pt x="41" y="77"/>
                    <a:pt x="84" y="17"/>
                    <a:pt x="100" y="12"/>
                  </a:cubicBezTo>
                  <a:cubicBezTo>
                    <a:pt x="116" y="7"/>
                    <a:pt x="128" y="11"/>
                    <a:pt x="128" y="11"/>
                  </a:cubicBezTo>
                  <a:cubicBezTo>
                    <a:pt x="128" y="11"/>
                    <a:pt x="143" y="2"/>
                    <a:pt x="177" y="1"/>
                  </a:cubicBezTo>
                  <a:cubicBezTo>
                    <a:pt x="212" y="0"/>
                    <a:pt x="250" y="23"/>
                    <a:pt x="250" y="23"/>
                  </a:cubicBezTo>
                </a:path>
              </a:pathLst>
            </a:custGeom>
            <a:solidFill>
              <a:srgbClr val="EA62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0" name="iş1îḓe">
              <a:extLst>
                <a:ext uri="{FF2B5EF4-FFF2-40B4-BE49-F238E27FC236}">
                  <a16:creationId xmlns:a16="http://schemas.microsoft.com/office/drawing/2014/main" id="{EF8B4416-EF9B-4A81-9E25-6395F2D2B02C}"/>
                </a:ext>
              </a:extLst>
            </p:cNvPr>
            <p:cNvSpPr/>
            <p:nvPr/>
          </p:nvSpPr>
          <p:spPr bwMode="auto">
            <a:xfrm>
              <a:off x="6022174" y="3772821"/>
              <a:ext cx="119529" cy="104461"/>
            </a:xfrm>
            <a:custGeom>
              <a:avLst/>
              <a:gdLst>
                <a:gd name="T0" fmla="*/ 19 w 119"/>
                <a:gd name="T1" fmla="*/ 3 h 104"/>
                <a:gd name="T2" fmla="*/ 93 w 119"/>
                <a:gd name="T3" fmla="*/ 0 h 104"/>
                <a:gd name="T4" fmla="*/ 119 w 119"/>
                <a:gd name="T5" fmla="*/ 62 h 104"/>
                <a:gd name="T6" fmla="*/ 93 w 119"/>
                <a:gd name="T7" fmla="*/ 100 h 104"/>
                <a:gd name="T8" fmla="*/ 59 w 119"/>
                <a:gd name="T9" fmla="*/ 104 h 104"/>
                <a:gd name="T10" fmla="*/ 26 w 119"/>
                <a:gd name="T11" fmla="*/ 100 h 104"/>
                <a:gd name="T12" fmla="*/ 0 w 119"/>
                <a:gd name="T13" fmla="*/ 57 h 104"/>
                <a:gd name="T14" fmla="*/ 19 w 119"/>
                <a:gd name="T15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104">
                  <a:moveTo>
                    <a:pt x="19" y="3"/>
                  </a:moveTo>
                  <a:lnTo>
                    <a:pt x="93" y="0"/>
                  </a:lnTo>
                  <a:lnTo>
                    <a:pt x="119" y="62"/>
                  </a:lnTo>
                  <a:lnTo>
                    <a:pt x="93" y="100"/>
                  </a:lnTo>
                  <a:lnTo>
                    <a:pt x="59" y="104"/>
                  </a:lnTo>
                  <a:lnTo>
                    <a:pt x="26" y="100"/>
                  </a:lnTo>
                  <a:lnTo>
                    <a:pt x="0" y="57"/>
                  </a:lnTo>
                  <a:lnTo>
                    <a:pt x="19" y="3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1" name="ïsļîḓè">
              <a:extLst>
                <a:ext uri="{FF2B5EF4-FFF2-40B4-BE49-F238E27FC236}">
                  <a16:creationId xmlns:a16="http://schemas.microsoft.com/office/drawing/2014/main" id="{D9B924D0-6EA8-4BBF-ABB9-9DAA10BACE54}"/>
                </a:ext>
              </a:extLst>
            </p:cNvPr>
            <p:cNvSpPr/>
            <p:nvPr/>
          </p:nvSpPr>
          <p:spPr bwMode="auto">
            <a:xfrm>
              <a:off x="6107552" y="3680414"/>
              <a:ext cx="130577" cy="182808"/>
            </a:xfrm>
            <a:custGeom>
              <a:avLst/>
              <a:gdLst>
                <a:gd name="T0" fmla="*/ 0 w 130"/>
                <a:gd name="T1" fmla="*/ 92 h 182"/>
                <a:gd name="T2" fmla="*/ 48 w 130"/>
                <a:gd name="T3" fmla="*/ 182 h 182"/>
                <a:gd name="T4" fmla="*/ 130 w 130"/>
                <a:gd name="T5" fmla="*/ 33 h 182"/>
                <a:gd name="T6" fmla="*/ 86 w 130"/>
                <a:gd name="T7" fmla="*/ 0 h 182"/>
                <a:gd name="T8" fmla="*/ 0 w 130"/>
                <a:gd name="T9" fmla="*/ 9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82">
                  <a:moveTo>
                    <a:pt x="0" y="92"/>
                  </a:moveTo>
                  <a:lnTo>
                    <a:pt x="48" y="182"/>
                  </a:lnTo>
                  <a:lnTo>
                    <a:pt x="130" y="33"/>
                  </a:lnTo>
                  <a:lnTo>
                    <a:pt x="86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2" name="iṣļidè">
              <a:extLst>
                <a:ext uri="{FF2B5EF4-FFF2-40B4-BE49-F238E27FC236}">
                  <a16:creationId xmlns:a16="http://schemas.microsoft.com/office/drawing/2014/main" id="{CA78D478-3B32-490D-9095-E0DA67691E2F}"/>
                </a:ext>
              </a:extLst>
            </p:cNvPr>
            <p:cNvSpPr/>
            <p:nvPr/>
          </p:nvSpPr>
          <p:spPr bwMode="auto">
            <a:xfrm>
              <a:off x="6264244" y="3367029"/>
              <a:ext cx="114506" cy="144640"/>
            </a:xfrm>
            <a:custGeom>
              <a:avLst/>
              <a:gdLst>
                <a:gd name="T0" fmla="*/ 26 w 48"/>
                <a:gd name="T1" fmla="*/ 0 h 61"/>
                <a:gd name="T2" fmla="*/ 1 w 48"/>
                <a:gd name="T3" fmla="*/ 30 h 61"/>
                <a:gd name="T4" fmla="*/ 22 w 48"/>
                <a:gd name="T5" fmla="*/ 61 h 61"/>
                <a:gd name="T6" fmla="*/ 47 w 48"/>
                <a:gd name="T7" fmla="*/ 30 h 61"/>
                <a:gd name="T8" fmla="*/ 26 w 48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1">
                  <a:moveTo>
                    <a:pt x="26" y="0"/>
                  </a:moveTo>
                  <a:cubicBezTo>
                    <a:pt x="13" y="0"/>
                    <a:pt x="2" y="14"/>
                    <a:pt x="1" y="30"/>
                  </a:cubicBezTo>
                  <a:cubicBezTo>
                    <a:pt x="0" y="47"/>
                    <a:pt x="10" y="61"/>
                    <a:pt x="22" y="61"/>
                  </a:cubicBezTo>
                  <a:cubicBezTo>
                    <a:pt x="35" y="61"/>
                    <a:pt x="46" y="47"/>
                    <a:pt x="47" y="30"/>
                  </a:cubicBezTo>
                  <a:cubicBezTo>
                    <a:pt x="48" y="14"/>
                    <a:pt x="38" y="0"/>
                    <a:pt x="26" y="0"/>
                  </a:cubicBezTo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3" name="ïṧḻïďê">
              <a:extLst>
                <a:ext uri="{FF2B5EF4-FFF2-40B4-BE49-F238E27FC236}">
                  <a16:creationId xmlns:a16="http://schemas.microsoft.com/office/drawing/2014/main" id="{E71D09CA-7DB3-444E-94BC-EDBE8F797A89}"/>
                </a:ext>
              </a:extLst>
            </p:cNvPr>
            <p:cNvSpPr/>
            <p:nvPr/>
          </p:nvSpPr>
          <p:spPr bwMode="auto">
            <a:xfrm>
              <a:off x="5778095" y="3367029"/>
              <a:ext cx="113502" cy="144640"/>
            </a:xfrm>
            <a:custGeom>
              <a:avLst/>
              <a:gdLst>
                <a:gd name="T0" fmla="*/ 23 w 48"/>
                <a:gd name="T1" fmla="*/ 0 h 61"/>
                <a:gd name="T2" fmla="*/ 47 w 48"/>
                <a:gd name="T3" fmla="*/ 30 h 61"/>
                <a:gd name="T4" fmla="*/ 26 w 48"/>
                <a:gd name="T5" fmla="*/ 61 h 61"/>
                <a:gd name="T6" fmla="*/ 1 w 48"/>
                <a:gd name="T7" fmla="*/ 30 h 61"/>
                <a:gd name="T8" fmla="*/ 23 w 48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1">
                  <a:moveTo>
                    <a:pt x="23" y="0"/>
                  </a:moveTo>
                  <a:cubicBezTo>
                    <a:pt x="35" y="0"/>
                    <a:pt x="46" y="14"/>
                    <a:pt x="47" y="30"/>
                  </a:cubicBezTo>
                  <a:cubicBezTo>
                    <a:pt x="48" y="47"/>
                    <a:pt x="39" y="61"/>
                    <a:pt x="26" y="61"/>
                  </a:cubicBezTo>
                  <a:cubicBezTo>
                    <a:pt x="13" y="61"/>
                    <a:pt x="2" y="47"/>
                    <a:pt x="1" y="30"/>
                  </a:cubicBezTo>
                  <a:cubicBezTo>
                    <a:pt x="0" y="14"/>
                    <a:pt x="10" y="0"/>
                    <a:pt x="23" y="0"/>
                  </a:cubicBezTo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4" name="íşľïḑe">
              <a:extLst>
                <a:ext uri="{FF2B5EF4-FFF2-40B4-BE49-F238E27FC236}">
                  <a16:creationId xmlns:a16="http://schemas.microsoft.com/office/drawing/2014/main" id="{D0EF118B-9AAC-4074-A949-7C98983D4612}"/>
                </a:ext>
              </a:extLst>
            </p:cNvPr>
            <p:cNvSpPr/>
            <p:nvPr/>
          </p:nvSpPr>
          <p:spPr bwMode="auto">
            <a:xfrm>
              <a:off x="5797179" y="3386113"/>
              <a:ext cx="54240" cy="111493"/>
            </a:xfrm>
            <a:custGeom>
              <a:avLst/>
              <a:gdLst>
                <a:gd name="T0" fmla="*/ 14 w 23"/>
                <a:gd name="T1" fmla="*/ 2 h 47"/>
                <a:gd name="T2" fmla="*/ 3 w 23"/>
                <a:gd name="T3" fmla="*/ 8 h 47"/>
                <a:gd name="T4" fmla="*/ 6 w 23"/>
                <a:gd name="T5" fmla="*/ 40 h 47"/>
                <a:gd name="T6" fmla="*/ 19 w 23"/>
                <a:gd name="T7" fmla="*/ 43 h 47"/>
                <a:gd name="T8" fmla="*/ 20 w 23"/>
                <a:gd name="T9" fmla="*/ 32 h 47"/>
                <a:gd name="T10" fmla="*/ 14 w 23"/>
                <a:gd name="T11" fmla="*/ 23 h 47"/>
                <a:gd name="T12" fmla="*/ 18 w 23"/>
                <a:gd name="T13" fmla="*/ 19 h 47"/>
                <a:gd name="T14" fmla="*/ 16 w 23"/>
                <a:gd name="T15" fmla="*/ 6 h 47"/>
                <a:gd name="T16" fmla="*/ 14 w 23"/>
                <a:gd name="T17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47">
                  <a:moveTo>
                    <a:pt x="14" y="2"/>
                  </a:moveTo>
                  <a:cubicBezTo>
                    <a:pt x="13" y="2"/>
                    <a:pt x="6" y="0"/>
                    <a:pt x="3" y="8"/>
                  </a:cubicBezTo>
                  <a:cubicBezTo>
                    <a:pt x="0" y="15"/>
                    <a:pt x="3" y="35"/>
                    <a:pt x="6" y="40"/>
                  </a:cubicBezTo>
                  <a:cubicBezTo>
                    <a:pt x="10" y="45"/>
                    <a:pt x="16" y="47"/>
                    <a:pt x="19" y="43"/>
                  </a:cubicBezTo>
                  <a:cubicBezTo>
                    <a:pt x="23" y="39"/>
                    <a:pt x="23" y="34"/>
                    <a:pt x="20" y="32"/>
                  </a:cubicBezTo>
                  <a:cubicBezTo>
                    <a:pt x="16" y="29"/>
                    <a:pt x="14" y="26"/>
                    <a:pt x="14" y="23"/>
                  </a:cubicBezTo>
                  <a:cubicBezTo>
                    <a:pt x="15" y="21"/>
                    <a:pt x="17" y="21"/>
                    <a:pt x="18" y="19"/>
                  </a:cubicBezTo>
                  <a:cubicBezTo>
                    <a:pt x="19" y="17"/>
                    <a:pt x="18" y="10"/>
                    <a:pt x="16" y="6"/>
                  </a:cubicBezTo>
                  <a:cubicBezTo>
                    <a:pt x="15" y="1"/>
                    <a:pt x="14" y="2"/>
                    <a:pt x="14" y="2"/>
                  </a:cubicBezTo>
                </a:path>
              </a:pathLst>
            </a:custGeom>
            <a:solidFill>
              <a:srgbClr val="F8A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5" name="íṡļíḋê">
              <a:extLst>
                <a:ext uri="{FF2B5EF4-FFF2-40B4-BE49-F238E27FC236}">
                  <a16:creationId xmlns:a16="http://schemas.microsoft.com/office/drawing/2014/main" id="{C65147A3-CFD8-48BD-991C-B3339A7D62D9}"/>
                </a:ext>
              </a:extLst>
            </p:cNvPr>
            <p:cNvSpPr/>
            <p:nvPr/>
          </p:nvSpPr>
          <p:spPr bwMode="auto">
            <a:xfrm>
              <a:off x="6305425" y="3386113"/>
              <a:ext cx="56249" cy="109484"/>
            </a:xfrm>
            <a:custGeom>
              <a:avLst/>
              <a:gdLst>
                <a:gd name="T0" fmla="*/ 11 w 24"/>
                <a:gd name="T1" fmla="*/ 1 h 46"/>
                <a:gd name="T2" fmla="*/ 22 w 24"/>
                <a:gd name="T3" fmla="*/ 7 h 46"/>
                <a:gd name="T4" fmla="*/ 16 w 24"/>
                <a:gd name="T5" fmla="*/ 39 h 46"/>
                <a:gd name="T6" fmla="*/ 3 w 24"/>
                <a:gd name="T7" fmla="*/ 42 h 46"/>
                <a:gd name="T8" fmla="*/ 3 w 24"/>
                <a:gd name="T9" fmla="*/ 30 h 46"/>
                <a:gd name="T10" fmla="*/ 9 w 24"/>
                <a:gd name="T11" fmla="*/ 22 h 46"/>
                <a:gd name="T12" fmla="*/ 6 w 24"/>
                <a:gd name="T13" fmla="*/ 18 h 46"/>
                <a:gd name="T14" fmla="*/ 9 w 24"/>
                <a:gd name="T15" fmla="*/ 5 h 46"/>
                <a:gd name="T16" fmla="*/ 11 w 24"/>
                <a:gd name="T17" fmla="*/ 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46">
                  <a:moveTo>
                    <a:pt x="11" y="1"/>
                  </a:moveTo>
                  <a:cubicBezTo>
                    <a:pt x="12" y="1"/>
                    <a:pt x="19" y="0"/>
                    <a:pt x="22" y="7"/>
                  </a:cubicBezTo>
                  <a:cubicBezTo>
                    <a:pt x="24" y="15"/>
                    <a:pt x="20" y="34"/>
                    <a:pt x="16" y="39"/>
                  </a:cubicBezTo>
                  <a:cubicBezTo>
                    <a:pt x="12" y="45"/>
                    <a:pt x="7" y="46"/>
                    <a:pt x="3" y="42"/>
                  </a:cubicBezTo>
                  <a:cubicBezTo>
                    <a:pt x="0" y="37"/>
                    <a:pt x="0" y="33"/>
                    <a:pt x="3" y="30"/>
                  </a:cubicBezTo>
                  <a:cubicBezTo>
                    <a:pt x="7" y="27"/>
                    <a:pt x="10" y="25"/>
                    <a:pt x="9" y="22"/>
                  </a:cubicBezTo>
                  <a:cubicBezTo>
                    <a:pt x="9" y="20"/>
                    <a:pt x="7" y="20"/>
                    <a:pt x="6" y="18"/>
                  </a:cubicBezTo>
                  <a:cubicBezTo>
                    <a:pt x="5" y="15"/>
                    <a:pt x="7" y="9"/>
                    <a:pt x="9" y="5"/>
                  </a:cubicBezTo>
                  <a:cubicBezTo>
                    <a:pt x="10" y="0"/>
                    <a:pt x="11" y="1"/>
                    <a:pt x="11" y="1"/>
                  </a:cubicBezTo>
                </a:path>
              </a:pathLst>
            </a:custGeom>
            <a:solidFill>
              <a:srgbClr val="F8A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6" name="ï$ľiḑè">
              <a:extLst>
                <a:ext uri="{FF2B5EF4-FFF2-40B4-BE49-F238E27FC236}">
                  <a16:creationId xmlns:a16="http://schemas.microsoft.com/office/drawing/2014/main" id="{63BA7365-13E5-4F35-A594-A9DFD329F5B9}"/>
                </a:ext>
              </a:extLst>
            </p:cNvPr>
            <p:cNvSpPr/>
            <p:nvPr/>
          </p:nvSpPr>
          <p:spPr bwMode="auto">
            <a:xfrm>
              <a:off x="5837357" y="3149066"/>
              <a:ext cx="482131" cy="571527"/>
            </a:xfrm>
            <a:custGeom>
              <a:avLst/>
              <a:gdLst>
                <a:gd name="T0" fmla="*/ 102 w 203"/>
                <a:gd name="T1" fmla="*/ 0 h 241"/>
                <a:gd name="T2" fmla="*/ 203 w 203"/>
                <a:gd name="T3" fmla="*/ 115 h 241"/>
                <a:gd name="T4" fmla="*/ 101 w 203"/>
                <a:gd name="T5" fmla="*/ 241 h 241"/>
                <a:gd name="T6" fmla="*/ 0 w 203"/>
                <a:gd name="T7" fmla="*/ 115 h 241"/>
                <a:gd name="T8" fmla="*/ 102 w 203"/>
                <a:gd name="T9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3" h="241">
                  <a:moveTo>
                    <a:pt x="102" y="0"/>
                  </a:moveTo>
                  <a:cubicBezTo>
                    <a:pt x="158" y="0"/>
                    <a:pt x="203" y="52"/>
                    <a:pt x="203" y="115"/>
                  </a:cubicBezTo>
                  <a:cubicBezTo>
                    <a:pt x="203" y="178"/>
                    <a:pt x="157" y="241"/>
                    <a:pt x="101" y="241"/>
                  </a:cubicBezTo>
                  <a:cubicBezTo>
                    <a:pt x="45" y="241"/>
                    <a:pt x="0" y="178"/>
                    <a:pt x="0" y="115"/>
                  </a:cubicBezTo>
                  <a:cubicBezTo>
                    <a:pt x="0" y="52"/>
                    <a:pt x="45" y="0"/>
                    <a:pt x="102" y="0"/>
                  </a:cubicBezTo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7" name="iṥ1ïḑe">
              <a:extLst>
                <a:ext uri="{FF2B5EF4-FFF2-40B4-BE49-F238E27FC236}">
                  <a16:creationId xmlns:a16="http://schemas.microsoft.com/office/drawing/2014/main" id="{BC121D6B-CDA4-4FBA-95ED-C15285973A78}"/>
                </a:ext>
              </a:extLst>
            </p:cNvPr>
            <p:cNvSpPr/>
            <p:nvPr/>
          </p:nvSpPr>
          <p:spPr bwMode="auto">
            <a:xfrm>
              <a:off x="6264244" y="3212345"/>
              <a:ext cx="119529" cy="271198"/>
            </a:xfrm>
            <a:custGeom>
              <a:avLst/>
              <a:gdLst>
                <a:gd name="T0" fmla="*/ 17 w 50"/>
                <a:gd name="T1" fmla="*/ 108 h 114"/>
                <a:gd name="T2" fmla="*/ 17 w 50"/>
                <a:gd name="T3" fmla="*/ 112 h 114"/>
                <a:gd name="T4" fmla="*/ 17 w 50"/>
                <a:gd name="T5" fmla="*/ 113 h 114"/>
                <a:gd name="T6" fmla="*/ 20 w 50"/>
                <a:gd name="T7" fmla="*/ 114 h 114"/>
                <a:gd name="T8" fmla="*/ 17 w 50"/>
                <a:gd name="T9" fmla="*/ 12 h 114"/>
                <a:gd name="T10" fmla="*/ 0 w 50"/>
                <a:gd name="T11" fmla="*/ 16 h 114"/>
                <a:gd name="T12" fmla="*/ 17 w 50"/>
                <a:gd name="T13" fmla="*/ 10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114">
                  <a:moveTo>
                    <a:pt x="17" y="108"/>
                  </a:moveTo>
                  <a:cubicBezTo>
                    <a:pt x="17" y="109"/>
                    <a:pt x="17" y="110"/>
                    <a:pt x="17" y="112"/>
                  </a:cubicBezTo>
                  <a:cubicBezTo>
                    <a:pt x="17" y="113"/>
                    <a:pt x="17" y="113"/>
                    <a:pt x="17" y="113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29" y="98"/>
                    <a:pt x="50" y="49"/>
                    <a:pt x="17" y="12"/>
                  </a:cubicBezTo>
                  <a:cubicBezTo>
                    <a:pt x="9" y="0"/>
                    <a:pt x="6" y="19"/>
                    <a:pt x="0" y="16"/>
                  </a:cubicBezTo>
                  <a:cubicBezTo>
                    <a:pt x="8" y="37"/>
                    <a:pt x="27" y="49"/>
                    <a:pt x="17" y="108"/>
                  </a:cubicBezTo>
                </a:path>
              </a:pathLst>
            </a:custGeom>
            <a:solidFill>
              <a:srgbClr val="9D48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8" name="ï$ļíḋê">
              <a:extLst>
                <a:ext uri="{FF2B5EF4-FFF2-40B4-BE49-F238E27FC236}">
                  <a16:creationId xmlns:a16="http://schemas.microsoft.com/office/drawing/2014/main" id="{E54F7523-07CF-476F-B305-3A9D80EDDDE0}"/>
                </a:ext>
              </a:extLst>
            </p:cNvPr>
            <p:cNvSpPr/>
            <p:nvPr/>
          </p:nvSpPr>
          <p:spPr bwMode="auto">
            <a:xfrm>
              <a:off x="5801197" y="3250514"/>
              <a:ext cx="90400" cy="233030"/>
            </a:xfrm>
            <a:custGeom>
              <a:avLst/>
              <a:gdLst>
                <a:gd name="T0" fmla="*/ 20 w 38"/>
                <a:gd name="T1" fmla="*/ 92 h 98"/>
                <a:gd name="T2" fmla="*/ 20 w 38"/>
                <a:gd name="T3" fmla="*/ 96 h 98"/>
                <a:gd name="T4" fmla="*/ 20 w 38"/>
                <a:gd name="T5" fmla="*/ 97 h 98"/>
                <a:gd name="T6" fmla="*/ 17 w 38"/>
                <a:gd name="T7" fmla="*/ 98 h 98"/>
                <a:gd name="T8" fmla="*/ 9 w 38"/>
                <a:gd name="T9" fmla="*/ 13 h 98"/>
                <a:gd name="T10" fmla="*/ 38 w 38"/>
                <a:gd name="T11" fmla="*/ 0 h 98"/>
                <a:gd name="T12" fmla="*/ 20 w 38"/>
                <a:gd name="T13" fmla="*/ 9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98">
                  <a:moveTo>
                    <a:pt x="20" y="92"/>
                  </a:moveTo>
                  <a:cubicBezTo>
                    <a:pt x="20" y="93"/>
                    <a:pt x="20" y="94"/>
                    <a:pt x="20" y="96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9" y="82"/>
                    <a:pt x="0" y="29"/>
                    <a:pt x="9" y="13"/>
                  </a:cubicBezTo>
                  <a:cubicBezTo>
                    <a:pt x="16" y="2"/>
                    <a:pt x="31" y="3"/>
                    <a:pt x="38" y="0"/>
                  </a:cubicBezTo>
                  <a:cubicBezTo>
                    <a:pt x="30" y="21"/>
                    <a:pt x="10" y="33"/>
                    <a:pt x="20" y="92"/>
                  </a:cubicBezTo>
                </a:path>
              </a:pathLst>
            </a:custGeom>
            <a:solidFill>
              <a:srgbClr val="9D48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9" name="ï$1iḋê">
              <a:extLst>
                <a:ext uri="{FF2B5EF4-FFF2-40B4-BE49-F238E27FC236}">
                  <a16:creationId xmlns:a16="http://schemas.microsoft.com/office/drawing/2014/main" id="{0B774258-6904-48DF-9D5F-AE00F6481BA2}"/>
                </a:ext>
              </a:extLst>
            </p:cNvPr>
            <p:cNvSpPr/>
            <p:nvPr/>
          </p:nvSpPr>
          <p:spPr bwMode="auto">
            <a:xfrm>
              <a:off x="5920726" y="3680414"/>
              <a:ext cx="127564" cy="182808"/>
            </a:xfrm>
            <a:custGeom>
              <a:avLst/>
              <a:gdLst>
                <a:gd name="T0" fmla="*/ 127 w 127"/>
                <a:gd name="T1" fmla="*/ 95 h 182"/>
                <a:gd name="T2" fmla="*/ 80 w 127"/>
                <a:gd name="T3" fmla="*/ 182 h 182"/>
                <a:gd name="T4" fmla="*/ 0 w 127"/>
                <a:gd name="T5" fmla="*/ 33 h 182"/>
                <a:gd name="T6" fmla="*/ 42 w 127"/>
                <a:gd name="T7" fmla="*/ 0 h 182"/>
                <a:gd name="T8" fmla="*/ 127 w 127"/>
                <a:gd name="T9" fmla="*/ 95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82">
                  <a:moveTo>
                    <a:pt x="127" y="95"/>
                  </a:moveTo>
                  <a:lnTo>
                    <a:pt x="80" y="182"/>
                  </a:lnTo>
                  <a:lnTo>
                    <a:pt x="0" y="33"/>
                  </a:lnTo>
                  <a:lnTo>
                    <a:pt x="42" y="0"/>
                  </a:lnTo>
                  <a:lnTo>
                    <a:pt x="127" y="9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0" name="ïṧļíḍè">
              <a:extLst>
                <a:ext uri="{FF2B5EF4-FFF2-40B4-BE49-F238E27FC236}">
                  <a16:creationId xmlns:a16="http://schemas.microsoft.com/office/drawing/2014/main" id="{12437D2F-10A3-4C3F-AFBD-581DC9094BE3}"/>
                </a:ext>
              </a:extLst>
            </p:cNvPr>
            <p:cNvSpPr/>
            <p:nvPr/>
          </p:nvSpPr>
          <p:spPr bwMode="auto">
            <a:xfrm>
              <a:off x="5825304" y="3362005"/>
              <a:ext cx="499207" cy="168746"/>
            </a:xfrm>
            <a:custGeom>
              <a:avLst/>
              <a:gdLst>
                <a:gd name="T0" fmla="*/ 6 w 210"/>
                <a:gd name="T1" fmla="*/ 4 h 71"/>
                <a:gd name="T2" fmla="*/ 52 w 210"/>
                <a:gd name="T3" fmla="*/ 1 h 71"/>
                <a:gd name="T4" fmla="*/ 55 w 210"/>
                <a:gd name="T5" fmla="*/ 1 h 71"/>
                <a:gd name="T6" fmla="*/ 105 w 210"/>
                <a:gd name="T7" fmla="*/ 9 h 71"/>
                <a:gd name="T8" fmla="*/ 105 w 210"/>
                <a:gd name="T9" fmla="*/ 9 h 71"/>
                <a:gd name="T10" fmla="*/ 105 w 210"/>
                <a:gd name="T11" fmla="*/ 9 h 71"/>
                <a:gd name="T12" fmla="*/ 155 w 210"/>
                <a:gd name="T13" fmla="*/ 1 h 71"/>
                <a:gd name="T14" fmla="*/ 158 w 210"/>
                <a:gd name="T15" fmla="*/ 1 h 71"/>
                <a:gd name="T16" fmla="*/ 204 w 210"/>
                <a:gd name="T17" fmla="*/ 4 h 71"/>
                <a:gd name="T18" fmla="*/ 210 w 210"/>
                <a:gd name="T19" fmla="*/ 11 h 71"/>
                <a:gd name="T20" fmla="*/ 206 w 210"/>
                <a:gd name="T21" fmla="*/ 20 h 71"/>
                <a:gd name="T22" fmla="*/ 199 w 210"/>
                <a:gd name="T23" fmla="*/ 40 h 71"/>
                <a:gd name="T24" fmla="*/ 199 w 210"/>
                <a:gd name="T25" fmla="*/ 43 h 71"/>
                <a:gd name="T26" fmla="*/ 191 w 210"/>
                <a:gd name="T27" fmla="*/ 60 h 71"/>
                <a:gd name="T28" fmla="*/ 161 w 210"/>
                <a:gd name="T29" fmla="*/ 70 h 71"/>
                <a:gd name="T30" fmla="*/ 158 w 210"/>
                <a:gd name="T31" fmla="*/ 71 h 71"/>
                <a:gd name="T32" fmla="*/ 122 w 210"/>
                <a:gd name="T33" fmla="*/ 48 h 71"/>
                <a:gd name="T34" fmla="*/ 105 w 210"/>
                <a:gd name="T35" fmla="*/ 24 h 71"/>
                <a:gd name="T36" fmla="*/ 88 w 210"/>
                <a:gd name="T37" fmla="*/ 48 h 71"/>
                <a:gd name="T38" fmla="*/ 52 w 210"/>
                <a:gd name="T39" fmla="*/ 71 h 71"/>
                <a:gd name="T40" fmla="*/ 49 w 210"/>
                <a:gd name="T41" fmla="*/ 70 h 71"/>
                <a:gd name="T42" fmla="*/ 19 w 210"/>
                <a:gd name="T43" fmla="*/ 60 h 71"/>
                <a:gd name="T44" fmla="*/ 12 w 210"/>
                <a:gd name="T45" fmla="*/ 43 h 71"/>
                <a:gd name="T46" fmla="*/ 11 w 210"/>
                <a:gd name="T47" fmla="*/ 40 h 71"/>
                <a:gd name="T48" fmla="*/ 4 w 210"/>
                <a:gd name="T49" fmla="*/ 20 h 71"/>
                <a:gd name="T50" fmla="*/ 0 w 210"/>
                <a:gd name="T51" fmla="*/ 11 h 71"/>
                <a:gd name="T52" fmla="*/ 6 w 210"/>
                <a:gd name="T53" fmla="*/ 4 h 71"/>
                <a:gd name="T54" fmla="*/ 190 w 210"/>
                <a:gd name="T55" fmla="*/ 52 h 71"/>
                <a:gd name="T56" fmla="*/ 190 w 210"/>
                <a:gd name="T57" fmla="*/ 52 h 71"/>
                <a:gd name="T58" fmla="*/ 196 w 210"/>
                <a:gd name="T59" fmla="*/ 31 h 71"/>
                <a:gd name="T60" fmla="*/ 190 w 210"/>
                <a:gd name="T61" fmla="*/ 9 h 71"/>
                <a:gd name="T62" fmla="*/ 158 w 210"/>
                <a:gd name="T63" fmla="*/ 6 h 71"/>
                <a:gd name="T64" fmla="*/ 128 w 210"/>
                <a:gd name="T65" fmla="*/ 12 h 71"/>
                <a:gd name="T66" fmla="*/ 124 w 210"/>
                <a:gd name="T67" fmla="*/ 16 h 71"/>
                <a:gd name="T68" fmla="*/ 121 w 210"/>
                <a:gd name="T69" fmla="*/ 23 h 71"/>
                <a:gd name="T70" fmla="*/ 142 w 210"/>
                <a:gd name="T71" fmla="*/ 63 h 71"/>
                <a:gd name="T72" fmla="*/ 158 w 210"/>
                <a:gd name="T73" fmla="*/ 67 h 71"/>
                <a:gd name="T74" fmla="*/ 190 w 210"/>
                <a:gd name="T75" fmla="*/ 53 h 71"/>
                <a:gd name="T76" fmla="*/ 190 w 210"/>
                <a:gd name="T77" fmla="*/ 52 h 71"/>
                <a:gd name="T78" fmla="*/ 20 w 210"/>
                <a:gd name="T79" fmla="*/ 52 h 71"/>
                <a:gd name="T80" fmla="*/ 20 w 210"/>
                <a:gd name="T81" fmla="*/ 52 h 71"/>
                <a:gd name="T82" fmla="*/ 21 w 210"/>
                <a:gd name="T83" fmla="*/ 53 h 71"/>
                <a:gd name="T84" fmla="*/ 52 w 210"/>
                <a:gd name="T85" fmla="*/ 67 h 71"/>
                <a:gd name="T86" fmla="*/ 68 w 210"/>
                <a:gd name="T87" fmla="*/ 63 h 71"/>
                <a:gd name="T88" fmla="*/ 89 w 210"/>
                <a:gd name="T89" fmla="*/ 23 h 71"/>
                <a:gd name="T90" fmla="*/ 87 w 210"/>
                <a:gd name="T91" fmla="*/ 16 h 71"/>
                <a:gd name="T92" fmla="*/ 83 w 210"/>
                <a:gd name="T93" fmla="*/ 12 h 71"/>
                <a:gd name="T94" fmla="*/ 52 w 210"/>
                <a:gd name="T95" fmla="*/ 6 h 71"/>
                <a:gd name="T96" fmla="*/ 20 w 210"/>
                <a:gd name="T97" fmla="*/ 9 h 71"/>
                <a:gd name="T98" fmla="*/ 14 w 210"/>
                <a:gd name="T99" fmla="*/ 31 h 71"/>
                <a:gd name="T100" fmla="*/ 20 w 210"/>
                <a:gd name="T101" fmla="*/ 5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0" h="71">
                  <a:moveTo>
                    <a:pt x="6" y="4"/>
                  </a:moveTo>
                  <a:cubicBezTo>
                    <a:pt x="10" y="3"/>
                    <a:pt x="34" y="0"/>
                    <a:pt x="52" y="1"/>
                  </a:cubicBezTo>
                  <a:cubicBezTo>
                    <a:pt x="53" y="1"/>
                    <a:pt x="54" y="1"/>
                    <a:pt x="55" y="1"/>
                  </a:cubicBezTo>
                  <a:cubicBezTo>
                    <a:pt x="71" y="2"/>
                    <a:pt x="91" y="9"/>
                    <a:pt x="105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20" y="9"/>
                    <a:pt x="139" y="2"/>
                    <a:pt x="155" y="1"/>
                  </a:cubicBezTo>
                  <a:cubicBezTo>
                    <a:pt x="156" y="1"/>
                    <a:pt x="157" y="1"/>
                    <a:pt x="158" y="1"/>
                  </a:cubicBezTo>
                  <a:cubicBezTo>
                    <a:pt x="176" y="0"/>
                    <a:pt x="200" y="3"/>
                    <a:pt x="204" y="4"/>
                  </a:cubicBezTo>
                  <a:cubicBezTo>
                    <a:pt x="210" y="6"/>
                    <a:pt x="210" y="7"/>
                    <a:pt x="210" y="11"/>
                  </a:cubicBezTo>
                  <a:cubicBezTo>
                    <a:pt x="210" y="15"/>
                    <a:pt x="210" y="19"/>
                    <a:pt x="206" y="20"/>
                  </a:cubicBezTo>
                  <a:cubicBezTo>
                    <a:pt x="202" y="21"/>
                    <a:pt x="202" y="26"/>
                    <a:pt x="199" y="40"/>
                  </a:cubicBezTo>
                  <a:cubicBezTo>
                    <a:pt x="199" y="41"/>
                    <a:pt x="199" y="42"/>
                    <a:pt x="199" y="43"/>
                  </a:cubicBezTo>
                  <a:cubicBezTo>
                    <a:pt x="197" y="49"/>
                    <a:pt x="195" y="55"/>
                    <a:pt x="191" y="60"/>
                  </a:cubicBezTo>
                  <a:cubicBezTo>
                    <a:pt x="186" y="66"/>
                    <a:pt x="177" y="70"/>
                    <a:pt x="161" y="70"/>
                  </a:cubicBezTo>
                  <a:cubicBezTo>
                    <a:pt x="160" y="71"/>
                    <a:pt x="159" y="71"/>
                    <a:pt x="158" y="71"/>
                  </a:cubicBezTo>
                  <a:cubicBezTo>
                    <a:pt x="133" y="71"/>
                    <a:pt x="125" y="54"/>
                    <a:pt x="122" y="48"/>
                  </a:cubicBezTo>
                  <a:cubicBezTo>
                    <a:pt x="117" y="38"/>
                    <a:pt x="119" y="25"/>
                    <a:pt x="105" y="24"/>
                  </a:cubicBezTo>
                  <a:cubicBezTo>
                    <a:pt x="91" y="25"/>
                    <a:pt x="93" y="38"/>
                    <a:pt x="88" y="48"/>
                  </a:cubicBezTo>
                  <a:cubicBezTo>
                    <a:pt x="85" y="54"/>
                    <a:pt x="77" y="71"/>
                    <a:pt x="52" y="71"/>
                  </a:cubicBezTo>
                  <a:cubicBezTo>
                    <a:pt x="51" y="71"/>
                    <a:pt x="50" y="71"/>
                    <a:pt x="49" y="70"/>
                  </a:cubicBezTo>
                  <a:cubicBezTo>
                    <a:pt x="33" y="70"/>
                    <a:pt x="24" y="66"/>
                    <a:pt x="19" y="60"/>
                  </a:cubicBezTo>
                  <a:cubicBezTo>
                    <a:pt x="15" y="55"/>
                    <a:pt x="13" y="49"/>
                    <a:pt x="12" y="43"/>
                  </a:cubicBezTo>
                  <a:cubicBezTo>
                    <a:pt x="11" y="42"/>
                    <a:pt x="11" y="41"/>
                    <a:pt x="11" y="40"/>
                  </a:cubicBezTo>
                  <a:cubicBezTo>
                    <a:pt x="8" y="26"/>
                    <a:pt x="8" y="21"/>
                    <a:pt x="4" y="20"/>
                  </a:cubicBezTo>
                  <a:cubicBezTo>
                    <a:pt x="1" y="19"/>
                    <a:pt x="0" y="15"/>
                    <a:pt x="0" y="11"/>
                  </a:cubicBezTo>
                  <a:cubicBezTo>
                    <a:pt x="0" y="7"/>
                    <a:pt x="0" y="6"/>
                    <a:pt x="6" y="4"/>
                  </a:cubicBezTo>
                  <a:moveTo>
                    <a:pt x="190" y="52"/>
                  </a:moveTo>
                  <a:cubicBezTo>
                    <a:pt x="190" y="52"/>
                    <a:pt x="190" y="52"/>
                    <a:pt x="190" y="52"/>
                  </a:cubicBezTo>
                  <a:cubicBezTo>
                    <a:pt x="193" y="47"/>
                    <a:pt x="195" y="39"/>
                    <a:pt x="196" y="31"/>
                  </a:cubicBezTo>
                  <a:cubicBezTo>
                    <a:pt x="197" y="21"/>
                    <a:pt x="195" y="12"/>
                    <a:pt x="190" y="9"/>
                  </a:cubicBezTo>
                  <a:cubicBezTo>
                    <a:pt x="186" y="7"/>
                    <a:pt x="172" y="5"/>
                    <a:pt x="158" y="6"/>
                  </a:cubicBezTo>
                  <a:cubicBezTo>
                    <a:pt x="147" y="6"/>
                    <a:pt x="135" y="8"/>
                    <a:pt x="128" y="12"/>
                  </a:cubicBezTo>
                  <a:cubicBezTo>
                    <a:pt x="126" y="13"/>
                    <a:pt x="125" y="15"/>
                    <a:pt x="124" y="16"/>
                  </a:cubicBezTo>
                  <a:cubicBezTo>
                    <a:pt x="122" y="18"/>
                    <a:pt x="121" y="20"/>
                    <a:pt x="121" y="23"/>
                  </a:cubicBezTo>
                  <a:cubicBezTo>
                    <a:pt x="119" y="36"/>
                    <a:pt x="131" y="58"/>
                    <a:pt x="142" y="63"/>
                  </a:cubicBezTo>
                  <a:cubicBezTo>
                    <a:pt x="146" y="65"/>
                    <a:pt x="152" y="66"/>
                    <a:pt x="158" y="67"/>
                  </a:cubicBezTo>
                  <a:cubicBezTo>
                    <a:pt x="171" y="67"/>
                    <a:pt x="185" y="62"/>
                    <a:pt x="190" y="53"/>
                  </a:cubicBezTo>
                  <a:cubicBezTo>
                    <a:pt x="190" y="53"/>
                    <a:pt x="190" y="53"/>
                    <a:pt x="190" y="52"/>
                  </a:cubicBezTo>
                  <a:moveTo>
                    <a:pt x="20" y="52"/>
                  </a:moveTo>
                  <a:cubicBezTo>
                    <a:pt x="20" y="52"/>
                    <a:pt x="20" y="52"/>
                    <a:pt x="20" y="52"/>
                  </a:cubicBezTo>
                  <a:cubicBezTo>
                    <a:pt x="20" y="53"/>
                    <a:pt x="20" y="53"/>
                    <a:pt x="21" y="53"/>
                  </a:cubicBezTo>
                  <a:cubicBezTo>
                    <a:pt x="26" y="62"/>
                    <a:pt x="39" y="67"/>
                    <a:pt x="52" y="67"/>
                  </a:cubicBezTo>
                  <a:cubicBezTo>
                    <a:pt x="58" y="66"/>
                    <a:pt x="64" y="65"/>
                    <a:pt x="68" y="63"/>
                  </a:cubicBezTo>
                  <a:cubicBezTo>
                    <a:pt x="80" y="58"/>
                    <a:pt x="91" y="36"/>
                    <a:pt x="89" y="23"/>
                  </a:cubicBezTo>
                  <a:cubicBezTo>
                    <a:pt x="89" y="20"/>
                    <a:pt x="88" y="18"/>
                    <a:pt x="87" y="16"/>
                  </a:cubicBezTo>
                  <a:cubicBezTo>
                    <a:pt x="86" y="15"/>
                    <a:pt x="84" y="13"/>
                    <a:pt x="83" y="12"/>
                  </a:cubicBezTo>
                  <a:cubicBezTo>
                    <a:pt x="76" y="8"/>
                    <a:pt x="64" y="6"/>
                    <a:pt x="52" y="6"/>
                  </a:cubicBezTo>
                  <a:cubicBezTo>
                    <a:pt x="38" y="5"/>
                    <a:pt x="24" y="7"/>
                    <a:pt x="20" y="9"/>
                  </a:cubicBezTo>
                  <a:cubicBezTo>
                    <a:pt x="15" y="12"/>
                    <a:pt x="14" y="21"/>
                    <a:pt x="14" y="31"/>
                  </a:cubicBezTo>
                  <a:cubicBezTo>
                    <a:pt x="15" y="39"/>
                    <a:pt x="17" y="47"/>
                    <a:pt x="20" y="52"/>
                  </a:cubicBezTo>
                </a:path>
              </a:pathLst>
            </a:custGeom>
            <a:solidFill>
              <a:srgbClr val="4E4F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1" name="ïṣľîḋê">
              <a:extLst>
                <a:ext uri="{FF2B5EF4-FFF2-40B4-BE49-F238E27FC236}">
                  <a16:creationId xmlns:a16="http://schemas.microsoft.com/office/drawing/2014/main" id="{EFA4AB69-C72B-4D9D-9A19-349034F48248}"/>
                </a:ext>
              </a:extLst>
            </p:cNvPr>
            <p:cNvSpPr/>
            <p:nvPr/>
          </p:nvSpPr>
          <p:spPr bwMode="auto">
            <a:xfrm>
              <a:off x="5856440" y="3372049"/>
              <a:ext cx="187831" cy="149662"/>
            </a:xfrm>
            <a:custGeom>
              <a:avLst/>
              <a:gdLst>
                <a:gd name="T0" fmla="*/ 39 w 79"/>
                <a:gd name="T1" fmla="*/ 1 h 63"/>
                <a:gd name="T2" fmla="*/ 6 w 79"/>
                <a:gd name="T3" fmla="*/ 5 h 63"/>
                <a:gd name="T4" fmla="*/ 0 w 79"/>
                <a:gd name="T5" fmla="*/ 27 h 63"/>
                <a:gd name="T6" fmla="*/ 6 w 79"/>
                <a:gd name="T7" fmla="*/ 49 h 63"/>
                <a:gd name="T8" fmla="*/ 7 w 79"/>
                <a:gd name="T9" fmla="*/ 50 h 63"/>
                <a:gd name="T10" fmla="*/ 39 w 79"/>
                <a:gd name="T11" fmla="*/ 63 h 63"/>
                <a:gd name="T12" fmla="*/ 56 w 79"/>
                <a:gd name="T13" fmla="*/ 60 h 63"/>
                <a:gd name="T14" fmla="*/ 77 w 79"/>
                <a:gd name="T15" fmla="*/ 18 h 63"/>
                <a:gd name="T16" fmla="*/ 75 w 79"/>
                <a:gd name="T17" fmla="*/ 11 h 63"/>
                <a:gd name="T18" fmla="*/ 70 w 79"/>
                <a:gd name="T19" fmla="*/ 8 h 63"/>
                <a:gd name="T20" fmla="*/ 39 w 79"/>
                <a:gd name="T21" fmla="*/ 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63">
                  <a:moveTo>
                    <a:pt x="39" y="1"/>
                  </a:moveTo>
                  <a:cubicBezTo>
                    <a:pt x="24" y="0"/>
                    <a:pt x="10" y="2"/>
                    <a:pt x="6" y="5"/>
                  </a:cubicBezTo>
                  <a:cubicBezTo>
                    <a:pt x="1" y="8"/>
                    <a:pt x="0" y="17"/>
                    <a:pt x="0" y="27"/>
                  </a:cubicBezTo>
                  <a:cubicBezTo>
                    <a:pt x="1" y="35"/>
                    <a:pt x="3" y="43"/>
                    <a:pt x="6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12" y="59"/>
                    <a:pt x="26" y="63"/>
                    <a:pt x="39" y="63"/>
                  </a:cubicBezTo>
                  <a:cubicBezTo>
                    <a:pt x="45" y="63"/>
                    <a:pt x="51" y="62"/>
                    <a:pt x="56" y="60"/>
                  </a:cubicBezTo>
                  <a:cubicBezTo>
                    <a:pt x="67" y="54"/>
                    <a:pt x="79" y="32"/>
                    <a:pt x="77" y="18"/>
                  </a:cubicBezTo>
                  <a:cubicBezTo>
                    <a:pt x="77" y="16"/>
                    <a:pt x="76" y="13"/>
                    <a:pt x="75" y="11"/>
                  </a:cubicBezTo>
                  <a:cubicBezTo>
                    <a:pt x="73" y="10"/>
                    <a:pt x="72" y="9"/>
                    <a:pt x="70" y="8"/>
                  </a:cubicBezTo>
                  <a:cubicBezTo>
                    <a:pt x="63" y="3"/>
                    <a:pt x="51" y="1"/>
                    <a:pt x="39" y="1"/>
                  </a:cubicBezTo>
                </a:path>
              </a:pathLst>
            </a:custGeom>
            <a:solidFill>
              <a:srgbClr val="C0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2" name="ïŝlîḓè">
              <a:extLst>
                <a:ext uri="{FF2B5EF4-FFF2-40B4-BE49-F238E27FC236}">
                  <a16:creationId xmlns:a16="http://schemas.microsoft.com/office/drawing/2014/main" id="{2F7B3919-BE74-46D3-B7D6-4724B8D03D86}"/>
                </a:ext>
              </a:extLst>
            </p:cNvPr>
            <p:cNvSpPr/>
            <p:nvPr/>
          </p:nvSpPr>
          <p:spPr bwMode="auto">
            <a:xfrm>
              <a:off x="5858450" y="3374060"/>
              <a:ext cx="163724" cy="144640"/>
            </a:xfrm>
            <a:custGeom>
              <a:avLst/>
              <a:gdLst>
                <a:gd name="T0" fmla="*/ 26 w 69"/>
                <a:gd name="T1" fmla="*/ 0 h 61"/>
                <a:gd name="T2" fmla="*/ 5 w 69"/>
                <a:gd name="T3" fmla="*/ 4 h 61"/>
                <a:gd name="T4" fmla="*/ 0 w 69"/>
                <a:gd name="T5" fmla="*/ 12 h 61"/>
                <a:gd name="T6" fmla="*/ 49 w 69"/>
                <a:gd name="T7" fmla="*/ 61 h 61"/>
                <a:gd name="T8" fmla="*/ 55 w 69"/>
                <a:gd name="T9" fmla="*/ 59 h 61"/>
                <a:gd name="T10" fmla="*/ 69 w 69"/>
                <a:gd name="T11" fmla="*/ 43 h 61"/>
                <a:gd name="T12" fmla="*/ 26 w 69"/>
                <a:gd name="T1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61">
                  <a:moveTo>
                    <a:pt x="26" y="0"/>
                  </a:moveTo>
                  <a:cubicBezTo>
                    <a:pt x="16" y="0"/>
                    <a:pt x="8" y="2"/>
                    <a:pt x="5" y="4"/>
                  </a:cubicBezTo>
                  <a:cubicBezTo>
                    <a:pt x="3" y="5"/>
                    <a:pt x="1" y="8"/>
                    <a:pt x="0" y="12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51" y="61"/>
                    <a:pt x="53" y="60"/>
                    <a:pt x="55" y="59"/>
                  </a:cubicBezTo>
                  <a:cubicBezTo>
                    <a:pt x="60" y="56"/>
                    <a:pt x="65" y="50"/>
                    <a:pt x="69" y="43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3" name="îṥľídè">
              <a:extLst>
                <a:ext uri="{FF2B5EF4-FFF2-40B4-BE49-F238E27FC236}">
                  <a16:creationId xmlns:a16="http://schemas.microsoft.com/office/drawing/2014/main" id="{A02E2C23-A073-4CEE-B544-A948A478D756}"/>
                </a:ext>
              </a:extLst>
            </p:cNvPr>
            <p:cNvSpPr/>
            <p:nvPr/>
          </p:nvSpPr>
          <p:spPr bwMode="auto">
            <a:xfrm>
              <a:off x="6105542" y="3372049"/>
              <a:ext cx="187831" cy="149662"/>
            </a:xfrm>
            <a:custGeom>
              <a:avLst/>
              <a:gdLst>
                <a:gd name="T0" fmla="*/ 2 w 79"/>
                <a:gd name="T1" fmla="*/ 18 h 63"/>
                <a:gd name="T2" fmla="*/ 24 w 79"/>
                <a:gd name="T3" fmla="*/ 60 h 63"/>
                <a:gd name="T4" fmla="*/ 40 w 79"/>
                <a:gd name="T5" fmla="*/ 63 h 63"/>
                <a:gd name="T6" fmla="*/ 72 w 79"/>
                <a:gd name="T7" fmla="*/ 50 h 63"/>
                <a:gd name="T8" fmla="*/ 73 w 79"/>
                <a:gd name="T9" fmla="*/ 49 h 63"/>
                <a:gd name="T10" fmla="*/ 79 w 79"/>
                <a:gd name="T11" fmla="*/ 27 h 63"/>
                <a:gd name="T12" fmla="*/ 79 w 79"/>
                <a:gd name="T13" fmla="*/ 25 h 63"/>
                <a:gd name="T14" fmla="*/ 79 w 79"/>
                <a:gd name="T15" fmla="*/ 17 h 63"/>
                <a:gd name="T16" fmla="*/ 73 w 79"/>
                <a:gd name="T17" fmla="*/ 5 h 63"/>
                <a:gd name="T18" fmla="*/ 40 w 79"/>
                <a:gd name="T19" fmla="*/ 1 h 63"/>
                <a:gd name="T20" fmla="*/ 9 w 79"/>
                <a:gd name="T21" fmla="*/ 8 h 63"/>
                <a:gd name="T22" fmla="*/ 5 w 79"/>
                <a:gd name="T23" fmla="*/ 12 h 63"/>
                <a:gd name="T24" fmla="*/ 2 w 79"/>
                <a:gd name="T25" fmla="*/ 1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9" h="63">
                  <a:moveTo>
                    <a:pt x="2" y="18"/>
                  </a:moveTo>
                  <a:cubicBezTo>
                    <a:pt x="0" y="32"/>
                    <a:pt x="12" y="54"/>
                    <a:pt x="24" y="60"/>
                  </a:cubicBezTo>
                  <a:cubicBezTo>
                    <a:pt x="28" y="62"/>
                    <a:pt x="34" y="63"/>
                    <a:pt x="40" y="63"/>
                  </a:cubicBezTo>
                  <a:cubicBezTo>
                    <a:pt x="53" y="63"/>
                    <a:pt x="67" y="59"/>
                    <a:pt x="72" y="5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6" y="43"/>
                    <a:pt x="78" y="35"/>
                    <a:pt x="79" y="27"/>
                  </a:cubicBezTo>
                  <a:cubicBezTo>
                    <a:pt x="79" y="26"/>
                    <a:pt x="79" y="25"/>
                    <a:pt x="79" y="25"/>
                  </a:cubicBezTo>
                  <a:cubicBezTo>
                    <a:pt x="79" y="22"/>
                    <a:pt x="79" y="20"/>
                    <a:pt x="79" y="17"/>
                  </a:cubicBezTo>
                  <a:cubicBezTo>
                    <a:pt x="78" y="11"/>
                    <a:pt x="76" y="7"/>
                    <a:pt x="73" y="5"/>
                  </a:cubicBezTo>
                  <a:cubicBezTo>
                    <a:pt x="69" y="2"/>
                    <a:pt x="55" y="0"/>
                    <a:pt x="40" y="1"/>
                  </a:cubicBezTo>
                  <a:cubicBezTo>
                    <a:pt x="28" y="1"/>
                    <a:pt x="16" y="3"/>
                    <a:pt x="9" y="8"/>
                  </a:cubicBezTo>
                  <a:cubicBezTo>
                    <a:pt x="7" y="9"/>
                    <a:pt x="6" y="10"/>
                    <a:pt x="5" y="12"/>
                  </a:cubicBezTo>
                  <a:cubicBezTo>
                    <a:pt x="3" y="13"/>
                    <a:pt x="3" y="16"/>
                    <a:pt x="2" y="18"/>
                  </a:cubicBezTo>
                </a:path>
              </a:pathLst>
            </a:custGeom>
            <a:solidFill>
              <a:srgbClr val="C0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4" name="îš1îḑe">
              <a:extLst>
                <a:ext uri="{FF2B5EF4-FFF2-40B4-BE49-F238E27FC236}">
                  <a16:creationId xmlns:a16="http://schemas.microsoft.com/office/drawing/2014/main" id="{D23F937A-98A6-434F-B942-DF1DAC7BD186}"/>
                </a:ext>
              </a:extLst>
            </p:cNvPr>
            <p:cNvSpPr/>
            <p:nvPr/>
          </p:nvSpPr>
          <p:spPr bwMode="auto">
            <a:xfrm>
              <a:off x="6112574" y="3377073"/>
              <a:ext cx="168746" cy="141626"/>
            </a:xfrm>
            <a:custGeom>
              <a:avLst/>
              <a:gdLst>
                <a:gd name="T0" fmla="*/ 48 w 71"/>
                <a:gd name="T1" fmla="*/ 60 h 60"/>
                <a:gd name="T2" fmla="*/ 69 w 71"/>
                <a:gd name="T3" fmla="*/ 48 h 60"/>
                <a:gd name="T4" fmla="*/ 70 w 71"/>
                <a:gd name="T5" fmla="*/ 47 h 60"/>
                <a:gd name="T6" fmla="*/ 71 w 71"/>
                <a:gd name="T7" fmla="*/ 44 h 60"/>
                <a:gd name="T8" fmla="*/ 26 w 71"/>
                <a:gd name="T9" fmla="*/ 0 h 60"/>
                <a:gd name="T10" fmla="*/ 6 w 71"/>
                <a:gd name="T11" fmla="*/ 6 h 60"/>
                <a:gd name="T12" fmla="*/ 2 w 71"/>
                <a:gd name="T13" fmla="*/ 10 h 60"/>
                <a:gd name="T14" fmla="*/ 0 w 71"/>
                <a:gd name="T15" fmla="*/ 12 h 60"/>
                <a:gd name="T16" fmla="*/ 48 w 71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60">
                  <a:moveTo>
                    <a:pt x="48" y="60"/>
                  </a:moveTo>
                  <a:cubicBezTo>
                    <a:pt x="57" y="58"/>
                    <a:pt x="66" y="54"/>
                    <a:pt x="69" y="48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8" y="1"/>
                    <a:pt x="11" y="3"/>
                    <a:pt x="6" y="6"/>
                  </a:cubicBezTo>
                  <a:cubicBezTo>
                    <a:pt x="4" y="7"/>
                    <a:pt x="3" y="8"/>
                    <a:pt x="2" y="10"/>
                  </a:cubicBezTo>
                  <a:cubicBezTo>
                    <a:pt x="1" y="10"/>
                    <a:pt x="1" y="11"/>
                    <a:pt x="0" y="12"/>
                  </a:cubicBezTo>
                  <a:lnTo>
                    <a:pt x="48" y="60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5" name="ïŝḻîḍê">
              <a:extLst>
                <a:ext uri="{FF2B5EF4-FFF2-40B4-BE49-F238E27FC236}">
                  <a16:creationId xmlns:a16="http://schemas.microsoft.com/office/drawing/2014/main" id="{B1CD7EC3-2F6C-4983-8CA3-63E32D3F532A}"/>
                </a:ext>
              </a:extLst>
            </p:cNvPr>
            <p:cNvSpPr/>
            <p:nvPr/>
          </p:nvSpPr>
          <p:spPr bwMode="auto">
            <a:xfrm>
              <a:off x="5846397" y="3129981"/>
              <a:ext cx="518291" cy="254124"/>
            </a:xfrm>
            <a:custGeom>
              <a:avLst/>
              <a:gdLst>
                <a:gd name="T0" fmla="*/ 12 w 218"/>
                <a:gd name="T1" fmla="*/ 55 h 107"/>
                <a:gd name="T2" fmla="*/ 100 w 218"/>
                <a:gd name="T3" fmla="*/ 0 h 107"/>
                <a:gd name="T4" fmla="*/ 186 w 218"/>
                <a:gd name="T5" fmla="*/ 94 h 107"/>
                <a:gd name="T6" fmla="*/ 183 w 218"/>
                <a:gd name="T7" fmla="*/ 85 h 107"/>
                <a:gd name="T8" fmla="*/ 171 w 218"/>
                <a:gd name="T9" fmla="*/ 72 h 107"/>
                <a:gd name="T10" fmla="*/ 177 w 218"/>
                <a:gd name="T11" fmla="*/ 107 h 107"/>
                <a:gd name="T12" fmla="*/ 148 w 218"/>
                <a:gd name="T13" fmla="*/ 81 h 107"/>
                <a:gd name="T14" fmla="*/ 168 w 218"/>
                <a:gd name="T15" fmla="*/ 102 h 107"/>
                <a:gd name="T16" fmla="*/ 12 w 218"/>
                <a:gd name="T17" fmla="*/ 5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107">
                  <a:moveTo>
                    <a:pt x="12" y="55"/>
                  </a:moveTo>
                  <a:cubicBezTo>
                    <a:pt x="0" y="28"/>
                    <a:pt x="49" y="0"/>
                    <a:pt x="100" y="0"/>
                  </a:cubicBezTo>
                  <a:cubicBezTo>
                    <a:pt x="159" y="1"/>
                    <a:pt x="218" y="35"/>
                    <a:pt x="186" y="94"/>
                  </a:cubicBezTo>
                  <a:cubicBezTo>
                    <a:pt x="186" y="91"/>
                    <a:pt x="184" y="88"/>
                    <a:pt x="183" y="85"/>
                  </a:cubicBezTo>
                  <a:cubicBezTo>
                    <a:pt x="178" y="72"/>
                    <a:pt x="171" y="72"/>
                    <a:pt x="171" y="72"/>
                  </a:cubicBezTo>
                  <a:cubicBezTo>
                    <a:pt x="177" y="84"/>
                    <a:pt x="182" y="94"/>
                    <a:pt x="177" y="107"/>
                  </a:cubicBezTo>
                  <a:cubicBezTo>
                    <a:pt x="171" y="96"/>
                    <a:pt x="161" y="87"/>
                    <a:pt x="148" y="81"/>
                  </a:cubicBezTo>
                  <a:cubicBezTo>
                    <a:pt x="162" y="93"/>
                    <a:pt x="168" y="102"/>
                    <a:pt x="168" y="102"/>
                  </a:cubicBezTo>
                  <a:cubicBezTo>
                    <a:pt x="113" y="63"/>
                    <a:pt x="77" y="60"/>
                    <a:pt x="12" y="55"/>
                  </a:cubicBezTo>
                </a:path>
              </a:pathLst>
            </a:custGeom>
            <a:solidFill>
              <a:srgbClr val="9D48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6" name="ïṧlîďê">
              <a:extLst>
                <a:ext uri="{FF2B5EF4-FFF2-40B4-BE49-F238E27FC236}">
                  <a16:creationId xmlns:a16="http://schemas.microsoft.com/office/drawing/2014/main" id="{F99CB84A-90A9-4725-866F-3BCC3294119C}"/>
                </a:ext>
              </a:extLst>
            </p:cNvPr>
            <p:cNvSpPr/>
            <p:nvPr/>
          </p:nvSpPr>
          <p:spPr bwMode="auto">
            <a:xfrm>
              <a:off x="3918879" y="3984758"/>
              <a:ext cx="384701" cy="177787"/>
            </a:xfrm>
            <a:custGeom>
              <a:avLst/>
              <a:gdLst>
                <a:gd name="T0" fmla="*/ 0 w 162"/>
                <a:gd name="T1" fmla="*/ 36 h 75"/>
                <a:gd name="T2" fmla="*/ 73 w 162"/>
                <a:gd name="T3" fmla="*/ 2 h 75"/>
                <a:gd name="T4" fmla="*/ 125 w 162"/>
                <a:gd name="T5" fmla="*/ 15 h 75"/>
                <a:gd name="T6" fmla="*/ 159 w 162"/>
                <a:gd name="T7" fmla="*/ 57 h 75"/>
                <a:gd name="T8" fmla="*/ 147 w 162"/>
                <a:gd name="T9" fmla="*/ 58 h 75"/>
                <a:gd name="T10" fmla="*/ 132 w 162"/>
                <a:gd name="T11" fmla="*/ 48 h 75"/>
                <a:gd name="T12" fmla="*/ 121 w 162"/>
                <a:gd name="T13" fmla="*/ 37 h 75"/>
                <a:gd name="T14" fmla="*/ 110 w 162"/>
                <a:gd name="T15" fmla="*/ 34 h 75"/>
                <a:gd name="T16" fmla="*/ 116 w 162"/>
                <a:gd name="T17" fmla="*/ 39 h 75"/>
                <a:gd name="T18" fmla="*/ 145 w 162"/>
                <a:gd name="T19" fmla="*/ 70 h 75"/>
                <a:gd name="T20" fmla="*/ 133 w 162"/>
                <a:gd name="T21" fmla="*/ 71 h 75"/>
                <a:gd name="T22" fmla="*/ 111 w 162"/>
                <a:gd name="T23" fmla="*/ 54 h 75"/>
                <a:gd name="T24" fmla="*/ 97 w 162"/>
                <a:gd name="T25" fmla="*/ 46 h 75"/>
                <a:gd name="T26" fmla="*/ 88 w 162"/>
                <a:gd name="T27" fmla="*/ 54 h 75"/>
                <a:gd name="T28" fmla="*/ 33 w 162"/>
                <a:gd name="T29" fmla="*/ 70 h 75"/>
                <a:gd name="T30" fmla="*/ 0 w 162"/>
                <a:gd name="T31" fmla="*/ 3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" h="75">
                  <a:moveTo>
                    <a:pt x="0" y="36"/>
                  </a:moveTo>
                  <a:cubicBezTo>
                    <a:pt x="9" y="33"/>
                    <a:pt x="69" y="3"/>
                    <a:pt x="73" y="2"/>
                  </a:cubicBezTo>
                  <a:cubicBezTo>
                    <a:pt x="77" y="0"/>
                    <a:pt x="121" y="12"/>
                    <a:pt x="125" y="15"/>
                  </a:cubicBezTo>
                  <a:cubicBezTo>
                    <a:pt x="128" y="19"/>
                    <a:pt x="162" y="56"/>
                    <a:pt x="159" y="57"/>
                  </a:cubicBezTo>
                  <a:cubicBezTo>
                    <a:pt x="155" y="58"/>
                    <a:pt x="153" y="59"/>
                    <a:pt x="147" y="58"/>
                  </a:cubicBezTo>
                  <a:cubicBezTo>
                    <a:pt x="141" y="58"/>
                    <a:pt x="132" y="48"/>
                    <a:pt x="132" y="48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3" y="36"/>
                    <a:pt x="115" y="38"/>
                    <a:pt x="116" y="39"/>
                  </a:cubicBezTo>
                  <a:cubicBezTo>
                    <a:pt x="119" y="44"/>
                    <a:pt x="146" y="70"/>
                    <a:pt x="145" y="70"/>
                  </a:cubicBezTo>
                  <a:cubicBezTo>
                    <a:pt x="145" y="71"/>
                    <a:pt x="139" y="72"/>
                    <a:pt x="133" y="71"/>
                  </a:cubicBezTo>
                  <a:cubicBezTo>
                    <a:pt x="126" y="71"/>
                    <a:pt x="111" y="54"/>
                    <a:pt x="111" y="54"/>
                  </a:cubicBezTo>
                  <a:cubicBezTo>
                    <a:pt x="110" y="54"/>
                    <a:pt x="100" y="47"/>
                    <a:pt x="97" y="46"/>
                  </a:cubicBezTo>
                  <a:cubicBezTo>
                    <a:pt x="97" y="47"/>
                    <a:pt x="89" y="54"/>
                    <a:pt x="88" y="54"/>
                  </a:cubicBezTo>
                  <a:cubicBezTo>
                    <a:pt x="61" y="75"/>
                    <a:pt x="32" y="69"/>
                    <a:pt x="33" y="70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7" name="îś1îḑé">
              <a:extLst>
                <a:ext uri="{FF2B5EF4-FFF2-40B4-BE49-F238E27FC236}">
                  <a16:creationId xmlns:a16="http://schemas.microsoft.com/office/drawing/2014/main" id="{4D46BAF8-6277-4A3D-BA25-45D4F0D98920}"/>
                </a:ext>
              </a:extLst>
            </p:cNvPr>
            <p:cNvSpPr/>
            <p:nvPr/>
          </p:nvSpPr>
          <p:spPr bwMode="auto">
            <a:xfrm>
              <a:off x="3224811" y="3934535"/>
              <a:ext cx="121537" cy="610699"/>
            </a:xfrm>
            <a:custGeom>
              <a:avLst/>
              <a:gdLst>
                <a:gd name="T0" fmla="*/ 20 w 51"/>
                <a:gd name="T1" fmla="*/ 7 h 257"/>
                <a:gd name="T2" fmla="*/ 51 w 51"/>
                <a:gd name="T3" fmla="*/ 257 h 257"/>
                <a:gd name="T4" fmla="*/ 22 w 51"/>
                <a:gd name="T5" fmla="*/ 225 h 257"/>
                <a:gd name="T6" fmla="*/ 0 w 51"/>
                <a:gd name="T7" fmla="*/ 0 h 257"/>
                <a:gd name="T8" fmla="*/ 20 w 51"/>
                <a:gd name="T9" fmla="*/ 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57">
                  <a:moveTo>
                    <a:pt x="20" y="7"/>
                  </a:moveTo>
                  <a:cubicBezTo>
                    <a:pt x="15" y="8"/>
                    <a:pt x="51" y="257"/>
                    <a:pt x="51" y="257"/>
                  </a:cubicBezTo>
                  <a:cubicBezTo>
                    <a:pt x="22" y="225"/>
                    <a:pt x="22" y="225"/>
                    <a:pt x="22" y="22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7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8" name="îṡľîḍê">
              <a:extLst>
                <a:ext uri="{FF2B5EF4-FFF2-40B4-BE49-F238E27FC236}">
                  <a16:creationId xmlns:a16="http://schemas.microsoft.com/office/drawing/2014/main" id="{801AEFEF-A4E0-4BF3-ABF7-AC85261D6169}"/>
                </a:ext>
              </a:extLst>
            </p:cNvPr>
            <p:cNvSpPr/>
            <p:nvPr/>
          </p:nvSpPr>
          <p:spPr bwMode="auto">
            <a:xfrm>
              <a:off x="2840111" y="3621150"/>
              <a:ext cx="1171176" cy="605677"/>
            </a:xfrm>
            <a:custGeom>
              <a:avLst/>
              <a:gdLst>
                <a:gd name="T0" fmla="*/ 83 w 493"/>
                <a:gd name="T1" fmla="*/ 25 h 255"/>
                <a:gd name="T2" fmla="*/ 274 w 493"/>
                <a:gd name="T3" fmla="*/ 163 h 255"/>
                <a:gd name="T4" fmla="*/ 476 w 493"/>
                <a:gd name="T5" fmla="*/ 179 h 255"/>
                <a:gd name="T6" fmla="*/ 493 w 493"/>
                <a:gd name="T7" fmla="*/ 240 h 255"/>
                <a:gd name="T8" fmla="*/ 231 w 493"/>
                <a:gd name="T9" fmla="*/ 211 h 255"/>
                <a:gd name="T10" fmla="*/ 37 w 493"/>
                <a:gd name="T11" fmla="*/ 79 h 255"/>
                <a:gd name="T12" fmla="*/ 83 w 493"/>
                <a:gd name="T13" fmla="*/ 2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3" h="255">
                  <a:moveTo>
                    <a:pt x="83" y="25"/>
                  </a:moveTo>
                  <a:cubicBezTo>
                    <a:pt x="83" y="25"/>
                    <a:pt x="201" y="127"/>
                    <a:pt x="274" y="163"/>
                  </a:cubicBezTo>
                  <a:cubicBezTo>
                    <a:pt x="340" y="195"/>
                    <a:pt x="476" y="179"/>
                    <a:pt x="476" y="179"/>
                  </a:cubicBezTo>
                  <a:cubicBezTo>
                    <a:pt x="493" y="240"/>
                    <a:pt x="493" y="240"/>
                    <a:pt x="493" y="240"/>
                  </a:cubicBezTo>
                  <a:cubicBezTo>
                    <a:pt x="492" y="240"/>
                    <a:pt x="321" y="255"/>
                    <a:pt x="231" y="211"/>
                  </a:cubicBezTo>
                  <a:cubicBezTo>
                    <a:pt x="149" y="171"/>
                    <a:pt x="38" y="79"/>
                    <a:pt x="37" y="79"/>
                  </a:cubicBezTo>
                  <a:cubicBezTo>
                    <a:pt x="0" y="45"/>
                    <a:pt x="50" y="0"/>
                    <a:pt x="83" y="25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9" name="íṡḷíḓè">
              <a:extLst>
                <a:ext uri="{FF2B5EF4-FFF2-40B4-BE49-F238E27FC236}">
                  <a16:creationId xmlns:a16="http://schemas.microsoft.com/office/drawing/2014/main" id="{04027DC4-96C0-4EC0-8C47-7D7C093D73A3}"/>
                </a:ext>
              </a:extLst>
            </p:cNvPr>
            <p:cNvSpPr/>
            <p:nvPr/>
          </p:nvSpPr>
          <p:spPr bwMode="auto">
            <a:xfrm>
              <a:off x="3052049" y="3260557"/>
              <a:ext cx="386709" cy="256132"/>
            </a:xfrm>
            <a:custGeom>
              <a:avLst/>
              <a:gdLst>
                <a:gd name="T0" fmla="*/ 163 w 163"/>
                <a:gd name="T1" fmla="*/ 51 h 108"/>
                <a:gd name="T2" fmla="*/ 159 w 163"/>
                <a:gd name="T3" fmla="*/ 50 h 108"/>
                <a:gd name="T4" fmla="*/ 155 w 163"/>
                <a:gd name="T5" fmla="*/ 58 h 108"/>
                <a:gd name="T6" fmla="*/ 4 w 163"/>
                <a:gd name="T7" fmla="*/ 2 h 108"/>
                <a:gd name="T8" fmla="*/ 4 w 163"/>
                <a:gd name="T9" fmla="*/ 7 h 108"/>
                <a:gd name="T10" fmla="*/ 151 w 163"/>
                <a:gd name="T11" fmla="*/ 69 h 108"/>
                <a:gd name="T12" fmla="*/ 136 w 163"/>
                <a:gd name="T13" fmla="*/ 106 h 108"/>
                <a:gd name="T14" fmla="*/ 140 w 163"/>
                <a:gd name="T15" fmla="*/ 108 h 108"/>
                <a:gd name="T16" fmla="*/ 160 w 163"/>
                <a:gd name="T17" fmla="*/ 60 h 108"/>
                <a:gd name="T18" fmla="*/ 160 w 163"/>
                <a:gd name="T19" fmla="*/ 60 h 108"/>
                <a:gd name="T20" fmla="*/ 163 w 163"/>
                <a:gd name="T21" fmla="*/ 5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3" h="108">
                  <a:moveTo>
                    <a:pt x="163" y="51"/>
                  </a:moveTo>
                  <a:cubicBezTo>
                    <a:pt x="159" y="50"/>
                    <a:pt x="159" y="50"/>
                    <a:pt x="159" y="50"/>
                  </a:cubicBezTo>
                  <a:cubicBezTo>
                    <a:pt x="155" y="58"/>
                    <a:pt x="155" y="58"/>
                    <a:pt x="155" y="58"/>
                  </a:cubicBezTo>
                  <a:cubicBezTo>
                    <a:pt x="130" y="48"/>
                    <a:pt x="7" y="0"/>
                    <a:pt x="4" y="2"/>
                  </a:cubicBezTo>
                  <a:cubicBezTo>
                    <a:pt x="0" y="3"/>
                    <a:pt x="4" y="7"/>
                    <a:pt x="4" y="7"/>
                  </a:cubicBezTo>
                  <a:cubicBezTo>
                    <a:pt x="151" y="69"/>
                    <a:pt x="151" y="69"/>
                    <a:pt x="151" y="69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60" y="60"/>
                    <a:pt x="160" y="60"/>
                    <a:pt x="160" y="60"/>
                  </a:cubicBezTo>
                  <a:cubicBezTo>
                    <a:pt x="160" y="60"/>
                    <a:pt x="160" y="60"/>
                    <a:pt x="160" y="60"/>
                  </a:cubicBezTo>
                  <a:lnTo>
                    <a:pt x="163" y="51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0" name="íś1íḓè">
              <a:extLst>
                <a:ext uri="{FF2B5EF4-FFF2-40B4-BE49-F238E27FC236}">
                  <a16:creationId xmlns:a16="http://schemas.microsoft.com/office/drawing/2014/main" id="{F7D22B08-89E3-4E7E-85A5-83F5654171DA}"/>
                </a:ext>
              </a:extLst>
            </p:cNvPr>
            <p:cNvSpPr/>
            <p:nvPr/>
          </p:nvSpPr>
          <p:spPr bwMode="auto">
            <a:xfrm>
              <a:off x="2937543" y="3229420"/>
              <a:ext cx="149661" cy="210932"/>
            </a:xfrm>
            <a:prstGeom prst="ellipse">
              <a:avLst/>
            </a:pr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1" name="ïśľíḓe">
              <a:extLst>
                <a:ext uri="{FF2B5EF4-FFF2-40B4-BE49-F238E27FC236}">
                  <a16:creationId xmlns:a16="http://schemas.microsoft.com/office/drawing/2014/main" id="{B72D841A-5148-43B1-BF7B-5AE2BDDFC533}"/>
                </a:ext>
              </a:extLst>
            </p:cNvPr>
            <p:cNvSpPr/>
            <p:nvPr/>
          </p:nvSpPr>
          <p:spPr bwMode="auto">
            <a:xfrm>
              <a:off x="2963657" y="3260558"/>
              <a:ext cx="97431" cy="146648"/>
            </a:xfrm>
            <a:custGeom>
              <a:avLst/>
              <a:gdLst>
                <a:gd name="T0" fmla="*/ 30 w 41"/>
                <a:gd name="T1" fmla="*/ 3 h 62"/>
                <a:gd name="T2" fmla="*/ 7 w 41"/>
                <a:gd name="T3" fmla="*/ 9 h 62"/>
                <a:gd name="T4" fmla="*/ 7 w 41"/>
                <a:gd name="T5" fmla="*/ 51 h 62"/>
                <a:gd name="T6" fmla="*/ 31 w 41"/>
                <a:gd name="T7" fmla="*/ 57 h 62"/>
                <a:gd name="T8" fmla="*/ 35 w 41"/>
                <a:gd name="T9" fmla="*/ 42 h 62"/>
                <a:gd name="T10" fmla="*/ 26 w 41"/>
                <a:gd name="T11" fmla="*/ 31 h 62"/>
                <a:gd name="T12" fmla="*/ 34 w 41"/>
                <a:gd name="T13" fmla="*/ 26 h 62"/>
                <a:gd name="T14" fmla="*/ 33 w 41"/>
                <a:gd name="T15" fmla="*/ 9 h 62"/>
                <a:gd name="T16" fmla="*/ 30 w 41"/>
                <a:gd name="T17" fmla="*/ 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62">
                  <a:moveTo>
                    <a:pt x="30" y="3"/>
                  </a:moveTo>
                  <a:cubicBezTo>
                    <a:pt x="27" y="3"/>
                    <a:pt x="15" y="0"/>
                    <a:pt x="7" y="9"/>
                  </a:cubicBezTo>
                  <a:cubicBezTo>
                    <a:pt x="0" y="18"/>
                    <a:pt x="1" y="44"/>
                    <a:pt x="7" y="51"/>
                  </a:cubicBezTo>
                  <a:cubicBezTo>
                    <a:pt x="13" y="59"/>
                    <a:pt x="24" y="62"/>
                    <a:pt x="31" y="57"/>
                  </a:cubicBezTo>
                  <a:cubicBezTo>
                    <a:pt x="39" y="52"/>
                    <a:pt x="41" y="47"/>
                    <a:pt x="35" y="42"/>
                  </a:cubicBezTo>
                  <a:cubicBezTo>
                    <a:pt x="29" y="38"/>
                    <a:pt x="24" y="34"/>
                    <a:pt x="26" y="31"/>
                  </a:cubicBezTo>
                  <a:cubicBezTo>
                    <a:pt x="28" y="28"/>
                    <a:pt x="32" y="29"/>
                    <a:pt x="34" y="26"/>
                  </a:cubicBezTo>
                  <a:cubicBezTo>
                    <a:pt x="37" y="23"/>
                    <a:pt x="35" y="15"/>
                    <a:pt x="33" y="9"/>
                  </a:cubicBezTo>
                  <a:cubicBezTo>
                    <a:pt x="32" y="2"/>
                    <a:pt x="30" y="3"/>
                    <a:pt x="30" y="3"/>
                  </a:cubicBezTo>
                </a:path>
              </a:pathLst>
            </a:custGeom>
            <a:solidFill>
              <a:srgbClr val="F8A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2" name="işļíḓé">
              <a:extLst>
                <a:ext uri="{FF2B5EF4-FFF2-40B4-BE49-F238E27FC236}">
                  <a16:creationId xmlns:a16="http://schemas.microsoft.com/office/drawing/2014/main" id="{6DF4CF32-96FB-4CAD-BE00-A37EAE785013}"/>
                </a:ext>
              </a:extLst>
            </p:cNvPr>
            <p:cNvSpPr/>
            <p:nvPr/>
          </p:nvSpPr>
          <p:spPr bwMode="auto">
            <a:xfrm>
              <a:off x="6713229" y="2996390"/>
              <a:ext cx="676992" cy="706121"/>
            </a:xfrm>
            <a:custGeom>
              <a:avLst/>
              <a:gdLst>
                <a:gd name="T0" fmla="*/ 62 w 285"/>
                <a:gd name="T1" fmla="*/ 272 h 297"/>
                <a:gd name="T2" fmla="*/ 48 w 285"/>
                <a:gd name="T3" fmla="*/ 259 h 297"/>
                <a:gd name="T4" fmla="*/ 47 w 285"/>
                <a:gd name="T5" fmla="*/ 251 h 297"/>
                <a:gd name="T6" fmla="*/ 33 w 285"/>
                <a:gd name="T7" fmla="*/ 241 h 297"/>
                <a:gd name="T8" fmla="*/ 33 w 285"/>
                <a:gd name="T9" fmla="*/ 237 h 297"/>
                <a:gd name="T10" fmla="*/ 22 w 285"/>
                <a:gd name="T11" fmla="*/ 219 h 297"/>
                <a:gd name="T12" fmla="*/ 23 w 285"/>
                <a:gd name="T13" fmla="*/ 197 h 297"/>
                <a:gd name="T14" fmla="*/ 7 w 285"/>
                <a:gd name="T15" fmla="*/ 179 h 297"/>
                <a:gd name="T16" fmla="*/ 5 w 285"/>
                <a:gd name="T17" fmla="*/ 149 h 297"/>
                <a:gd name="T18" fmla="*/ 0 w 285"/>
                <a:gd name="T19" fmla="*/ 121 h 297"/>
                <a:gd name="T20" fmla="*/ 17 w 285"/>
                <a:gd name="T21" fmla="*/ 104 h 297"/>
                <a:gd name="T22" fmla="*/ 18 w 285"/>
                <a:gd name="T23" fmla="*/ 95 h 297"/>
                <a:gd name="T24" fmla="*/ 29 w 285"/>
                <a:gd name="T25" fmla="*/ 69 h 297"/>
                <a:gd name="T26" fmla="*/ 32 w 285"/>
                <a:gd name="T27" fmla="*/ 56 h 297"/>
                <a:gd name="T28" fmla="*/ 49 w 285"/>
                <a:gd name="T29" fmla="*/ 44 h 297"/>
                <a:gd name="T30" fmla="*/ 74 w 285"/>
                <a:gd name="T31" fmla="*/ 36 h 297"/>
                <a:gd name="T32" fmla="*/ 90 w 285"/>
                <a:gd name="T33" fmla="*/ 14 h 297"/>
                <a:gd name="T34" fmla="*/ 110 w 285"/>
                <a:gd name="T35" fmla="*/ 13 h 297"/>
                <a:gd name="T36" fmla="*/ 124 w 285"/>
                <a:gd name="T37" fmla="*/ 8 h 297"/>
                <a:gd name="T38" fmla="*/ 146 w 285"/>
                <a:gd name="T39" fmla="*/ 0 h 297"/>
                <a:gd name="T40" fmla="*/ 170 w 285"/>
                <a:gd name="T41" fmla="*/ 6 h 297"/>
                <a:gd name="T42" fmla="*/ 195 w 285"/>
                <a:gd name="T43" fmla="*/ 14 h 297"/>
                <a:gd name="T44" fmla="*/ 211 w 285"/>
                <a:gd name="T45" fmla="*/ 36 h 297"/>
                <a:gd name="T46" fmla="*/ 236 w 285"/>
                <a:gd name="T47" fmla="*/ 44 h 297"/>
                <a:gd name="T48" fmla="*/ 253 w 285"/>
                <a:gd name="T49" fmla="*/ 56 h 297"/>
                <a:gd name="T50" fmla="*/ 256 w 285"/>
                <a:gd name="T51" fmla="*/ 69 h 297"/>
                <a:gd name="T52" fmla="*/ 267 w 285"/>
                <a:gd name="T53" fmla="*/ 95 h 297"/>
                <a:gd name="T54" fmla="*/ 268 w 285"/>
                <a:gd name="T55" fmla="*/ 104 h 297"/>
                <a:gd name="T56" fmla="*/ 285 w 285"/>
                <a:gd name="T57" fmla="*/ 121 h 297"/>
                <a:gd name="T58" fmla="*/ 280 w 285"/>
                <a:gd name="T59" fmla="*/ 149 h 297"/>
                <a:gd name="T60" fmla="*/ 278 w 285"/>
                <a:gd name="T61" fmla="*/ 179 h 297"/>
                <a:gd name="T62" fmla="*/ 262 w 285"/>
                <a:gd name="T63" fmla="*/ 197 h 297"/>
                <a:gd name="T64" fmla="*/ 263 w 285"/>
                <a:gd name="T65" fmla="*/ 219 h 297"/>
                <a:gd name="T66" fmla="*/ 252 w 285"/>
                <a:gd name="T67" fmla="*/ 237 h 297"/>
                <a:gd name="T68" fmla="*/ 252 w 285"/>
                <a:gd name="T69" fmla="*/ 241 h 297"/>
                <a:gd name="T70" fmla="*/ 238 w 285"/>
                <a:gd name="T71" fmla="*/ 251 h 297"/>
                <a:gd name="T72" fmla="*/ 237 w 285"/>
                <a:gd name="T73" fmla="*/ 259 h 297"/>
                <a:gd name="T74" fmla="*/ 223 w 285"/>
                <a:gd name="T75" fmla="*/ 272 h 297"/>
                <a:gd name="T76" fmla="*/ 204 w 285"/>
                <a:gd name="T77" fmla="*/ 287 h 297"/>
                <a:gd name="T78" fmla="*/ 186 w 285"/>
                <a:gd name="T79" fmla="*/ 293 h 297"/>
                <a:gd name="T80" fmla="*/ 172 w 285"/>
                <a:gd name="T81" fmla="*/ 297 h 297"/>
                <a:gd name="T82" fmla="*/ 152 w 285"/>
                <a:gd name="T83" fmla="*/ 296 h 297"/>
                <a:gd name="T84" fmla="*/ 143 w 285"/>
                <a:gd name="T85" fmla="*/ 296 h 297"/>
                <a:gd name="T86" fmla="*/ 133 w 285"/>
                <a:gd name="T87" fmla="*/ 296 h 297"/>
                <a:gd name="T88" fmla="*/ 113 w 285"/>
                <a:gd name="T89" fmla="*/ 297 h 297"/>
                <a:gd name="T90" fmla="*/ 99 w 285"/>
                <a:gd name="T91" fmla="*/ 293 h 297"/>
                <a:gd name="T92" fmla="*/ 81 w 285"/>
                <a:gd name="T93" fmla="*/ 28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5" h="297">
                  <a:moveTo>
                    <a:pt x="69" y="278"/>
                  </a:moveTo>
                  <a:cubicBezTo>
                    <a:pt x="67" y="277"/>
                    <a:pt x="64" y="274"/>
                    <a:pt x="62" y="272"/>
                  </a:cubicBezTo>
                  <a:cubicBezTo>
                    <a:pt x="62" y="272"/>
                    <a:pt x="61" y="272"/>
                    <a:pt x="61" y="272"/>
                  </a:cubicBezTo>
                  <a:cubicBezTo>
                    <a:pt x="54" y="272"/>
                    <a:pt x="48" y="266"/>
                    <a:pt x="48" y="259"/>
                  </a:cubicBezTo>
                  <a:cubicBezTo>
                    <a:pt x="48" y="257"/>
                    <a:pt x="48" y="256"/>
                    <a:pt x="49" y="255"/>
                  </a:cubicBezTo>
                  <a:cubicBezTo>
                    <a:pt x="48" y="254"/>
                    <a:pt x="47" y="252"/>
                    <a:pt x="47" y="251"/>
                  </a:cubicBezTo>
                  <a:cubicBezTo>
                    <a:pt x="46" y="252"/>
                    <a:pt x="45" y="252"/>
                    <a:pt x="44" y="252"/>
                  </a:cubicBezTo>
                  <a:cubicBezTo>
                    <a:pt x="38" y="252"/>
                    <a:pt x="33" y="247"/>
                    <a:pt x="33" y="241"/>
                  </a:cubicBezTo>
                  <a:cubicBezTo>
                    <a:pt x="33" y="240"/>
                    <a:pt x="34" y="238"/>
                    <a:pt x="34" y="237"/>
                  </a:cubicBezTo>
                  <a:cubicBezTo>
                    <a:pt x="34" y="237"/>
                    <a:pt x="33" y="237"/>
                    <a:pt x="33" y="237"/>
                  </a:cubicBezTo>
                  <a:cubicBezTo>
                    <a:pt x="26" y="237"/>
                    <a:pt x="21" y="231"/>
                    <a:pt x="21" y="224"/>
                  </a:cubicBezTo>
                  <a:cubicBezTo>
                    <a:pt x="21" y="222"/>
                    <a:pt x="21" y="220"/>
                    <a:pt x="22" y="219"/>
                  </a:cubicBezTo>
                  <a:cubicBezTo>
                    <a:pt x="19" y="216"/>
                    <a:pt x="17" y="213"/>
                    <a:pt x="17" y="208"/>
                  </a:cubicBezTo>
                  <a:cubicBezTo>
                    <a:pt x="17" y="204"/>
                    <a:pt x="19" y="200"/>
                    <a:pt x="23" y="197"/>
                  </a:cubicBezTo>
                  <a:cubicBezTo>
                    <a:pt x="22" y="197"/>
                    <a:pt x="22" y="196"/>
                    <a:pt x="22" y="196"/>
                  </a:cubicBezTo>
                  <a:cubicBezTo>
                    <a:pt x="14" y="195"/>
                    <a:pt x="7" y="188"/>
                    <a:pt x="7" y="179"/>
                  </a:cubicBezTo>
                  <a:cubicBezTo>
                    <a:pt x="7" y="172"/>
                    <a:pt x="12" y="166"/>
                    <a:pt x="18" y="164"/>
                  </a:cubicBezTo>
                  <a:cubicBezTo>
                    <a:pt x="11" y="163"/>
                    <a:pt x="5" y="156"/>
                    <a:pt x="5" y="149"/>
                  </a:cubicBezTo>
                  <a:cubicBezTo>
                    <a:pt x="5" y="144"/>
                    <a:pt x="8" y="139"/>
                    <a:pt x="11" y="137"/>
                  </a:cubicBezTo>
                  <a:cubicBezTo>
                    <a:pt x="5" y="134"/>
                    <a:pt x="0" y="128"/>
                    <a:pt x="0" y="121"/>
                  </a:cubicBezTo>
                  <a:cubicBezTo>
                    <a:pt x="0" y="112"/>
                    <a:pt x="8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3" y="102"/>
                    <a:pt x="10" y="113"/>
                    <a:pt x="10" y="107"/>
                  </a:cubicBezTo>
                  <a:cubicBezTo>
                    <a:pt x="10" y="102"/>
                    <a:pt x="13" y="97"/>
                    <a:pt x="18" y="95"/>
                  </a:cubicBezTo>
                  <a:cubicBezTo>
                    <a:pt x="17" y="92"/>
                    <a:pt x="16" y="92"/>
                    <a:pt x="16" y="86"/>
                  </a:cubicBezTo>
                  <a:cubicBezTo>
                    <a:pt x="16" y="80"/>
                    <a:pt x="22" y="70"/>
                    <a:pt x="29" y="69"/>
                  </a:cubicBezTo>
                  <a:cubicBezTo>
                    <a:pt x="29" y="68"/>
                    <a:pt x="29" y="68"/>
                    <a:pt x="29" y="65"/>
                  </a:cubicBezTo>
                  <a:cubicBezTo>
                    <a:pt x="29" y="63"/>
                    <a:pt x="30" y="58"/>
                    <a:pt x="32" y="56"/>
                  </a:cubicBezTo>
                  <a:cubicBezTo>
                    <a:pt x="34" y="49"/>
                    <a:pt x="43" y="44"/>
                    <a:pt x="47" y="44"/>
                  </a:cubicBezTo>
                  <a:cubicBezTo>
                    <a:pt x="51" y="44"/>
                    <a:pt x="48" y="44"/>
                    <a:pt x="49" y="44"/>
                  </a:cubicBezTo>
                  <a:cubicBezTo>
                    <a:pt x="51" y="37"/>
                    <a:pt x="58" y="31"/>
                    <a:pt x="64" y="31"/>
                  </a:cubicBezTo>
                  <a:cubicBezTo>
                    <a:pt x="69" y="31"/>
                    <a:pt x="71" y="33"/>
                    <a:pt x="74" y="36"/>
                  </a:cubicBezTo>
                  <a:cubicBezTo>
                    <a:pt x="74" y="35"/>
                    <a:pt x="74" y="38"/>
                    <a:pt x="74" y="32"/>
                  </a:cubicBezTo>
                  <a:cubicBezTo>
                    <a:pt x="74" y="27"/>
                    <a:pt x="81" y="14"/>
                    <a:pt x="90" y="14"/>
                  </a:cubicBezTo>
                  <a:cubicBezTo>
                    <a:pt x="93" y="14"/>
                    <a:pt x="96" y="15"/>
                    <a:pt x="99" y="17"/>
                  </a:cubicBezTo>
                  <a:cubicBezTo>
                    <a:pt x="102" y="15"/>
                    <a:pt x="105" y="13"/>
                    <a:pt x="110" y="13"/>
                  </a:cubicBezTo>
                  <a:cubicBezTo>
                    <a:pt x="110" y="13"/>
                    <a:pt x="111" y="13"/>
                    <a:pt x="112" y="13"/>
                  </a:cubicBezTo>
                  <a:cubicBezTo>
                    <a:pt x="115" y="10"/>
                    <a:pt x="119" y="8"/>
                    <a:pt x="124" y="8"/>
                  </a:cubicBezTo>
                  <a:cubicBezTo>
                    <a:pt x="127" y="8"/>
                    <a:pt x="130" y="9"/>
                    <a:pt x="132" y="11"/>
                  </a:cubicBezTo>
                  <a:cubicBezTo>
                    <a:pt x="134" y="4"/>
                    <a:pt x="140" y="0"/>
                    <a:pt x="146" y="0"/>
                  </a:cubicBezTo>
                  <a:cubicBezTo>
                    <a:pt x="153" y="0"/>
                    <a:pt x="158" y="4"/>
                    <a:pt x="160" y="10"/>
                  </a:cubicBezTo>
                  <a:cubicBezTo>
                    <a:pt x="163" y="7"/>
                    <a:pt x="166" y="6"/>
                    <a:pt x="170" y="6"/>
                  </a:cubicBezTo>
                  <a:cubicBezTo>
                    <a:pt x="178" y="6"/>
                    <a:pt x="184" y="11"/>
                    <a:pt x="185" y="18"/>
                  </a:cubicBezTo>
                  <a:cubicBezTo>
                    <a:pt x="188" y="16"/>
                    <a:pt x="191" y="14"/>
                    <a:pt x="195" y="14"/>
                  </a:cubicBezTo>
                  <a:cubicBezTo>
                    <a:pt x="204" y="14"/>
                    <a:pt x="212" y="27"/>
                    <a:pt x="212" y="32"/>
                  </a:cubicBezTo>
                  <a:cubicBezTo>
                    <a:pt x="212" y="38"/>
                    <a:pt x="211" y="35"/>
                    <a:pt x="211" y="36"/>
                  </a:cubicBezTo>
                  <a:cubicBezTo>
                    <a:pt x="214" y="33"/>
                    <a:pt x="216" y="31"/>
                    <a:pt x="221" y="31"/>
                  </a:cubicBezTo>
                  <a:cubicBezTo>
                    <a:pt x="227" y="31"/>
                    <a:pt x="234" y="37"/>
                    <a:pt x="236" y="44"/>
                  </a:cubicBezTo>
                  <a:cubicBezTo>
                    <a:pt x="237" y="44"/>
                    <a:pt x="234" y="44"/>
                    <a:pt x="238" y="44"/>
                  </a:cubicBezTo>
                  <a:cubicBezTo>
                    <a:pt x="242" y="44"/>
                    <a:pt x="251" y="49"/>
                    <a:pt x="253" y="56"/>
                  </a:cubicBezTo>
                  <a:cubicBezTo>
                    <a:pt x="255" y="58"/>
                    <a:pt x="256" y="63"/>
                    <a:pt x="256" y="65"/>
                  </a:cubicBezTo>
                  <a:cubicBezTo>
                    <a:pt x="256" y="68"/>
                    <a:pt x="256" y="68"/>
                    <a:pt x="256" y="69"/>
                  </a:cubicBezTo>
                  <a:cubicBezTo>
                    <a:pt x="263" y="70"/>
                    <a:pt x="269" y="80"/>
                    <a:pt x="269" y="86"/>
                  </a:cubicBezTo>
                  <a:cubicBezTo>
                    <a:pt x="269" y="92"/>
                    <a:pt x="269" y="92"/>
                    <a:pt x="267" y="95"/>
                  </a:cubicBezTo>
                  <a:cubicBezTo>
                    <a:pt x="272" y="97"/>
                    <a:pt x="275" y="102"/>
                    <a:pt x="275" y="107"/>
                  </a:cubicBezTo>
                  <a:cubicBezTo>
                    <a:pt x="275" y="113"/>
                    <a:pt x="272" y="102"/>
                    <a:pt x="268" y="104"/>
                  </a:cubicBezTo>
                  <a:cubicBezTo>
                    <a:pt x="268" y="104"/>
                    <a:pt x="268" y="104"/>
                    <a:pt x="268" y="104"/>
                  </a:cubicBezTo>
                  <a:cubicBezTo>
                    <a:pt x="277" y="104"/>
                    <a:pt x="285" y="112"/>
                    <a:pt x="285" y="121"/>
                  </a:cubicBezTo>
                  <a:cubicBezTo>
                    <a:pt x="285" y="128"/>
                    <a:pt x="280" y="134"/>
                    <a:pt x="274" y="137"/>
                  </a:cubicBezTo>
                  <a:cubicBezTo>
                    <a:pt x="277" y="139"/>
                    <a:pt x="280" y="144"/>
                    <a:pt x="280" y="149"/>
                  </a:cubicBezTo>
                  <a:cubicBezTo>
                    <a:pt x="280" y="156"/>
                    <a:pt x="274" y="163"/>
                    <a:pt x="267" y="164"/>
                  </a:cubicBezTo>
                  <a:cubicBezTo>
                    <a:pt x="273" y="166"/>
                    <a:pt x="278" y="172"/>
                    <a:pt x="278" y="179"/>
                  </a:cubicBezTo>
                  <a:cubicBezTo>
                    <a:pt x="278" y="188"/>
                    <a:pt x="271" y="195"/>
                    <a:pt x="263" y="196"/>
                  </a:cubicBezTo>
                  <a:cubicBezTo>
                    <a:pt x="263" y="196"/>
                    <a:pt x="263" y="197"/>
                    <a:pt x="262" y="197"/>
                  </a:cubicBezTo>
                  <a:cubicBezTo>
                    <a:pt x="266" y="200"/>
                    <a:pt x="268" y="204"/>
                    <a:pt x="268" y="208"/>
                  </a:cubicBezTo>
                  <a:cubicBezTo>
                    <a:pt x="268" y="213"/>
                    <a:pt x="266" y="216"/>
                    <a:pt x="263" y="219"/>
                  </a:cubicBezTo>
                  <a:cubicBezTo>
                    <a:pt x="264" y="220"/>
                    <a:pt x="264" y="222"/>
                    <a:pt x="264" y="224"/>
                  </a:cubicBezTo>
                  <a:cubicBezTo>
                    <a:pt x="264" y="231"/>
                    <a:pt x="259" y="237"/>
                    <a:pt x="252" y="237"/>
                  </a:cubicBezTo>
                  <a:cubicBezTo>
                    <a:pt x="252" y="237"/>
                    <a:pt x="251" y="237"/>
                    <a:pt x="251" y="237"/>
                  </a:cubicBezTo>
                  <a:cubicBezTo>
                    <a:pt x="251" y="238"/>
                    <a:pt x="252" y="240"/>
                    <a:pt x="252" y="241"/>
                  </a:cubicBezTo>
                  <a:cubicBezTo>
                    <a:pt x="252" y="247"/>
                    <a:pt x="247" y="252"/>
                    <a:pt x="241" y="252"/>
                  </a:cubicBezTo>
                  <a:cubicBezTo>
                    <a:pt x="240" y="252"/>
                    <a:pt x="239" y="252"/>
                    <a:pt x="238" y="251"/>
                  </a:cubicBezTo>
                  <a:cubicBezTo>
                    <a:pt x="238" y="252"/>
                    <a:pt x="237" y="254"/>
                    <a:pt x="236" y="255"/>
                  </a:cubicBezTo>
                  <a:cubicBezTo>
                    <a:pt x="237" y="256"/>
                    <a:pt x="237" y="257"/>
                    <a:pt x="237" y="259"/>
                  </a:cubicBezTo>
                  <a:cubicBezTo>
                    <a:pt x="237" y="266"/>
                    <a:pt x="231" y="272"/>
                    <a:pt x="224" y="272"/>
                  </a:cubicBezTo>
                  <a:cubicBezTo>
                    <a:pt x="224" y="272"/>
                    <a:pt x="223" y="272"/>
                    <a:pt x="223" y="272"/>
                  </a:cubicBezTo>
                  <a:cubicBezTo>
                    <a:pt x="221" y="274"/>
                    <a:pt x="218" y="277"/>
                    <a:pt x="216" y="278"/>
                  </a:cubicBezTo>
                  <a:cubicBezTo>
                    <a:pt x="214" y="283"/>
                    <a:pt x="210" y="287"/>
                    <a:pt x="204" y="287"/>
                  </a:cubicBezTo>
                  <a:cubicBezTo>
                    <a:pt x="202" y="287"/>
                    <a:pt x="200" y="287"/>
                    <a:pt x="199" y="286"/>
                  </a:cubicBezTo>
                  <a:cubicBezTo>
                    <a:pt x="196" y="290"/>
                    <a:pt x="191" y="293"/>
                    <a:pt x="186" y="293"/>
                  </a:cubicBezTo>
                  <a:cubicBezTo>
                    <a:pt x="185" y="293"/>
                    <a:pt x="183" y="293"/>
                    <a:pt x="182" y="292"/>
                  </a:cubicBezTo>
                  <a:cubicBezTo>
                    <a:pt x="179" y="295"/>
                    <a:pt x="176" y="297"/>
                    <a:pt x="172" y="297"/>
                  </a:cubicBezTo>
                  <a:cubicBezTo>
                    <a:pt x="168" y="297"/>
                    <a:pt x="164" y="295"/>
                    <a:pt x="161" y="293"/>
                  </a:cubicBezTo>
                  <a:cubicBezTo>
                    <a:pt x="159" y="295"/>
                    <a:pt x="156" y="296"/>
                    <a:pt x="152" y="296"/>
                  </a:cubicBezTo>
                  <a:cubicBezTo>
                    <a:pt x="150" y="296"/>
                    <a:pt x="148" y="296"/>
                    <a:pt x="146" y="295"/>
                  </a:cubicBezTo>
                  <a:cubicBezTo>
                    <a:pt x="145" y="295"/>
                    <a:pt x="144" y="296"/>
                    <a:pt x="143" y="296"/>
                  </a:cubicBezTo>
                  <a:cubicBezTo>
                    <a:pt x="141" y="296"/>
                    <a:pt x="140" y="295"/>
                    <a:pt x="139" y="295"/>
                  </a:cubicBezTo>
                  <a:cubicBezTo>
                    <a:pt x="138" y="296"/>
                    <a:pt x="135" y="296"/>
                    <a:pt x="133" y="296"/>
                  </a:cubicBezTo>
                  <a:cubicBezTo>
                    <a:pt x="129" y="296"/>
                    <a:pt x="126" y="295"/>
                    <a:pt x="124" y="293"/>
                  </a:cubicBezTo>
                  <a:cubicBezTo>
                    <a:pt x="121" y="295"/>
                    <a:pt x="118" y="297"/>
                    <a:pt x="113" y="297"/>
                  </a:cubicBezTo>
                  <a:cubicBezTo>
                    <a:pt x="109" y="297"/>
                    <a:pt x="106" y="295"/>
                    <a:pt x="103" y="292"/>
                  </a:cubicBezTo>
                  <a:cubicBezTo>
                    <a:pt x="102" y="293"/>
                    <a:pt x="100" y="293"/>
                    <a:pt x="99" y="293"/>
                  </a:cubicBezTo>
                  <a:cubicBezTo>
                    <a:pt x="94" y="293"/>
                    <a:pt x="89" y="290"/>
                    <a:pt x="86" y="286"/>
                  </a:cubicBezTo>
                  <a:cubicBezTo>
                    <a:pt x="85" y="287"/>
                    <a:pt x="83" y="287"/>
                    <a:pt x="81" y="287"/>
                  </a:cubicBezTo>
                  <a:cubicBezTo>
                    <a:pt x="75" y="287"/>
                    <a:pt x="71" y="283"/>
                    <a:pt x="69" y="278"/>
                  </a:cubicBezTo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3" name="íSlîďe">
              <a:extLst>
                <a:ext uri="{FF2B5EF4-FFF2-40B4-BE49-F238E27FC236}">
                  <a16:creationId xmlns:a16="http://schemas.microsoft.com/office/drawing/2014/main" id="{95AB40EE-4EB2-41BF-A53B-93FAC72F078A}"/>
                </a:ext>
              </a:extLst>
            </p:cNvPr>
            <p:cNvSpPr/>
            <p:nvPr/>
          </p:nvSpPr>
          <p:spPr bwMode="auto">
            <a:xfrm>
              <a:off x="7668449" y="3624164"/>
              <a:ext cx="101448" cy="160710"/>
            </a:xfrm>
            <a:custGeom>
              <a:avLst/>
              <a:gdLst>
                <a:gd name="T0" fmla="*/ 39 w 43"/>
                <a:gd name="T1" fmla="*/ 38 h 68"/>
                <a:gd name="T2" fmla="*/ 14 w 43"/>
                <a:gd name="T3" fmla="*/ 5 h 68"/>
                <a:gd name="T4" fmla="*/ 1 w 43"/>
                <a:gd name="T5" fmla="*/ 7 h 68"/>
                <a:gd name="T6" fmla="*/ 19 w 43"/>
                <a:gd name="T7" fmla="*/ 55 h 68"/>
                <a:gd name="T8" fmla="*/ 33 w 43"/>
                <a:gd name="T9" fmla="*/ 61 h 68"/>
                <a:gd name="T10" fmla="*/ 39 w 43"/>
                <a:gd name="T11" fmla="*/ 3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68">
                  <a:moveTo>
                    <a:pt x="39" y="38"/>
                  </a:moveTo>
                  <a:cubicBezTo>
                    <a:pt x="36" y="31"/>
                    <a:pt x="17" y="9"/>
                    <a:pt x="14" y="5"/>
                  </a:cubicBezTo>
                  <a:cubicBezTo>
                    <a:pt x="12" y="0"/>
                    <a:pt x="2" y="2"/>
                    <a:pt x="1" y="7"/>
                  </a:cubicBezTo>
                  <a:cubicBezTo>
                    <a:pt x="0" y="13"/>
                    <a:pt x="15" y="48"/>
                    <a:pt x="19" y="55"/>
                  </a:cubicBezTo>
                  <a:cubicBezTo>
                    <a:pt x="23" y="62"/>
                    <a:pt x="23" y="68"/>
                    <a:pt x="33" y="61"/>
                  </a:cubicBezTo>
                  <a:cubicBezTo>
                    <a:pt x="43" y="53"/>
                    <a:pt x="39" y="38"/>
                    <a:pt x="39" y="38"/>
                  </a:cubicBezTo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4" name="î$liḋe">
              <a:extLst>
                <a:ext uri="{FF2B5EF4-FFF2-40B4-BE49-F238E27FC236}">
                  <a16:creationId xmlns:a16="http://schemas.microsoft.com/office/drawing/2014/main" id="{8A0C72B9-3543-4421-8DEE-58DADAD4162D}"/>
                </a:ext>
              </a:extLst>
            </p:cNvPr>
            <p:cNvSpPr/>
            <p:nvPr/>
          </p:nvSpPr>
          <p:spPr bwMode="auto">
            <a:xfrm>
              <a:off x="9059597" y="3680413"/>
              <a:ext cx="156692" cy="185821"/>
            </a:xfrm>
            <a:custGeom>
              <a:avLst/>
              <a:gdLst>
                <a:gd name="T0" fmla="*/ 0 w 66"/>
                <a:gd name="T1" fmla="*/ 13 h 78"/>
                <a:gd name="T2" fmla="*/ 0 w 66"/>
                <a:gd name="T3" fmla="*/ 77 h 78"/>
                <a:gd name="T4" fmla="*/ 64 w 66"/>
                <a:gd name="T5" fmla="*/ 48 h 78"/>
                <a:gd name="T6" fmla="*/ 44 w 66"/>
                <a:gd name="T7" fmla="*/ 0 h 78"/>
                <a:gd name="T8" fmla="*/ 0 w 66"/>
                <a:gd name="T9" fmla="*/ 1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8">
                  <a:moveTo>
                    <a:pt x="0" y="13"/>
                  </a:moveTo>
                  <a:cubicBezTo>
                    <a:pt x="6" y="47"/>
                    <a:pt x="0" y="78"/>
                    <a:pt x="0" y="77"/>
                  </a:cubicBezTo>
                  <a:cubicBezTo>
                    <a:pt x="3" y="75"/>
                    <a:pt x="66" y="49"/>
                    <a:pt x="64" y="48"/>
                  </a:cubicBezTo>
                  <a:cubicBezTo>
                    <a:pt x="62" y="48"/>
                    <a:pt x="44" y="0"/>
                    <a:pt x="44" y="0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5" name="ïṥ1îḍé">
              <a:extLst>
                <a:ext uri="{FF2B5EF4-FFF2-40B4-BE49-F238E27FC236}">
                  <a16:creationId xmlns:a16="http://schemas.microsoft.com/office/drawing/2014/main" id="{820078E7-D9E6-47F8-BAD1-0DAEA281F3BC}"/>
                </a:ext>
              </a:extLst>
            </p:cNvPr>
            <p:cNvSpPr/>
            <p:nvPr/>
          </p:nvSpPr>
          <p:spPr bwMode="auto">
            <a:xfrm>
              <a:off x="8756257" y="3124958"/>
              <a:ext cx="588601" cy="626770"/>
            </a:xfrm>
            <a:custGeom>
              <a:avLst/>
              <a:gdLst>
                <a:gd name="T0" fmla="*/ 127 w 248"/>
                <a:gd name="T1" fmla="*/ 0 h 264"/>
                <a:gd name="T2" fmla="*/ 8 w 248"/>
                <a:gd name="T3" fmla="*/ 120 h 264"/>
                <a:gd name="T4" fmla="*/ 26 w 248"/>
                <a:gd name="T5" fmla="*/ 157 h 264"/>
                <a:gd name="T6" fmla="*/ 10 w 248"/>
                <a:gd name="T7" fmla="*/ 200 h 264"/>
                <a:gd name="T8" fmla="*/ 32 w 248"/>
                <a:gd name="T9" fmla="*/ 207 h 264"/>
                <a:gd name="T10" fmla="*/ 127 w 248"/>
                <a:gd name="T11" fmla="*/ 264 h 264"/>
                <a:gd name="T12" fmla="*/ 248 w 248"/>
                <a:gd name="T13" fmla="*/ 132 h 264"/>
                <a:gd name="T14" fmla="*/ 127 w 248"/>
                <a:gd name="T15" fmla="*/ 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8" h="264">
                  <a:moveTo>
                    <a:pt x="127" y="0"/>
                  </a:moveTo>
                  <a:cubicBezTo>
                    <a:pt x="43" y="0"/>
                    <a:pt x="0" y="35"/>
                    <a:pt x="8" y="120"/>
                  </a:cubicBezTo>
                  <a:cubicBezTo>
                    <a:pt x="10" y="132"/>
                    <a:pt x="24" y="152"/>
                    <a:pt x="26" y="157"/>
                  </a:cubicBezTo>
                  <a:cubicBezTo>
                    <a:pt x="16" y="184"/>
                    <a:pt x="8" y="190"/>
                    <a:pt x="10" y="200"/>
                  </a:cubicBezTo>
                  <a:cubicBezTo>
                    <a:pt x="11" y="205"/>
                    <a:pt x="23" y="207"/>
                    <a:pt x="32" y="207"/>
                  </a:cubicBezTo>
                  <a:cubicBezTo>
                    <a:pt x="44" y="246"/>
                    <a:pt x="84" y="264"/>
                    <a:pt x="127" y="264"/>
                  </a:cubicBezTo>
                  <a:cubicBezTo>
                    <a:pt x="194" y="264"/>
                    <a:pt x="248" y="204"/>
                    <a:pt x="248" y="132"/>
                  </a:cubicBezTo>
                  <a:cubicBezTo>
                    <a:pt x="248" y="59"/>
                    <a:pt x="194" y="0"/>
                    <a:pt x="127" y="0"/>
                  </a:cubicBezTo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6" name="ï$ļîḓe">
              <a:extLst>
                <a:ext uri="{FF2B5EF4-FFF2-40B4-BE49-F238E27FC236}">
                  <a16:creationId xmlns:a16="http://schemas.microsoft.com/office/drawing/2014/main" id="{498A7172-F6D5-480F-BC3F-94D5236E335B}"/>
                </a:ext>
              </a:extLst>
            </p:cNvPr>
            <p:cNvSpPr/>
            <p:nvPr/>
          </p:nvSpPr>
          <p:spPr bwMode="auto">
            <a:xfrm>
              <a:off x="9038505" y="3699496"/>
              <a:ext cx="230016" cy="159706"/>
            </a:xfrm>
            <a:custGeom>
              <a:avLst/>
              <a:gdLst>
                <a:gd name="T0" fmla="*/ 0 w 97"/>
                <a:gd name="T1" fmla="*/ 67 h 67"/>
                <a:gd name="T2" fmla="*/ 5 w 97"/>
                <a:gd name="T3" fmla="*/ 32 h 67"/>
                <a:gd name="T4" fmla="*/ 82 w 97"/>
                <a:gd name="T5" fmla="*/ 0 h 67"/>
                <a:gd name="T6" fmla="*/ 97 w 97"/>
                <a:gd name="T7" fmla="*/ 32 h 67"/>
                <a:gd name="T8" fmla="*/ 0 w 97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7">
                  <a:moveTo>
                    <a:pt x="0" y="67"/>
                  </a:moveTo>
                  <a:cubicBezTo>
                    <a:pt x="0" y="64"/>
                    <a:pt x="5" y="32"/>
                    <a:pt x="5" y="32"/>
                  </a:cubicBezTo>
                  <a:cubicBezTo>
                    <a:pt x="5" y="32"/>
                    <a:pt x="77" y="0"/>
                    <a:pt x="82" y="0"/>
                  </a:cubicBezTo>
                  <a:cubicBezTo>
                    <a:pt x="87" y="0"/>
                    <a:pt x="97" y="32"/>
                    <a:pt x="97" y="32"/>
                  </a:cubicBezTo>
                  <a:lnTo>
                    <a:pt x="0" y="67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7" name="i$ļíḑè">
              <a:extLst>
                <a:ext uri="{FF2B5EF4-FFF2-40B4-BE49-F238E27FC236}">
                  <a16:creationId xmlns:a16="http://schemas.microsoft.com/office/drawing/2014/main" id="{0E525A68-4F05-4D9F-AF1D-E350438F5ED5}"/>
                </a:ext>
              </a:extLst>
            </p:cNvPr>
            <p:cNvSpPr/>
            <p:nvPr/>
          </p:nvSpPr>
          <p:spPr bwMode="auto">
            <a:xfrm>
              <a:off x="8706035" y="3039581"/>
              <a:ext cx="689045" cy="619740"/>
            </a:xfrm>
            <a:custGeom>
              <a:avLst/>
              <a:gdLst>
                <a:gd name="T0" fmla="*/ 159 w 290"/>
                <a:gd name="T1" fmla="*/ 141 h 261"/>
                <a:gd name="T2" fmla="*/ 184 w 290"/>
                <a:gd name="T3" fmla="*/ 224 h 261"/>
                <a:gd name="T4" fmla="*/ 199 w 290"/>
                <a:gd name="T5" fmla="*/ 203 h 261"/>
                <a:gd name="T6" fmla="*/ 193 w 290"/>
                <a:gd name="T7" fmla="*/ 153 h 261"/>
                <a:gd name="T8" fmla="*/ 224 w 290"/>
                <a:gd name="T9" fmla="*/ 137 h 261"/>
                <a:gd name="T10" fmla="*/ 227 w 290"/>
                <a:gd name="T11" fmla="*/ 204 h 261"/>
                <a:gd name="T12" fmla="*/ 245 w 290"/>
                <a:gd name="T13" fmla="*/ 261 h 261"/>
                <a:gd name="T14" fmla="*/ 212 w 290"/>
                <a:gd name="T15" fmla="*/ 41 h 261"/>
                <a:gd name="T16" fmla="*/ 12 w 290"/>
                <a:gd name="T17" fmla="*/ 98 h 261"/>
                <a:gd name="T18" fmla="*/ 7 w 290"/>
                <a:gd name="T19" fmla="*/ 111 h 261"/>
                <a:gd name="T20" fmla="*/ 40 w 290"/>
                <a:gd name="T21" fmla="*/ 165 h 261"/>
                <a:gd name="T22" fmla="*/ 35 w 290"/>
                <a:gd name="T23" fmla="*/ 136 h 261"/>
                <a:gd name="T24" fmla="*/ 35 w 290"/>
                <a:gd name="T25" fmla="*/ 136 h 261"/>
                <a:gd name="T26" fmla="*/ 54 w 290"/>
                <a:gd name="T27" fmla="*/ 155 h 261"/>
                <a:gd name="T28" fmla="*/ 81 w 290"/>
                <a:gd name="T29" fmla="*/ 165 h 261"/>
                <a:gd name="T30" fmla="*/ 66 w 290"/>
                <a:gd name="T31" fmla="*/ 144 h 261"/>
                <a:gd name="T32" fmla="*/ 159 w 290"/>
                <a:gd name="T33" fmla="*/ 14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0" h="261">
                  <a:moveTo>
                    <a:pt x="159" y="141"/>
                  </a:moveTo>
                  <a:cubicBezTo>
                    <a:pt x="169" y="152"/>
                    <a:pt x="180" y="226"/>
                    <a:pt x="184" y="224"/>
                  </a:cubicBezTo>
                  <a:cubicBezTo>
                    <a:pt x="189" y="222"/>
                    <a:pt x="199" y="203"/>
                    <a:pt x="199" y="203"/>
                  </a:cubicBezTo>
                  <a:cubicBezTo>
                    <a:pt x="199" y="203"/>
                    <a:pt x="190" y="169"/>
                    <a:pt x="193" y="153"/>
                  </a:cubicBezTo>
                  <a:cubicBezTo>
                    <a:pt x="195" y="136"/>
                    <a:pt x="202" y="130"/>
                    <a:pt x="224" y="137"/>
                  </a:cubicBezTo>
                  <a:cubicBezTo>
                    <a:pt x="257" y="148"/>
                    <a:pt x="245" y="181"/>
                    <a:pt x="227" y="204"/>
                  </a:cubicBezTo>
                  <a:cubicBezTo>
                    <a:pt x="227" y="204"/>
                    <a:pt x="240" y="255"/>
                    <a:pt x="245" y="261"/>
                  </a:cubicBezTo>
                  <a:cubicBezTo>
                    <a:pt x="290" y="193"/>
                    <a:pt x="272" y="50"/>
                    <a:pt x="212" y="41"/>
                  </a:cubicBezTo>
                  <a:cubicBezTo>
                    <a:pt x="102" y="0"/>
                    <a:pt x="36" y="46"/>
                    <a:pt x="12" y="98"/>
                  </a:cubicBezTo>
                  <a:cubicBezTo>
                    <a:pt x="11" y="101"/>
                    <a:pt x="9" y="106"/>
                    <a:pt x="7" y="111"/>
                  </a:cubicBezTo>
                  <a:cubicBezTo>
                    <a:pt x="0" y="138"/>
                    <a:pt x="40" y="165"/>
                    <a:pt x="40" y="165"/>
                  </a:cubicBezTo>
                  <a:cubicBezTo>
                    <a:pt x="40" y="165"/>
                    <a:pt x="35" y="15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6"/>
                    <a:pt x="37" y="145"/>
                    <a:pt x="54" y="155"/>
                  </a:cubicBezTo>
                  <a:cubicBezTo>
                    <a:pt x="71" y="165"/>
                    <a:pt x="81" y="165"/>
                    <a:pt x="81" y="165"/>
                  </a:cubicBezTo>
                  <a:cubicBezTo>
                    <a:pt x="81" y="165"/>
                    <a:pt x="71" y="157"/>
                    <a:pt x="66" y="144"/>
                  </a:cubicBezTo>
                  <a:cubicBezTo>
                    <a:pt x="132" y="148"/>
                    <a:pt x="158" y="140"/>
                    <a:pt x="159" y="141"/>
                  </a:cubicBezTo>
                </a:path>
              </a:pathLst>
            </a:custGeom>
            <a:solidFill>
              <a:srgbClr val="5A3B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8" name="iSļiďé">
              <a:extLst>
                <a:ext uri="{FF2B5EF4-FFF2-40B4-BE49-F238E27FC236}">
                  <a16:creationId xmlns:a16="http://schemas.microsoft.com/office/drawing/2014/main" id="{C9146E21-5147-49D0-9F0B-AAD2FB1D8D68}"/>
                </a:ext>
              </a:extLst>
            </p:cNvPr>
            <p:cNvSpPr/>
            <p:nvPr/>
          </p:nvSpPr>
          <p:spPr bwMode="auto">
            <a:xfrm>
              <a:off x="8793421" y="3889335"/>
              <a:ext cx="147653" cy="679001"/>
            </a:xfrm>
            <a:custGeom>
              <a:avLst/>
              <a:gdLst>
                <a:gd name="T0" fmla="*/ 43 w 62"/>
                <a:gd name="T1" fmla="*/ 14 h 286"/>
                <a:gd name="T2" fmla="*/ 0 w 62"/>
                <a:gd name="T3" fmla="*/ 286 h 286"/>
                <a:gd name="T4" fmla="*/ 34 w 62"/>
                <a:gd name="T5" fmla="*/ 225 h 286"/>
                <a:gd name="T6" fmla="*/ 62 w 62"/>
                <a:gd name="T7" fmla="*/ 0 h 286"/>
                <a:gd name="T8" fmla="*/ 43 w 62"/>
                <a:gd name="T9" fmla="*/ 14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286">
                  <a:moveTo>
                    <a:pt x="43" y="14"/>
                  </a:moveTo>
                  <a:cubicBezTo>
                    <a:pt x="48" y="16"/>
                    <a:pt x="0" y="286"/>
                    <a:pt x="0" y="28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62" y="0"/>
                    <a:pt x="62" y="0"/>
                    <a:pt x="62" y="0"/>
                  </a:cubicBezTo>
                  <a:lnTo>
                    <a:pt x="43" y="14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9" name="iṧľïḓé">
              <a:extLst>
                <a:ext uri="{FF2B5EF4-FFF2-40B4-BE49-F238E27FC236}">
                  <a16:creationId xmlns:a16="http://schemas.microsoft.com/office/drawing/2014/main" id="{BF5A9217-5C53-4933-AFE8-269B588FDDE3}"/>
                </a:ext>
              </a:extLst>
            </p:cNvPr>
            <p:cNvSpPr/>
            <p:nvPr/>
          </p:nvSpPr>
          <p:spPr bwMode="auto">
            <a:xfrm>
              <a:off x="8091318" y="3704520"/>
              <a:ext cx="1213362" cy="534362"/>
            </a:xfrm>
            <a:custGeom>
              <a:avLst/>
              <a:gdLst>
                <a:gd name="T0" fmla="*/ 431 w 511"/>
                <a:gd name="T1" fmla="*/ 21 h 225"/>
                <a:gd name="T2" fmla="*/ 226 w 511"/>
                <a:gd name="T3" fmla="*/ 138 h 225"/>
                <a:gd name="T4" fmla="*/ 24 w 511"/>
                <a:gd name="T5" fmla="*/ 133 h 225"/>
                <a:gd name="T6" fmla="*/ 0 w 511"/>
                <a:gd name="T7" fmla="*/ 191 h 225"/>
                <a:gd name="T8" fmla="*/ 264 w 511"/>
                <a:gd name="T9" fmla="*/ 190 h 225"/>
                <a:gd name="T10" fmla="*/ 471 w 511"/>
                <a:gd name="T11" fmla="*/ 80 h 225"/>
                <a:gd name="T12" fmla="*/ 431 w 511"/>
                <a:gd name="T13" fmla="*/ 2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1" h="225">
                  <a:moveTo>
                    <a:pt x="431" y="21"/>
                  </a:moveTo>
                  <a:cubicBezTo>
                    <a:pt x="430" y="22"/>
                    <a:pt x="303" y="110"/>
                    <a:pt x="226" y="138"/>
                  </a:cubicBezTo>
                  <a:cubicBezTo>
                    <a:pt x="157" y="163"/>
                    <a:pt x="24" y="132"/>
                    <a:pt x="24" y="133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1" y="191"/>
                    <a:pt x="169" y="225"/>
                    <a:pt x="264" y="190"/>
                  </a:cubicBezTo>
                  <a:cubicBezTo>
                    <a:pt x="350" y="159"/>
                    <a:pt x="470" y="80"/>
                    <a:pt x="471" y="80"/>
                  </a:cubicBezTo>
                  <a:cubicBezTo>
                    <a:pt x="511" y="50"/>
                    <a:pt x="466" y="0"/>
                    <a:pt x="431" y="21"/>
                  </a:cubicBezTo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0" name="íš1íḍe">
              <a:extLst>
                <a:ext uri="{FF2B5EF4-FFF2-40B4-BE49-F238E27FC236}">
                  <a16:creationId xmlns:a16="http://schemas.microsoft.com/office/drawing/2014/main" id="{C152D71F-CABE-426E-B2C2-1D9A8613E983}"/>
                </a:ext>
              </a:extLst>
            </p:cNvPr>
            <p:cNvSpPr/>
            <p:nvPr/>
          </p:nvSpPr>
          <p:spPr bwMode="auto">
            <a:xfrm>
              <a:off x="9149997" y="3328859"/>
              <a:ext cx="151671" cy="213946"/>
            </a:xfrm>
            <a:prstGeom prst="ellipse">
              <a:avLst/>
            </a:pr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1" name="ïṩļiḑé">
              <a:extLst>
                <a:ext uri="{FF2B5EF4-FFF2-40B4-BE49-F238E27FC236}">
                  <a16:creationId xmlns:a16="http://schemas.microsoft.com/office/drawing/2014/main" id="{8E7BB6F1-B25F-4328-9B8B-5E84084D6FDA}"/>
                </a:ext>
              </a:extLst>
            </p:cNvPr>
            <p:cNvSpPr/>
            <p:nvPr/>
          </p:nvSpPr>
          <p:spPr bwMode="auto">
            <a:xfrm>
              <a:off x="9176113" y="3362005"/>
              <a:ext cx="99440" cy="147653"/>
            </a:xfrm>
            <a:custGeom>
              <a:avLst/>
              <a:gdLst>
                <a:gd name="T0" fmla="*/ 12 w 42"/>
                <a:gd name="T1" fmla="*/ 3 h 62"/>
                <a:gd name="T2" fmla="*/ 34 w 42"/>
                <a:gd name="T3" fmla="*/ 9 h 62"/>
                <a:gd name="T4" fmla="*/ 35 w 42"/>
                <a:gd name="T5" fmla="*/ 51 h 62"/>
                <a:gd name="T6" fmla="*/ 10 w 42"/>
                <a:gd name="T7" fmla="*/ 57 h 62"/>
                <a:gd name="T8" fmla="*/ 6 w 42"/>
                <a:gd name="T9" fmla="*/ 42 h 62"/>
                <a:gd name="T10" fmla="*/ 15 w 42"/>
                <a:gd name="T11" fmla="*/ 31 h 62"/>
                <a:gd name="T12" fmla="*/ 7 w 42"/>
                <a:gd name="T13" fmla="*/ 26 h 62"/>
                <a:gd name="T14" fmla="*/ 8 w 42"/>
                <a:gd name="T15" fmla="*/ 8 h 62"/>
                <a:gd name="T16" fmla="*/ 12 w 42"/>
                <a:gd name="T17" fmla="*/ 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62">
                  <a:moveTo>
                    <a:pt x="12" y="3"/>
                  </a:moveTo>
                  <a:cubicBezTo>
                    <a:pt x="14" y="2"/>
                    <a:pt x="26" y="0"/>
                    <a:pt x="34" y="9"/>
                  </a:cubicBezTo>
                  <a:cubicBezTo>
                    <a:pt x="42" y="18"/>
                    <a:pt x="41" y="44"/>
                    <a:pt x="35" y="51"/>
                  </a:cubicBezTo>
                  <a:cubicBezTo>
                    <a:pt x="29" y="59"/>
                    <a:pt x="18" y="62"/>
                    <a:pt x="10" y="57"/>
                  </a:cubicBezTo>
                  <a:cubicBezTo>
                    <a:pt x="3" y="52"/>
                    <a:pt x="0" y="46"/>
                    <a:pt x="6" y="42"/>
                  </a:cubicBezTo>
                  <a:cubicBezTo>
                    <a:pt x="13" y="38"/>
                    <a:pt x="18" y="34"/>
                    <a:pt x="15" y="31"/>
                  </a:cubicBezTo>
                  <a:cubicBezTo>
                    <a:pt x="13" y="27"/>
                    <a:pt x="10" y="29"/>
                    <a:pt x="7" y="26"/>
                  </a:cubicBezTo>
                  <a:cubicBezTo>
                    <a:pt x="4" y="23"/>
                    <a:pt x="6" y="15"/>
                    <a:pt x="8" y="8"/>
                  </a:cubicBezTo>
                  <a:cubicBezTo>
                    <a:pt x="10" y="2"/>
                    <a:pt x="12" y="3"/>
                    <a:pt x="12" y="3"/>
                  </a:cubicBezTo>
                </a:path>
              </a:pathLst>
            </a:custGeom>
            <a:solidFill>
              <a:srgbClr val="F8A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2" name="iŝľiḍé">
              <a:extLst>
                <a:ext uri="{FF2B5EF4-FFF2-40B4-BE49-F238E27FC236}">
                  <a16:creationId xmlns:a16="http://schemas.microsoft.com/office/drawing/2014/main" id="{2C355269-29E6-434D-8A22-F7187BA1B563}"/>
                </a:ext>
              </a:extLst>
            </p:cNvPr>
            <p:cNvSpPr/>
            <p:nvPr/>
          </p:nvSpPr>
          <p:spPr bwMode="auto">
            <a:xfrm>
              <a:off x="7964760" y="3939559"/>
              <a:ext cx="102453" cy="161715"/>
            </a:xfrm>
            <a:custGeom>
              <a:avLst/>
              <a:gdLst>
                <a:gd name="T0" fmla="*/ 39 w 43"/>
                <a:gd name="T1" fmla="*/ 37 h 68"/>
                <a:gd name="T2" fmla="*/ 14 w 43"/>
                <a:gd name="T3" fmla="*/ 4 h 68"/>
                <a:gd name="T4" fmla="*/ 1 w 43"/>
                <a:gd name="T5" fmla="*/ 7 h 68"/>
                <a:gd name="T6" fmla="*/ 19 w 43"/>
                <a:gd name="T7" fmla="*/ 54 h 68"/>
                <a:gd name="T8" fmla="*/ 33 w 43"/>
                <a:gd name="T9" fmla="*/ 60 h 68"/>
                <a:gd name="T10" fmla="*/ 39 w 43"/>
                <a:gd name="T11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68">
                  <a:moveTo>
                    <a:pt x="39" y="37"/>
                  </a:moveTo>
                  <a:cubicBezTo>
                    <a:pt x="36" y="31"/>
                    <a:pt x="17" y="8"/>
                    <a:pt x="14" y="4"/>
                  </a:cubicBezTo>
                  <a:cubicBezTo>
                    <a:pt x="12" y="0"/>
                    <a:pt x="2" y="1"/>
                    <a:pt x="1" y="7"/>
                  </a:cubicBezTo>
                  <a:cubicBezTo>
                    <a:pt x="0" y="12"/>
                    <a:pt x="15" y="47"/>
                    <a:pt x="19" y="54"/>
                  </a:cubicBezTo>
                  <a:cubicBezTo>
                    <a:pt x="23" y="62"/>
                    <a:pt x="23" y="68"/>
                    <a:pt x="33" y="60"/>
                  </a:cubicBezTo>
                  <a:cubicBezTo>
                    <a:pt x="43" y="53"/>
                    <a:pt x="39" y="37"/>
                    <a:pt x="39" y="37"/>
                  </a:cubicBezTo>
                </a:path>
              </a:pathLst>
            </a:custGeom>
            <a:solidFill>
              <a:srgbClr val="FBD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3" name="íśḷîde">
              <a:extLst>
                <a:ext uri="{FF2B5EF4-FFF2-40B4-BE49-F238E27FC236}">
                  <a16:creationId xmlns:a16="http://schemas.microsoft.com/office/drawing/2014/main" id="{4F04FAB8-0AF3-49AC-B5B4-E670B396DBD0}"/>
                </a:ext>
              </a:extLst>
            </p:cNvPr>
            <p:cNvSpPr/>
            <p:nvPr/>
          </p:nvSpPr>
          <p:spPr bwMode="auto">
            <a:xfrm>
              <a:off x="8862728" y="3497606"/>
              <a:ext cx="50221" cy="43191"/>
            </a:xfrm>
            <a:custGeom>
              <a:avLst/>
              <a:gdLst>
                <a:gd name="T0" fmla="*/ 7 w 21"/>
                <a:gd name="T1" fmla="*/ 0 h 18"/>
                <a:gd name="T2" fmla="*/ 19 w 21"/>
                <a:gd name="T3" fmla="*/ 9 h 18"/>
                <a:gd name="T4" fmla="*/ 13 w 21"/>
                <a:gd name="T5" fmla="*/ 18 h 18"/>
                <a:gd name="T6" fmla="*/ 2 w 21"/>
                <a:gd name="T7" fmla="*/ 9 h 18"/>
                <a:gd name="T8" fmla="*/ 7 w 21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8">
                  <a:moveTo>
                    <a:pt x="7" y="0"/>
                  </a:moveTo>
                  <a:cubicBezTo>
                    <a:pt x="12" y="0"/>
                    <a:pt x="17" y="4"/>
                    <a:pt x="19" y="9"/>
                  </a:cubicBezTo>
                  <a:cubicBezTo>
                    <a:pt x="21" y="14"/>
                    <a:pt x="18" y="18"/>
                    <a:pt x="13" y="18"/>
                  </a:cubicBezTo>
                  <a:cubicBezTo>
                    <a:pt x="9" y="18"/>
                    <a:pt x="4" y="14"/>
                    <a:pt x="2" y="9"/>
                  </a:cubicBezTo>
                  <a:cubicBezTo>
                    <a:pt x="0" y="4"/>
                    <a:pt x="2" y="0"/>
                    <a:pt x="7" y="0"/>
                  </a:cubicBezTo>
                </a:path>
              </a:pathLst>
            </a:custGeom>
            <a:solidFill>
              <a:srgbClr val="A156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4" name="íšļíḑé">
              <a:extLst>
                <a:ext uri="{FF2B5EF4-FFF2-40B4-BE49-F238E27FC236}">
                  <a16:creationId xmlns:a16="http://schemas.microsoft.com/office/drawing/2014/main" id="{67DD643B-5516-46B1-87AB-453481AB4D49}"/>
                </a:ext>
              </a:extLst>
            </p:cNvPr>
            <p:cNvSpPr/>
            <p:nvPr/>
          </p:nvSpPr>
          <p:spPr bwMode="auto">
            <a:xfrm>
              <a:off x="8831590" y="3440352"/>
              <a:ext cx="128568" cy="50222"/>
            </a:xfrm>
            <a:custGeom>
              <a:avLst/>
              <a:gdLst>
                <a:gd name="T0" fmla="*/ 0 w 54"/>
                <a:gd name="T1" fmla="*/ 18 h 21"/>
                <a:gd name="T2" fmla="*/ 54 w 54"/>
                <a:gd name="T3" fmla="*/ 21 h 21"/>
                <a:gd name="T4" fmla="*/ 0 w 54"/>
                <a:gd name="T5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" h="21">
                  <a:moveTo>
                    <a:pt x="0" y="18"/>
                  </a:moveTo>
                  <a:cubicBezTo>
                    <a:pt x="5" y="0"/>
                    <a:pt x="52" y="14"/>
                    <a:pt x="54" y="21"/>
                  </a:cubicBezTo>
                  <a:cubicBezTo>
                    <a:pt x="37" y="17"/>
                    <a:pt x="17" y="13"/>
                    <a:pt x="0" y="18"/>
                  </a:cubicBezTo>
                </a:path>
              </a:pathLst>
            </a:custGeom>
            <a:solidFill>
              <a:srgbClr val="A156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5" name="išľiḋê">
              <a:extLst>
                <a:ext uri="{FF2B5EF4-FFF2-40B4-BE49-F238E27FC236}">
                  <a16:creationId xmlns:a16="http://schemas.microsoft.com/office/drawing/2014/main" id="{F4949298-1C56-4F1B-94F8-BEC9C8E4982B}"/>
                </a:ext>
              </a:extLst>
            </p:cNvPr>
            <p:cNvSpPr/>
            <p:nvPr/>
          </p:nvSpPr>
          <p:spPr bwMode="auto">
            <a:xfrm>
              <a:off x="3339319" y="3324842"/>
              <a:ext cx="137608" cy="47209"/>
            </a:xfrm>
            <a:custGeom>
              <a:avLst/>
              <a:gdLst>
                <a:gd name="T0" fmla="*/ 42 w 58"/>
                <a:gd name="T1" fmla="*/ 20 h 20"/>
                <a:gd name="T2" fmla="*/ 0 w 58"/>
                <a:gd name="T3" fmla="*/ 6 h 20"/>
                <a:gd name="T4" fmla="*/ 42 w 58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" h="20">
                  <a:moveTo>
                    <a:pt x="42" y="20"/>
                  </a:moveTo>
                  <a:cubicBezTo>
                    <a:pt x="58" y="6"/>
                    <a:pt x="4" y="0"/>
                    <a:pt x="0" y="6"/>
                  </a:cubicBezTo>
                  <a:cubicBezTo>
                    <a:pt x="16" y="9"/>
                    <a:pt x="29" y="10"/>
                    <a:pt x="42" y="20"/>
                  </a:cubicBezTo>
                </a:path>
              </a:pathLst>
            </a:custGeom>
            <a:solidFill>
              <a:srgbClr val="A156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6" name="iṧḷíḍe">
              <a:extLst>
                <a:ext uri="{FF2B5EF4-FFF2-40B4-BE49-F238E27FC236}">
                  <a16:creationId xmlns:a16="http://schemas.microsoft.com/office/drawing/2014/main" id="{18E8C65C-2BC6-42EF-83D3-2F968E0E40EF}"/>
                </a:ext>
              </a:extLst>
            </p:cNvPr>
            <p:cNvSpPr/>
            <p:nvPr/>
          </p:nvSpPr>
          <p:spPr bwMode="auto">
            <a:xfrm>
              <a:off x="6037241" y="3578964"/>
              <a:ext cx="82364" cy="11049"/>
            </a:xfrm>
            <a:custGeom>
              <a:avLst/>
              <a:gdLst>
                <a:gd name="T0" fmla="*/ 42 w 82"/>
                <a:gd name="T1" fmla="*/ 11 h 11"/>
                <a:gd name="T2" fmla="*/ 82 w 82"/>
                <a:gd name="T3" fmla="*/ 0 h 11"/>
                <a:gd name="T4" fmla="*/ 0 w 82"/>
                <a:gd name="T5" fmla="*/ 0 h 11"/>
                <a:gd name="T6" fmla="*/ 42 w 82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11">
                  <a:moveTo>
                    <a:pt x="42" y="11"/>
                  </a:moveTo>
                  <a:lnTo>
                    <a:pt x="82" y="0"/>
                  </a:lnTo>
                  <a:lnTo>
                    <a:pt x="0" y="0"/>
                  </a:lnTo>
                  <a:lnTo>
                    <a:pt x="42" y="11"/>
                  </a:lnTo>
                  <a:close/>
                </a:path>
              </a:pathLst>
            </a:custGeom>
            <a:solidFill>
              <a:srgbClr val="C5A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7" name="ïSľïďè">
              <a:extLst>
                <a:ext uri="{FF2B5EF4-FFF2-40B4-BE49-F238E27FC236}">
                  <a16:creationId xmlns:a16="http://schemas.microsoft.com/office/drawing/2014/main" id="{58B60A25-E350-474A-96F6-447DDA3224E5}"/>
                </a:ext>
              </a:extLst>
            </p:cNvPr>
            <p:cNvSpPr/>
            <p:nvPr/>
          </p:nvSpPr>
          <p:spPr bwMode="auto">
            <a:xfrm>
              <a:off x="3118343" y="1897533"/>
              <a:ext cx="992386" cy="1020510"/>
            </a:xfrm>
            <a:custGeom>
              <a:avLst/>
              <a:gdLst>
                <a:gd name="T0" fmla="*/ 158 w 418"/>
                <a:gd name="T1" fmla="*/ 412 h 430"/>
                <a:gd name="T2" fmla="*/ 209 w 418"/>
                <a:gd name="T3" fmla="*/ 418 h 430"/>
                <a:gd name="T4" fmla="*/ 418 w 418"/>
                <a:gd name="T5" fmla="*/ 209 h 430"/>
                <a:gd name="T6" fmla="*/ 209 w 418"/>
                <a:gd name="T7" fmla="*/ 0 h 430"/>
                <a:gd name="T8" fmla="*/ 0 w 418"/>
                <a:gd name="T9" fmla="*/ 209 h 430"/>
                <a:gd name="T10" fmla="*/ 84 w 418"/>
                <a:gd name="T11" fmla="*/ 377 h 430"/>
                <a:gd name="T12" fmla="*/ 47 w 418"/>
                <a:gd name="T13" fmla="*/ 430 h 430"/>
                <a:gd name="T14" fmla="*/ 158 w 418"/>
                <a:gd name="T15" fmla="*/ 412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8" h="430">
                  <a:moveTo>
                    <a:pt x="158" y="412"/>
                  </a:moveTo>
                  <a:cubicBezTo>
                    <a:pt x="176" y="417"/>
                    <a:pt x="191" y="418"/>
                    <a:pt x="209" y="418"/>
                  </a:cubicBezTo>
                  <a:cubicBezTo>
                    <a:pt x="324" y="418"/>
                    <a:pt x="418" y="325"/>
                    <a:pt x="418" y="209"/>
                  </a:cubicBezTo>
                  <a:cubicBezTo>
                    <a:pt x="418" y="94"/>
                    <a:pt x="324" y="0"/>
                    <a:pt x="209" y="0"/>
                  </a:cubicBezTo>
                  <a:cubicBezTo>
                    <a:pt x="93" y="0"/>
                    <a:pt x="0" y="94"/>
                    <a:pt x="0" y="209"/>
                  </a:cubicBezTo>
                  <a:cubicBezTo>
                    <a:pt x="0" y="278"/>
                    <a:pt x="33" y="340"/>
                    <a:pt x="84" y="377"/>
                  </a:cubicBezTo>
                  <a:cubicBezTo>
                    <a:pt x="72" y="395"/>
                    <a:pt x="60" y="412"/>
                    <a:pt x="47" y="430"/>
                  </a:cubicBezTo>
                  <a:cubicBezTo>
                    <a:pt x="158" y="412"/>
                    <a:pt x="121" y="418"/>
                    <a:pt x="158" y="412"/>
                  </a:cubicBezTo>
                </a:path>
              </a:pathLst>
            </a:custGeom>
            <a:noFill/>
            <a:ln w="44450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8" name="íSľïḍé">
              <a:extLst>
                <a:ext uri="{FF2B5EF4-FFF2-40B4-BE49-F238E27FC236}">
                  <a16:creationId xmlns:a16="http://schemas.microsoft.com/office/drawing/2014/main" id="{1D29A5E3-C6A4-413A-9E67-BCB74178874A}"/>
                </a:ext>
              </a:extLst>
            </p:cNvPr>
            <p:cNvSpPr/>
            <p:nvPr/>
          </p:nvSpPr>
          <p:spPr bwMode="auto">
            <a:xfrm>
              <a:off x="4251349" y="1958804"/>
              <a:ext cx="994395" cy="1104883"/>
            </a:xfrm>
            <a:custGeom>
              <a:avLst/>
              <a:gdLst>
                <a:gd name="T0" fmla="*/ 236 w 419"/>
                <a:gd name="T1" fmla="*/ 417 h 465"/>
                <a:gd name="T2" fmla="*/ 209 w 419"/>
                <a:gd name="T3" fmla="*/ 419 h 465"/>
                <a:gd name="T4" fmla="*/ 0 w 419"/>
                <a:gd name="T5" fmla="*/ 209 h 465"/>
                <a:gd name="T6" fmla="*/ 209 w 419"/>
                <a:gd name="T7" fmla="*/ 0 h 465"/>
                <a:gd name="T8" fmla="*/ 419 w 419"/>
                <a:gd name="T9" fmla="*/ 209 h 465"/>
                <a:gd name="T10" fmla="*/ 314 w 419"/>
                <a:gd name="T11" fmla="*/ 391 h 465"/>
                <a:gd name="T12" fmla="*/ 344 w 419"/>
                <a:gd name="T13" fmla="*/ 465 h 465"/>
                <a:gd name="T14" fmla="*/ 236 w 419"/>
                <a:gd name="T15" fmla="*/ 41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9" h="465">
                  <a:moveTo>
                    <a:pt x="236" y="417"/>
                  </a:moveTo>
                  <a:cubicBezTo>
                    <a:pt x="227" y="418"/>
                    <a:pt x="219" y="419"/>
                    <a:pt x="209" y="419"/>
                  </a:cubicBezTo>
                  <a:cubicBezTo>
                    <a:pt x="94" y="419"/>
                    <a:pt x="0" y="325"/>
                    <a:pt x="0" y="209"/>
                  </a:cubicBezTo>
                  <a:cubicBezTo>
                    <a:pt x="0" y="94"/>
                    <a:pt x="94" y="0"/>
                    <a:pt x="209" y="0"/>
                  </a:cubicBezTo>
                  <a:cubicBezTo>
                    <a:pt x="325" y="0"/>
                    <a:pt x="419" y="94"/>
                    <a:pt x="419" y="209"/>
                  </a:cubicBezTo>
                  <a:cubicBezTo>
                    <a:pt x="419" y="286"/>
                    <a:pt x="376" y="355"/>
                    <a:pt x="314" y="391"/>
                  </a:cubicBezTo>
                  <a:cubicBezTo>
                    <a:pt x="324" y="415"/>
                    <a:pt x="334" y="440"/>
                    <a:pt x="344" y="465"/>
                  </a:cubicBezTo>
                  <a:cubicBezTo>
                    <a:pt x="236" y="417"/>
                    <a:pt x="272" y="433"/>
                    <a:pt x="236" y="417"/>
                  </a:cubicBezTo>
                </a:path>
              </a:pathLst>
            </a:custGeom>
            <a:noFill/>
            <a:ln w="44450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9" name="ïṥḻïďé">
              <a:extLst>
                <a:ext uri="{FF2B5EF4-FFF2-40B4-BE49-F238E27FC236}">
                  <a16:creationId xmlns:a16="http://schemas.microsoft.com/office/drawing/2014/main" id="{E84CC5C1-DA8A-4819-9107-63A81811EA46}"/>
                </a:ext>
              </a:extLst>
            </p:cNvPr>
            <p:cNvSpPr/>
            <p:nvPr/>
          </p:nvSpPr>
          <p:spPr bwMode="auto">
            <a:xfrm>
              <a:off x="5400427" y="1887488"/>
              <a:ext cx="992386" cy="1171176"/>
            </a:xfrm>
            <a:custGeom>
              <a:avLst/>
              <a:gdLst>
                <a:gd name="T0" fmla="*/ 202 w 418"/>
                <a:gd name="T1" fmla="*/ 419 h 493"/>
                <a:gd name="T2" fmla="*/ 0 w 418"/>
                <a:gd name="T3" fmla="*/ 209 h 493"/>
                <a:gd name="T4" fmla="*/ 209 w 418"/>
                <a:gd name="T5" fmla="*/ 0 h 493"/>
                <a:gd name="T6" fmla="*/ 418 w 418"/>
                <a:gd name="T7" fmla="*/ 209 h 493"/>
                <a:gd name="T8" fmla="*/ 283 w 418"/>
                <a:gd name="T9" fmla="*/ 405 h 493"/>
                <a:gd name="T10" fmla="*/ 282 w 418"/>
                <a:gd name="T11" fmla="*/ 493 h 493"/>
                <a:gd name="T12" fmla="*/ 202 w 418"/>
                <a:gd name="T13" fmla="*/ 419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8" h="493">
                  <a:moveTo>
                    <a:pt x="202" y="419"/>
                  </a:moveTo>
                  <a:cubicBezTo>
                    <a:pt x="89" y="415"/>
                    <a:pt x="0" y="322"/>
                    <a:pt x="0" y="209"/>
                  </a:cubicBezTo>
                  <a:cubicBezTo>
                    <a:pt x="0" y="94"/>
                    <a:pt x="93" y="0"/>
                    <a:pt x="209" y="0"/>
                  </a:cubicBezTo>
                  <a:cubicBezTo>
                    <a:pt x="325" y="0"/>
                    <a:pt x="418" y="94"/>
                    <a:pt x="418" y="209"/>
                  </a:cubicBezTo>
                  <a:cubicBezTo>
                    <a:pt x="418" y="299"/>
                    <a:pt x="361" y="376"/>
                    <a:pt x="283" y="405"/>
                  </a:cubicBezTo>
                  <a:cubicBezTo>
                    <a:pt x="282" y="435"/>
                    <a:pt x="282" y="464"/>
                    <a:pt x="282" y="493"/>
                  </a:cubicBezTo>
                  <a:cubicBezTo>
                    <a:pt x="202" y="419"/>
                    <a:pt x="229" y="444"/>
                    <a:pt x="202" y="419"/>
                  </a:cubicBezTo>
                </a:path>
              </a:pathLst>
            </a:custGeom>
            <a:noFill/>
            <a:ln w="44450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0" name="îṥḻïďé">
              <a:extLst>
                <a:ext uri="{FF2B5EF4-FFF2-40B4-BE49-F238E27FC236}">
                  <a16:creationId xmlns:a16="http://schemas.microsoft.com/office/drawing/2014/main" id="{E256D166-6CB3-4853-8539-F757D4403D95}"/>
                </a:ext>
              </a:extLst>
            </p:cNvPr>
            <p:cNvSpPr/>
            <p:nvPr/>
          </p:nvSpPr>
          <p:spPr bwMode="auto">
            <a:xfrm>
              <a:off x="6822712" y="1840280"/>
              <a:ext cx="995399" cy="1103879"/>
            </a:xfrm>
            <a:custGeom>
              <a:avLst/>
              <a:gdLst>
                <a:gd name="T0" fmla="*/ 132 w 419"/>
                <a:gd name="T1" fmla="*/ 404 h 465"/>
                <a:gd name="T2" fmla="*/ 0 w 419"/>
                <a:gd name="T3" fmla="*/ 210 h 465"/>
                <a:gd name="T4" fmla="*/ 209 w 419"/>
                <a:gd name="T5" fmla="*/ 0 h 465"/>
                <a:gd name="T6" fmla="*/ 419 w 419"/>
                <a:gd name="T7" fmla="*/ 210 h 465"/>
                <a:gd name="T8" fmla="*/ 213 w 419"/>
                <a:gd name="T9" fmla="*/ 419 h 465"/>
                <a:gd name="T10" fmla="*/ 137 w 419"/>
                <a:gd name="T11" fmla="*/ 465 h 465"/>
                <a:gd name="T12" fmla="*/ 132 w 419"/>
                <a:gd name="T13" fmla="*/ 40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9" h="465">
                  <a:moveTo>
                    <a:pt x="132" y="404"/>
                  </a:moveTo>
                  <a:cubicBezTo>
                    <a:pt x="51" y="372"/>
                    <a:pt x="0" y="292"/>
                    <a:pt x="0" y="210"/>
                  </a:cubicBezTo>
                  <a:cubicBezTo>
                    <a:pt x="0" y="94"/>
                    <a:pt x="94" y="0"/>
                    <a:pt x="209" y="0"/>
                  </a:cubicBezTo>
                  <a:cubicBezTo>
                    <a:pt x="325" y="0"/>
                    <a:pt x="419" y="94"/>
                    <a:pt x="419" y="210"/>
                  </a:cubicBezTo>
                  <a:cubicBezTo>
                    <a:pt x="419" y="324"/>
                    <a:pt x="327" y="417"/>
                    <a:pt x="213" y="419"/>
                  </a:cubicBezTo>
                  <a:cubicBezTo>
                    <a:pt x="187" y="434"/>
                    <a:pt x="162" y="450"/>
                    <a:pt x="137" y="465"/>
                  </a:cubicBezTo>
                  <a:cubicBezTo>
                    <a:pt x="132" y="404"/>
                    <a:pt x="134" y="425"/>
                    <a:pt x="132" y="404"/>
                  </a:cubicBezTo>
                </a:path>
              </a:pathLst>
            </a:custGeom>
            <a:noFill/>
            <a:ln w="44450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1" name="iSľîdé">
              <a:extLst>
                <a:ext uri="{FF2B5EF4-FFF2-40B4-BE49-F238E27FC236}">
                  <a16:creationId xmlns:a16="http://schemas.microsoft.com/office/drawing/2014/main" id="{983DC1FB-E594-4F94-A921-0428D4BAB6F3}"/>
                </a:ext>
              </a:extLst>
            </p:cNvPr>
            <p:cNvSpPr/>
            <p:nvPr/>
          </p:nvSpPr>
          <p:spPr bwMode="auto">
            <a:xfrm>
              <a:off x="8057168" y="1942733"/>
              <a:ext cx="995399" cy="1132003"/>
            </a:xfrm>
            <a:custGeom>
              <a:avLst/>
              <a:gdLst>
                <a:gd name="T0" fmla="*/ 211 w 419"/>
                <a:gd name="T1" fmla="*/ 419 h 477"/>
                <a:gd name="T2" fmla="*/ 209 w 419"/>
                <a:gd name="T3" fmla="*/ 419 h 477"/>
                <a:gd name="T4" fmla="*/ 0 w 419"/>
                <a:gd name="T5" fmla="*/ 210 h 477"/>
                <a:gd name="T6" fmla="*/ 209 w 419"/>
                <a:gd name="T7" fmla="*/ 0 h 477"/>
                <a:gd name="T8" fmla="*/ 419 w 419"/>
                <a:gd name="T9" fmla="*/ 210 h 477"/>
                <a:gd name="T10" fmla="*/ 291 w 419"/>
                <a:gd name="T11" fmla="*/ 402 h 477"/>
                <a:gd name="T12" fmla="*/ 296 w 419"/>
                <a:gd name="T13" fmla="*/ 477 h 477"/>
                <a:gd name="T14" fmla="*/ 211 w 419"/>
                <a:gd name="T15" fmla="*/ 419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9" h="477">
                  <a:moveTo>
                    <a:pt x="211" y="419"/>
                  </a:moveTo>
                  <a:cubicBezTo>
                    <a:pt x="210" y="419"/>
                    <a:pt x="210" y="419"/>
                    <a:pt x="209" y="419"/>
                  </a:cubicBezTo>
                  <a:cubicBezTo>
                    <a:pt x="94" y="419"/>
                    <a:pt x="0" y="325"/>
                    <a:pt x="0" y="210"/>
                  </a:cubicBezTo>
                  <a:cubicBezTo>
                    <a:pt x="0" y="94"/>
                    <a:pt x="94" y="0"/>
                    <a:pt x="209" y="0"/>
                  </a:cubicBezTo>
                  <a:cubicBezTo>
                    <a:pt x="325" y="0"/>
                    <a:pt x="419" y="94"/>
                    <a:pt x="419" y="210"/>
                  </a:cubicBezTo>
                  <a:cubicBezTo>
                    <a:pt x="419" y="296"/>
                    <a:pt x="365" y="371"/>
                    <a:pt x="291" y="402"/>
                  </a:cubicBezTo>
                  <a:cubicBezTo>
                    <a:pt x="293" y="427"/>
                    <a:pt x="294" y="452"/>
                    <a:pt x="296" y="477"/>
                  </a:cubicBezTo>
                  <a:cubicBezTo>
                    <a:pt x="211" y="419"/>
                    <a:pt x="239" y="438"/>
                    <a:pt x="211" y="419"/>
                  </a:cubicBezTo>
                </a:path>
              </a:pathLst>
            </a:custGeom>
            <a:noFill/>
            <a:ln w="44450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2" name="ïSḻîďê">
              <a:extLst>
                <a:ext uri="{FF2B5EF4-FFF2-40B4-BE49-F238E27FC236}">
                  <a16:creationId xmlns:a16="http://schemas.microsoft.com/office/drawing/2014/main" id="{E485C5A2-9199-4743-8649-DBBBC6F4DE22}"/>
                </a:ext>
              </a:extLst>
            </p:cNvPr>
            <p:cNvSpPr/>
            <p:nvPr/>
          </p:nvSpPr>
          <p:spPr bwMode="auto">
            <a:xfrm>
              <a:off x="3567326" y="2574524"/>
              <a:ext cx="104462" cy="59263"/>
            </a:xfrm>
            <a:custGeom>
              <a:avLst/>
              <a:gdLst>
                <a:gd name="T0" fmla="*/ 90 w 104"/>
                <a:gd name="T1" fmla="*/ 0 h 59"/>
                <a:gd name="T2" fmla="*/ 104 w 104"/>
                <a:gd name="T3" fmla="*/ 59 h 59"/>
                <a:gd name="T4" fmla="*/ 52 w 104"/>
                <a:gd name="T5" fmla="*/ 59 h 59"/>
                <a:gd name="T6" fmla="*/ 0 w 104"/>
                <a:gd name="T7" fmla="*/ 59 h 59"/>
                <a:gd name="T8" fmla="*/ 12 w 104"/>
                <a:gd name="T9" fmla="*/ 0 h 59"/>
                <a:gd name="T10" fmla="*/ 90 w 104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59">
                  <a:moveTo>
                    <a:pt x="90" y="0"/>
                  </a:moveTo>
                  <a:lnTo>
                    <a:pt x="104" y="59"/>
                  </a:lnTo>
                  <a:lnTo>
                    <a:pt x="52" y="59"/>
                  </a:lnTo>
                  <a:lnTo>
                    <a:pt x="0" y="59"/>
                  </a:lnTo>
                  <a:lnTo>
                    <a:pt x="12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3" name="îṩḻídé">
              <a:extLst>
                <a:ext uri="{FF2B5EF4-FFF2-40B4-BE49-F238E27FC236}">
                  <a16:creationId xmlns:a16="http://schemas.microsoft.com/office/drawing/2014/main" id="{1154E9E8-2E82-4245-9846-A99D37F42A87}"/>
                </a:ext>
              </a:extLst>
            </p:cNvPr>
            <p:cNvSpPr/>
            <p:nvPr/>
          </p:nvSpPr>
          <p:spPr bwMode="auto">
            <a:xfrm>
              <a:off x="3501033" y="2633786"/>
              <a:ext cx="235039" cy="11049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4" name="íśľïḋê">
              <a:extLst>
                <a:ext uri="{FF2B5EF4-FFF2-40B4-BE49-F238E27FC236}">
                  <a16:creationId xmlns:a16="http://schemas.microsoft.com/office/drawing/2014/main" id="{ACFC0DED-778B-4AC7-ACE4-AECCFBE40BB6}"/>
                </a:ext>
              </a:extLst>
            </p:cNvPr>
            <p:cNvSpPr/>
            <p:nvPr/>
          </p:nvSpPr>
          <p:spPr bwMode="auto">
            <a:xfrm>
              <a:off x="3339318" y="2184802"/>
              <a:ext cx="557464" cy="396753"/>
            </a:xfrm>
            <a:custGeom>
              <a:avLst/>
              <a:gdLst>
                <a:gd name="T0" fmla="*/ 9 w 235"/>
                <a:gd name="T1" fmla="*/ 0 h 167"/>
                <a:gd name="T2" fmla="*/ 226 w 235"/>
                <a:gd name="T3" fmla="*/ 0 h 167"/>
                <a:gd name="T4" fmla="*/ 235 w 235"/>
                <a:gd name="T5" fmla="*/ 9 h 167"/>
                <a:gd name="T6" fmla="*/ 235 w 235"/>
                <a:gd name="T7" fmla="*/ 158 h 167"/>
                <a:gd name="T8" fmla="*/ 226 w 235"/>
                <a:gd name="T9" fmla="*/ 167 h 167"/>
                <a:gd name="T10" fmla="*/ 9 w 235"/>
                <a:gd name="T11" fmla="*/ 167 h 167"/>
                <a:gd name="T12" fmla="*/ 0 w 235"/>
                <a:gd name="T13" fmla="*/ 158 h 167"/>
                <a:gd name="T14" fmla="*/ 0 w 235"/>
                <a:gd name="T15" fmla="*/ 9 h 167"/>
                <a:gd name="T16" fmla="*/ 9 w 235"/>
                <a:gd name="T1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5" h="167">
                  <a:moveTo>
                    <a:pt x="9" y="0"/>
                  </a:moveTo>
                  <a:cubicBezTo>
                    <a:pt x="226" y="0"/>
                    <a:pt x="226" y="0"/>
                    <a:pt x="226" y="0"/>
                  </a:cubicBezTo>
                  <a:cubicBezTo>
                    <a:pt x="231" y="0"/>
                    <a:pt x="235" y="4"/>
                    <a:pt x="235" y="9"/>
                  </a:cubicBezTo>
                  <a:cubicBezTo>
                    <a:pt x="235" y="158"/>
                    <a:pt x="235" y="158"/>
                    <a:pt x="235" y="158"/>
                  </a:cubicBezTo>
                  <a:cubicBezTo>
                    <a:pt x="235" y="163"/>
                    <a:pt x="231" y="167"/>
                    <a:pt x="226" y="167"/>
                  </a:cubicBezTo>
                  <a:cubicBezTo>
                    <a:pt x="9" y="167"/>
                    <a:pt x="9" y="167"/>
                    <a:pt x="9" y="167"/>
                  </a:cubicBezTo>
                  <a:cubicBezTo>
                    <a:pt x="4" y="167"/>
                    <a:pt x="0" y="163"/>
                    <a:pt x="0" y="15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5" name="ïsḻiḓê">
              <a:extLst>
                <a:ext uri="{FF2B5EF4-FFF2-40B4-BE49-F238E27FC236}">
                  <a16:creationId xmlns:a16="http://schemas.microsoft.com/office/drawing/2014/main" id="{E20D60EF-4090-4761-BEE8-0DBAACCB3190}"/>
                </a:ext>
              </a:extLst>
            </p:cNvPr>
            <p:cNvSpPr/>
            <p:nvPr/>
          </p:nvSpPr>
          <p:spPr bwMode="auto">
            <a:xfrm>
              <a:off x="3343335" y="2232011"/>
              <a:ext cx="549429" cy="278230"/>
            </a:xfrm>
            <a:prstGeom prst="rect">
              <a:avLst/>
            </a:pr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6" name="iş1ïḓê">
              <a:extLst>
                <a:ext uri="{FF2B5EF4-FFF2-40B4-BE49-F238E27FC236}">
                  <a16:creationId xmlns:a16="http://schemas.microsoft.com/office/drawing/2014/main" id="{A4934571-11B2-44E2-A8B2-5DBA9A327524}"/>
                </a:ext>
              </a:extLst>
            </p:cNvPr>
            <p:cNvSpPr/>
            <p:nvPr/>
          </p:nvSpPr>
          <p:spPr bwMode="auto">
            <a:xfrm>
              <a:off x="3395566" y="2357564"/>
              <a:ext cx="26116" cy="102453"/>
            </a:xfrm>
            <a:prstGeom prst="rect">
              <a:avLst/>
            </a:prstGeom>
            <a:solidFill>
              <a:srgbClr val="6DB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7" name="ïṧḻïďè">
              <a:extLst>
                <a:ext uri="{FF2B5EF4-FFF2-40B4-BE49-F238E27FC236}">
                  <a16:creationId xmlns:a16="http://schemas.microsoft.com/office/drawing/2014/main" id="{48C5D57F-BCBE-438F-949F-91F09B4BA657}"/>
                </a:ext>
              </a:extLst>
            </p:cNvPr>
            <p:cNvSpPr/>
            <p:nvPr/>
          </p:nvSpPr>
          <p:spPr bwMode="auto">
            <a:xfrm>
              <a:off x="3438758" y="2315379"/>
              <a:ext cx="26116" cy="144640"/>
            </a:xfrm>
            <a:custGeom>
              <a:avLst/>
              <a:gdLst>
                <a:gd name="T0" fmla="*/ 0 w 26"/>
                <a:gd name="T1" fmla="*/ 0 h 144"/>
                <a:gd name="T2" fmla="*/ 26 w 26"/>
                <a:gd name="T3" fmla="*/ 0 h 144"/>
                <a:gd name="T4" fmla="*/ 26 w 26"/>
                <a:gd name="T5" fmla="*/ 144 h 144"/>
                <a:gd name="T6" fmla="*/ 2 w 26"/>
                <a:gd name="T7" fmla="*/ 144 h 144"/>
                <a:gd name="T8" fmla="*/ 0 w 26"/>
                <a:gd name="T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44">
                  <a:moveTo>
                    <a:pt x="0" y="0"/>
                  </a:moveTo>
                  <a:lnTo>
                    <a:pt x="26" y="0"/>
                  </a:lnTo>
                  <a:lnTo>
                    <a:pt x="26" y="144"/>
                  </a:lnTo>
                  <a:lnTo>
                    <a:pt x="2" y="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6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8" name="îsḷïḋè">
              <a:extLst>
                <a:ext uri="{FF2B5EF4-FFF2-40B4-BE49-F238E27FC236}">
                  <a16:creationId xmlns:a16="http://schemas.microsoft.com/office/drawing/2014/main" id="{07FA1637-7350-42FB-BA2F-85C81EDCC4F5}"/>
                </a:ext>
              </a:extLst>
            </p:cNvPr>
            <p:cNvSpPr/>
            <p:nvPr/>
          </p:nvSpPr>
          <p:spPr bwMode="auto">
            <a:xfrm>
              <a:off x="3483957" y="2334463"/>
              <a:ext cx="26116" cy="125555"/>
            </a:xfrm>
            <a:prstGeom prst="rect">
              <a:avLst/>
            </a:prstGeom>
            <a:solidFill>
              <a:srgbClr val="EFA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9" name="îṡľíḑé">
              <a:extLst>
                <a:ext uri="{FF2B5EF4-FFF2-40B4-BE49-F238E27FC236}">
                  <a16:creationId xmlns:a16="http://schemas.microsoft.com/office/drawing/2014/main" id="{77531A4D-780E-430F-85C7-B7526E3B2E46}"/>
                </a:ext>
              </a:extLst>
            </p:cNvPr>
            <p:cNvSpPr/>
            <p:nvPr/>
          </p:nvSpPr>
          <p:spPr bwMode="auto">
            <a:xfrm>
              <a:off x="3527148" y="2364597"/>
              <a:ext cx="26116" cy="95422"/>
            </a:xfrm>
            <a:prstGeom prst="rect">
              <a:avLst/>
            </a:prstGeom>
            <a:solidFill>
              <a:srgbClr val="6DB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0" name="íṡḷîḑê">
              <a:extLst>
                <a:ext uri="{FF2B5EF4-FFF2-40B4-BE49-F238E27FC236}">
                  <a16:creationId xmlns:a16="http://schemas.microsoft.com/office/drawing/2014/main" id="{BC578680-31A2-47BE-A95F-3367F910DC22}"/>
                </a:ext>
              </a:extLst>
            </p:cNvPr>
            <p:cNvSpPr/>
            <p:nvPr/>
          </p:nvSpPr>
          <p:spPr bwMode="auto">
            <a:xfrm>
              <a:off x="3569335" y="2334463"/>
              <a:ext cx="26116" cy="125555"/>
            </a:xfrm>
            <a:prstGeom prst="rect">
              <a:avLst/>
            </a:prstGeom>
            <a:solidFill>
              <a:srgbClr val="EB6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1" name="îṧlïḑê">
              <a:extLst>
                <a:ext uri="{FF2B5EF4-FFF2-40B4-BE49-F238E27FC236}">
                  <a16:creationId xmlns:a16="http://schemas.microsoft.com/office/drawing/2014/main" id="{1BCD4694-9A84-40D9-99E7-0044FCC06A81}"/>
                </a:ext>
              </a:extLst>
            </p:cNvPr>
            <p:cNvSpPr/>
            <p:nvPr/>
          </p:nvSpPr>
          <p:spPr bwMode="auto">
            <a:xfrm>
              <a:off x="3614535" y="2310357"/>
              <a:ext cx="24107" cy="149661"/>
            </a:xfrm>
            <a:prstGeom prst="rect">
              <a:avLst/>
            </a:prstGeom>
            <a:solidFill>
              <a:srgbClr val="EFA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2" name="ïşḷïḍè">
              <a:extLst>
                <a:ext uri="{FF2B5EF4-FFF2-40B4-BE49-F238E27FC236}">
                  <a16:creationId xmlns:a16="http://schemas.microsoft.com/office/drawing/2014/main" id="{A0A2D536-BECB-4592-8C44-96D484ECAFD5}"/>
                </a:ext>
              </a:extLst>
            </p:cNvPr>
            <p:cNvSpPr/>
            <p:nvPr/>
          </p:nvSpPr>
          <p:spPr bwMode="auto">
            <a:xfrm>
              <a:off x="3657726" y="2284241"/>
              <a:ext cx="26116" cy="175777"/>
            </a:xfrm>
            <a:prstGeom prst="rect">
              <a:avLst/>
            </a:prstGeom>
            <a:solidFill>
              <a:srgbClr val="6DB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3" name="îṥľïde">
              <a:extLst>
                <a:ext uri="{FF2B5EF4-FFF2-40B4-BE49-F238E27FC236}">
                  <a16:creationId xmlns:a16="http://schemas.microsoft.com/office/drawing/2014/main" id="{30764EC3-880D-45DE-9B23-C09912AF4A79}"/>
                </a:ext>
              </a:extLst>
            </p:cNvPr>
            <p:cNvSpPr/>
            <p:nvPr/>
          </p:nvSpPr>
          <p:spPr bwMode="auto">
            <a:xfrm>
              <a:off x="3699912" y="2320401"/>
              <a:ext cx="26116" cy="139617"/>
            </a:xfrm>
            <a:prstGeom prst="rect">
              <a:avLst/>
            </a:prstGeom>
            <a:solidFill>
              <a:srgbClr val="EB6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4" name="iSḷíḑè">
              <a:extLst>
                <a:ext uri="{FF2B5EF4-FFF2-40B4-BE49-F238E27FC236}">
                  <a16:creationId xmlns:a16="http://schemas.microsoft.com/office/drawing/2014/main" id="{F065D780-B698-4A94-A95B-A77C88AA6E26}"/>
                </a:ext>
              </a:extLst>
            </p:cNvPr>
            <p:cNvSpPr/>
            <p:nvPr/>
          </p:nvSpPr>
          <p:spPr bwMode="auto">
            <a:xfrm>
              <a:off x="3743104" y="2348526"/>
              <a:ext cx="26116" cy="111493"/>
            </a:xfrm>
            <a:prstGeom prst="rect">
              <a:avLst/>
            </a:prstGeom>
            <a:solidFill>
              <a:srgbClr val="EFA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5" name="íṧlíḍè">
              <a:extLst>
                <a:ext uri="{FF2B5EF4-FFF2-40B4-BE49-F238E27FC236}">
                  <a16:creationId xmlns:a16="http://schemas.microsoft.com/office/drawing/2014/main" id="{105A21BF-C02B-4228-8F16-9D8EF8264B58}"/>
                </a:ext>
              </a:extLst>
            </p:cNvPr>
            <p:cNvSpPr/>
            <p:nvPr/>
          </p:nvSpPr>
          <p:spPr bwMode="auto">
            <a:xfrm>
              <a:off x="3842544" y="2296294"/>
              <a:ext cx="28124" cy="16071"/>
            </a:xfrm>
            <a:custGeom>
              <a:avLst/>
              <a:gdLst>
                <a:gd name="T0" fmla="*/ 0 w 12"/>
                <a:gd name="T1" fmla="*/ 0 h 7"/>
                <a:gd name="T2" fmla="*/ 10 w 12"/>
                <a:gd name="T3" fmla="*/ 7 h 7"/>
                <a:gd name="T4" fmla="*/ 12 w 12"/>
                <a:gd name="T5" fmla="*/ 1 h 7"/>
                <a:gd name="T6" fmla="*/ 12 w 12"/>
                <a:gd name="T7" fmla="*/ 1 h 7"/>
                <a:gd name="T8" fmla="*/ 0 w 1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0" y="0"/>
                  </a:moveTo>
                  <a:cubicBezTo>
                    <a:pt x="10" y="7"/>
                    <a:pt x="10" y="7"/>
                    <a:pt x="10" y="7"/>
                  </a:cubicBezTo>
                  <a:cubicBezTo>
                    <a:pt x="11" y="5"/>
                    <a:pt x="12" y="3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B6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6" name="i$lïde">
              <a:extLst>
                <a:ext uri="{FF2B5EF4-FFF2-40B4-BE49-F238E27FC236}">
                  <a16:creationId xmlns:a16="http://schemas.microsoft.com/office/drawing/2014/main" id="{E346C2DB-B5AD-4B8D-A205-2A1060C4BBC3}"/>
                </a:ext>
              </a:extLst>
            </p:cNvPr>
            <p:cNvSpPr/>
            <p:nvPr/>
          </p:nvSpPr>
          <p:spPr bwMode="auto">
            <a:xfrm>
              <a:off x="3842544" y="2268170"/>
              <a:ext cx="31138" cy="30133"/>
            </a:xfrm>
            <a:custGeom>
              <a:avLst/>
              <a:gdLst>
                <a:gd name="T0" fmla="*/ 0 w 13"/>
                <a:gd name="T1" fmla="*/ 12 h 13"/>
                <a:gd name="T2" fmla="*/ 12 w 13"/>
                <a:gd name="T3" fmla="*/ 13 h 13"/>
                <a:gd name="T4" fmla="*/ 0 w 13"/>
                <a:gd name="T5" fmla="*/ 0 h 13"/>
                <a:gd name="T6" fmla="*/ 0 w 13"/>
                <a:gd name="T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">
                  <a:moveTo>
                    <a:pt x="0" y="12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3" y="6"/>
                    <a:pt x="7" y="0"/>
                    <a:pt x="0" y="0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EFA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7" name="iŝļïďè">
              <a:extLst>
                <a:ext uri="{FF2B5EF4-FFF2-40B4-BE49-F238E27FC236}">
                  <a16:creationId xmlns:a16="http://schemas.microsoft.com/office/drawing/2014/main" id="{918C3350-200A-44FD-8EC5-F422577F9065}"/>
                </a:ext>
              </a:extLst>
            </p:cNvPr>
            <p:cNvSpPr/>
            <p:nvPr/>
          </p:nvSpPr>
          <p:spPr bwMode="auto">
            <a:xfrm>
              <a:off x="3811405" y="2265156"/>
              <a:ext cx="55244" cy="62275"/>
            </a:xfrm>
            <a:custGeom>
              <a:avLst/>
              <a:gdLst>
                <a:gd name="T0" fmla="*/ 13 w 23"/>
                <a:gd name="T1" fmla="*/ 13 h 26"/>
                <a:gd name="T2" fmla="*/ 13 w 23"/>
                <a:gd name="T3" fmla="*/ 1 h 26"/>
                <a:gd name="T4" fmla="*/ 1 w 23"/>
                <a:gd name="T5" fmla="*/ 13 h 26"/>
                <a:gd name="T6" fmla="*/ 13 w 23"/>
                <a:gd name="T7" fmla="*/ 26 h 26"/>
                <a:gd name="T8" fmla="*/ 23 w 23"/>
                <a:gd name="T9" fmla="*/ 20 h 26"/>
                <a:gd name="T10" fmla="*/ 13 w 23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6">
                  <a:moveTo>
                    <a:pt x="13" y="13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7" y="0"/>
                    <a:pt x="1" y="6"/>
                    <a:pt x="1" y="13"/>
                  </a:cubicBezTo>
                  <a:cubicBezTo>
                    <a:pt x="0" y="20"/>
                    <a:pt x="6" y="25"/>
                    <a:pt x="13" y="26"/>
                  </a:cubicBezTo>
                  <a:cubicBezTo>
                    <a:pt x="17" y="26"/>
                    <a:pt x="21" y="24"/>
                    <a:pt x="23" y="20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solidFill>
              <a:srgbClr val="6DB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8" name="ïṣḻiḓe">
              <a:extLst>
                <a:ext uri="{FF2B5EF4-FFF2-40B4-BE49-F238E27FC236}">
                  <a16:creationId xmlns:a16="http://schemas.microsoft.com/office/drawing/2014/main" id="{2148961F-235D-4F84-B21B-9B2948D1EE4B}"/>
                </a:ext>
              </a:extLst>
            </p:cNvPr>
            <p:cNvSpPr/>
            <p:nvPr/>
          </p:nvSpPr>
          <p:spPr bwMode="auto">
            <a:xfrm>
              <a:off x="3811405" y="2414818"/>
              <a:ext cx="62275" cy="59262"/>
            </a:xfrm>
            <a:custGeom>
              <a:avLst/>
              <a:gdLst>
                <a:gd name="T0" fmla="*/ 13 w 26"/>
                <a:gd name="T1" fmla="*/ 0 h 25"/>
                <a:gd name="T2" fmla="*/ 1 w 26"/>
                <a:gd name="T3" fmla="*/ 12 h 25"/>
                <a:gd name="T4" fmla="*/ 13 w 26"/>
                <a:gd name="T5" fmla="*/ 25 h 25"/>
                <a:gd name="T6" fmla="*/ 23 w 26"/>
                <a:gd name="T7" fmla="*/ 20 h 25"/>
                <a:gd name="T8" fmla="*/ 25 w 26"/>
                <a:gd name="T9" fmla="*/ 13 h 25"/>
                <a:gd name="T10" fmla="*/ 25 w 26"/>
                <a:gd name="T11" fmla="*/ 13 h 25"/>
                <a:gd name="T12" fmla="*/ 13 w 26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13" y="0"/>
                  </a:moveTo>
                  <a:cubicBezTo>
                    <a:pt x="7" y="0"/>
                    <a:pt x="1" y="5"/>
                    <a:pt x="1" y="12"/>
                  </a:cubicBezTo>
                  <a:cubicBezTo>
                    <a:pt x="0" y="19"/>
                    <a:pt x="6" y="25"/>
                    <a:pt x="13" y="25"/>
                  </a:cubicBezTo>
                  <a:cubicBezTo>
                    <a:pt x="17" y="25"/>
                    <a:pt x="21" y="23"/>
                    <a:pt x="23" y="20"/>
                  </a:cubicBezTo>
                  <a:cubicBezTo>
                    <a:pt x="24" y="18"/>
                    <a:pt x="25" y="15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6"/>
                    <a:pt x="20" y="0"/>
                    <a:pt x="13" y="0"/>
                  </a:cubicBezTo>
                </a:path>
              </a:pathLst>
            </a:custGeom>
            <a:solidFill>
              <a:srgbClr val="6DB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9" name="íṡlîḍé">
              <a:extLst>
                <a:ext uri="{FF2B5EF4-FFF2-40B4-BE49-F238E27FC236}">
                  <a16:creationId xmlns:a16="http://schemas.microsoft.com/office/drawing/2014/main" id="{7E90812B-B5F3-4118-96A9-1107E91948DE}"/>
                </a:ext>
              </a:extLst>
            </p:cNvPr>
            <p:cNvSpPr/>
            <p:nvPr/>
          </p:nvSpPr>
          <p:spPr bwMode="auto">
            <a:xfrm>
              <a:off x="3814419" y="2442942"/>
              <a:ext cx="45200" cy="31138"/>
            </a:xfrm>
            <a:custGeom>
              <a:avLst/>
              <a:gdLst>
                <a:gd name="T0" fmla="*/ 19 w 19"/>
                <a:gd name="T1" fmla="*/ 11 h 13"/>
                <a:gd name="T2" fmla="*/ 12 w 19"/>
                <a:gd name="T3" fmla="*/ 0 h 13"/>
                <a:gd name="T4" fmla="*/ 0 w 19"/>
                <a:gd name="T5" fmla="*/ 4 h 13"/>
                <a:gd name="T6" fmla="*/ 12 w 19"/>
                <a:gd name="T7" fmla="*/ 13 h 13"/>
                <a:gd name="T8" fmla="*/ 19 w 19"/>
                <a:gd name="T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3">
                  <a:moveTo>
                    <a:pt x="19" y="11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9"/>
                    <a:pt x="6" y="13"/>
                    <a:pt x="12" y="13"/>
                  </a:cubicBezTo>
                  <a:cubicBezTo>
                    <a:pt x="14" y="13"/>
                    <a:pt x="17" y="12"/>
                    <a:pt x="19" y="11"/>
                  </a:cubicBezTo>
                </a:path>
              </a:pathLst>
            </a:custGeom>
            <a:solidFill>
              <a:srgbClr val="EB6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0" name="iślïḑé">
              <a:extLst>
                <a:ext uri="{FF2B5EF4-FFF2-40B4-BE49-F238E27FC236}">
                  <a16:creationId xmlns:a16="http://schemas.microsoft.com/office/drawing/2014/main" id="{9B8F200E-1F34-4640-A6DD-DB2CD9AC5A35}"/>
                </a:ext>
              </a:extLst>
            </p:cNvPr>
            <p:cNvSpPr/>
            <p:nvPr/>
          </p:nvSpPr>
          <p:spPr bwMode="auto">
            <a:xfrm>
              <a:off x="3842544" y="2424862"/>
              <a:ext cx="28124" cy="44195"/>
            </a:xfrm>
            <a:custGeom>
              <a:avLst/>
              <a:gdLst>
                <a:gd name="T0" fmla="*/ 0 w 12"/>
                <a:gd name="T1" fmla="*/ 8 h 19"/>
                <a:gd name="T2" fmla="*/ 7 w 12"/>
                <a:gd name="T3" fmla="*/ 19 h 19"/>
                <a:gd name="T4" fmla="*/ 12 w 12"/>
                <a:gd name="T5" fmla="*/ 9 h 19"/>
                <a:gd name="T6" fmla="*/ 9 w 12"/>
                <a:gd name="T7" fmla="*/ 0 h 19"/>
                <a:gd name="T8" fmla="*/ 0 w 12"/>
                <a:gd name="T9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">
                  <a:moveTo>
                    <a:pt x="0" y="8"/>
                  </a:moveTo>
                  <a:cubicBezTo>
                    <a:pt x="7" y="19"/>
                    <a:pt x="7" y="19"/>
                    <a:pt x="7" y="19"/>
                  </a:cubicBezTo>
                  <a:cubicBezTo>
                    <a:pt x="10" y="17"/>
                    <a:pt x="12" y="13"/>
                    <a:pt x="12" y="9"/>
                  </a:cubicBezTo>
                  <a:cubicBezTo>
                    <a:pt x="12" y="6"/>
                    <a:pt x="11" y="3"/>
                    <a:pt x="9" y="0"/>
                  </a:cubicBezTo>
                  <a:cubicBezTo>
                    <a:pt x="0" y="8"/>
                    <a:pt x="0" y="8"/>
                    <a:pt x="0" y="8"/>
                  </a:cubicBezTo>
                  <a:close/>
                </a:path>
              </a:pathLst>
            </a:custGeom>
            <a:solidFill>
              <a:srgbClr val="EFA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1" name="îṥľíḓe">
              <a:extLst>
                <a:ext uri="{FF2B5EF4-FFF2-40B4-BE49-F238E27FC236}">
                  <a16:creationId xmlns:a16="http://schemas.microsoft.com/office/drawing/2014/main" id="{12440FE2-4FF3-41CD-B4C3-2F157ED7DE14}"/>
                </a:ext>
              </a:extLst>
            </p:cNvPr>
            <p:cNvSpPr/>
            <p:nvPr/>
          </p:nvSpPr>
          <p:spPr bwMode="auto">
            <a:xfrm>
              <a:off x="3811405" y="2341494"/>
              <a:ext cx="62275" cy="59262"/>
            </a:xfrm>
            <a:custGeom>
              <a:avLst/>
              <a:gdLst>
                <a:gd name="T0" fmla="*/ 13 w 26"/>
                <a:gd name="T1" fmla="*/ 0 h 25"/>
                <a:gd name="T2" fmla="*/ 1 w 26"/>
                <a:gd name="T3" fmla="*/ 12 h 25"/>
                <a:gd name="T4" fmla="*/ 13 w 26"/>
                <a:gd name="T5" fmla="*/ 25 h 25"/>
                <a:gd name="T6" fmla="*/ 23 w 26"/>
                <a:gd name="T7" fmla="*/ 19 h 25"/>
                <a:gd name="T8" fmla="*/ 25 w 26"/>
                <a:gd name="T9" fmla="*/ 13 h 25"/>
                <a:gd name="T10" fmla="*/ 25 w 26"/>
                <a:gd name="T11" fmla="*/ 13 h 25"/>
                <a:gd name="T12" fmla="*/ 13 w 26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13" y="0"/>
                  </a:moveTo>
                  <a:cubicBezTo>
                    <a:pt x="7" y="0"/>
                    <a:pt x="1" y="5"/>
                    <a:pt x="1" y="12"/>
                  </a:cubicBezTo>
                  <a:cubicBezTo>
                    <a:pt x="0" y="19"/>
                    <a:pt x="6" y="24"/>
                    <a:pt x="13" y="25"/>
                  </a:cubicBezTo>
                  <a:cubicBezTo>
                    <a:pt x="17" y="25"/>
                    <a:pt x="21" y="23"/>
                    <a:pt x="23" y="19"/>
                  </a:cubicBezTo>
                  <a:cubicBezTo>
                    <a:pt x="24" y="18"/>
                    <a:pt x="25" y="15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6"/>
                    <a:pt x="20" y="0"/>
                    <a:pt x="13" y="0"/>
                  </a:cubicBezTo>
                </a:path>
              </a:pathLst>
            </a:custGeom>
            <a:solidFill>
              <a:srgbClr val="6DB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2" name="iṣļíḓè">
              <a:extLst>
                <a:ext uri="{FF2B5EF4-FFF2-40B4-BE49-F238E27FC236}">
                  <a16:creationId xmlns:a16="http://schemas.microsoft.com/office/drawing/2014/main" id="{84B66CA7-BA29-4D4B-AEC2-AE19ACF1A801}"/>
                </a:ext>
              </a:extLst>
            </p:cNvPr>
            <p:cNvSpPr/>
            <p:nvPr/>
          </p:nvSpPr>
          <p:spPr bwMode="auto">
            <a:xfrm>
              <a:off x="3842544" y="2341494"/>
              <a:ext cx="28124" cy="28124"/>
            </a:xfrm>
            <a:custGeom>
              <a:avLst/>
              <a:gdLst>
                <a:gd name="T0" fmla="*/ 0 w 12"/>
                <a:gd name="T1" fmla="*/ 0 h 12"/>
                <a:gd name="T2" fmla="*/ 0 w 12"/>
                <a:gd name="T3" fmla="*/ 12 h 12"/>
                <a:gd name="T4" fmla="*/ 0 w 12"/>
                <a:gd name="T5" fmla="*/ 12 h 12"/>
                <a:gd name="T6" fmla="*/ 0 w 12"/>
                <a:gd name="T7" fmla="*/ 12 h 12"/>
                <a:gd name="T8" fmla="*/ 12 w 12"/>
                <a:gd name="T9" fmla="*/ 9 h 12"/>
                <a:gd name="T10" fmla="*/ 0 w 12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0" y="4"/>
                    <a:pt x="6" y="0"/>
                    <a:pt x="0" y="0"/>
                  </a:cubicBezTo>
                </a:path>
              </a:pathLst>
            </a:custGeom>
            <a:solidFill>
              <a:srgbClr val="EFA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3" name="îṡ1îḑê">
              <a:extLst>
                <a:ext uri="{FF2B5EF4-FFF2-40B4-BE49-F238E27FC236}">
                  <a16:creationId xmlns:a16="http://schemas.microsoft.com/office/drawing/2014/main" id="{08732417-4C7F-414E-A09B-171C2D926220}"/>
                </a:ext>
              </a:extLst>
            </p:cNvPr>
            <p:cNvSpPr/>
            <p:nvPr/>
          </p:nvSpPr>
          <p:spPr bwMode="auto">
            <a:xfrm>
              <a:off x="3821450" y="2362588"/>
              <a:ext cx="49218" cy="38169"/>
            </a:xfrm>
            <a:custGeom>
              <a:avLst/>
              <a:gdLst>
                <a:gd name="T0" fmla="*/ 21 w 21"/>
                <a:gd name="T1" fmla="*/ 0 h 16"/>
                <a:gd name="T2" fmla="*/ 9 w 21"/>
                <a:gd name="T3" fmla="*/ 3 h 16"/>
                <a:gd name="T4" fmla="*/ 9 w 21"/>
                <a:gd name="T5" fmla="*/ 3 h 16"/>
                <a:gd name="T6" fmla="*/ 0 w 21"/>
                <a:gd name="T7" fmla="*/ 12 h 16"/>
                <a:gd name="T8" fmla="*/ 9 w 21"/>
                <a:gd name="T9" fmla="*/ 16 h 16"/>
                <a:gd name="T10" fmla="*/ 18 w 21"/>
                <a:gd name="T11" fmla="*/ 11 h 16"/>
                <a:gd name="T12" fmla="*/ 21 w 21"/>
                <a:gd name="T13" fmla="*/ 4 h 16"/>
                <a:gd name="T14" fmla="*/ 21 w 21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6">
                  <a:moveTo>
                    <a:pt x="21" y="0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14"/>
                    <a:pt x="5" y="16"/>
                    <a:pt x="9" y="16"/>
                  </a:cubicBezTo>
                  <a:cubicBezTo>
                    <a:pt x="12" y="16"/>
                    <a:pt x="16" y="14"/>
                    <a:pt x="18" y="11"/>
                  </a:cubicBezTo>
                  <a:cubicBezTo>
                    <a:pt x="20" y="9"/>
                    <a:pt x="21" y="7"/>
                    <a:pt x="21" y="4"/>
                  </a:cubicBezTo>
                  <a:cubicBezTo>
                    <a:pt x="21" y="2"/>
                    <a:pt x="21" y="1"/>
                    <a:pt x="21" y="0"/>
                  </a:cubicBezTo>
                </a:path>
              </a:pathLst>
            </a:custGeom>
            <a:solidFill>
              <a:srgbClr val="EB6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4" name="í$1ide">
              <a:extLst>
                <a:ext uri="{FF2B5EF4-FFF2-40B4-BE49-F238E27FC236}">
                  <a16:creationId xmlns:a16="http://schemas.microsoft.com/office/drawing/2014/main" id="{54A8EAE7-656F-4059-A727-1A2C6F725275}"/>
                </a:ext>
              </a:extLst>
            </p:cNvPr>
            <p:cNvSpPr/>
            <p:nvPr/>
          </p:nvSpPr>
          <p:spPr bwMode="auto">
            <a:xfrm>
              <a:off x="5839368" y="2540375"/>
              <a:ext cx="114506" cy="17076"/>
            </a:xfrm>
            <a:custGeom>
              <a:avLst/>
              <a:gdLst>
                <a:gd name="T0" fmla="*/ 24 w 48"/>
                <a:gd name="T1" fmla="*/ 0 h 7"/>
                <a:gd name="T2" fmla="*/ 45 w 48"/>
                <a:gd name="T3" fmla="*/ 0 h 7"/>
                <a:gd name="T4" fmla="*/ 45 w 48"/>
                <a:gd name="T5" fmla="*/ 7 h 7"/>
                <a:gd name="T6" fmla="*/ 24 w 48"/>
                <a:gd name="T7" fmla="*/ 7 h 7"/>
                <a:gd name="T8" fmla="*/ 24 w 48"/>
                <a:gd name="T9" fmla="*/ 7 h 7"/>
                <a:gd name="T10" fmla="*/ 2 w 48"/>
                <a:gd name="T11" fmla="*/ 7 h 7"/>
                <a:gd name="T12" fmla="*/ 2 w 48"/>
                <a:gd name="T13" fmla="*/ 0 h 7"/>
                <a:gd name="T14" fmla="*/ 24 w 48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">
                  <a:moveTo>
                    <a:pt x="24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6" y="0"/>
                    <a:pt x="48" y="4"/>
                    <a:pt x="45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4"/>
                    <a:pt x="2" y="0"/>
                    <a:pt x="2" y="0"/>
                  </a:cubicBezTo>
                  <a:cubicBezTo>
                    <a:pt x="24" y="0"/>
                    <a:pt x="24" y="0"/>
                    <a:pt x="24" y="0"/>
                  </a:cubicBez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5" name="iŝḷîḓé">
              <a:extLst>
                <a:ext uri="{FF2B5EF4-FFF2-40B4-BE49-F238E27FC236}">
                  <a16:creationId xmlns:a16="http://schemas.microsoft.com/office/drawing/2014/main" id="{AF43AB57-F698-4D3D-A217-54AE0ACFE994}"/>
                </a:ext>
              </a:extLst>
            </p:cNvPr>
            <p:cNvSpPr/>
            <p:nvPr/>
          </p:nvSpPr>
          <p:spPr bwMode="auto">
            <a:xfrm>
              <a:off x="5766044" y="2230003"/>
              <a:ext cx="261155" cy="301332"/>
            </a:xfrm>
            <a:custGeom>
              <a:avLst/>
              <a:gdLst>
                <a:gd name="T0" fmla="*/ 55 w 110"/>
                <a:gd name="T1" fmla="*/ 0 h 127"/>
                <a:gd name="T2" fmla="*/ 96 w 110"/>
                <a:gd name="T3" fmla="*/ 17 h 127"/>
                <a:gd name="T4" fmla="*/ 109 w 110"/>
                <a:gd name="T5" fmla="*/ 57 h 127"/>
                <a:gd name="T6" fmla="*/ 98 w 110"/>
                <a:gd name="T7" fmla="*/ 84 h 127"/>
                <a:gd name="T8" fmla="*/ 79 w 110"/>
                <a:gd name="T9" fmla="*/ 127 h 127"/>
                <a:gd name="T10" fmla="*/ 55 w 110"/>
                <a:gd name="T11" fmla="*/ 127 h 127"/>
                <a:gd name="T12" fmla="*/ 55 w 110"/>
                <a:gd name="T13" fmla="*/ 127 h 127"/>
                <a:gd name="T14" fmla="*/ 31 w 110"/>
                <a:gd name="T15" fmla="*/ 127 h 127"/>
                <a:gd name="T16" fmla="*/ 12 w 110"/>
                <a:gd name="T17" fmla="*/ 84 h 127"/>
                <a:gd name="T18" fmla="*/ 1 w 110"/>
                <a:gd name="T19" fmla="*/ 57 h 127"/>
                <a:gd name="T20" fmla="*/ 14 w 110"/>
                <a:gd name="T21" fmla="*/ 17 h 127"/>
                <a:gd name="T22" fmla="*/ 55 w 110"/>
                <a:gd name="T23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0" h="127">
                  <a:moveTo>
                    <a:pt x="55" y="0"/>
                  </a:moveTo>
                  <a:cubicBezTo>
                    <a:pt x="58" y="0"/>
                    <a:pt x="81" y="1"/>
                    <a:pt x="96" y="17"/>
                  </a:cubicBezTo>
                  <a:cubicBezTo>
                    <a:pt x="105" y="27"/>
                    <a:pt x="110" y="40"/>
                    <a:pt x="109" y="57"/>
                  </a:cubicBezTo>
                  <a:cubicBezTo>
                    <a:pt x="109" y="57"/>
                    <a:pt x="109" y="71"/>
                    <a:pt x="98" y="84"/>
                  </a:cubicBezTo>
                  <a:cubicBezTo>
                    <a:pt x="97" y="84"/>
                    <a:pt x="79" y="104"/>
                    <a:pt x="79" y="127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04"/>
                    <a:pt x="13" y="84"/>
                    <a:pt x="12" y="84"/>
                  </a:cubicBezTo>
                  <a:cubicBezTo>
                    <a:pt x="1" y="71"/>
                    <a:pt x="1" y="57"/>
                    <a:pt x="1" y="57"/>
                  </a:cubicBezTo>
                  <a:cubicBezTo>
                    <a:pt x="0" y="40"/>
                    <a:pt x="5" y="27"/>
                    <a:pt x="14" y="17"/>
                  </a:cubicBezTo>
                  <a:cubicBezTo>
                    <a:pt x="29" y="1"/>
                    <a:pt x="52" y="0"/>
                    <a:pt x="55" y="0"/>
                  </a:cubicBezTo>
                  <a:close/>
                </a:path>
              </a:pathLst>
            </a:custGeom>
            <a:solidFill>
              <a:srgbClr val="FFCA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6" name="ïṡ1ïḋè">
              <a:extLst>
                <a:ext uri="{FF2B5EF4-FFF2-40B4-BE49-F238E27FC236}">
                  <a16:creationId xmlns:a16="http://schemas.microsoft.com/office/drawing/2014/main" id="{24986E63-E9B0-4325-941A-23456F81F9FE}"/>
                </a:ext>
              </a:extLst>
            </p:cNvPr>
            <p:cNvSpPr/>
            <p:nvPr/>
          </p:nvSpPr>
          <p:spPr bwMode="auto">
            <a:xfrm>
              <a:off x="5839368" y="2562472"/>
              <a:ext cx="114506" cy="16071"/>
            </a:xfrm>
            <a:custGeom>
              <a:avLst/>
              <a:gdLst>
                <a:gd name="T0" fmla="*/ 24 w 48"/>
                <a:gd name="T1" fmla="*/ 0 h 7"/>
                <a:gd name="T2" fmla="*/ 45 w 48"/>
                <a:gd name="T3" fmla="*/ 0 h 7"/>
                <a:gd name="T4" fmla="*/ 45 w 48"/>
                <a:gd name="T5" fmla="*/ 7 h 7"/>
                <a:gd name="T6" fmla="*/ 24 w 48"/>
                <a:gd name="T7" fmla="*/ 7 h 7"/>
                <a:gd name="T8" fmla="*/ 24 w 48"/>
                <a:gd name="T9" fmla="*/ 7 h 7"/>
                <a:gd name="T10" fmla="*/ 2 w 48"/>
                <a:gd name="T11" fmla="*/ 7 h 7"/>
                <a:gd name="T12" fmla="*/ 2 w 48"/>
                <a:gd name="T13" fmla="*/ 0 h 7"/>
                <a:gd name="T14" fmla="*/ 24 w 48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">
                  <a:moveTo>
                    <a:pt x="24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6" y="0"/>
                    <a:pt x="48" y="4"/>
                    <a:pt x="45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4"/>
                    <a:pt x="2" y="0"/>
                    <a:pt x="2" y="0"/>
                  </a:cubicBezTo>
                  <a:cubicBezTo>
                    <a:pt x="24" y="0"/>
                    <a:pt x="24" y="0"/>
                    <a:pt x="24" y="0"/>
                  </a:cubicBez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7" name="ïṩḻïde">
              <a:extLst>
                <a:ext uri="{FF2B5EF4-FFF2-40B4-BE49-F238E27FC236}">
                  <a16:creationId xmlns:a16="http://schemas.microsoft.com/office/drawing/2014/main" id="{FC573FD3-2006-4EEA-B38B-1F121B07BD18}"/>
                </a:ext>
              </a:extLst>
            </p:cNvPr>
            <p:cNvSpPr/>
            <p:nvPr/>
          </p:nvSpPr>
          <p:spPr bwMode="auto">
            <a:xfrm>
              <a:off x="5839368" y="2581557"/>
              <a:ext cx="114506" cy="19085"/>
            </a:xfrm>
            <a:custGeom>
              <a:avLst/>
              <a:gdLst>
                <a:gd name="T0" fmla="*/ 24 w 48"/>
                <a:gd name="T1" fmla="*/ 0 h 8"/>
                <a:gd name="T2" fmla="*/ 45 w 48"/>
                <a:gd name="T3" fmla="*/ 0 h 8"/>
                <a:gd name="T4" fmla="*/ 45 w 48"/>
                <a:gd name="T5" fmla="*/ 8 h 8"/>
                <a:gd name="T6" fmla="*/ 24 w 48"/>
                <a:gd name="T7" fmla="*/ 8 h 8"/>
                <a:gd name="T8" fmla="*/ 24 w 48"/>
                <a:gd name="T9" fmla="*/ 8 h 8"/>
                <a:gd name="T10" fmla="*/ 2 w 48"/>
                <a:gd name="T11" fmla="*/ 8 h 8"/>
                <a:gd name="T12" fmla="*/ 2 w 48"/>
                <a:gd name="T13" fmla="*/ 0 h 8"/>
                <a:gd name="T14" fmla="*/ 24 w 4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8">
                  <a:moveTo>
                    <a:pt x="24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6" y="1"/>
                    <a:pt x="48" y="5"/>
                    <a:pt x="45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5"/>
                    <a:pt x="2" y="1"/>
                    <a:pt x="2" y="0"/>
                  </a:cubicBezTo>
                  <a:cubicBezTo>
                    <a:pt x="24" y="0"/>
                    <a:pt x="24" y="0"/>
                    <a:pt x="24" y="0"/>
                  </a:cubicBez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8" name="îşḷïďe">
              <a:extLst>
                <a:ext uri="{FF2B5EF4-FFF2-40B4-BE49-F238E27FC236}">
                  <a16:creationId xmlns:a16="http://schemas.microsoft.com/office/drawing/2014/main" id="{052440CE-EA04-4596-8F81-0D5593E346E3}"/>
                </a:ext>
              </a:extLst>
            </p:cNvPr>
            <p:cNvSpPr/>
            <p:nvPr/>
          </p:nvSpPr>
          <p:spPr bwMode="auto">
            <a:xfrm>
              <a:off x="5861467" y="2602650"/>
              <a:ext cx="70311" cy="16071"/>
            </a:xfrm>
            <a:custGeom>
              <a:avLst/>
              <a:gdLst>
                <a:gd name="T0" fmla="*/ 54 w 70"/>
                <a:gd name="T1" fmla="*/ 16 h 16"/>
                <a:gd name="T2" fmla="*/ 70 w 70"/>
                <a:gd name="T3" fmla="*/ 0 h 16"/>
                <a:gd name="T4" fmla="*/ 35 w 70"/>
                <a:gd name="T5" fmla="*/ 0 h 16"/>
                <a:gd name="T6" fmla="*/ 0 w 70"/>
                <a:gd name="T7" fmla="*/ 0 h 16"/>
                <a:gd name="T8" fmla="*/ 16 w 70"/>
                <a:gd name="T9" fmla="*/ 16 h 16"/>
                <a:gd name="T10" fmla="*/ 54 w 70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16">
                  <a:moveTo>
                    <a:pt x="54" y="16"/>
                  </a:moveTo>
                  <a:lnTo>
                    <a:pt x="70" y="0"/>
                  </a:lnTo>
                  <a:lnTo>
                    <a:pt x="35" y="0"/>
                  </a:lnTo>
                  <a:lnTo>
                    <a:pt x="0" y="0"/>
                  </a:lnTo>
                  <a:lnTo>
                    <a:pt x="16" y="16"/>
                  </a:lnTo>
                  <a:lnTo>
                    <a:pt x="54" y="16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9" name="íṣḷíḍè">
              <a:extLst>
                <a:ext uri="{FF2B5EF4-FFF2-40B4-BE49-F238E27FC236}">
                  <a16:creationId xmlns:a16="http://schemas.microsoft.com/office/drawing/2014/main" id="{160AB34F-8495-4CD2-B45E-F17ED365ACA3}"/>
                </a:ext>
              </a:extLst>
            </p:cNvPr>
            <p:cNvSpPr/>
            <p:nvPr/>
          </p:nvSpPr>
          <p:spPr bwMode="auto">
            <a:xfrm>
              <a:off x="5844391" y="2210918"/>
              <a:ext cx="208923" cy="235039"/>
            </a:xfrm>
            <a:custGeom>
              <a:avLst/>
              <a:gdLst>
                <a:gd name="T0" fmla="*/ 9 w 88"/>
                <a:gd name="T1" fmla="*/ 17 h 99"/>
                <a:gd name="T2" fmla="*/ 3 w 88"/>
                <a:gd name="T3" fmla="*/ 33 h 99"/>
                <a:gd name="T4" fmla="*/ 43 w 88"/>
                <a:gd name="T5" fmla="*/ 51 h 99"/>
                <a:gd name="T6" fmla="*/ 43 w 88"/>
                <a:gd name="T7" fmla="*/ 99 h 99"/>
                <a:gd name="T8" fmla="*/ 66 w 88"/>
                <a:gd name="T9" fmla="*/ 76 h 99"/>
                <a:gd name="T10" fmla="*/ 9 w 88"/>
                <a:gd name="T11" fmla="*/ 1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99">
                  <a:moveTo>
                    <a:pt x="9" y="17"/>
                  </a:moveTo>
                  <a:cubicBezTo>
                    <a:pt x="2" y="21"/>
                    <a:pt x="0" y="27"/>
                    <a:pt x="3" y="33"/>
                  </a:cubicBezTo>
                  <a:cubicBezTo>
                    <a:pt x="6" y="38"/>
                    <a:pt x="33" y="35"/>
                    <a:pt x="43" y="51"/>
                  </a:cubicBezTo>
                  <a:cubicBezTo>
                    <a:pt x="53" y="66"/>
                    <a:pt x="43" y="99"/>
                    <a:pt x="43" y="99"/>
                  </a:cubicBezTo>
                  <a:cubicBezTo>
                    <a:pt x="43" y="99"/>
                    <a:pt x="57" y="93"/>
                    <a:pt x="66" y="76"/>
                  </a:cubicBezTo>
                  <a:cubicBezTo>
                    <a:pt x="88" y="38"/>
                    <a:pt x="37" y="0"/>
                    <a:pt x="9" y="17"/>
                  </a:cubicBezTo>
                </a:path>
              </a:pathLst>
            </a:custGeom>
            <a:solidFill>
              <a:srgbClr val="FFCA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0" name="îṡľíḋe">
              <a:extLst>
                <a:ext uri="{FF2B5EF4-FFF2-40B4-BE49-F238E27FC236}">
                  <a16:creationId xmlns:a16="http://schemas.microsoft.com/office/drawing/2014/main" id="{7F205F5A-EA89-4AA1-A9A7-677C49F41B43}"/>
                </a:ext>
              </a:extLst>
            </p:cNvPr>
            <p:cNvSpPr/>
            <p:nvPr/>
          </p:nvSpPr>
          <p:spPr bwMode="auto">
            <a:xfrm>
              <a:off x="5748969" y="2101435"/>
              <a:ext cx="86382" cy="140622"/>
            </a:xfrm>
            <a:custGeom>
              <a:avLst/>
              <a:gdLst>
                <a:gd name="T0" fmla="*/ 0 w 86"/>
                <a:gd name="T1" fmla="*/ 0 h 140"/>
                <a:gd name="T2" fmla="*/ 43 w 86"/>
                <a:gd name="T3" fmla="*/ 66 h 140"/>
                <a:gd name="T4" fmla="*/ 86 w 86"/>
                <a:gd name="T5" fmla="*/ 130 h 140"/>
                <a:gd name="T6" fmla="*/ 78 w 86"/>
                <a:gd name="T7" fmla="*/ 135 h 140"/>
                <a:gd name="T8" fmla="*/ 71 w 86"/>
                <a:gd name="T9" fmla="*/ 140 h 140"/>
                <a:gd name="T10" fmla="*/ 36 w 86"/>
                <a:gd name="T11" fmla="*/ 69 h 140"/>
                <a:gd name="T12" fmla="*/ 0 w 86"/>
                <a:gd name="T1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40">
                  <a:moveTo>
                    <a:pt x="0" y="0"/>
                  </a:moveTo>
                  <a:lnTo>
                    <a:pt x="43" y="66"/>
                  </a:lnTo>
                  <a:lnTo>
                    <a:pt x="86" y="130"/>
                  </a:lnTo>
                  <a:lnTo>
                    <a:pt x="78" y="135"/>
                  </a:lnTo>
                  <a:lnTo>
                    <a:pt x="71" y="140"/>
                  </a:lnTo>
                  <a:lnTo>
                    <a:pt x="36" y="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A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1" name="íṩḷïḍè">
              <a:extLst>
                <a:ext uri="{FF2B5EF4-FFF2-40B4-BE49-F238E27FC236}">
                  <a16:creationId xmlns:a16="http://schemas.microsoft.com/office/drawing/2014/main" id="{2961D7E4-AA6A-40A6-A336-E30592558835}"/>
                </a:ext>
              </a:extLst>
            </p:cNvPr>
            <p:cNvSpPr/>
            <p:nvPr/>
          </p:nvSpPr>
          <p:spPr bwMode="auto">
            <a:xfrm>
              <a:off x="5640490" y="2207905"/>
              <a:ext cx="139618" cy="86382"/>
            </a:xfrm>
            <a:custGeom>
              <a:avLst/>
              <a:gdLst>
                <a:gd name="T0" fmla="*/ 0 w 139"/>
                <a:gd name="T1" fmla="*/ 0 h 86"/>
                <a:gd name="T2" fmla="*/ 71 w 139"/>
                <a:gd name="T3" fmla="*/ 36 h 86"/>
                <a:gd name="T4" fmla="*/ 139 w 139"/>
                <a:gd name="T5" fmla="*/ 71 h 86"/>
                <a:gd name="T6" fmla="*/ 134 w 139"/>
                <a:gd name="T7" fmla="*/ 78 h 86"/>
                <a:gd name="T8" fmla="*/ 132 w 139"/>
                <a:gd name="T9" fmla="*/ 86 h 86"/>
                <a:gd name="T10" fmla="*/ 66 w 139"/>
                <a:gd name="T11" fmla="*/ 43 h 86"/>
                <a:gd name="T12" fmla="*/ 0 w 139"/>
                <a:gd name="T1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6">
                  <a:moveTo>
                    <a:pt x="0" y="0"/>
                  </a:moveTo>
                  <a:lnTo>
                    <a:pt x="71" y="36"/>
                  </a:lnTo>
                  <a:lnTo>
                    <a:pt x="139" y="71"/>
                  </a:lnTo>
                  <a:lnTo>
                    <a:pt x="134" y="78"/>
                  </a:lnTo>
                  <a:lnTo>
                    <a:pt x="132" y="86"/>
                  </a:lnTo>
                  <a:lnTo>
                    <a:pt x="66" y="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A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2" name="íṧ1îḑe">
              <a:extLst>
                <a:ext uri="{FF2B5EF4-FFF2-40B4-BE49-F238E27FC236}">
                  <a16:creationId xmlns:a16="http://schemas.microsoft.com/office/drawing/2014/main" id="{2BE04014-D46F-4C7D-AD19-1D976DABDE65}"/>
                </a:ext>
              </a:extLst>
            </p:cNvPr>
            <p:cNvSpPr/>
            <p:nvPr/>
          </p:nvSpPr>
          <p:spPr bwMode="auto">
            <a:xfrm>
              <a:off x="5602321" y="2348527"/>
              <a:ext cx="156692" cy="16071"/>
            </a:xfrm>
            <a:custGeom>
              <a:avLst/>
              <a:gdLst>
                <a:gd name="T0" fmla="*/ 0 w 156"/>
                <a:gd name="T1" fmla="*/ 9 h 16"/>
                <a:gd name="T2" fmla="*/ 78 w 156"/>
                <a:gd name="T3" fmla="*/ 5 h 16"/>
                <a:gd name="T4" fmla="*/ 156 w 156"/>
                <a:gd name="T5" fmla="*/ 0 h 16"/>
                <a:gd name="T6" fmla="*/ 156 w 156"/>
                <a:gd name="T7" fmla="*/ 9 h 16"/>
                <a:gd name="T8" fmla="*/ 156 w 156"/>
                <a:gd name="T9" fmla="*/ 16 h 16"/>
                <a:gd name="T10" fmla="*/ 78 w 156"/>
                <a:gd name="T11" fmla="*/ 12 h 16"/>
                <a:gd name="T12" fmla="*/ 0 w 156"/>
                <a:gd name="T1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16">
                  <a:moveTo>
                    <a:pt x="0" y="9"/>
                  </a:moveTo>
                  <a:lnTo>
                    <a:pt x="78" y="5"/>
                  </a:lnTo>
                  <a:lnTo>
                    <a:pt x="156" y="0"/>
                  </a:lnTo>
                  <a:lnTo>
                    <a:pt x="156" y="9"/>
                  </a:lnTo>
                  <a:lnTo>
                    <a:pt x="156" y="16"/>
                  </a:lnTo>
                  <a:lnTo>
                    <a:pt x="78" y="12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CA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3" name="ïṥ1iḑe">
              <a:extLst>
                <a:ext uri="{FF2B5EF4-FFF2-40B4-BE49-F238E27FC236}">
                  <a16:creationId xmlns:a16="http://schemas.microsoft.com/office/drawing/2014/main" id="{7CBD39A1-0D5F-4D8E-A32E-30243799114C}"/>
                </a:ext>
              </a:extLst>
            </p:cNvPr>
            <p:cNvSpPr/>
            <p:nvPr/>
          </p:nvSpPr>
          <p:spPr bwMode="auto">
            <a:xfrm>
              <a:off x="5640490" y="2419843"/>
              <a:ext cx="139618" cy="85378"/>
            </a:xfrm>
            <a:custGeom>
              <a:avLst/>
              <a:gdLst>
                <a:gd name="T0" fmla="*/ 0 w 139"/>
                <a:gd name="T1" fmla="*/ 85 h 85"/>
                <a:gd name="T2" fmla="*/ 66 w 139"/>
                <a:gd name="T3" fmla="*/ 42 h 85"/>
                <a:gd name="T4" fmla="*/ 132 w 139"/>
                <a:gd name="T5" fmla="*/ 0 h 85"/>
                <a:gd name="T6" fmla="*/ 134 w 139"/>
                <a:gd name="T7" fmla="*/ 7 h 85"/>
                <a:gd name="T8" fmla="*/ 139 w 139"/>
                <a:gd name="T9" fmla="*/ 14 h 85"/>
                <a:gd name="T10" fmla="*/ 71 w 139"/>
                <a:gd name="T11" fmla="*/ 49 h 85"/>
                <a:gd name="T12" fmla="*/ 0 w 139"/>
                <a:gd name="T13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5">
                  <a:moveTo>
                    <a:pt x="0" y="85"/>
                  </a:moveTo>
                  <a:lnTo>
                    <a:pt x="66" y="42"/>
                  </a:lnTo>
                  <a:lnTo>
                    <a:pt x="132" y="0"/>
                  </a:lnTo>
                  <a:lnTo>
                    <a:pt x="134" y="7"/>
                  </a:lnTo>
                  <a:lnTo>
                    <a:pt x="139" y="14"/>
                  </a:lnTo>
                  <a:lnTo>
                    <a:pt x="71" y="49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rgbClr val="FFCA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4" name="ísḻîḋe">
              <a:extLst>
                <a:ext uri="{FF2B5EF4-FFF2-40B4-BE49-F238E27FC236}">
                  <a16:creationId xmlns:a16="http://schemas.microsoft.com/office/drawing/2014/main" id="{1EED6C1B-8DBE-45D1-BAB7-0D598FDFCC26}"/>
                </a:ext>
              </a:extLst>
            </p:cNvPr>
            <p:cNvSpPr/>
            <p:nvPr/>
          </p:nvSpPr>
          <p:spPr bwMode="auto">
            <a:xfrm>
              <a:off x="6013136" y="2419843"/>
              <a:ext cx="139618" cy="85378"/>
            </a:xfrm>
            <a:custGeom>
              <a:avLst/>
              <a:gdLst>
                <a:gd name="T0" fmla="*/ 139 w 139"/>
                <a:gd name="T1" fmla="*/ 85 h 85"/>
                <a:gd name="T2" fmla="*/ 68 w 139"/>
                <a:gd name="T3" fmla="*/ 49 h 85"/>
                <a:gd name="T4" fmla="*/ 0 w 139"/>
                <a:gd name="T5" fmla="*/ 14 h 85"/>
                <a:gd name="T6" fmla="*/ 5 w 139"/>
                <a:gd name="T7" fmla="*/ 7 h 85"/>
                <a:gd name="T8" fmla="*/ 7 w 139"/>
                <a:gd name="T9" fmla="*/ 0 h 85"/>
                <a:gd name="T10" fmla="*/ 73 w 139"/>
                <a:gd name="T11" fmla="*/ 42 h 85"/>
                <a:gd name="T12" fmla="*/ 139 w 139"/>
                <a:gd name="T13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5">
                  <a:moveTo>
                    <a:pt x="139" y="85"/>
                  </a:moveTo>
                  <a:lnTo>
                    <a:pt x="68" y="49"/>
                  </a:lnTo>
                  <a:lnTo>
                    <a:pt x="0" y="14"/>
                  </a:lnTo>
                  <a:lnTo>
                    <a:pt x="5" y="7"/>
                  </a:lnTo>
                  <a:lnTo>
                    <a:pt x="7" y="0"/>
                  </a:lnTo>
                  <a:lnTo>
                    <a:pt x="73" y="42"/>
                  </a:lnTo>
                  <a:lnTo>
                    <a:pt x="139" y="85"/>
                  </a:lnTo>
                  <a:close/>
                </a:path>
              </a:pathLst>
            </a:custGeom>
            <a:solidFill>
              <a:srgbClr val="FFCA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5" name="iṩḻîḋê">
              <a:extLst>
                <a:ext uri="{FF2B5EF4-FFF2-40B4-BE49-F238E27FC236}">
                  <a16:creationId xmlns:a16="http://schemas.microsoft.com/office/drawing/2014/main" id="{C825F5E9-B895-4CFF-9387-3CD075CFB7CD}"/>
                </a:ext>
              </a:extLst>
            </p:cNvPr>
            <p:cNvSpPr/>
            <p:nvPr/>
          </p:nvSpPr>
          <p:spPr bwMode="auto">
            <a:xfrm>
              <a:off x="6034230" y="2348527"/>
              <a:ext cx="156692" cy="16071"/>
            </a:xfrm>
            <a:custGeom>
              <a:avLst/>
              <a:gdLst>
                <a:gd name="T0" fmla="*/ 156 w 156"/>
                <a:gd name="T1" fmla="*/ 9 h 16"/>
                <a:gd name="T2" fmla="*/ 78 w 156"/>
                <a:gd name="T3" fmla="*/ 12 h 16"/>
                <a:gd name="T4" fmla="*/ 0 w 156"/>
                <a:gd name="T5" fmla="*/ 16 h 16"/>
                <a:gd name="T6" fmla="*/ 0 w 156"/>
                <a:gd name="T7" fmla="*/ 9 h 16"/>
                <a:gd name="T8" fmla="*/ 0 w 156"/>
                <a:gd name="T9" fmla="*/ 0 h 16"/>
                <a:gd name="T10" fmla="*/ 78 w 156"/>
                <a:gd name="T11" fmla="*/ 5 h 16"/>
                <a:gd name="T12" fmla="*/ 156 w 156"/>
                <a:gd name="T1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16">
                  <a:moveTo>
                    <a:pt x="156" y="9"/>
                  </a:moveTo>
                  <a:lnTo>
                    <a:pt x="78" y="12"/>
                  </a:lnTo>
                  <a:lnTo>
                    <a:pt x="0" y="16"/>
                  </a:lnTo>
                  <a:lnTo>
                    <a:pt x="0" y="9"/>
                  </a:lnTo>
                  <a:lnTo>
                    <a:pt x="0" y="0"/>
                  </a:lnTo>
                  <a:lnTo>
                    <a:pt x="78" y="5"/>
                  </a:lnTo>
                  <a:lnTo>
                    <a:pt x="156" y="9"/>
                  </a:lnTo>
                  <a:close/>
                </a:path>
              </a:pathLst>
            </a:custGeom>
            <a:solidFill>
              <a:srgbClr val="FFCA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6" name="ïṥlïḍé">
              <a:extLst>
                <a:ext uri="{FF2B5EF4-FFF2-40B4-BE49-F238E27FC236}">
                  <a16:creationId xmlns:a16="http://schemas.microsoft.com/office/drawing/2014/main" id="{113D478C-3F9F-43FC-AA91-4D3770DFCFB3}"/>
                </a:ext>
              </a:extLst>
            </p:cNvPr>
            <p:cNvSpPr/>
            <p:nvPr/>
          </p:nvSpPr>
          <p:spPr bwMode="auto">
            <a:xfrm>
              <a:off x="6013136" y="2207905"/>
              <a:ext cx="139618" cy="86382"/>
            </a:xfrm>
            <a:custGeom>
              <a:avLst/>
              <a:gdLst>
                <a:gd name="T0" fmla="*/ 139 w 139"/>
                <a:gd name="T1" fmla="*/ 0 h 86"/>
                <a:gd name="T2" fmla="*/ 73 w 139"/>
                <a:gd name="T3" fmla="*/ 43 h 86"/>
                <a:gd name="T4" fmla="*/ 7 w 139"/>
                <a:gd name="T5" fmla="*/ 86 h 86"/>
                <a:gd name="T6" fmla="*/ 5 w 139"/>
                <a:gd name="T7" fmla="*/ 78 h 86"/>
                <a:gd name="T8" fmla="*/ 0 w 139"/>
                <a:gd name="T9" fmla="*/ 71 h 86"/>
                <a:gd name="T10" fmla="*/ 68 w 139"/>
                <a:gd name="T11" fmla="*/ 36 h 86"/>
                <a:gd name="T12" fmla="*/ 139 w 139"/>
                <a:gd name="T1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6">
                  <a:moveTo>
                    <a:pt x="139" y="0"/>
                  </a:moveTo>
                  <a:lnTo>
                    <a:pt x="73" y="43"/>
                  </a:lnTo>
                  <a:lnTo>
                    <a:pt x="7" y="86"/>
                  </a:lnTo>
                  <a:lnTo>
                    <a:pt x="5" y="78"/>
                  </a:lnTo>
                  <a:lnTo>
                    <a:pt x="0" y="71"/>
                  </a:lnTo>
                  <a:lnTo>
                    <a:pt x="68" y="36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CA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7" name="íṧļíḑe">
              <a:extLst>
                <a:ext uri="{FF2B5EF4-FFF2-40B4-BE49-F238E27FC236}">
                  <a16:creationId xmlns:a16="http://schemas.microsoft.com/office/drawing/2014/main" id="{E9DE387A-8E34-414B-9B76-2DA4ABC8514F}"/>
                </a:ext>
              </a:extLst>
            </p:cNvPr>
            <p:cNvSpPr/>
            <p:nvPr/>
          </p:nvSpPr>
          <p:spPr bwMode="auto">
            <a:xfrm>
              <a:off x="5957892" y="2101435"/>
              <a:ext cx="86382" cy="140622"/>
            </a:xfrm>
            <a:custGeom>
              <a:avLst/>
              <a:gdLst>
                <a:gd name="T0" fmla="*/ 86 w 86"/>
                <a:gd name="T1" fmla="*/ 0 h 140"/>
                <a:gd name="T2" fmla="*/ 50 w 86"/>
                <a:gd name="T3" fmla="*/ 69 h 140"/>
                <a:gd name="T4" fmla="*/ 15 w 86"/>
                <a:gd name="T5" fmla="*/ 140 h 140"/>
                <a:gd name="T6" fmla="*/ 8 w 86"/>
                <a:gd name="T7" fmla="*/ 135 h 140"/>
                <a:gd name="T8" fmla="*/ 0 w 86"/>
                <a:gd name="T9" fmla="*/ 130 h 140"/>
                <a:gd name="T10" fmla="*/ 43 w 86"/>
                <a:gd name="T11" fmla="*/ 66 h 140"/>
                <a:gd name="T12" fmla="*/ 86 w 86"/>
                <a:gd name="T1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40">
                  <a:moveTo>
                    <a:pt x="86" y="0"/>
                  </a:moveTo>
                  <a:lnTo>
                    <a:pt x="50" y="69"/>
                  </a:lnTo>
                  <a:lnTo>
                    <a:pt x="15" y="140"/>
                  </a:lnTo>
                  <a:lnTo>
                    <a:pt x="8" y="135"/>
                  </a:lnTo>
                  <a:lnTo>
                    <a:pt x="0" y="130"/>
                  </a:lnTo>
                  <a:lnTo>
                    <a:pt x="43" y="66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FFCA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8" name="ïṣ1îḍê">
              <a:extLst>
                <a:ext uri="{FF2B5EF4-FFF2-40B4-BE49-F238E27FC236}">
                  <a16:creationId xmlns:a16="http://schemas.microsoft.com/office/drawing/2014/main" id="{53929564-0F7B-4B8E-80C3-2FD5B98554B2}"/>
                </a:ext>
              </a:extLst>
            </p:cNvPr>
            <p:cNvSpPr/>
            <p:nvPr/>
          </p:nvSpPr>
          <p:spPr bwMode="auto">
            <a:xfrm>
              <a:off x="8767308" y="2460019"/>
              <a:ext cx="57253" cy="73324"/>
            </a:xfrm>
            <a:custGeom>
              <a:avLst/>
              <a:gdLst>
                <a:gd name="T0" fmla="*/ 20 w 24"/>
                <a:gd name="T1" fmla="*/ 3 h 31"/>
                <a:gd name="T2" fmla="*/ 14 w 24"/>
                <a:gd name="T3" fmla="*/ 1 h 31"/>
                <a:gd name="T4" fmla="*/ 8 w 24"/>
                <a:gd name="T5" fmla="*/ 4 h 31"/>
                <a:gd name="T6" fmla="*/ 1 w 24"/>
                <a:gd name="T7" fmla="*/ 21 h 31"/>
                <a:gd name="T8" fmla="*/ 4 w 24"/>
                <a:gd name="T9" fmla="*/ 28 h 31"/>
                <a:gd name="T10" fmla="*/ 10 w 24"/>
                <a:gd name="T11" fmla="*/ 30 h 31"/>
                <a:gd name="T12" fmla="*/ 17 w 24"/>
                <a:gd name="T13" fmla="*/ 27 h 31"/>
                <a:gd name="T14" fmla="*/ 23 w 24"/>
                <a:gd name="T15" fmla="*/ 10 h 31"/>
                <a:gd name="T16" fmla="*/ 20 w 24"/>
                <a:gd name="T1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1">
                  <a:moveTo>
                    <a:pt x="20" y="3"/>
                  </a:moveTo>
                  <a:cubicBezTo>
                    <a:pt x="14" y="1"/>
                    <a:pt x="14" y="1"/>
                    <a:pt x="14" y="1"/>
                  </a:cubicBezTo>
                  <a:cubicBezTo>
                    <a:pt x="12" y="0"/>
                    <a:pt x="9" y="1"/>
                    <a:pt x="8" y="4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4"/>
                    <a:pt x="1" y="27"/>
                    <a:pt x="4" y="28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3" y="31"/>
                    <a:pt x="16" y="30"/>
                    <a:pt x="17" y="27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4" y="7"/>
                    <a:pt x="23" y="4"/>
                    <a:pt x="20" y="3"/>
                  </a:cubicBezTo>
                </a:path>
              </a:pathLst>
            </a:custGeom>
            <a:solidFill>
              <a:srgbClr val="A55B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9" name="íṥḷíďe">
              <a:extLst>
                <a:ext uri="{FF2B5EF4-FFF2-40B4-BE49-F238E27FC236}">
                  <a16:creationId xmlns:a16="http://schemas.microsoft.com/office/drawing/2014/main" id="{3BFC21AE-4B8F-4771-8EC4-E9739F91D9B1}"/>
                </a:ext>
              </a:extLst>
            </p:cNvPr>
            <p:cNvSpPr/>
            <p:nvPr/>
          </p:nvSpPr>
          <p:spPr bwMode="auto">
            <a:xfrm>
              <a:off x="8599567" y="2462028"/>
              <a:ext cx="127564" cy="223990"/>
            </a:xfrm>
            <a:custGeom>
              <a:avLst/>
              <a:gdLst>
                <a:gd name="T0" fmla="*/ 14 w 54"/>
                <a:gd name="T1" fmla="*/ 92 h 94"/>
                <a:gd name="T2" fmla="*/ 36 w 54"/>
                <a:gd name="T3" fmla="*/ 80 h 94"/>
                <a:gd name="T4" fmla="*/ 52 w 54"/>
                <a:gd name="T5" fmla="*/ 25 h 94"/>
                <a:gd name="T6" fmla="*/ 40 w 54"/>
                <a:gd name="T7" fmla="*/ 3 h 94"/>
                <a:gd name="T8" fmla="*/ 18 w 54"/>
                <a:gd name="T9" fmla="*/ 15 h 94"/>
                <a:gd name="T10" fmla="*/ 2 w 54"/>
                <a:gd name="T11" fmla="*/ 70 h 94"/>
                <a:gd name="T12" fmla="*/ 14 w 54"/>
                <a:gd name="T13" fmla="*/ 9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94">
                  <a:moveTo>
                    <a:pt x="14" y="92"/>
                  </a:moveTo>
                  <a:cubicBezTo>
                    <a:pt x="24" y="94"/>
                    <a:pt x="33" y="89"/>
                    <a:pt x="36" y="80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4" y="15"/>
                    <a:pt x="49" y="6"/>
                    <a:pt x="40" y="3"/>
                  </a:cubicBezTo>
                  <a:cubicBezTo>
                    <a:pt x="30" y="0"/>
                    <a:pt x="21" y="6"/>
                    <a:pt x="18" y="15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0" y="79"/>
                    <a:pt x="5" y="89"/>
                    <a:pt x="14" y="92"/>
                  </a:cubicBezTo>
                </a:path>
              </a:pathLst>
            </a:custGeom>
            <a:solidFill>
              <a:srgbClr val="E27A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0" name="iṧlîḓê">
              <a:extLst>
                <a:ext uri="{FF2B5EF4-FFF2-40B4-BE49-F238E27FC236}">
                  <a16:creationId xmlns:a16="http://schemas.microsoft.com/office/drawing/2014/main" id="{95D7E827-4C04-43A9-9B64-2627F7D1F285}"/>
                </a:ext>
              </a:extLst>
            </p:cNvPr>
            <p:cNvSpPr/>
            <p:nvPr/>
          </p:nvSpPr>
          <p:spPr bwMode="auto">
            <a:xfrm>
              <a:off x="8378591" y="2312367"/>
              <a:ext cx="106471" cy="104461"/>
            </a:xfrm>
            <a:custGeom>
              <a:avLst/>
              <a:gdLst>
                <a:gd name="T0" fmla="*/ 41 w 45"/>
                <a:gd name="T1" fmla="*/ 28 h 44"/>
                <a:gd name="T2" fmla="*/ 16 w 45"/>
                <a:gd name="T3" fmla="*/ 40 h 44"/>
                <a:gd name="T4" fmla="*/ 4 w 45"/>
                <a:gd name="T5" fmla="*/ 15 h 44"/>
                <a:gd name="T6" fmla="*/ 29 w 45"/>
                <a:gd name="T7" fmla="*/ 3 h 44"/>
                <a:gd name="T8" fmla="*/ 41 w 45"/>
                <a:gd name="T9" fmla="*/ 2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4">
                  <a:moveTo>
                    <a:pt x="41" y="28"/>
                  </a:moveTo>
                  <a:cubicBezTo>
                    <a:pt x="37" y="39"/>
                    <a:pt x="26" y="44"/>
                    <a:pt x="16" y="40"/>
                  </a:cubicBezTo>
                  <a:cubicBezTo>
                    <a:pt x="6" y="37"/>
                    <a:pt x="0" y="26"/>
                    <a:pt x="4" y="15"/>
                  </a:cubicBezTo>
                  <a:cubicBezTo>
                    <a:pt x="7" y="5"/>
                    <a:pt x="19" y="0"/>
                    <a:pt x="29" y="3"/>
                  </a:cubicBezTo>
                  <a:cubicBezTo>
                    <a:pt x="39" y="7"/>
                    <a:pt x="45" y="18"/>
                    <a:pt x="41" y="28"/>
                  </a:cubicBezTo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1" name="íṥľíḓe">
              <a:extLst>
                <a:ext uri="{FF2B5EF4-FFF2-40B4-BE49-F238E27FC236}">
                  <a16:creationId xmlns:a16="http://schemas.microsoft.com/office/drawing/2014/main" id="{A62DBEB1-6A83-489A-8BAF-CC29AB9C9BDC}"/>
                </a:ext>
              </a:extLst>
            </p:cNvPr>
            <p:cNvSpPr/>
            <p:nvPr/>
          </p:nvSpPr>
          <p:spPr bwMode="auto">
            <a:xfrm>
              <a:off x="8392653" y="2217948"/>
              <a:ext cx="301331" cy="296310"/>
            </a:xfrm>
            <a:custGeom>
              <a:avLst/>
              <a:gdLst>
                <a:gd name="T0" fmla="*/ 0 w 127"/>
                <a:gd name="T1" fmla="*/ 124 h 125"/>
                <a:gd name="T2" fmla="*/ 57 w 127"/>
                <a:gd name="T3" fmla="*/ 115 h 125"/>
                <a:gd name="T4" fmla="*/ 87 w 127"/>
                <a:gd name="T5" fmla="*/ 125 h 125"/>
                <a:gd name="T6" fmla="*/ 116 w 127"/>
                <a:gd name="T7" fmla="*/ 120 h 125"/>
                <a:gd name="T8" fmla="*/ 127 w 127"/>
                <a:gd name="T9" fmla="*/ 77 h 125"/>
                <a:gd name="T10" fmla="*/ 111 w 127"/>
                <a:gd name="T11" fmla="*/ 54 h 125"/>
                <a:gd name="T12" fmla="*/ 81 w 127"/>
                <a:gd name="T13" fmla="*/ 43 h 125"/>
                <a:gd name="T14" fmla="*/ 43 w 127"/>
                <a:gd name="T15" fmla="*/ 0 h 125"/>
                <a:gd name="T16" fmla="*/ 0 w 127"/>
                <a:gd name="T17" fmla="*/ 12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" h="125">
                  <a:moveTo>
                    <a:pt x="0" y="124"/>
                  </a:moveTo>
                  <a:cubicBezTo>
                    <a:pt x="0" y="124"/>
                    <a:pt x="35" y="107"/>
                    <a:pt x="57" y="11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116" y="120"/>
                    <a:pt x="116" y="120"/>
                    <a:pt x="116" y="120"/>
                  </a:cubicBezTo>
                  <a:cubicBezTo>
                    <a:pt x="127" y="77"/>
                    <a:pt x="127" y="77"/>
                    <a:pt x="127" y="77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52" y="32"/>
                    <a:pt x="43" y="0"/>
                    <a:pt x="43" y="0"/>
                  </a:cubicBezTo>
                  <a:lnTo>
                    <a:pt x="0" y="124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2" name="ïS1îḓê">
              <a:extLst>
                <a:ext uri="{FF2B5EF4-FFF2-40B4-BE49-F238E27FC236}">
                  <a16:creationId xmlns:a16="http://schemas.microsoft.com/office/drawing/2014/main" id="{DF2F2821-4679-4FC4-8C87-0A7478C8AD39}"/>
                </a:ext>
              </a:extLst>
            </p:cNvPr>
            <p:cNvSpPr/>
            <p:nvPr/>
          </p:nvSpPr>
          <p:spPr bwMode="auto">
            <a:xfrm>
              <a:off x="8596553" y="2346517"/>
              <a:ext cx="222986" cy="217964"/>
            </a:xfrm>
            <a:custGeom>
              <a:avLst/>
              <a:gdLst>
                <a:gd name="T0" fmla="*/ 71 w 94"/>
                <a:gd name="T1" fmla="*/ 16 h 92"/>
                <a:gd name="T2" fmla="*/ 88 w 94"/>
                <a:gd name="T3" fmla="*/ 52 h 92"/>
                <a:gd name="T4" fmla="*/ 83 w 94"/>
                <a:gd name="T5" fmla="*/ 69 h 92"/>
                <a:gd name="T6" fmla="*/ 47 w 94"/>
                <a:gd name="T7" fmla="*/ 87 h 92"/>
                <a:gd name="T8" fmla="*/ 0 w 94"/>
                <a:gd name="T9" fmla="*/ 71 h 92"/>
                <a:gd name="T10" fmla="*/ 25 w 94"/>
                <a:gd name="T11" fmla="*/ 0 h 92"/>
                <a:gd name="T12" fmla="*/ 71 w 94"/>
                <a:gd name="T13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92">
                  <a:moveTo>
                    <a:pt x="71" y="16"/>
                  </a:moveTo>
                  <a:cubicBezTo>
                    <a:pt x="86" y="21"/>
                    <a:pt x="94" y="37"/>
                    <a:pt x="88" y="52"/>
                  </a:cubicBezTo>
                  <a:cubicBezTo>
                    <a:pt x="83" y="69"/>
                    <a:pt x="83" y="69"/>
                    <a:pt x="83" y="69"/>
                  </a:cubicBezTo>
                  <a:cubicBezTo>
                    <a:pt x="77" y="84"/>
                    <a:pt x="61" y="92"/>
                    <a:pt x="47" y="87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71" y="16"/>
                  </a:lnTo>
                  <a:close/>
                </a:path>
              </a:pathLst>
            </a:custGeom>
            <a:solidFill>
              <a:srgbClr val="F37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3" name="îSľïḑé">
              <a:extLst>
                <a:ext uri="{FF2B5EF4-FFF2-40B4-BE49-F238E27FC236}">
                  <a16:creationId xmlns:a16="http://schemas.microsoft.com/office/drawing/2014/main" id="{55FA36D5-1447-48D5-8036-95950C14B696}"/>
                </a:ext>
              </a:extLst>
            </p:cNvPr>
            <p:cNvSpPr/>
            <p:nvPr/>
          </p:nvSpPr>
          <p:spPr bwMode="auto">
            <a:xfrm>
              <a:off x="8354484" y="2189825"/>
              <a:ext cx="147653" cy="341510"/>
            </a:xfrm>
            <a:custGeom>
              <a:avLst/>
              <a:gdLst>
                <a:gd name="T0" fmla="*/ 1 w 62"/>
                <a:gd name="T1" fmla="*/ 132 h 144"/>
                <a:gd name="T2" fmla="*/ 6 w 62"/>
                <a:gd name="T3" fmla="*/ 142 h 144"/>
                <a:gd name="T4" fmla="*/ 17 w 62"/>
                <a:gd name="T5" fmla="*/ 137 h 144"/>
                <a:gd name="T6" fmla="*/ 60 w 62"/>
                <a:gd name="T7" fmla="*/ 13 h 144"/>
                <a:gd name="T8" fmla="*/ 55 w 62"/>
                <a:gd name="T9" fmla="*/ 2 h 144"/>
                <a:gd name="T10" fmla="*/ 44 w 62"/>
                <a:gd name="T11" fmla="*/ 7 h 144"/>
                <a:gd name="T12" fmla="*/ 1 w 62"/>
                <a:gd name="T13" fmla="*/ 1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44">
                  <a:moveTo>
                    <a:pt x="1" y="132"/>
                  </a:moveTo>
                  <a:cubicBezTo>
                    <a:pt x="0" y="136"/>
                    <a:pt x="2" y="141"/>
                    <a:pt x="6" y="142"/>
                  </a:cubicBezTo>
                  <a:cubicBezTo>
                    <a:pt x="11" y="144"/>
                    <a:pt x="16" y="142"/>
                    <a:pt x="17" y="137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2" y="8"/>
                    <a:pt x="59" y="4"/>
                    <a:pt x="55" y="2"/>
                  </a:cubicBezTo>
                  <a:cubicBezTo>
                    <a:pt x="50" y="0"/>
                    <a:pt x="46" y="3"/>
                    <a:pt x="44" y="7"/>
                  </a:cubicBezTo>
                  <a:lnTo>
                    <a:pt x="1" y="132"/>
                  </a:lnTo>
                  <a:close/>
                </a:path>
              </a:pathLst>
            </a:custGeom>
            <a:solidFill>
              <a:srgbClr val="F37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4" name="iṩḻïḍê">
              <a:extLst>
                <a:ext uri="{FF2B5EF4-FFF2-40B4-BE49-F238E27FC236}">
                  <a16:creationId xmlns:a16="http://schemas.microsoft.com/office/drawing/2014/main" id="{0D348CBE-C549-4608-B88D-C59DB486A368}"/>
                </a:ext>
              </a:extLst>
            </p:cNvPr>
            <p:cNvSpPr/>
            <p:nvPr/>
          </p:nvSpPr>
          <p:spPr bwMode="auto">
            <a:xfrm>
              <a:off x="4410052" y="2181790"/>
              <a:ext cx="461038" cy="461039"/>
            </a:xfrm>
            <a:custGeom>
              <a:avLst/>
              <a:gdLst>
                <a:gd name="T0" fmla="*/ 110 w 194"/>
                <a:gd name="T1" fmla="*/ 187 h 194"/>
                <a:gd name="T2" fmla="*/ 187 w 194"/>
                <a:gd name="T3" fmla="*/ 84 h 194"/>
                <a:gd name="T4" fmla="*/ 84 w 194"/>
                <a:gd name="T5" fmla="*/ 7 h 194"/>
                <a:gd name="T6" fmla="*/ 7 w 194"/>
                <a:gd name="T7" fmla="*/ 110 h 194"/>
                <a:gd name="T8" fmla="*/ 110 w 194"/>
                <a:gd name="T9" fmla="*/ 187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" h="194">
                  <a:moveTo>
                    <a:pt x="110" y="187"/>
                  </a:moveTo>
                  <a:cubicBezTo>
                    <a:pt x="160" y="180"/>
                    <a:pt x="194" y="134"/>
                    <a:pt x="187" y="84"/>
                  </a:cubicBezTo>
                  <a:cubicBezTo>
                    <a:pt x="180" y="35"/>
                    <a:pt x="134" y="0"/>
                    <a:pt x="84" y="7"/>
                  </a:cubicBezTo>
                  <a:cubicBezTo>
                    <a:pt x="35" y="14"/>
                    <a:pt x="0" y="61"/>
                    <a:pt x="7" y="110"/>
                  </a:cubicBezTo>
                  <a:cubicBezTo>
                    <a:pt x="15" y="160"/>
                    <a:pt x="61" y="194"/>
                    <a:pt x="110" y="187"/>
                  </a:cubicBezTo>
                </a:path>
              </a:pathLst>
            </a:custGeom>
            <a:solidFill>
              <a:srgbClr val="4545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5" name="iŝļiḓé">
              <a:extLst>
                <a:ext uri="{FF2B5EF4-FFF2-40B4-BE49-F238E27FC236}">
                  <a16:creationId xmlns:a16="http://schemas.microsoft.com/office/drawing/2014/main" id="{0598988C-EE67-4E3A-B7AA-9C71BC34989C}"/>
                </a:ext>
              </a:extLst>
            </p:cNvPr>
            <p:cNvSpPr/>
            <p:nvPr/>
          </p:nvSpPr>
          <p:spPr bwMode="auto">
            <a:xfrm>
              <a:off x="4431146" y="2203888"/>
              <a:ext cx="417847" cy="417847"/>
            </a:xfrm>
            <a:custGeom>
              <a:avLst/>
              <a:gdLst>
                <a:gd name="T0" fmla="*/ 100 w 176"/>
                <a:gd name="T1" fmla="*/ 169 h 176"/>
                <a:gd name="T2" fmla="*/ 170 w 176"/>
                <a:gd name="T3" fmla="*/ 76 h 176"/>
                <a:gd name="T4" fmla="*/ 76 w 176"/>
                <a:gd name="T5" fmla="*/ 7 h 176"/>
                <a:gd name="T6" fmla="*/ 7 w 176"/>
                <a:gd name="T7" fmla="*/ 100 h 176"/>
                <a:gd name="T8" fmla="*/ 100 w 176"/>
                <a:gd name="T9" fmla="*/ 16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" h="176">
                  <a:moveTo>
                    <a:pt x="100" y="169"/>
                  </a:moveTo>
                  <a:cubicBezTo>
                    <a:pt x="145" y="163"/>
                    <a:pt x="176" y="121"/>
                    <a:pt x="170" y="76"/>
                  </a:cubicBezTo>
                  <a:cubicBezTo>
                    <a:pt x="163" y="32"/>
                    <a:pt x="121" y="0"/>
                    <a:pt x="76" y="7"/>
                  </a:cubicBezTo>
                  <a:cubicBezTo>
                    <a:pt x="32" y="13"/>
                    <a:pt x="0" y="55"/>
                    <a:pt x="7" y="100"/>
                  </a:cubicBezTo>
                  <a:cubicBezTo>
                    <a:pt x="14" y="145"/>
                    <a:pt x="55" y="176"/>
                    <a:pt x="100" y="169"/>
                  </a:cubicBezTo>
                </a:path>
              </a:pathLst>
            </a:cu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6" name="íṣ1îďe">
              <a:extLst>
                <a:ext uri="{FF2B5EF4-FFF2-40B4-BE49-F238E27FC236}">
                  <a16:creationId xmlns:a16="http://schemas.microsoft.com/office/drawing/2014/main" id="{AAE5A490-E27E-4D46-8767-54B83AB8AF0E}"/>
                </a:ext>
              </a:extLst>
            </p:cNvPr>
            <p:cNvSpPr/>
            <p:nvPr/>
          </p:nvSpPr>
          <p:spPr bwMode="auto">
            <a:xfrm>
              <a:off x="4445208" y="2215941"/>
              <a:ext cx="392737" cy="393741"/>
            </a:xfrm>
            <a:custGeom>
              <a:avLst/>
              <a:gdLst>
                <a:gd name="T0" fmla="*/ 93 w 165"/>
                <a:gd name="T1" fmla="*/ 160 h 166"/>
                <a:gd name="T2" fmla="*/ 159 w 165"/>
                <a:gd name="T3" fmla="*/ 72 h 166"/>
                <a:gd name="T4" fmla="*/ 71 w 165"/>
                <a:gd name="T5" fmla="*/ 7 h 166"/>
                <a:gd name="T6" fmla="*/ 6 w 165"/>
                <a:gd name="T7" fmla="*/ 94 h 166"/>
                <a:gd name="T8" fmla="*/ 93 w 165"/>
                <a:gd name="T9" fmla="*/ 16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166">
                  <a:moveTo>
                    <a:pt x="93" y="160"/>
                  </a:moveTo>
                  <a:cubicBezTo>
                    <a:pt x="136" y="154"/>
                    <a:pt x="165" y="114"/>
                    <a:pt x="159" y="72"/>
                  </a:cubicBezTo>
                  <a:cubicBezTo>
                    <a:pt x="153" y="30"/>
                    <a:pt x="113" y="0"/>
                    <a:pt x="71" y="7"/>
                  </a:cubicBezTo>
                  <a:cubicBezTo>
                    <a:pt x="29" y="13"/>
                    <a:pt x="0" y="52"/>
                    <a:pt x="6" y="94"/>
                  </a:cubicBezTo>
                  <a:cubicBezTo>
                    <a:pt x="12" y="136"/>
                    <a:pt x="51" y="166"/>
                    <a:pt x="93" y="160"/>
                  </a:cubicBezTo>
                </a:path>
              </a:pathLst>
            </a:custGeom>
            <a:solidFill>
              <a:srgbClr val="E7E9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7" name="îṣḻïḓè">
              <a:extLst>
                <a:ext uri="{FF2B5EF4-FFF2-40B4-BE49-F238E27FC236}">
                  <a16:creationId xmlns:a16="http://schemas.microsoft.com/office/drawing/2014/main" id="{1ABF86C6-F2BA-4905-98E9-6BDEC3D2DBDF}"/>
                </a:ext>
              </a:extLst>
            </p:cNvPr>
            <p:cNvSpPr/>
            <p:nvPr/>
          </p:nvSpPr>
          <p:spPr bwMode="auto">
            <a:xfrm>
              <a:off x="4445208" y="2232012"/>
              <a:ext cx="220977" cy="377669"/>
            </a:xfrm>
            <a:custGeom>
              <a:avLst/>
              <a:gdLst>
                <a:gd name="T0" fmla="*/ 71 w 93"/>
                <a:gd name="T1" fmla="*/ 0 h 159"/>
                <a:gd name="T2" fmla="*/ 6 w 93"/>
                <a:gd name="T3" fmla="*/ 87 h 159"/>
                <a:gd name="T4" fmla="*/ 93 w 93"/>
                <a:gd name="T5" fmla="*/ 153 h 159"/>
                <a:gd name="T6" fmla="*/ 71 w 93"/>
                <a:gd name="T7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3" h="159">
                  <a:moveTo>
                    <a:pt x="71" y="0"/>
                  </a:moveTo>
                  <a:cubicBezTo>
                    <a:pt x="29" y="6"/>
                    <a:pt x="0" y="45"/>
                    <a:pt x="6" y="87"/>
                  </a:cubicBezTo>
                  <a:cubicBezTo>
                    <a:pt x="12" y="129"/>
                    <a:pt x="51" y="159"/>
                    <a:pt x="93" y="153"/>
                  </a:cubicBezTo>
                  <a:lnTo>
                    <a:pt x="71" y="0"/>
                  </a:lnTo>
                  <a:close/>
                </a:path>
              </a:pathLst>
            </a:custGeom>
            <a:solidFill>
              <a:srgbClr val="E7E9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8" name="ïŝḷïḑê">
              <a:extLst>
                <a:ext uri="{FF2B5EF4-FFF2-40B4-BE49-F238E27FC236}">
                  <a16:creationId xmlns:a16="http://schemas.microsoft.com/office/drawing/2014/main" id="{79898D62-3499-4B74-A217-496BFC344803}"/>
                </a:ext>
              </a:extLst>
            </p:cNvPr>
            <p:cNvSpPr/>
            <p:nvPr/>
          </p:nvSpPr>
          <p:spPr bwMode="auto">
            <a:xfrm>
              <a:off x="4620985" y="2284243"/>
              <a:ext cx="34151" cy="128568"/>
            </a:xfrm>
            <a:custGeom>
              <a:avLst/>
              <a:gdLst>
                <a:gd name="T0" fmla="*/ 0 w 34"/>
                <a:gd name="T1" fmla="*/ 0 h 128"/>
                <a:gd name="T2" fmla="*/ 17 w 34"/>
                <a:gd name="T3" fmla="*/ 62 h 128"/>
                <a:gd name="T4" fmla="*/ 34 w 34"/>
                <a:gd name="T5" fmla="*/ 123 h 128"/>
                <a:gd name="T6" fmla="*/ 19 w 34"/>
                <a:gd name="T7" fmla="*/ 125 h 128"/>
                <a:gd name="T8" fmla="*/ 5 w 34"/>
                <a:gd name="T9" fmla="*/ 128 h 128"/>
                <a:gd name="T10" fmla="*/ 3 w 34"/>
                <a:gd name="T11" fmla="*/ 64 h 128"/>
                <a:gd name="T12" fmla="*/ 0 w 34"/>
                <a:gd name="T1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28">
                  <a:moveTo>
                    <a:pt x="0" y="0"/>
                  </a:moveTo>
                  <a:lnTo>
                    <a:pt x="17" y="62"/>
                  </a:lnTo>
                  <a:lnTo>
                    <a:pt x="34" y="123"/>
                  </a:lnTo>
                  <a:lnTo>
                    <a:pt x="19" y="125"/>
                  </a:lnTo>
                  <a:lnTo>
                    <a:pt x="5" y="128"/>
                  </a:lnTo>
                  <a:lnTo>
                    <a:pt x="3" y="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45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9" name="îṡ1îḍè">
              <a:extLst>
                <a:ext uri="{FF2B5EF4-FFF2-40B4-BE49-F238E27FC236}">
                  <a16:creationId xmlns:a16="http://schemas.microsoft.com/office/drawing/2014/main" id="{4BC65B7A-F6DC-43A6-968D-47458F6B1488}"/>
                </a:ext>
              </a:extLst>
            </p:cNvPr>
            <p:cNvSpPr/>
            <p:nvPr/>
          </p:nvSpPr>
          <p:spPr bwMode="auto">
            <a:xfrm>
              <a:off x="4538620" y="2402767"/>
              <a:ext cx="104462" cy="26116"/>
            </a:xfrm>
            <a:custGeom>
              <a:avLst/>
              <a:gdLst>
                <a:gd name="T0" fmla="*/ 0 w 104"/>
                <a:gd name="T1" fmla="*/ 26 h 26"/>
                <a:gd name="T2" fmla="*/ 49 w 104"/>
                <a:gd name="T3" fmla="*/ 12 h 26"/>
                <a:gd name="T4" fmla="*/ 101 w 104"/>
                <a:gd name="T5" fmla="*/ 0 h 26"/>
                <a:gd name="T6" fmla="*/ 101 w 104"/>
                <a:gd name="T7" fmla="*/ 10 h 26"/>
                <a:gd name="T8" fmla="*/ 104 w 104"/>
                <a:gd name="T9" fmla="*/ 22 h 26"/>
                <a:gd name="T10" fmla="*/ 52 w 104"/>
                <a:gd name="T11" fmla="*/ 24 h 26"/>
                <a:gd name="T12" fmla="*/ 0 w 104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26">
                  <a:moveTo>
                    <a:pt x="0" y="26"/>
                  </a:moveTo>
                  <a:lnTo>
                    <a:pt x="49" y="12"/>
                  </a:lnTo>
                  <a:lnTo>
                    <a:pt x="101" y="0"/>
                  </a:lnTo>
                  <a:lnTo>
                    <a:pt x="101" y="10"/>
                  </a:lnTo>
                  <a:lnTo>
                    <a:pt x="104" y="22"/>
                  </a:lnTo>
                  <a:lnTo>
                    <a:pt x="52" y="24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4545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0" name="ïṥ1îḋe">
              <a:extLst>
                <a:ext uri="{FF2B5EF4-FFF2-40B4-BE49-F238E27FC236}">
                  <a16:creationId xmlns:a16="http://schemas.microsoft.com/office/drawing/2014/main" id="{15876943-F2E1-46EF-8005-550F398A9D41}"/>
                </a:ext>
              </a:extLst>
            </p:cNvPr>
            <p:cNvSpPr/>
            <p:nvPr/>
          </p:nvSpPr>
          <p:spPr bwMode="auto">
            <a:xfrm>
              <a:off x="4618975" y="2390713"/>
              <a:ext cx="45200" cy="43191"/>
            </a:xfrm>
            <a:custGeom>
              <a:avLst/>
              <a:gdLst>
                <a:gd name="T0" fmla="*/ 11 w 19"/>
                <a:gd name="T1" fmla="*/ 18 h 18"/>
                <a:gd name="T2" fmla="*/ 1 w 19"/>
                <a:gd name="T3" fmla="*/ 10 h 18"/>
                <a:gd name="T4" fmla="*/ 8 w 19"/>
                <a:gd name="T5" fmla="*/ 1 h 18"/>
                <a:gd name="T6" fmla="*/ 18 w 19"/>
                <a:gd name="T7" fmla="*/ 8 h 18"/>
                <a:gd name="T8" fmla="*/ 11 w 1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1" y="18"/>
                  </a:moveTo>
                  <a:cubicBezTo>
                    <a:pt x="6" y="18"/>
                    <a:pt x="1" y="15"/>
                    <a:pt x="1" y="10"/>
                  </a:cubicBezTo>
                  <a:cubicBezTo>
                    <a:pt x="0" y="6"/>
                    <a:pt x="3" y="1"/>
                    <a:pt x="8" y="1"/>
                  </a:cubicBezTo>
                  <a:cubicBezTo>
                    <a:pt x="13" y="0"/>
                    <a:pt x="17" y="3"/>
                    <a:pt x="18" y="8"/>
                  </a:cubicBezTo>
                  <a:cubicBezTo>
                    <a:pt x="19" y="13"/>
                    <a:pt x="15" y="17"/>
                    <a:pt x="11" y="18"/>
                  </a:cubicBezTo>
                </a:path>
              </a:pathLst>
            </a:custGeom>
            <a:solidFill>
              <a:srgbClr val="7475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1" name="îṧlîḋe">
              <a:extLst>
                <a:ext uri="{FF2B5EF4-FFF2-40B4-BE49-F238E27FC236}">
                  <a16:creationId xmlns:a16="http://schemas.microsoft.com/office/drawing/2014/main" id="{373DE660-E8E2-4F9A-BA77-49841B854854}"/>
                </a:ext>
              </a:extLst>
            </p:cNvPr>
            <p:cNvSpPr/>
            <p:nvPr/>
          </p:nvSpPr>
          <p:spPr bwMode="auto">
            <a:xfrm>
              <a:off x="4623998" y="2395736"/>
              <a:ext cx="35156" cy="36160"/>
            </a:xfrm>
            <a:custGeom>
              <a:avLst/>
              <a:gdLst>
                <a:gd name="T0" fmla="*/ 8 w 15"/>
                <a:gd name="T1" fmla="*/ 14 h 15"/>
                <a:gd name="T2" fmla="*/ 14 w 15"/>
                <a:gd name="T3" fmla="*/ 6 h 15"/>
                <a:gd name="T4" fmla="*/ 6 w 15"/>
                <a:gd name="T5" fmla="*/ 0 h 15"/>
                <a:gd name="T6" fmla="*/ 0 w 15"/>
                <a:gd name="T7" fmla="*/ 8 h 15"/>
                <a:gd name="T8" fmla="*/ 8 w 15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2" y="14"/>
                    <a:pt x="15" y="10"/>
                    <a:pt x="14" y="6"/>
                  </a:cubicBezTo>
                  <a:cubicBezTo>
                    <a:pt x="14" y="2"/>
                    <a:pt x="10" y="0"/>
                    <a:pt x="6" y="0"/>
                  </a:cubicBezTo>
                  <a:cubicBezTo>
                    <a:pt x="2" y="1"/>
                    <a:pt x="0" y="4"/>
                    <a:pt x="0" y="8"/>
                  </a:cubicBezTo>
                  <a:cubicBezTo>
                    <a:pt x="1" y="12"/>
                    <a:pt x="4" y="15"/>
                    <a:pt x="8" y="14"/>
                  </a:cubicBezTo>
                </a:path>
              </a:pathLst>
            </a:custGeom>
            <a:solidFill>
              <a:srgbClr val="CAAD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2" name="ïS1íḋe">
              <a:extLst>
                <a:ext uri="{FF2B5EF4-FFF2-40B4-BE49-F238E27FC236}">
                  <a16:creationId xmlns:a16="http://schemas.microsoft.com/office/drawing/2014/main" id="{FF587A22-BC28-4407-AC9B-E2733A09FFF9}"/>
                </a:ext>
              </a:extLst>
            </p:cNvPr>
            <p:cNvSpPr/>
            <p:nvPr/>
          </p:nvSpPr>
          <p:spPr bwMode="auto">
            <a:xfrm>
              <a:off x="4609936" y="2234021"/>
              <a:ext cx="14062" cy="26116"/>
            </a:xfrm>
            <a:custGeom>
              <a:avLst/>
              <a:gdLst>
                <a:gd name="T0" fmla="*/ 2 w 6"/>
                <a:gd name="T1" fmla="*/ 11 h 11"/>
                <a:gd name="T2" fmla="*/ 6 w 6"/>
                <a:gd name="T3" fmla="*/ 10 h 11"/>
                <a:gd name="T4" fmla="*/ 4 w 6"/>
                <a:gd name="T5" fmla="*/ 0 h 11"/>
                <a:gd name="T6" fmla="*/ 2 w 6"/>
                <a:gd name="T7" fmla="*/ 0 h 11"/>
                <a:gd name="T8" fmla="*/ 0 w 6"/>
                <a:gd name="T9" fmla="*/ 1 h 11"/>
                <a:gd name="T10" fmla="*/ 2 w 6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2" y="11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lnTo>
                    <a:pt x="2" y="11"/>
                  </a:lnTo>
                  <a:close/>
                </a:path>
              </a:pathLst>
            </a:custGeom>
            <a:solidFill>
              <a:srgbClr val="5C5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3" name="îśḷîdé">
              <a:extLst>
                <a:ext uri="{FF2B5EF4-FFF2-40B4-BE49-F238E27FC236}">
                  <a16:creationId xmlns:a16="http://schemas.microsoft.com/office/drawing/2014/main" id="{E8D6FA6D-81E8-455F-B9AD-69CF03D2B526}"/>
                </a:ext>
              </a:extLst>
            </p:cNvPr>
            <p:cNvSpPr/>
            <p:nvPr/>
          </p:nvSpPr>
          <p:spPr bwMode="auto">
            <a:xfrm>
              <a:off x="4695312" y="2244065"/>
              <a:ext cx="16071" cy="26116"/>
            </a:xfrm>
            <a:custGeom>
              <a:avLst/>
              <a:gdLst>
                <a:gd name="T0" fmla="*/ 3 w 7"/>
                <a:gd name="T1" fmla="*/ 0 h 11"/>
                <a:gd name="T2" fmla="*/ 0 w 7"/>
                <a:gd name="T3" fmla="*/ 9 h 11"/>
                <a:gd name="T4" fmla="*/ 3 w 7"/>
                <a:gd name="T5" fmla="*/ 11 h 11"/>
                <a:gd name="T6" fmla="*/ 7 w 7"/>
                <a:gd name="T7" fmla="*/ 2 h 11"/>
                <a:gd name="T8" fmla="*/ 3 w 7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1">
                  <a:moveTo>
                    <a:pt x="3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1"/>
                    <a:pt x="5" y="1"/>
                    <a:pt x="3" y="0"/>
                  </a:cubicBezTo>
                </a:path>
              </a:pathLst>
            </a:custGeom>
            <a:solidFill>
              <a:srgbClr val="5C5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4" name="iś1îḍè">
              <a:extLst>
                <a:ext uri="{FF2B5EF4-FFF2-40B4-BE49-F238E27FC236}">
                  <a16:creationId xmlns:a16="http://schemas.microsoft.com/office/drawing/2014/main" id="{60346BD6-2DAF-4638-9321-CB0781FFC65D}"/>
                </a:ext>
              </a:extLst>
            </p:cNvPr>
            <p:cNvSpPr/>
            <p:nvPr/>
          </p:nvSpPr>
          <p:spPr bwMode="auto">
            <a:xfrm>
              <a:off x="4759597" y="2298305"/>
              <a:ext cx="26116" cy="22098"/>
            </a:xfrm>
            <a:custGeom>
              <a:avLst/>
              <a:gdLst>
                <a:gd name="T0" fmla="*/ 8 w 11"/>
                <a:gd name="T1" fmla="*/ 0 h 9"/>
                <a:gd name="T2" fmla="*/ 0 w 11"/>
                <a:gd name="T3" fmla="*/ 6 h 9"/>
                <a:gd name="T4" fmla="*/ 3 w 11"/>
                <a:gd name="T5" fmla="*/ 9 h 9"/>
                <a:gd name="T6" fmla="*/ 11 w 11"/>
                <a:gd name="T7" fmla="*/ 3 h 9"/>
                <a:gd name="T8" fmla="*/ 8 w 11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8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2"/>
                    <a:pt x="9" y="1"/>
                    <a:pt x="8" y="0"/>
                  </a:cubicBezTo>
                </a:path>
              </a:pathLst>
            </a:custGeom>
            <a:solidFill>
              <a:srgbClr val="5C5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5" name="íṣlîḑè">
              <a:extLst>
                <a:ext uri="{FF2B5EF4-FFF2-40B4-BE49-F238E27FC236}">
                  <a16:creationId xmlns:a16="http://schemas.microsoft.com/office/drawing/2014/main" id="{10A76F0C-7005-44CB-941A-A1CF35744513}"/>
                </a:ext>
              </a:extLst>
            </p:cNvPr>
            <p:cNvSpPr/>
            <p:nvPr/>
          </p:nvSpPr>
          <p:spPr bwMode="auto">
            <a:xfrm>
              <a:off x="4782700" y="2465042"/>
              <a:ext cx="26116" cy="19085"/>
            </a:xfrm>
            <a:custGeom>
              <a:avLst/>
              <a:gdLst>
                <a:gd name="T0" fmla="*/ 11 w 11"/>
                <a:gd name="T1" fmla="*/ 4 h 8"/>
                <a:gd name="T2" fmla="*/ 2 w 11"/>
                <a:gd name="T3" fmla="*/ 0 h 8"/>
                <a:gd name="T4" fmla="*/ 0 w 11"/>
                <a:gd name="T5" fmla="*/ 4 h 8"/>
                <a:gd name="T6" fmla="*/ 10 w 11"/>
                <a:gd name="T7" fmla="*/ 8 h 8"/>
                <a:gd name="T8" fmla="*/ 11 w 11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8">
                  <a:moveTo>
                    <a:pt x="11" y="4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7"/>
                    <a:pt x="11" y="6"/>
                    <a:pt x="11" y="4"/>
                  </a:cubicBezTo>
                </a:path>
              </a:pathLst>
            </a:custGeom>
            <a:solidFill>
              <a:srgbClr val="5C5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6" name="ïšľïḍê">
              <a:extLst>
                <a:ext uri="{FF2B5EF4-FFF2-40B4-BE49-F238E27FC236}">
                  <a16:creationId xmlns:a16="http://schemas.microsoft.com/office/drawing/2014/main" id="{9D0FA009-1DD9-45AD-A752-A3CDBE67FD9F}"/>
                </a:ext>
              </a:extLst>
            </p:cNvPr>
            <p:cNvSpPr/>
            <p:nvPr/>
          </p:nvSpPr>
          <p:spPr bwMode="auto">
            <a:xfrm>
              <a:off x="4733481" y="2531335"/>
              <a:ext cx="23102" cy="26116"/>
            </a:xfrm>
            <a:custGeom>
              <a:avLst/>
              <a:gdLst>
                <a:gd name="T0" fmla="*/ 10 w 10"/>
                <a:gd name="T1" fmla="*/ 8 h 11"/>
                <a:gd name="T2" fmla="*/ 4 w 10"/>
                <a:gd name="T3" fmla="*/ 0 h 11"/>
                <a:gd name="T4" fmla="*/ 0 w 10"/>
                <a:gd name="T5" fmla="*/ 3 h 11"/>
                <a:gd name="T6" fmla="*/ 7 w 10"/>
                <a:gd name="T7" fmla="*/ 11 h 11"/>
                <a:gd name="T8" fmla="*/ 10 w 10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10" y="8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0"/>
                    <a:pt x="9" y="9"/>
                    <a:pt x="10" y="8"/>
                  </a:cubicBezTo>
                </a:path>
              </a:pathLst>
            </a:custGeom>
            <a:solidFill>
              <a:srgbClr val="5C5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7" name="iśľîdé">
              <a:extLst>
                <a:ext uri="{FF2B5EF4-FFF2-40B4-BE49-F238E27FC236}">
                  <a16:creationId xmlns:a16="http://schemas.microsoft.com/office/drawing/2014/main" id="{D1734E15-5AC0-43C9-911D-EB3093C33BA1}"/>
                </a:ext>
              </a:extLst>
            </p:cNvPr>
            <p:cNvSpPr/>
            <p:nvPr/>
          </p:nvSpPr>
          <p:spPr bwMode="auto">
            <a:xfrm>
              <a:off x="4659153" y="2566490"/>
              <a:ext cx="12053" cy="24107"/>
            </a:xfrm>
            <a:custGeom>
              <a:avLst/>
              <a:gdLst>
                <a:gd name="T0" fmla="*/ 5 w 5"/>
                <a:gd name="T1" fmla="*/ 10 h 10"/>
                <a:gd name="T2" fmla="*/ 4 w 5"/>
                <a:gd name="T3" fmla="*/ 0 h 10"/>
                <a:gd name="T4" fmla="*/ 0 w 5"/>
                <a:gd name="T5" fmla="*/ 0 h 10"/>
                <a:gd name="T6" fmla="*/ 1 w 5"/>
                <a:gd name="T7" fmla="*/ 10 h 10"/>
                <a:gd name="T8" fmla="*/ 3 w 5"/>
                <a:gd name="T9" fmla="*/ 10 h 10"/>
                <a:gd name="T10" fmla="*/ 5 w 5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0">
                  <a:moveTo>
                    <a:pt x="5" y="1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0"/>
                    <a:pt x="2" y="10"/>
                    <a:pt x="3" y="10"/>
                  </a:cubicBezTo>
                  <a:cubicBezTo>
                    <a:pt x="4" y="10"/>
                    <a:pt x="5" y="10"/>
                    <a:pt x="5" y="10"/>
                  </a:cubicBezTo>
                </a:path>
              </a:pathLst>
            </a:custGeom>
            <a:solidFill>
              <a:srgbClr val="5C5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8" name="ïśliďe">
              <a:extLst>
                <a:ext uri="{FF2B5EF4-FFF2-40B4-BE49-F238E27FC236}">
                  <a16:creationId xmlns:a16="http://schemas.microsoft.com/office/drawing/2014/main" id="{4C4AD53D-4EBD-4C1F-B0D6-D7F65374E602}"/>
                </a:ext>
              </a:extLst>
            </p:cNvPr>
            <p:cNvSpPr/>
            <p:nvPr/>
          </p:nvSpPr>
          <p:spPr bwMode="auto">
            <a:xfrm>
              <a:off x="4568753" y="2555441"/>
              <a:ext cx="19085" cy="26116"/>
            </a:xfrm>
            <a:custGeom>
              <a:avLst/>
              <a:gdLst>
                <a:gd name="T0" fmla="*/ 4 w 8"/>
                <a:gd name="T1" fmla="*/ 11 h 11"/>
                <a:gd name="T2" fmla="*/ 8 w 8"/>
                <a:gd name="T3" fmla="*/ 2 h 11"/>
                <a:gd name="T4" fmla="*/ 4 w 8"/>
                <a:gd name="T5" fmla="*/ 0 h 11"/>
                <a:gd name="T6" fmla="*/ 0 w 8"/>
                <a:gd name="T7" fmla="*/ 10 h 11"/>
                <a:gd name="T8" fmla="*/ 4 w 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4" y="11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0"/>
                    <a:pt x="3" y="11"/>
                    <a:pt x="4" y="11"/>
                  </a:cubicBezTo>
                </a:path>
              </a:pathLst>
            </a:custGeom>
            <a:solidFill>
              <a:srgbClr val="5C5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9" name="îṩľíḓê">
              <a:extLst>
                <a:ext uri="{FF2B5EF4-FFF2-40B4-BE49-F238E27FC236}">
                  <a16:creationId xmlns:a16="http://schemas.microsoft.com/office/drawing/2014/main" id="{D0F6C694-0053-43B3-A5A8-79A95AFCD22B}"/>
                </a:ext>
              </a:extLst>
            </p:cNvPr>
            <p:cNvSpPr/>
            <p:nvPr/>
          </p:nvSpPr>
          <p:spPr bwMode="auto">
            <a:xfrm>
              <a:off x="4497439" y="2505219"/>
              <a:ext cx="24107" cy="24107"/>
            </a:xfrm>
            <a:custGeom>
              <a:avLst/>
              <a:gdLst>
                <a:gd name="T0" fmla="*/ 2 w 10"/>
                <a:gd name="T1" fmla="*/ 10 h 10"/>
                <a:gd name="T2" fmla="*/ 10 w 10"/>
                <a:gd name="T3" fmla="*/ 3 h 10"/>
                <a:gd name="T4" fmla="*/ 7 w 10"/>
                <a:gd name="T5" fmla="*/ 0 h 10"/>
                <a:gd name="T6" fmla="*/ 0 w 10"/>
                <a:gd name="T7" fmla="*/ 6 h 10"/>
                <a:gd name="T8" fmla="*/ 2 w 10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10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8"/>
                    <a:pt x="1" y="9"/>
                    <a:pt x="2" y="10"/>
                  </a:cubicBezTo>
                </a:path>
              </a:pathLst>
            </a:custGeom>
            <a:solidFill>
              <a:srgbClr val="5C5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0" name="išlïdé">
              <a:extLst>
                <a:ext uri="{FF2B5EF4-FFF2-40B4-BE49-F238E27FC236}">
                  <a16:creationId xmlns:a16="http://schemas.microsoft.com/office/drawing/2014/main" id="{DF19460B-1606-4A64-86F7-80886D629E03}"/>
                </a:ext>
              </a:extLst>
            </p:cNvPr>
            <p:cNvSpPr/>
            <p:nvPr/>
          </p:nvSpPr>
          <p:spPr bwMode="auto">
            <a:xfrm>
              <a:off x="4462284" y="2431895"/>
              <a:ext cx="26116" cy="11049"/>
            </a:xfrm>
            <a:custGeom>
              <a:avLst/>
              <a:gdLst>
                <a:gd name="T0" fmla="*/ 1 w 11"/>
                <a:gd name="T1" fmla="*/ 5 h 5"/>
                <a:gd name="T2" fmla="*/ 11 w 11"/>
                <a:gd name="T3" fmla="*/ 4 h 5"/>
                <a:gd name="T4" fmla="*/ 10 w 11"/>
                <a:gd name="T5" fmla="*/ 0 h 5"/>
                <a:gd name="T6" fmla="*/ 0 w 11"/>
                <a:gd name="T7" fmla="*/ 1 h 5"/>
                <a:gd name="T8" fmla="*/ 0 w 11"/>
                <a:gd name="T9" fmla="*/ 3 h 5"/>
                <a:gd name="T10" fmla="*/ 1 w 11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">
                  <a:moveTo>
                    <a:pt x="1" y="5"/>
                  </a:moveTo>
                  <a:cubicBezTo>
                    <a:pt x="11" y="4"/>
                    <a:pt x="11" y="4"/>
                    <a:pt x="11" y="4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4"/>
                    <a:pt x="1" y="4"/>
                    <a:pt x="1" y="5"/>
                  </a:cubicBezTo>
                </a:path>
              </a:pathLst>
            </a:custGeom>
            <a:solidFill>
              <a:srgbClr val="5C5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1" name="ïSļïḍè">
              <a:extLst>
                <a:ext uri="{FF2B5EF4-FFF2-40B4-BE49-F238E27FC236}">
                  <a16:creationId xmlns:a16="http://schemas.microsoft.com/office/drawing/2014/main" id="{277ADF48-6288-4094-86D5-1A49EC572879}"/>
                </a:ext>
              </a:extLst>
            </p:cNvPr>
            <p:cNvSpPr/>
            <p:nvPr/>
          </p:nvSpPr>
          <p:spPr bwMode="auto">
            <a:xfrm>
              <a:off x="4471324" y="2341496"/>
              <a:ext cx="26116" cy="19085"/>
            </a:xfrm>
            <a:custGeom>
              <a:avLst/>
              <a:gdLst>
                <a:gd name="T0" fmla="*/ 0 w 11"/>
                <a:gd name="T1" fmla="*/ 4 h 8"/>
                <a:gd name="T2" fmla="*/ 10 w 11"/>
                <a:gd name="T3" fmla="*/ 8 h 8"/>
                <a:gd name="T4" fmla="*/ 11 w 11"/>
                <a:gd name="T5" fmla="*/ 4 h 8"/>
                <a:gd name="T6" fmla="*/ 2 w 11"/>
                <a:gd name="T7" fmla="*/ 0 h 8"/>
                <a:gd name="T8" fmla="*/ 0 w 11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8">
                  <a:moveTo>
                    <a:pt x="0" y="4"/>
                  </a:moveTo>
                  <a:cubicBezTo>
                    <a:pt x="10" y="8"/>
                    <a:pt x="10" y="8"/>
                    <a:pt x="10" y="8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3"/>
                    <a:pt x="0" y="4"/>
                  </a:cubicBezTo>
                </a:path>
              </a:pathLst>
            </a:custGeom>
            <a:solidFill>
              <a:srgbClr val="5C5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2" name="îşḻîḍê">
              <a:extLst>
                <a:ext uri="{FF2B5EF4-FFF2-40B4-BE49-F238E27FC236}">
                  <a16:creationId xmlns:a16="http://schemas.microsoft.com/office/drawing/2014/main" id="{B7EAD6C3-6BD8-44F3-B6F2-3B2910F88C62}"/>
                </a:ext>
              </a:extLst>
            </p:cNvPr>
            <p:cNvSpPr/>
            <p:nvPr/>
          </p:nvSpPr>
          <p:spPr bwMode="auto">
            <a:xfrm>
              <a:off x="4526568" y="2268172"/>
              <a:ext cx="21093" cy="26116"/>
            </a:xfrm>
            <a:custGeom>
              <a:avLst/>
              <a:gdLst>
                <a:gd name="T0" fmla="*/ 0 w 9"/>
                <a:gd name="T1" fmla="*/ 3 h 11"/>
                <a:gd name="T2" fmla="*/ 6 w 9"/>
                <a:gd name="T3" fmla="*/ 11 h 11"/>
                <a:gd name="T4" fmla="*/ 9 w 9"/>
                <a:gd name="T5" fmla="*/ 8 h 11"/>
                <a:gd name="T6" fmla="*/ 3 w 9"/>
                <a:gd name="T7" fmla="*/ 0 h 11"/>
                <a:gd name="T8" fmla="*/ 0 w 9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0" y="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1" y="2"/>
                    <a:pt x="0" y="3"/>
                  </a:cubicBezTo>
                </a:path>
              </a:pathLst>
            </a:custGeom>
            <a:solidFill>
              <a:srgbClr val="5C5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3" name="iṩlíďe">
              <a:extLst>
                <a:ext uri="{FF2B5EF4-FFF2-40B4-BE49-F238E27FC236}">
                  <a16:creationId xmlns:a16="http://schemas.microsoft.com/office/drawing/2014/main" id="{382DA3C6-974F-4FE5-B52F-DD2409F84D5E}"/>
                </a:ext>
              </a:extLst>
            </p:cNvPr>
            <p:cNvSpPr/>
            <p:nvPr/>
          </p:nvSpPr>
          <p:spPr bwMode="auto">
            <a:xfrm>
              <a:off x="4794752" y="2361063"/>
              <a:ext cx="24107" cy="14062"/>
            </a:xfrm>
            <a:custGeom>
              <a:avLst/>
              <a:gdLst>
                <a:gd name="T0" fmla="*/ 10 w 10"/>
                <a:gd name="T1" fmla="*/ 0 h 6"/>
                <a:gd name="T2" fmla="*/ 0 w 10"/>
                <a:gd name="T3" fmla="*/ 2 h 6"/>
                <a:gd name="T4" fmla="*/ 0 w 10"/>
                <a:gd name="T5" fmla="*/ 6 h 6"/>
                <a:gd name="T6" fmla="*/ 10 w 10"/>
                <a:gd name="T7" fmla="*/ 4 h 6"/>
                <a:gd name="T8" fmla="*/ 10 w 10"/>
                <a:gd name="T9" fmla="*/ 2 h 6"/>
                <a:gd name="T10" fmla="*/ 10 w 1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1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3"/>
                    <a:pt x="10" y="2"/>
                  </a:cubicBezTo>
                  <a:cubicBezTo>
                    <a:pt x="10" y="2"/>
                    <a:pt x="10" y="1"/>
                    <a:pt x="10" y="0"/>
                  </a:cubicBezTo>
                </a:path>
              </a:pathLst>
            </a:custGeom>
            <a:solidFill>
              <a:srgbClr val="5C5D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4" name="iṡḷide">
              <a:extLst>
                <a:ext uri="{FF2B5EF4-FFF2-40B4-BE49-F238E27FC236}">
                  <a16:creationId xmlns:a16="http://schemas.microsoft.com/office/drawing/2014/main" id="{30640C50-9881-4C2A-9147-D3D0D69CFFB4}"/>
                </a:ext>
              </a:extLst>
            </p:cNvPr>
            <p:cNvSpPr/>
            <p:nvPr/>
          </p:nvSpPr>
          <p:spPr bwMode="auto">
            <a:xfrm>
              <a:off x="4728460" y="2396219"/>
              <a:ext cx="322425" cy="280239"/>
            </a:xfrm>
            <a:custGeom>
              <a:avLst/>
              <a:gdLst>
                <a:gd name="T0" fmla="*/ 136 w 136"/>
                <a:gd name="T1" fmla="*/ 95 h 118"/>
                <a:gd name="T2" fmla="*/ 129 w 136"/>
                <a:gd name="T3" fmla="*/ 102 h 118"/>
                <a:gd name="T4" fmla="*/ 23 w 136"/>
                <a:gd name="T5" fmla="*/ 118 h 118"/>
                <a:gd name="T6" fmla="*/ 14 w 136"/>
                <a:gd name="T7" fmla="*/ 112 h 118"/>
                <a:gd name="T8" fmla="*/ 0 w 136"/>
                <a:gd name="T9" fmla="*/ 18 h 118"/>
                <a:gd name="T10" fmla="*/ 122 w 136"/>
                <a:gd name="T11" fmla="*/ 0 h 118"/>
                <a:gd name="T12" fmla="*/ 136 w 136"/>
                <a:gd name="T13" fmla="*/ 9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118">
                  <a:moveTo>
                    <a:pt x="136" y="95"/>
                  </a:moveTo>
                  <a:cubicBezTo>
                    <a:pt x="136" y="98"/>
                    <a:pt x="133" y="102"/>
                    <a:pt x="129" y="102"/>
                  </a:cubicBezTo>
                  <a:cubicBezTo>
                    <a:pt x="23" y="118"/>
                    <a:pt x="23" y="118"/>
                    <a:pt x="23" y="118"/>
                  </a:cubicBezTo>
                  <a:cubicBezTo>
                    <a:pt x="18" y="118"/>
                    <a:pt x="14" y="116"/>
                    <a:pt x="14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136" y="95"/>
                  </a:lnTo>
                  <a:close/>
                </a:path>
              </a:pathLst>
            </a:custGeom>
            <a:solidFill>
              <a:srgbClr val="CFD3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5" name="ïṥlîḓè">
              <a:extLst>
                <a:ext uri="{FF2B5EF4-FFF2-40B4-BE49-F238E27FC236}">
                  <a16:creationId xmlns:a16="http://schemas.microsoft.com/office/drawing/2014/main" id="{25AEEDAA-E0E6-415F-9CA0-13E968E7EA41}"/>
                </a:ext>
              </a:extLst>
            </p:cNvPr>
            <p:cNvSpPr/>
            <p:nvPr/>
          </p:nvSpPr>
          <p:spPr bwMode="auto">
            <a:xfrm>
              <a:off x="4721429" y="2347000"/>
              <a:ext cx="301332" cy="118524"/>
            </a:xfrm>
            <a:custGeom>
              <a:avLst/>
              <a:gdLst>
                <a:gd name="T0" fmla="*/ 13 w 127"/>
                <a:gd name="T1" fmla="*/ 22 h 50"/>
                <a:gd name="T2" fmla="*/ 19 w 127"/>
                <a:gd name="T3" fmla="*/ 27 h 50"/>
                <a:gd name="T4" fmla="*/ 15 w 127"/>
                <a:gd name="T5" fmla="*/ 32 h 50"/>
                <a:gd name="T6" fmla="*/ 9 w 127"/>
                <a:gd name="T7" fmla="*/ 28 h 50"/>
                <a:gd name="T8" fmla="*/ 13 w 127"/>
                <a:gd name="T9" fmla="*/ 22 h 50"/>
                <a:gd name="T10" fmla="*/ 38 w 127"/>
                <a:gd name="T11" fmla="*/ 19 h 50"/>
                <a:gd name="T12" fmla="*/ 38 w 127"/>
                <a:gd name="T13" fmla="*/ 19 h 50"/>
                <a:gd name="T14" fmla="*/ 43 w 127"/>
                <a:gd name="T15" fmla="*/ 23 h 50"/>
                <a:gd name="T16" fmla="*/ 39 w 127"/>
                <a:gd name="T17" fmla="*/ 29 h 50"/>
                <a:gd name="T18" fmla="*/ 33 w 127"/>
                <a:gd name="T19" fmla="*/ 24 h 50"/>
                <a:gd name="T20" fmla="*/ 38 w 127"/>
                <a:gd name="T21" fmla="*/ 19 h 50"/>
                <a:gd name="T22" fmla="*/ 62 w 127"/>
                <a:gd name="T23" fmla="*/ 15 h 50"/>
                <a:gd name="T24" fmla="*/ 62 w 127"/>
                <a:gd name="T25" fmla="*/ 15 h 50"/>
                <a:gd name="T26" fmla="*/ 68 w 127"/>
                <a:gd name="T27" fmla="*/ 19 h 50"/>
                <a:gd name="T28" fmla="*/ 63 w 127"/>
                <a:gd name="T29" fmla="*/ 25 h 50"/>
                <a:gd name="T30" fmla="*/ 58 w 127"/>
                <a:gd name="T31" fmla="*/ 21 h 50"/>
                <a:gd name="T32" fmla="*/ 62 w 127"/>
                <a:gd name="T33" fmla="*/ 15 h 50"/>
                <a:gd name="T34" fmla="*/ 86 w 127"/>
                <a:gd name="T35" fmla="*/ 12 h 50"/>
                <a:gd name="T36" fmla="*/ 86 w 127"/>
                <a:gd name="T37" fmla="*/ 12 h 50"/>
                <a:gd name="T38" fmla="*/ 92 w 127"/>
                <a:gd name="T39" fmla="*/ 16 h 50"/>
                <a:gd name="T40" fmla="*/ 88 w 127"/>
                <a:gd name="T41" fmla="*/ 22 h 50"/>
                <a:gd name="T42" fmla="*/ 82 w 127"/>
                <a:gd name="T43" fmla="*/ 17 h 50"/>
                <a:gd name="T44" fmla="*/ 86 w 127"/>
                <a:gd name="T45" fmla="*/ 12 h 50"/>
                <a:gd name="T46" fmla="*/ 111 w 127"/>
                <a:gd name="T47" fmla="*/ 8 h 50"/>
                <a:gd name="T48" fmla="*/ 111 w 127"/>
                <a:gd name="T49" fmla="*/ 8 h 50"/>
                <a:gd name="T50" fmla="*/ 116 w 127"/>
                <a:gd name="T51" fmla="*/ 12 h 50"/>
                <a:gd name="T52" fmla="*/ 112 w 127"/>
                <a:gd name="T53" fmla="*/ 18 h 50"/>
                <a:gd name="T54" fmla="*/ 106 w 127"/>
                <a:gd name="T55" fmla="*/ 14 h 50"/>
                <a:gd name="T56" fmla="*/ 111 w 127"/>
                <a:gd name="T57" fmla="*/ 8 h 50"/>
                <a:gd name="T58" fmla="*/ 127 w 127"/>
                <a:gd name="T59" fmla="*/ 32 h 50"/>
                <a:gd name="T60" fmla="*/ 127 w 127"/>
                <a:gd name="T61" fmla="*/ 32 h 50"/>
                <a:gd name="T62" fmla="*/ 122 w 127"/>
                <a:gd name="T63" fmla="*/ 0 h 50"/>
                <a:gd name="T64" fmla="*/ 0 w 127"/>
                <a:gd name="T65" fmla="*/ 18 h 50"/>
                <a:gd name="T66" fmla="*/ 5 w 127"/>
                <a:gd name="T67" fmla="*/ 50 h 50"/>
                <a:gd name="T68" fmla="*/ 127 w 127"/>
                <a:gd name="T69" fmla="*/ 3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7" h="50">
                  <a:moveTo>
                    <a:pt x="13" y="22"/>
                  </a:moveTo>
                  <a:cubicBezTo>
                    <a:pt x="16" y="22"/>
                    <a:pt x="19" y="24"/>
                    <a:pt x="19" y="27"/>
                  </a:cubicBezTo>
                  <a:cubicBezTo>
                    <a:pt x="19" y="29"/>
                    <a:pt x="18" y="32"/>
                    <a:pt x="15" y="32"/>
                  </a:cubicBezTo>
                  <a:cubicBezTo>
                    <a:pt x="12" y="33"/>
                    <a:pt x="10" y="31"/>
                    <a:pt x="9" y="28"/>
                  </a:cubicBezTo>
                  <a:cubicBezTo>
                    <a:pt x="9" y="25"/>
                    <a:pt x="11" y="23"/>
                    <a:pt x="13" y="22"/>
                  </a:cubicBezTo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40" y="18"/>
                    <a:pt x="43" y="20"/>
                    <a:pt x="43" y="23"/>
                  </a:cubicBezTo>
                  <a:cubicBezTo>
                    <a:pt x="44" y="26"/>
                    <a:pt x="42" y="28"/>
                    <a:pt x="39" y="29"/>
                  </a:cubicBezTo>
                  <a:cubicBezTo>
                    <a:pt x="36" y="29"/>
                    <a:pt x="34" y="27"/>
                    <a:pt x="33" y="24"/>
                  </a:cubicBezTo>
                  <a:cubicBezTo>
                    <a:pt x="33" y="22"/>
                    <a:pt x="35" y="19"/>
                    <a:pt x="38" y="19"/>
                  </a:cubicBezTo>
                  <a:moveTo>
                    <a:pt x="62" y="15"/>
                  </a:moveTo>
                  <a:cubicBezTo>
                    <a:pt x="62" y="15"/>
                    <a:pt x="62" y="15"/>
                    <a:pt x="62" y="15"/>
                  </a:cubicBezTo>
                  <a:cubicBezTo>
                    <a:pt x="65" y="15"/>
                    <a:pt x="67" y="17"/>
                    <a:pt x="68" y="19"/>
                  </a:cubicBezTo>
                  <a:cubicBezTo>
                    <a:pt x="68" y="22"/>
                    <a:pt x="66" y="25"/>
                    <a:pt x="63" y="25"/>
                  </a:cubicBezTo>
                  <a:cubicBezTo>
                    <a:pt x="61" y="26"/>
                    <a:pt x="58" y="24"/>
                    <a:pt x="58" y="21"/>
                  </a:cubicBezTo>
                  <a:cubicBezTo>
                    <a:pt x="57" y="18"/>
                    <a:pt x="59" y="16"/>
                    <a:pt x="62" y="15"/>
                  </a:cubicBezTo>
                  <a:moveTo>
                    <a:pt x="86" y="12"/>
                  </a:moveTo>
                  <a:cubicBezTo>
                    <a:pt x="86" y="12"/>
                    <a:pt x="86" y="12"/>
                    <a:pt x="86" y="12"/>
                  </a:cubicBezTo>
                  <a:cubicBezTo>
                    <a:pt x="89" y="11"/>
                    <a:pt x="92" y="13"/>
                    <a:pt x="92" y="16"/>
                  </a:cubicBezTo>
                  <a:cubicBezTo>
                    <a:pt x="92" y="19"/>
                    <a:pt x="90" y="21"/>
                    <a:pt x="88" y="22"/>
                  </a:cubicBezTo>
                  <a:cubicBezTo>
                    <a:pt x="85" y="22"/>
                    <a:pt x="82" y="20"/>
                    <a:pt x="82" y="17"/>
                  </a:cubicBezTo>
                  <a:cubicBezTo>
                    <a:pt x="82" y="15"/>
                    <a:pt x="84" y="12"/>
                    <a:pt x="86" y="12"/>
                  </a:cubicBezTo>
                  <a:moveTo>
                    <a:pt x="111" y="8"/>
                  </a:moveTo>
                  <a:cubicBezTo>
                    <a:pt x="111" y="8"/>
                    <a:pt x="111" y="8"/>
                    <a:pt x="111" y="8"/>
                  </a:cubicBezTo>
                  <a:cubicBezTo>
                    <a:pt x="113" y="8"/>
                    <a:pt x="116" y="10"/>
                    <a:pt x="116" y="12"/>
                  </a:cubicBezTo>
                  <a:cubicBezTo>
                    <a:pt x="117" y="15"/>
                    <a:pt x="115" y="18"/>
                    <a:pt x="112" y="18"/>
                  </a:cubicBezTo>
                  <a:cubicBezTo>
                    <a:pt x="109" y="18"/>
                    <a:pt x="107" y="17"/>
                    <a:pt x="106" y="14"/>
                  </a:cubicBezTo>
                  <a:cubicBezTo>
                    <a:pt x="106" y="11"/>
                    <a:pt x="108" y="9"/>
                    <a:pt x="111" y="8"/>
                  </a:cubicBezTo>
                  <a:moveTo>
                    <a:pt x="127" y="32"/>
                  </a:moveTo>
                  <a:cubicBezTo>
                    <a:pt x="127" y="32"/>
                    <a:pt x="127" y="32"/>
                    <a:pt x="127" y="32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5" y="50"/>
                    <a:pt x="5" y="50"/>
                    <a:pt x="5" y="50"/>
                  </a:cubicBezTo>
                  <a:lnTo>
                    <a:pt x="127" y="32"/>
                  </a:lnTo>
                  <a:close/>
                </a:path>
              </a:pathLst>
            </a:custGeom>
            <a:solidFill>
              <a:srgbClr val="ED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6" name="îślïḑe">
              <a:extLst>
                <a:ext uri="{FF2B5EF4-FFF2-40B4-BE49-F238E27FC236}">
                  <a16:creationId xmlns:a16="http://schemas.microsoft.com/office/drawing/2014/main" id="{599F42DA-CAD0-4B18-B626-C21547E9B18E}"/>
                </a:ext>
              </a:extLst>
            </p:cNvPr>
            <p:cNvSpPr/>
            <p:nvPr/>
          </p:nvSpPr>
          <p:spPr bwMode="auto">
            <a:xfrm>
              <a:off x="4740513" y="2370103"/>
              <a:ext cx="23102" cy="50222"/>
            </a:xfrm>
            <a:custGeom>
              <a:avLst/>
              <a:gdLst>
                <a:gd name="T0" fmla="*/ 10 w 10"/>
                <a:gd name="T1" fmla="*/ 17 h 21"/>
                <a:gd name="T2" fmla="*/ 8 w 10"/>
                <a:gd name="T3" fmla="*/ 20 h 21"/>
                <a:gd name="T4" fmla="*/ 5 w 10"/>
                <a:gd name="T5" fmla="*/ 21 h 21"/>
                <a:gd name="T6" fmla="*/ 2 w 10"/>
                <a:gd name="T7" fmla="*/ 19 h 21"/>
                <a:gd name="T8" fmla="*/ 0 w 10"/>
                <a:gd name="T9" fmla="*/ 4 h 21"/>
                <a:gd name="T10" fmla="*/ 2 w 10"/>
                <a:gd name="T11" fmla="*/ 1 h 21"/>
                <a:gd name="T12" fmla="*/ 5 w 10"/>
                <a:gd name="T13" fmla="*/ 1 h 21"/>
                <a:gd name="T14" fmla="*/ 8 w 10"/>
                <a:gd name="T15" fmla="*/ 3 h 21"/>
                <a:gd name="T16" fmla="*/ 10 w 10"/>
                <a:gd name="T1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1">
                  <a:moveTo>
                    <a:pt x="10" y="17"/>
                  </a:moveTo>
                  <a:cubicBezTo>
                    <a:pt x="10" y="19"/>
                    <a:pt x="9" y="20"/>
                    <a:pt x="8" y="20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1"/>
                    <a:pt x="3" y="20"/>
                    <a:pt x="2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0"/>
                    <a:pt x="8" y="1"/>
                    <a:pt x="8" y="3"/>
                  </a:cubicBezTo>
                  <a:lnTo>
                    <a:pt x="10" y="17"/>
                  </a:lnTo>
                  <a:close/>
                </a:path>
              </a:pathLst>
            </a:custGeom>
            <a:solidFill>
              <a:srgbClr val="4444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7" name="işḻïḑe">
              <a:extLst>
                <a:ext uri="{FF2B5EF4-FFF2-40B4-BE49-F238E27FC236}">
                  <a16:creationId xmlns:a16="http://schemas.microsoft.com/office/drawing/2014/main" id="{17A78371-3B47-44FF-BF45-25B9C6B3F23E}"/>
                </a:ext>
              </a:extLst>
            </p:cNvPr>
            <p:cNvSpPr/>
            <p:nvPr/>
          </p:nvSpPr>
          <p:spPr bwMode="auto">
            <a:xfrm>
              <a:off x="4796762" y="2363072"/>
              <a:ext cx="24107" cy="48213"/>
            </a:xfrm>
            <a:custGeom>
              <a:avLst/>
              <a:gdLst>
                <a:gd name="T0" fmla="*/ 10 w 10"/>
                <a:gd name="T1" fmla="*/ 17 h 20"/>
                <a:gd name="T2" fmla="*/ 8 w 10"/>
                <a:gd name="T3" fmla="*/ 20 h 20"/>
                <a:gd name="T4" fmla="*/ 5 w 10"/>
                <a:gd name="T5" fmla="*/ 20 h 20"/>
                <a:gd name="T6" fmla="*/ 3 w 10"/>
                <a:gd name="T7" fmla="*/ 18 h 20"/>
                <a:gd name="T8" fmla="*/ 1 w 10"/>
                <a:gd name="T9" fmla="*/ 3 h 20"/>
                <a:gd name="T10" fmla="*/ 3 w 10"/>
                <a:gd name="T11" fmla="*/ 1 h 20"/>
                <a:gd name="T12" fmla="*/ 5 w 10"/>
                <a:gd name="T13" fmla="*/ 0 h 20"/>
                <a:gd name="T14" fmla="*/ 8 w 10"/>
                <a:gd name="T15" fmla="*/ 2 h 20"/>
                <a:gd name="T16" fmla="*/ 10 w 10"/>
                <a:gd name="T1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0">
                  <a:moveTo>
                    <a:pt x="10" y="17"/>
                  </a:moveTo>
                  <a:cubicBezTo>
                    <a:pt x="10" y="18"/>
                    <a:pt x="10" y="19"/>
                    <a:pt x="8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20"/>
                    <a:pt x="3" y="19"/>
                    <a:pt x="3" y="18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8" y="1"/>
                    <a:pt x="8" y="2"/>
                  </a:cubicBezTo>
                  <a:lnTo>
                    <a:pt x="10" y="17"/>
                  </a:lnTo>
                  <a:close/>
                </a:path>
              </a:pathLst>
            </a:custGeom>
            <a:solidFill>
              <a:srgbClr val="4444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8" name="išḻîḋe">
              <a:extLst>
                <a:ext uri="{FF2B5EF4-FFF2-40B4-BE49-F238E27FC236}">
                  <a16:creationId xmlns:a16="http://schemas.microsoft.com/office/drawing/2014/main" id="{C1B1DE8F-DA06-4D3C-9FF4-06B3882E2E08}"/>
                </a:ext>
              </a:extLst>
            </p:cNvPr>
            <p:cNvSpPr/>
            <p:nvPr/>
          </p:nvSpPr>
          <p:spPr bwMode="auto">
            <a:xfrm>
              <a:off x="4856023" y="2354032"/>
              <a:ext cx="24107" cy="50222"/>
            </a:xfrm>
            <a:custGeom>
              <a:avLst/>
              <a:gdLst>
                <a:gd name="T0" fmla="*/ 10 w 10"/>
                <a:gd name="T1" fmla="*/ 17 h 21"/>
                <a:gd name="T2" fmla="*/ 8 w 10"/>
                <a:gd name="T3" fmla="*/ 20 h 21"/>
                <a:gd name="T4" fmla="*/ 5 w 10"/>
                <a:gd name="T5" fmla="*/ 20 h 21"/>
                <a:gd name="T6" fmla="*/ 2 w 10"/>
                <a:gd name="T7" fmla="*/ 18 h 21"/>
                <a:gd name="T8" fmla="*/ 0 w 10"/>
                <a:gd name="T9" fmla="*/ 4 h 21"/>
                <a:gd name="T10" fmla="*/ 2 w 10"/>
                <a:gd name="T11" fmla="*/ 1 h 21"/>
                <a:gd name="T12" fmla="*/ 5 w 10"/>
                <a:gd name="T13" fmla="*/ 1 h 21"/>
                <a:gd name="T14" fmla="*/ 7 w 10"/>
                <a:gd name="T15" fmla="*/ 3 h 21"/>
                <a:gd name="T16" fmla="*/ 10 w 10"/>
                <a:gd name="T1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1">
                  <a:moveTo>
                    <a:pt x="10" y="17"/>
                  </a:moveTo>
                  <a:cubicBezTo>
                    <a:pt x="10" y="19"/>
                    <a:pt x="9" y="20"/>
                    <a:pt x="8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3" y="21"/>
                    <a:pt x="2" y="20"/>
                    <a:pt x="2" y="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0"/>
                    <a:pt x="7" y="1"/>
                    <a:pt x="7" y="3"/>
                  </a:cubicBezTo>
                  <a:lnTo>
                    <a:pt x="10" y="17"/>
                  </a:lnTo>
                  <a:close/>
                </a:path>
              </a:pathLst>
            </a:custGeom>
            <a:solidFill>
              <a:srgbClr val="4444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9" name="îṣ1iḑé">
              <a:extLst>
                <a:ext uri="{FF2B5EF4-FFF2-40B4-BE49-F238E27FC236}">
                  <a16:creationId xmlns:a16="http://schemas.microsoft.com/office/drawing/2014/main" id="{738E7694-E946-4C88-964C-4B948EA926DD}"/>
                </a:ext>
              </a:extLst>
            </p:cNvPr>
            <p:cNvSpPr/>
            <p:nvPr/>
          </p:nvSpPr>
          <p:spPr bwMode="auto">
            <a:xfrm>
              <a:off x="4913277" y="2347000"/>
              <a:ext cx="24107" cy="47209"/>
            </a:xfrm>
            <a:custGeom>
              <a:avLst/>
              <a:gdLst>
                <a:gd name="T0" fmla="*/ 10 w 10"/>
                <a:gd name="T1" fmla="*/ 17 h 20"/>
                <a:gd name="T2" fmla="*/ 8 w 10"/>
                <a:gd name="T3" fmla="*/ 20 h 20"/>
                <a:gd name="T4" fmla="*/ 5 w 10"/>
                <a:gd name="T5" fmla="*/ 20 h 20"/>
                <a:gd name="T6" fmla="*/ 2 w 10"/>
                <a:gd name="T7" fmla="*/ 18 h 20"/>
                <a:gd name="T8" fmla="*/ 0 w 10"/>
                <a:gd name="T9" fmla="*/ 3 h 20"/>
                <a:gd name="T10" fmla="*/ 2 w 10"/>
                <a:gd name="T11" fmla="*/ 0 h 20"/>
                <a:gd name="T12" fmla="*/ 5 w 10"/>
                <a:gd name="T13" fmla="*/ 0 h 20"/>
                <a:gd name="T14" fmla="*/ 8 w 10"/>
                <a:gd name="T15" fmla="*/ 2 h 20"/>
                <a:gd name="T16" fmla="*/ 10 w 10"/>
                <a:gd name="T1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0">
                  <a:moveTo>
                    <a:pt x="10" y="17"/>
                  </a:moveTo>
                  <a:cubicBezTo>
                    <a:pt x="10" y="18"/>
                    <a:pt x="9" y="19"/>
                    <a:pt x="8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20"/>
                    <a:pt x="3" y="19"/>
                    <a:pt x="2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8" y="1"/>
                    <a:pt x="8" y="2"/>
                  </a:cubicBezTo>
                  <a:lnTo>
                    <a:pt x="10" y="17"/>
                  </a:lnTo>
                  <a:close/>
                </a:path>
              </a:pathLst>
            </a:custGeom>
            <a:solidFill>
              <a:srgbClr val="4444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0" name="ïṧḻíďê">
              <a:extLst>
                <a:ext uri="{FF2B5EF4-FFF2-40B4-BE49-F238E27FC236}">
                  <a16:creationId xmlns:a16="http://schemas.microsoft.com/office/drawing/2014/main" id="{472D189B-4E69-40F2-B7ED-017A0A9A8AB7}"/>
                </a:ext>
              </a:extLst>
            </p:cNvPr>
            <p:cNvSpPr/>
            <p:nvPr/>
          </p:nvSpPr>
          <p:spPr bwMode="auto">
            <a:xfrm>
              <a:off x="4970530" y="2336956"/>
              <a:ext cx="24107" cy="50222"/>
            </a:xfrm>
            <a:custGeom>
              <a:avLst/>
              <a:gdLst>
                <a:gd name="T0" fmla="*/ 10 w 10"/>
                <a:gd name="T1" fmla="*/ 17 h 21"/>
                <a:gd name="T2" fmla="*/ 8 w 10"/>
                <a:gd name="T3" fmla="*/ 20 h 21"/>
                <a:gd name="T4" fmla="*/ 5 w 10"/>
                <a:gd name="T5" fmla="*/ 20 h 21"/>
                <a:gd name="T6" fmla="*/ 3 w 10"/>
                <a:gd name="T7" fmla="*/ 18 h 21"/>
                <a:gd name="T8" fmla="*/ 0 w 10"/>
                <a:gd name="T9" fmla="*/ 4 h 21"/>
                <a:gd name="T10" fmla="*/ 2 w 10"/>
                <a:gd name="T11" fmla="*/ 1 h 21"/>
                <a:gd name="T12" fmla="*/ 5 w 10"/>
                <a:gd name="T13" fmla="*/ 1 h 21"/>
                <a:gd name="T14" fmla="*/ 8 w 10"/>
                <a:gd name="T15" fmla="*/ 3 h 21"/>
                <a:gd name="T16" fmla="*/ 10 w 10"/>
                <a:gd name="T1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1">
                  <a:moveTo>
                    <a:pt x="10" y="17"/>
                  </a:moveTo>
                  <a:cubicBezTo>
                    <a:pt x="10" y="19"/>
                    <a:pt x="9" y="20"/>
                    <a:pt x="8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21"/>
                    <a:pt x="3" y="20"/>
                    <a:pt x="3" y="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0"/>
                    <a:pt x="8" y="1"/>
                    <a:pt x="8" y="3"/>
                  </a:cubicBezTo>
                  <a:lnTo>
                    <a:pt x="10" y="17"/>
                  </a:lnTo>
                  <a:close/>
                </a:path>
              </a:pathLst>
            </a:custGeom>
            <a:solidFill>
              <a:srgbClr val="4444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1" name="işlîde">
              <a:extLst>
                <a:ext uri="{FF2B5EF4-FFF2-40B4-BE49-F238E27FC236}">
                  <a16:creationId xmlns:a16="http://schemas.microsoft.com/office/drawing/2014/main" id="{71B65A5D-3DD4-4677-AA00-F9A438ABA3B2}"/>
                </a:ext>
              </a:extLst>
            </p:cNvPr>
            <p:cNvSpPr/>
            <p:nvPr/>
          </p:nvSpPr>
          <p:spPr bwMode="auto">
            <a:xfrm>
              <a:off x="4756585" y="2482601"/>
              <a:ext cx="29129" cy="21093"/>
            </a:xfrm>
            <a:custGeom>
              <a:avLst/>
              <a:gdLst>
                <a:gd name="T0" fmla="*/ 3 w 29"/>
                <a:gd name="T1" fmla="*/ 21 h 21"/>
                <a:gd name="T2" fmla="*/ 29 w 29"/>
                <a:gd name="T3" fmla="*/ 16 h 21"/>
                <a:gd name="T4" fmla="*/ 26 w 29"/>
                <a:gd name="T5" fmla="*/ 0 h 21"/>
                <a:gd name="T6" fmla="*/ 0 w 29"/>
                <a:gd name="T7" fmla="*/ 4 h 21"/>
                <a:gd name="T8" fmla="*/ 3 w 29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1">
                  <a:moveTo>
                    <a:pt x="3" y="21"/>
                  </a:moveTo>
                  <a:lnTo>
                    <a:pt x="29" y="16"/>
                  </a:lnTo>
                  <a:lnTo>
                    <a:pt x="26" y="0"/>
                  </a:lnTo>
                  <a:lnTo>
                    <a:pt x="0" y="4"/>
                  </a:lnTo>
                  <a:lnTo>
                    <a:pt x="3" y="21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2" name="îśḻiḍê">
              <a:extLst>
                <a:ext uri="{FF2B5EF4-FFF2-40B4-BE49-F238E27FC236}">
                  <a16:creationId xmlns:a16="http://schemas.microsoft.com/office/drawing/2014/main" id="{01FCBBD9-0EF0-450E-90EF-302C7AA88391}"/>
                </a:ext>
              </a:extLst>
            </p:cNvPr>
            <p:cNvSpPr/>
            <p:nvPr/>
          </p:nvSpPr>
          <p:spPr bwMode="auto">
            <a:xfrm>
              <a:off x="4794753" y="2477577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6 h 19"/>
                <a:gd name="T4" fmla="*/ 26 w 28"/>
                <a:gd name="T5" fmla="*/ 0 h 19"/>
                <a:gd name="T6" fmla="*/ 0 w 28"/>
                <a:gd name="T7" fmla="*/ 5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6"/>
                  </a:lnTo>
                  <a:lnTo>
                    <a:pt x="26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3" name="íṡḷîďe">
              <a:extLst>
                <a:ext uri="{FF2B5EF4-FFF2-40B4-BE49-F238E27FC236}">
                  <a16:creationId xmlns:a16="http://schemas.microsoft.com/office/drawing/2014/main" id="{528F2523-2905-424A-9C69-F7BBC6337C93}"/>
                </a:ext>
              </a:extLst>
            </p:cNvPr>
            <p:cNvSpPr/>
            <p:nvPr/>
          </p:nvSpPr>
          <p:spPr bwMode="auto">
            <a:xfrm>
              <a:off x="4832922" y="2472556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4 h 19"/>
                <a:gd name="T4" fmla="*/ 26 w 28"/>
                <a:gd name="T5" fmla="*/ 0 h 19"/>
                <a:gd name="T6" fmla="*/ 0 w 28"/>
                <a:gd name="T7" fmla="*/ 2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4"/>
                  </a:lnTo>
                  <a:lnTo>
                    <a:pt x="26" y="0"/>
                  </a:lnTo>
                  <a:lnTo>
                    <a:pt x="0" y="2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4" name="iślïďe">
              <a:extLst>
                <a:ext uri="{FF2B5EF4-FFF2-40B4-BE49-F238E27FC236}">
                  <a16:creationId xmlns:a16="http://schemas.microsoft.com/office/drawing/2014/main" id="{9985B53C-31E4-4188-B387-BAEB60336AF9}"/>
                </a:ext>
              </a:extLst>
            </p:cNvPr>
            <p:cNvSpPr/>
            <p:nvPr/>
          </p:nvSpPr>
          <p:spPr bwMode="auto">
            <a:xfrm>
              <a:off x="4871091" y="2465525"/>
              <a:ext cx="28124" cy="21093"/>
            </a:xfrm>
            <a:custGeom>
              <a:avLst/>
              <a:gdLst>
                <a:gd name="T0" fmla="*/ 2 w 28"/>
                <a:gd name="T1" fmla="*/ 21 h 21"/>
                <a:gd name="T2" fmla="*/ 28 w 28"/>
                <a:gd name="T3" fmla="*/ 17 h 21"/>
                <a:gd name="T4" fmla="*/ 26 w 28"/>
                <a:gd name="T5" fmla="*/ 0 h 21"/>
                <a:gd name="T6" fmla="*/ 0 w 28"/>
                <a:gd name="T7" fmla="*/ 5 h 21"/>
                <a:gd name="T8" fmla="*/ 2 w 28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1">
                  <a:moveTo>
                    <a:pt x="2" y="21"/>
                  </a:moveTo>
                  <a:lnTo>
                    <a:pt x="28" y="17"/>
                  </a:lnTo>
                  <a:lnTo>
                    <a:pt x="26" y="0"/>
                  </a:lnTo>
                  <a:lnTo>
                    <a:pt x="0" y="5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5" name="íṥḷîdê">
              <a:extLst>
                <a:ext uri="{FF2B5EF4-FFF2-40B4-BE49-F238E27FC236}">
                  <a16:creationId xmlns:a16="http://schemas.microsoft.com/office/drawing/2014/main" id="{8FE3823F-A6B2-4226-A2D7-972F090F593D}"/>
                </a:ext>
              </a:extLst>
            </p:cNvPr>
            <p:cNvSpPr/>
            <p:nvPr/>
          </p:nvSpPr>
          <p:spPr bwMode="auto">
            <a:xfrm>
              <a:off x="4909259" y="2460503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7 h 19"/>
                <a:gd name="T4" fmla="*/ 26 w 28"/>
                <a:gd name="T5" fmla="*/ 0 h 19"/>
                <a:gd name="T6" fmla="*/ 0 w 28"/>
                <a:gd name="T7" fmla="*/ 5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7"/>
                  </a:lnTo>
                  <a:lnTo>
                    <a:pt x="26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6" name="iŝḻïḓé">
              <a:extLst>
                <a:ext uri="{FF2B5EF4-FFF2-40B4-BE49-F238E27FC236}">
                  <a16:creationId xmlns:a16="http://schemas.microsoft.com/office/drawing/2014/main" id="{7DF0FC2E-88EF-469C-9351-D3DAF00A91A0}"/>
                </a:ext>
              </a:extLst>
            </p:cNvPr>
            <p:cNvSpPr/>
            <p:nvPr/>
          </p:nvSpPr>
          <p:spPr bwMode="auto">
            <a:xfrm>
              <a:off x="4946424" y="2456484"/>
              <a:ext cx="29129" cy="18080"/>
            </a:xfrm>
            <a:custGeom>
              <a:avLst/>
              <a:gdLst>
                <a:gd name="T0" fmla="*/ 3 w 29"/>
                <a:gd name="T1" fmla="*/ 18 h 18"/>
                <a:gd name="T2" fmla="*/ 29 w 29"/>
                <a:gd name="T3" fmla="*/ 14 h 18"/>
                <a:gd name="T4" fmla="*/ 26 w 29"/>
                <a:gd name="T5" fmla="*/ 0 h 18"/>
                <a:gd name="T6" fmla="*/ 0 w 29"/>
                <a:gd name="T7" fmla="*/ 2 h 18"/>
                <a:gd name="T8" fmla="*/ 3 w 2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8">
                  <a:moveTo>
                    <a:pt x="3" y="18"/>
                  </a:moveTo>
                  <a:lnTo>
                    <a:pt x="29" y="14"/>
                  </a:lnTo>
                  <a:lnTo>
                    <a:pt x="26" y="0"/>
                  </a:lnTo>
                  <a:lnTo>
                    <a:pt x="0" y="2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7" name="ïŝḷïdê">
              <a:extLst>
                <a:ext uri="{FF2B5EF4-FFF2-40B4-BE49-F238E27FC236}">
                  <a16:creationId xmlns:a16="http://schemas.microsoft.com/office/drawing/2014/main" id="{6155C640-21A8-4FFA-B99D-271590605AC5}"/>
                </a:ext>
              </a:extLst>
            </p:cNvPr>
            <p:cNvSpPr/>
            <p:nvPr/>
          </p:nvSpPr>
          <p:spPr bwMode="auto">
            <a:xfrm>
              <a:off x="4984593" y="2448450"/>
              <a:ext cx="29129" cy="22098"/>
            </a:xfrm>
            <a:custGeom>
              <a:avLst/>
              <a:gdLst>
                <a:gd name="T0" fmla="*/ 3 w 29"/>
                <a:gd name="T1" fmla="*/ 22 h 22"/>
                <a:gd name="T2" fmla="*/ 29 w 29"/>
                <a:gd name="T3" fmla="*/ 17 h 22"/>
                <a:gd name="T4" fmla="*/ 26 w 29"/>
                <a:gd name="T5" fmla="*/ 0 h 22"/>
                <a:gd name="T6" fmla="*/ 0 w 29"/>
                <a:gd name="T7" fmla="*/ 5 h 22"/>
                <a:gd name="T8" fmla="*/ 3 w 29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2">
                  <a:moveTo>
                    <a:pt x="3" y="22"/>
                  </a:moveTo>
                  <a:lnTo>
                    <a:pt x="29" y="17"/>
                  </a:lnTo>
                  <a:lnTo>
                    <a:pt x="26" y="0"/>
                  </a:lnTo>
                  <a:lnTo>
                    <a:pt x="0" y="5"/>
                  </a:lnTo>
                  <a:lnTo>
                    <a:pt x="3" y="22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8" name="íṡliḓe">
              <a:extLst>
                <a:ext uri="{FF2B5EF4-FFF2-40B4-BE49-F238E27FC236}">
                  <a16:creationId xmlns:a16="http://schemas.microsoft.com/office/drawing/2014/main" id="{12FAD9DE-CC6C-44BE-95E2-73848693A837}"/>
                </a:ext>
              </a:extLst>
            </p:cNvPr>
            <p:cNvSpPr/>
            <p:nvPr/>
          </p:nvSpPr>
          <p:spPr bwMode="auto">
            <a:xfrm>
              <a:off x="4759598" y="2505702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7 h 19"/>
                <a:gd name="T4" fmla="*/ 26 w 28"/>
                <a:gd name="T5" fmla="*/ 0 h 19"/>
                <a:gd name="T6" fmla="*/ 0 w 28"/>
                <a:gd name="T7" fmla="*/ 5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7"/>
                  </a:lnTo>
                  <a:lnTo>
                    <a:pt x="26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9" name="ï$ḻîḋé">
              <a:extLst>
                <a:ext uri="{FF2B5EF4-FFF2-40B4-BE49-F238E27FC236}">
                  <a16:creationId xmlns:a16="http://schemas.microsoft.com/office/drawing/2014/main" id="{0D7002BE-F468-4D3B-B447-176A35278BB4}"/>
                </a:ext>
              </a:extLst>
            </p:cNvPr>
            <p:cNvSpPr/>
            <p:nvPr/>
          </p:nvSpPr>
          <p:spPr bwMode="auto">
            <a:xfrm>
              <a:off x="4796763" y="2501684"/>
              <a:ext cx="29129" cy="18080"/>
            </a:xfrm>
            <a:custGeom>
              <a:avLst/>
              <a:gdLst>
                <a:gd name="T0" fmla="*/ 3 w 29"/>
                <a:gd name="T1" fmla="*/ 18 h 18"/>
                <a:gd name="T2" fmla="*/ 29 w 29"/>
                <a:gd name="T3" fmla="*/ 14 h 18"/>
                <a:gd name="T4" fmla="*/ 26 w 29"/>
                <a:gd name="T5" fmla="*/ 0 h 18"/>
                <a:gd name="T6" fmla="*/ 0 w 29"/>
                <a:gd name="T7" fmla="*/ 4 h 18"/>
                <a:gd name="T8" fmla="*/ 3 w 2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8">
                  <a:moveTo>
                    <a:pt x="3" y="18"/>
                  </a:moveTo>
                  <a:lnTo>
                    <a:pt x="29" y="14"/>
                  </a:lnTo>
                  <a:lnTo>
                    <a:pt x="26" y="0"/>
                  </a:lnTo>
                  <a:lnTo>
                    <a:pt x="0" y="4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0" name="îsḻidé">
              <a:extLst>
                <a:ext uri="{FF2B5EF4-FFF2-40B4-BE49-F238E27FC236}">
                  <a16:creationId xmlns:a16="http://schemas.microsoft.com/office/drawing/2014/main" id="{574AC216-EA2E-44C4-8ABE-6D8F9E496235}"/>
                </a:ext>
              </a:extLst>
            </p:cNvPr>
            <p:cNvSpPr/>
            <p:nvPr/>
          </p:nvSpPr>
          <p:spPr bwMode="auto">
            <a:xfrm>
              <a:off x="4834931" y="2496663"/>
              <a:ext cx="29129" cy="19085"/>
            </a:xfrm>
            <a:custGeom>
              <a:avLst/>
              <a:gdLst>
                <a:gd name="T0" fmla="*/ 3 w 29"/>
                <a:gd name="T1" fmla="*/ 19 h 19"/>
                <a:gd name="T2" fmla="*/ 29 w 29"/>
                <a:gd name="T3" fmla="*/ 14 h 19"/>
                <a:gd name="T4" fmla="*/ 26 w 29"/>
                <a:gd name="T5" fmla="*/ 0 h 19"/>
                <a:gd name="T6" fmla="*/ 0 w 29"/>
                <a:gd name="T7" fmla="*/ 2 h 19"/>
                <a:gd name="T8" fmla="*/ 3 w 2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3" y="19"/>
                  </a:moveTo>
                  <a:lnTo>
                    <a:pt x="29" y="14"/>
                  </a:lnTo>
                  <a:lnTo>
                    <a:pt x="26" y="0"/>
                  </a:lnTo>
                  <a:lnTo>
                    <a:pt x="0" y="2"/>
                  </a:lnTo>
                  <a:lnTo>
                    <a:pt x="3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1" name="íşlidé">
              <a:extLst>
                <a:ext uri="{FF2B5EF4-FFF2-40B4-BE49-F238E27FC236}">
                  <a16:creationId xmlns:a16="http://schemas.microsoft.com/office/drawing/2014/main" id="{314B3650-C692-472F-A9ED-259B2144168C}"/>
                </a:ext>
              </a:extLst>
            </p:cNvPr>
            <p:cNvSpPr/>
            <p:nvPr/>
          </p:nvSpPr>
          <p:spPr bwMode="auto">
            <a:xfrm>
              <a:off x="4873100" y="2489631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6 h 19"/>
                <a:gd name="T4" fmla="*/ 26 w 28"/>
                <a:gd name="T5" fmla="*/ 0 h 19"/>
                <a:gd name="T6" fmla="*/ 0 w 28"/>
                <a:gd name="T7" fmla="*/ 4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6"/>
                  </a:lnTo>
                  <a:lnTo>
                    <a:pt x="26" y="0"/>
                  </a:lnTo>
                  <a:lnTo>
                    <a:pt x="0" y="4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2" name="ïṩļiďè">
              <a:extLst>
                <a:ext uri="{FF2B5EF4-FFF2-40B4-BE49-F238E27FC236}">
                  <a16:creationId xmlns:a16="http://schemas.microsoft.com/office/drawing/2014/main" id="{9D0A5D41-D2FF-4B9A-896B-57D920DA33F4}"/>
                </a:ext>
              </a:extLst>
            </p:cNvPr>
            <p:cNvSpPr/>
            <p:nvPr/>
          </p:nvSpPr>
          <p:spPr bwMode="auto">
            <a:xfrm>
              <a:off x="4911269" y="2484609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4 h 19"/>
                <a:gd name="T4" fmla="*/ 28 w 28"/>
                <a:gd name="T5" fmla="*/ 0 h 19"/>
                <a:gd name="T6" fmla="*/ 0 w 28"/>
                <a:gd name="T7" fmla="*/ 5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4"/>
                  </a:lnTo>
                  <a:lnTo>
                    <a:pt x="28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3" name="íślíḑé">
              <a:extLst>
                <a:ext uri="{FF2B5EF4-FFF2-40B4-BE49-F238E27FC236}">
                  <a16:creationId xmlns:a16="http://schemas.microsoft.com/office/drawing/2014/main" id="{DDCB5567-6912-4C1B-A7D6-E618C546C3D5}"/>
                </a:ext>
              </a:extLst>
            </p:cNvPr>
            <p:cNvSpPr/>
            <p:nvPr/>
          </p:nvSpPr>
          <p:spPr bwMode="auto">
            <a:xfrm>
              <a:off x="4949437" y="2479587"/>
              <a:ext cx="30133" cy="19085"/>
            </a:xfrm>
            <a:custGeom>
              <a:avLst/>
              <a:gdLst>
                <a:gd name="T0" fmla="*/ 2 w 30"/>
                <a:gd name="T1" fmla="*/ 19 h 19"/>
                <a:gd name="T2" fmla="*/ 30 w 30"/>
                <a:gd name="T3" fmla="*/ 14 h 19"/>
                <a:gd name="T4" fmla="*/ 28 w 30"/>
                <a:gd name="T5" fmla="*/ 0 h 19"/>
                <a:gd name="T6" fmla="*/ 0 w 30"/>
                <a:gd name="T7" fmla="*/ 3 h 19"/>
                <a:gd name="T8" fmla="*/ 2 w 3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" y="19"/>
                  </a:moveTo>
                  <a:lnTo>
                    <a:pt x="30" y="14"/>
                  </a:lnTo>
                  <a:lnTo>
                    <a:pt x="28" y="0"/>
                  </a:lnTo>
                  <a:lnTo>
                    <a:pt x="0" y="3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4" name="ïśḷíḓê">
              <a:extLst>
                <a:ext uri="{FF2B5EF4-FFF2-40B4-BE49-F238E27FC236}">
                  <a16:creationId xmlns:a16="http://schemas.microsoft.com/office/drawing/2014/main" id="{007926F0-D82A-49EB-AF48-9B8ACEADF555}"/>
                </a:ext>
              </a:extLst>
            </p:cNvPr>
            <p:cNvSpPr/>
            <p:nvPr/>
          </p:nvSpPr>
          <p:spPr bwMode="auto">
            <a:xfrm>
              <a:off x="4987606" y="2472556"/>
              <a:ext cx="30133" cy="19085"/>
            </a:xfrm>
            <a:custGeom>
              <a:avLst/>
              <a:gdLst>
                <a:gd name="T0" fmla="*/ 2 w 30"/>
                <a:gd name="T1" fmla="*/ 19 h 19"/>
                <a:gd name="T2" fmla="*/ 30 w 30"/>
                <a:gd name="T3" fmla="*/ 17 h 19"/>
                <a:gd name="T4" fmla="*/ 28 w 30"/>
                <a:gd name="T5" fmla="*/ 0 h 19"/>
                <a:gd name="T6" fmla="*/ 0 w 30"/>
                <a:gd name="T7" fmla="*/ 5 h 19"/>
                <a:gd name="T8" fmla="*/ 2 w 3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" y="19"/>
                  </a:moveTo>
                  <a:lnTo>
                    <a:pt x="30" y="17"/>
                  </a:lnTo>
                  <a:lnTo>
                    <a:pt x="28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5" name="ïṡľíḋé">
              <a:extLst>
                <a:ext uri="{FF2B5EF4-FFF2-40B4-BE49-F238E27FC236}">
                  <a16:creationId xmlns:a16="http://schemas.microsoft.com/office/drawing/2014/main" id="{237BB31D-714E-48C5-9D7B-4AD076B4E6E8}"/>
                </a:ext>
              </a:extLst>
            </p:cNvPr>
            <p:cNvSpPr/>
            <p:nvPr/>
          </p:nvSpPr>
          <p:spPr bwMode="auto">
            <a:xfrm>
              <a:off x="4761607" y="2529809"/>
              <a:ext cx="31138" cy="19085"/>
            </a:xfrm>
            <a:custGeom>
              <a:avLst/>
              <a:gdLst>
                <a:gd name="T0" fmla="*/ 2 w 31"/>
                <a:gd name="T1" fmla="*/ 19 h 19"/>
                <a:gd name="T2" fmla="*/ 31 w 31"/>
                <a:gd name="T3" fmla="*/ 16 h 19"/>
                <a:gd name="T4" fmla="*/ 28 w 31"/>
                <a:gd name="T5" fmla="*/ 0 h 19"/>
                <a:gd name="T6" fmla="*/ 0 w 31"/>
                <a:gd name="T7" fmla="*/ 5 h 19"/>
                <a:gd name="T8" fmla="*/ 2 w 31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2" y="19"/>
                  </a:moveTo>
                  <a:lnTo>
                    <a:pt x="31" y="16"/>
                  </a:lnTo>
                  <a:lnTo>
                    <a:pt x="28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6" name="îṧļiḍe">
              <a:extLst>
                <a:ext uri="{FF2B5EF4-FFF2-40B4-BE49-F238E27FC236}">
                  <a16:creationId xmlns:a16="http://schemas.microsoft.com/office/drawing/2014/main" id="{3DA63742-E174-4AF9-80C5-6ACB5B1AF6EE}"/>
                </a:ext>
              </a:extLst>
            </p:cNvPr>
            <p:cNvSpPr/>
            <p:nvPr/>
          </p:nvSpPr>
          <p:spPr bwMode="auto">
            <a:xfrm>
              <a:off x="4799776" y="2524787"/>
              <a:ext cx="30133" cy="19085"/>
            </a:xfrm>
            <a:custGeom>
              <a:avLst/>
              <a:gdLst>
                <a:gd name="T0" fmla="*/ 2 w 30"/>
                <a:gd name="T1" fmla="*/ 19 h 19"/>
                <a:gd name="T2" fmla="*/ 30 w 30"/>
                <a:gd name="T3" fmla="*/ 14 h 19"/>
                <a:gd name="T4" fmla="*/ 28 w 30"/>
                <a:gd name="T5" fmla="*/ 0 h 19"/>
                <a:gd name="T6" fmla="*/ 0 w 30"/>
                <a:gd name="T7" fmla="*/ 3 h 19"/>
                <a:gd name="T8" fmla="*/ 2 w 3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" y="19"/>
                  </a:moveTo>
                  <a:lnTo>
                    <a:pt x="30" y="14"/>
                  </a:lnTo>
                  <a:lnTo>
                    <a:pt x="28" y="0"/>
                  </a:lnTo>
                  <a:lnTo>
                    <a:pt x="0" y="3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7" name="îślídè">
              <a:extLst>
                <a:ext uri="{FF2B5EF4-FFF2-40B4-BE49-F238E27FC236}">
                  <a16:creationId xmlns:a16="http://schemas.microsoft.com/office/drawing/2014/main" id="{BA236E70-B447-44A9-B71D-AE472934C8CB}"/>
                </a:ext>
              </a:extLst>
            </p:cNvPr>
            <p:cNvSpPr/>
            <p:nvPr/>
          </p:nvSpPr>
          <p:spPr bwMode="auto">
            <a:xfrm>
              <a:off x="4839953" y="2517756"/>
              <a:ext cx="28124" cy="21093"/>
            </a:xfrm>
            <a:custGeom>
              <a:avLst/>
              <a:gdLst>
                <a:gd name="T0" fmla="*/ 0 w 28"/>
                <a:gd name="T1" fmla="*/ 21 h 21"/>
                <a:gd name="T2" fmla="*/ 28 w 28"/>
                <a:gd name="T3" fmla="*/ 17 h 21"/>
                <a:gd name="T4" fmla="*/ 26 w 28"/>
                <a:gd name="T5" fmla="*/ 0 h 21"/>
                <a:gd name="T6" fmla="*/ 0 w 28"/>
                <a:gd name="T7" fmla="*/ 5 h 21"/>
                <a:gd name="T8" fmla="*/ 0 w 28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1">
                  <a:moveTo>
                    <a:pt x="0" y="21"/>
                  </a:moveTo>
                  <a:lnTo>
                    <a:pt x="28" y="17"/>
                  </a:lnTo>
                  <a:lnTo>
                    <a:pt x="26" y="0"/>
                  </a:lnTo>
                  <a:lnTo>
                    <a:pt x="0" y="5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8" name="îṧľîḋê">
              <a:extLst>
                <a:ext uri="{FF2B5EF4-FFF2-40B4-BE49-F238E27FC236}">
                  <a16:creationId xmlns:a16="http://schemas.microsoft.com/office/drawing/2014/main" id="{FAE1D0C7-36A7-43AD-B7C6-4B77DF7C5AA2}"/>
                </a:ext>
              </a:extLst>
            </p:cNvPr>
            <p:cNvSpPr/>
            <p:nvPr/>
          </p:nvSpPr>
          <p:spPr bwMode="auto">
            <a:xfrm>
              <a:off x="4878122" y="2512734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7 h 19"/>
                <a:gd name="T4" fmla="*/ 26 w 28"/>
                <a:gd name="T5" fmla="*/ 0 h 19"/>
                <a:gd name="T6" fmla="*/ 0 w 28"/>
                <a:gd name="T7" fmla="*/ 5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7"/>
                  </a:lnTo>
                  <a:lnTo>
                    <a:pt x="26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9" name="íśļídê">
              <a:extLst>
                <a:ext uri="{FF2B5EF4-FFF2-40B4-BE49-F238E27FC236}">
                  <a16:creationId xmlns:a16="http://schemas.microsoft.com/office/drawing/2014/main" id="{CD442362-A071-4E2F-A13C-3A36246AD96F}"/>
                </a:ext>
              </a:extLst>
            </p:cNvPr>
            <p:cNvSpPr/>
            <p:nvPr/>
          </p:nvSpPr>
          <p:spPr bwMode="auto">
            <a:xfrm>
              <a:off x="4916291" y="2508716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4 h 19"/>
                <a:gd name="T4" fmla="*/ 26 w 28"/>
                <a:gd name="T5" fmla="*/ 0 h 19"/>
                <a:gd name="T6" fmla="*/ 0 w 28"/>
                <a:gd name="T7" fmla="*/ 2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4"/>
                  </a:lnTo>
                  <a:lnTo>
                    <a:pt x="26" y="0"/>
                  </a:lnTo>
                  <a:lnTo>
                    <a:pt x="0" y="2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0" name="ïşlídê">
              <a:extLst>
                <a:ext uri="{FF2B5EF4-FFF2-40B4-BE49-F238E27FC236}">
                  <a16:creationId xmlns:a16="http://schemas.microsoft.com/office/drawing/2014/main" id="{D165E8F4-5568-4590-9E86-13A0427AFA77}"/>
                </a:ext>
              </a:extLst>
            </p:cNvPr>
            <p:cNvSpPr/>
            <p:nvPr/>
          </p:nvSpPr>
          <p:spPr bwMode="auto">
            <a:xfrm>
              <a:off x="4953455" y="2501684"/>
              <a:ext cx="29129" cy="21093"/>
            </a:xfrm>
            <a:custGeom>
              <a:avLst/>
              <a:gdLst>
                <a:gd name="T0" fmla="*/ 3 w 29"/>
                <a:gd name="T1" fmla="*/ 21 h 21"/>
                <a:gd name="T2" fmla="*/ 29 w 29"/>
                <a:gd name="T3" fmla="*/ 16 h 21"/>
                <a:gd name="T4" fmla="*/ 26 w 29"/>
                <a:gd name="T5" fmla="*/ 0 h 21"/>
                <a:gd name="T6" fmla="*/ 0 w 29"/>
                <a:gd name="T7" fmla="*/ 4 h 21"/>
                <a:gd name="T8" fmla="*/ 3 w 29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1">
                  <a:moveTo>
                    <a:pt x="3" y="21"/>
                  </a:moveTo>
                  <a:lnTo>
                    <a:pt x="29" y="16"/>
                  </a:lnTo>
                  <a:lnTo>
                    <a:pt x="26" y="0"/>
                  </a:lnTo>
                  <a:lnTo>
                    <a:pt x="0" y="4"/>
                  </a:lnTo>
                  <a:lnTo>
                    <a:pt x="3" y="21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1" name="íŝ1ïḑe">
              <a:extLst>
                <a:ext uri="{FF2B5EF4-FFF2-40B4-BE49-F238E27FC236}">
                  <a16:creationId xmlns:a16="http://schemas.microsoft.com/office/drawing/2014/main" id="{8281D3BA-E81C-4047-8122-9FE8D9CF121E}"/>
                </a:ext>
              </a:extLst>
            </p:cNvPr>
            <p:cNvSpPr/>
            <p:nvPr/>
          </p:nvSpPr>
          <p:spPr bwMode="auto">
            <a:xfrm>
              <a:off x="4991624" y="2496663"/>
              <a:ext cx="29129" cy="19085"/>
            </a:xfrm>
            <a:custGeom>
              <a:avLst/>
              <a:gdLst>
                <a:gd name="T0" fmla="*/ 3 w 29"/>
                <a:gd name="T1" fmla="*/ 19 h 19"/>
                <a:gd name="T2" fmla="*/ 29 w 29"/>
                <a:gd name="T3" fmla="*/ 16 h 19"/>
                <a:gd name="T4" fmla="*/ 26 w 29"/>
                <a:gd name="T5" fmla="*/ 0 h 19"/>
                <a:gd name="T6" fmla="*/ 0 w 29"/>
                <a:gd name="T7" fmla="*/ 5 h 19"/>
                <a:gd name="T8" fmla="*/ 3 w 2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3" y="19"/>
                  </a:moveTo>
                  <a:lnTo>
                    <a:pt x="29" y="16"/>
                  </a:lnTo>
                  <a:lnTo>
                    <a:pt x="26" y="0"/>
                  </a:lnTo>
                  <a:lnTo>
                    <a:pt x="0" y="5"/>
                  </a:lnTo>
                  <a:lnTo>
                    <a:pt x="3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2" name="î$ḻíḓè">
              <a:extLst>
                <a:ext uri="{FF2B5EF4-FFF2-40B4-BE49-F238E27FC236}">
                  <a16:creationId xmlns:a16="http://schemas.microsoft.com/office/drawing/2014/main" id="{6EFE0485-5933-482C-8C28-0F4D0886349A}"/>
                </a:ext>
              </a:extLst>
            </p:cNvPr>
            <p:cNvSpPr/>
            <p:nvPr/>
          </p:nvSpPr>
          <p:spPr bwMode="auto">
            <a:xfrm>
              <a:off x="4766629" y="2553915"/>
              <a:ext cx="28124" cy="18080"/>
            </a:xfrm>
            <a:custGeom>
              <a:avLst/>
              <a:gdLst>
                <a:gd name="T0" fmla="*/ 2 w 28"/>
                <a:gd name="T1" fmla="*/ 18 h 18"/>
                <a:gd name="T2" fmla="*/ 28 w 28"/>
                <a:gd name="T3" fmla="*/ 14 h 18"/>
                <a:gd name="T4" fmla="*/ 26 w 28"/>
                <a:gd name="T5" fmla="*/ 0 h 18"/>
                <a:gd name="T6" fmla="*/ 0 w 28"/>
                <a:gd name="T7" fmla="*/ 4 h 18"/>
                <a:gd name="T8" fmla="*/ 2 w 2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8">
                  <a:moveTo>
                    <a:pt x="2" y="18"/>
                  </a:moveTo>
                  <a:lnTo>
                    <a:pt x="28" y="14"/>
                  </a:lnTo>
                  <a:lnTo>
                    <a:pt x="26" y="0"/>
                  </a:lnTo>
                  <a:lnTo>
                    <a:pt x="0" y="4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3" name="íṩlíḓê">
              <a:extLst>
                <a:ext uri="{FF2B5EF4-FFF2-40B4-BE49-F238E27FC236}">
                  <a16:creationId xmlns:a16="http://schemas.microsoft.com/office/drawing/2014/main" id="{BE72A955-C19A-4014-B56B-8D20C26DCFC3}"/>
                </a:ext>
              </a:extLst>
            </p:cNvPr>
            <p:cNvSpPr/>
            <p:nvPr/>
          </p:nvSpPr>
          <p:spPr bwMode="auto">
            <a:xfrm>
              <a:off x="4803794" y="2548894"/>
              <a:ext cx="29129" cy="19085"/>
            </a:xfrm>
            <a:custGeom>
              <a:avLst/>
              <a:gdLst>
                <a:gd name="T0" fmla="*/ 3 w 29"/>
                <a:gd name="T1" fmla="*/ 19 h 19"/>
                <a:gd name="T2" fmla="*/ 29 w 29"/>
                <a:gd name="T3" fmla="*/ 14 h 19"/>
                <a:gd name="T4" fmla="*/ 26 w 29"/>
                <a:gd name="T5" fmla="*/ 0 h 19"/>
                <a:gd name="T6" fmla="*/ 0 w 29"/>
                <a:gd name="T7" fmla="*/ 2 h 19"/>
                <a:gd name="T8" fmla="*/ 3 w 2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3" y="19"/>
                  </a:moveTo>
                  <a:lnTo>
                    <a:pt x="29" y="14"/>
                  </a:lnTo>
                  <a:lnTo>
                    <a:pt x="26" y="0"/>
                  </a:lnTo>
                  <a:lnTo>
                    <a:pt x="0" y="2"/>
                  </a:lnTo>
                  <a:lnTo>
                    <a:pt x="3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4" name="íś1íďe">
              <a:extLst>
                <a:ext uri="{FF2B5EF4-FFF2-40B4-BE49-F238E27FC236}">
                  <a16:creationId xmlns:a16="http://schemas.microsoft.com/office/drawing/2014/main" id="{B619B840-C430-4FE8-A92B-3481DAFEF222}"/>
                </a:ext>
              </a:extLst>
            </p:cNvPr>
            <p:cNvSpPr/>
            <p:nvPr/>
          </p:nvSpPr>
          <p:spPr bwMode="auto">
            <a:xfrm>
              <a:off x="4841963" y="2541863"/>
              <a:ext cx="29129" cy="19085"/>
            </a:xfrm>
            <a:custGeom>
              <a:avLst/>
              <a:gdLst>
                <a:gd name="T0" fmla="*/ 3 w 29"/>
                <a:gd name="T1" fmla="*/ 19 h 19"/>
                <a:gd name="T2" fmla="*/ 29 w 29"/>
                <a:gd name="T3" fmla="*/ 16 h 19"/>
                <a:gd name="T4" fmla="*/ 26 w 29"/>
                <a:gd name="T5" fmla="*/ 0 h 19"/>
                <a:gd name="T6" fmla="*/ 0 w 29"/>
                <a:gd name="T7" fmla="*/ 4 h 19"/>
                <a:gd name="T8" fmla="*/ 3 w 2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3" y="19"/>
                  </a:moveTo>
                  <a:lnTo>
                    <a:pt x="29" y="16"/>
                  </a:lnTo>
                  <a:lnTo>
                    <a:pt x="26" y="0"/>
                  </a:lnTo>
                  <a:lnTo>
                    <a:pt x="0" y="4"/>
                  </a:lnTo>
                  <a:lnTo>
                    <a:pt x="3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5" name="i$ḷïḍè">
              <a:extLst>
                <a:ext uri="{FF2B5EF4-FFF2-40B4-BE49-F238E27FC236}">
                  <a16:creationId xmlns:a16="http://schemas.microsoft.com/office/drawing/2014/main" id="{6C394E04-A7E2-461A-812E-2DA6F2586E23}"/>
                </a:ext>
              </a:extLst>
            </p:cNvPr>
            <p:cNvSpPr/>
            <p:nvPr/>
          </p:nvSpPr>
          <p:spPr bwMode="auto">
            <a:xfrm>
              <a:off x="4880131" y="2536841"/>
              <a:ext cx="29129" cy="19085"/>
            </a:xfrm>
            <a:custGeom>
              <a:avLst/>
              <a:gdLst>
                <a:gd name="T0" fmla="*/ 2 w 29"/>
                <a:gd name="T1" fmla="*/ 19 h 19"/>
                <a:gd name="T2" fmla="*/ 29 w 29"/>
                <a:gd name="T3" fmla="*/ 14 h 19"/>
                <a:gd name="T4" fmla="*/ 26 w 29"/>
                <a:gd name="T5" fmla="*/ 0 h 19"/>
                <a:gd name="T6" fmla="*/ 0 w 29"/>
                <a:gd name="T7" fmla="*/ 5 h 19"/>
                <a:gd name="T8" fmla="*/ 2 w 2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" y="19"/>
                  </a:moveTo>
                  <a:lnTo>
                    <a:pt x="29" y="14"/>
                  </a:lnTo>
                  <a:lnTo>
                    <a:pt x="26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6" name="î$1íḋè">
              <a:extLst>
                <a:ext uri="{FF2B5EF4-FFF2-40B4-BE49-F238E27FC236}">
                  <a16:creationId xmlns:a16="http://schemas.microsoft.com/office/drawing/2014/main" id="{7F80A05B-5ED9-4F3C-8DB4-20E2E6159045}"/>
                </a:ext>
              </a:extLst>
            </p:cNvPr>
            <p:cNvSpPr/>
            <p:nvPr/>
          </p:nvSpPr>
          <p:spPr bwMode="auto">
            <a:xfrm>
              <a:off x="4918300" y="2531817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4 h 19"/>
                <a:gd name="T4" fmla="*/ 26 w 28"/>
                <a:gd name="T5" fmla="*/ 0 h 19"/>
                <a:gd name="T6" fmla="*/ 0 w 28"/>
                <a:gd name="T7" fmla="*/ 3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4"/>
                  </a:lnTo>
                  <a:lnTo>
                    <a:pt x="26" y="0"/>
                  </a:lnTo>
                  <a:lnTo>
                    <a:pt x="0" y="3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7" name="iŝlíďe">
              <a:extLst>
                <a:ext uri="{FF2B5EF4-FFF2-40B4-BE49-F238E27FC236}">
                  <a16:creationId xmlns:a16="http://schemas.microsoft.com/office/drawing/2014/main" id="{92CFA80A-2760-4DCF-8A8B-7E62F14F7654}"/>
                </a:ext>
              </a:extLst>
            </p:cNvPr>
            <p:cNvSpPr/>
            <p:nvPr/>
          </p:nvSpPr>
          <p:spPr bwMode="auto">
            <a:xfrm>
              <a:off x="4956469" y="2524787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7 h 19"/>
                <a:gd name="T4" fmla="*/ 26 w 28"/>
                <a:gd name="T5" fmla="*/ 0 h 19"/>
                <a:gd name="T6" fmla="*/ 0 w 28"/>
                <a:gd name="T7" fmla="*/ 5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7"/>
                  </a:lnTo>
                  <a:lnTo>
                    <a:pt x="26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8" name="isļidé">
              <a:extLst>
                <a:ext uri="{FF2B5EF4-FFF2-40B4-BE49-F238E27FC236}">
                  <a16:creationId xmlns:a16="http://schemas.microsoft.com/office/drawing/2014/main" id="{65AC8032-79CA-4E8B-9D93-B050126083B8}"/>
                </a:ext>
              </a:extLst>
            </p:cNvPr>
            <p:cNvSpPr/>
            <p:nvPr/>
          </p:nvSpPr>
          <p:spPr bwMode="auto">
            <a:xfrm>
              <a:off x="4994637" y="2519764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5 h 19"/>
                <a:gd name="T4" fmla="*/ 26 w 28"/>
                <a:gd name="T5" fmla="*/ 0 h 19"/>
                <a:gd name="T6" fmla="*/ 0 w 28"/>
                <a:gd name="T7" fmla="*/ 5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5"/>
                  </a:lnTo>
                  <a:lnTo>
                    <a:pt x="26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9" name="îṡ1íďê">
              <a:extLst>
                <a:ext uri="{FF2B5EF4-FFF2-40B4-BE49-F238E27FC236}">
                  <a16:creationId xmlns:a16="http://schemas.microsoft.com/office/drawing/2014/main" id="{15D2C9DA-D87B-41A5-B642-25F004CDCACA}"/>
                </a:ext>
              </a:extLst>
            </p:cNvPr>
            <p:cNvSpPr/>
            <p:nvPr/>
          </p:nvSpPr>
          <p:spPr bwMode="auto">
            <a:xfrm>
              <a:off x="4768639" y="2577018"/>
              <a:ext cx="31138" cy="19085"/>
            </a:xfrm>
            <a:custGeom>
              <a:avLst/>
              <a:gdLst>
                <a:gd name="T0" fmla="*/ 2 w 31"/>
                <a:gd name="T1" fmla="*/ 19 h 19"/>
                <a:gd name="T2" fmla="*/ 31 w 31"/>
                <a:gd name="T3" fmla="*/ 14 h 19"/>
                <a:gd name="T4" fmla="*/ 28 w 31"/>
                <a:gd name="T5" fmla="*/ 0 h 19"/>
                <a:gd name="T6" fmla="*/ 0 w 31"/>
                <a:gd name="T7" fmla="*/ 3 h 19"/>
                <a:gd name="T8" fmla="*/ 2 w 31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2" y="19"/>
                  </a:moveTo>
                  <a:lnTo>
                    <a:pt x="31" y="14"/>
                  </a:lnTo>
                  <a:lnTo>
                    <a:pt x="28" y="0"/>
                  </a:lnTo>
                  <a:lnTo>
                    <a:pt x="0" y="3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0" name="îṧḷiďè">
              <a:extLst>
                <a:ext uri="{FF2B5EF4-FFF2-40B4-BE49-F238E27FC236}">
                  <a16:creationId xmlns:a16="http://schemas.microsoft.com/office/drawing/2014/main" id="{9C426C71-F7B1-43D0-9843-F4E350C9852B}"/>
                </a:ext>
              </a:extLst>
            </p:cNvPr>
            <p:cNvSpPr/>
            <p:nvPr/>
          </p:nvSpPr>
          <p:spPr bwMode="auto">
            <a:xfrm>
              <a:off x="4806807" y="2569987"/>
              <a:ext cx="31138" cy="21093"/>
            </a:xfrm>
            <a:custGeom>
              <a:avLst/>
              <a:gdLst>
                <a:gd name="T0" fmla="*/ 2 w 31"/>
                <a:gd name="T1" fmla="*/ 21 h 21"/>
                <a:gd name="T2" fmla="*/ 31 w 31"/>
                <a:gd name="T3" fmla="*/ 17 h 21"/>
                <a:gd name="T4" fmla="*/ 28 w 31"/>
                <a:gd name="T5" fmla="*/ 0 h 21"/>
                <a:gd name="T6" fmla="*/ 0 w 31"/>
                <a:gd name="T7" fmla="*/ 5 h 21"/>
                <a:gd name="T8" fmla="*/ 2 w 31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1">
                  <a:moveTo>
                    <a:pt x="2" y="21"/>
                  </a:moveTo>
                  <a:lnTo>
                    <a:pt x="31" y="17"/>
                  </a:lnTo>
                  <a:lnTo>
                    <a:pt x="28" y="0"/>
                  </a:lnTo>
                  <a:lnTo>
                    <a:pt x="0" y="5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1" name="íšḷíḑè">
              <a:extLst>
                <a:ext uri="{FF2B5EF4-FFF2-40B4-BE49-F238E27FC236}">
                  <a16:creationId xmlns:a16="http://schemas.microsoft.com/office/drawing/2014/main" id="{B0C0C314-C56A-4AE7-AB86-6B47B00A51B8}"/>
                </a:ext>
              </a:extLst>
            </p:cNvPr>
            <p:cNvSpPr/>
            <p:nvPr/>
          </p:nvSpPr>
          <p:spPr bwMode="auto">
            <a:xfrm>
              <a:off x="4844976" y="2564965"/>
              <a:ext cx="30133" cy="19085"/>
            </a:xfrm>
            <a:custGeom>
              <a:avLst/>
              <a:gdLst>
                <a:gd name="T0" fmla="*/ 2 w 30"/>
                <a:gd name="T1" fmla="*/ 19 h 19"/>
                <a:gd name="T2" fmla="*/ 30 w 30"/>
                <a:gd name="T3" fmla="*/ 17 h 19"/>
                <a:gd name="T4" fmla="*/ 28 w 30"/>
                <a:gd name="T5" fmla="*/ 0 h 19"/>
                <a:gd name="T6" fmla="*/ 0 w 30"/>
                <a:gd name="T7" fmla="*/ 5 h 19"/>
                <a:gd name="T8" fmla="*/ 2 w 3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" y="19"/>
                  </a:moveTo>
                  <a:lnTo>
                    <a:pt x="30" y="17"/>
                  </a:lnTo>
                  <a:lnTo>
                    <a:pt x="28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2" name="işlïḋe">
              <a:extLst>
                <a:ext uri="{FF2B5EF4-FFF2-40B4-BE49-F238E27FC236}">
                  <a16:creationId xmlns:a16="http://schemas.microsoft.com/office/drawing/2014/main" id="{D121EEEE-A09A-4A8C-95FF-531A166750B1}"/>
                </a:ext>
              </a:extLst>
            </p:cNvPr>
            <p:cNvSpPr/>
            <p:nvPr/>
          </p:nvSpPr>
          <p:spPr bwMode="auto">
            <a:xfrm>
              <a:off x="4882140" y="2560947"/>
              <a:ext cx="31138" cy="19085"/>
            </a:xfrm>
            <a:custGeom>
              <a:avLst/>
              <a:gdLst>
                <a:gd name="T0" fmla="*/ 3 w 31"/>
                <a:gd name="T1" fmla="*/ 19 h 19"/>
                <a:gd name="T2" fmla="*/ 31 w 31"/>
                <a:gd name="T3" fmla="*/ 14 h 19"/>
                <a:gd name="T4" fmla="*/ 29 w 31"/>
                <a:gd name="T5" fmla="*/ 0 h 19"/>
                <a:gd name="T6" fmla="*/ 0 w 31"/>
                <a:gd name="T7" fmla="*/ 2 h 19"/>
                <a:gd name="T8" fmla="*/ 3 w 31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" y="19"/>
                  </a:moveTo>
                  <a:lnTo>
                    <a:pt x="31" y="14"/>
                  </a:lnTo>
                  <a:lnTo>
                    <a:pt x="29" y="0"/>
                  </a:lnTo>
                  <a:lnTo>
                    <a:pt x="0" y="2"/>
                  </a:lnTo>
                  <a:lnTo>
                    <a:pt x="3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3" name="î$ľïḍê">
              <a:extLst>
                <a:ext uri="{FF2B5EF4-FFF2-40B4-BE49-F238E27FC236}">
                  <a16:creationId xmlns:a16="http://schemas.microsoft.com/office/drawing/2014/main" id="{A5CF83FB-49F9-4539-AC83-04DF216990AD}"/>
                </a:ext>
              </a:extLst>
            </p:cNvPr>
            <p:cNvSpPr/>
            <p:nvPr/>
          </p:nvSpPr>
          <p:spPr bwMode="auto">
            <a:xfrm>
              <a:off x="4920308" y="2553915"/>
              <a:ext cx="31138" cy="21093"/>
            </a:xfrm>
            <a:custGeom>
              <a:avLst/>
              <a:gdLst>
                <a:gd name="T0" fmla="*/ 3 w 31"/>
                <a:gd name="T1" fmla="*/ 21 h 21"/>
                <a:gd name="T2" fmla="*/ 31 w 31"/>
                <a:gd name="T3" fmla="*/ 16 h 21"/>
                <a:gd name="T4" fmla="*/ 29 w 31"/>
                <a:gd name="T5" fmla="*/ 0 h 21"/>
                <a:gd name="T6" fmla="*/ 0 w 31"/>
                <a:gd name="T7" fmla="*/ 4 h 21"/>
                <a:gd name="T8" fmla="*/ 3 w 31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1">
                  <a:moveTo>
                    <a:pt x="3" y="21"/>
                  </a:moveTo>
                  <a:lnTo>
                    <a:pt x="31" y="16"/>
                  </a:lnTo>
                  <a:lnTo>
                    <a:pt x="29" y="0"/>
                  </a:lnTo>
                  <a:lnTo>
                    <a:pt x="0" y="4"/>
                  </a:lnTo>
                  <a:lnTo>
                    <a:pt x="3" y="21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4" name="íšliḋe">
              <a:extLst>
                <a:ext uri="{FF2B5EF4-FFF2-40B4-BE49-F238E27FC236}">
                  <a16:creationId xmlns:a16="http://schemas.microsoft.com/office/drawing/2014/main" id="{563D490B-F85D-40EB-9D62-5C31ED52ECEC}"/>
                </a:ext>
              </a:extLst>
            </p:cNvPr>
            <p:cNvSpPr/>
            <p:nvPr/>
          </p:nvSpPr>
          <p:spPr bwMode="auto">
            <a:xfrm>
              <a:off x="4961491" y="2548894"/>
              <a:ext cx="28124" cy="19085"/>
            </a:xfrm>
            <a:custGeom>
              <a:avLst/>
              <a:gdLst>
                <a:gd name="T0" fmla="*/ 0 w 28"/>
                <a:gd name="T1" fmla="*/ 19 h 19"/>
                <a:gd name="T2" fmla="*/ 28 w 28"/>
                <a:gd name="T3" fmla="*/ 16 h 19"/>
                <a:gd name="T4" fmla="*/ 26 w 28"/>
                <a:gd name="T5" fmla="*/ 0 h 19"/>
                <a:gd name="T6" fmla="*/ 0 w 28"/>
                <a:gd name="T7" fmla="*/ 5 h 19"/>
                <a:gd name="T8" fmla="*/ 0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0" y="19"/>
                  </a:moveTo>
                  <a:lnTo>
                    <a:pt x="28" y="16"/>
                  </a:lnTo>
                  <a:lnTo>
                    <a:pt x="26" y="0"/>
                  </a:lnTo>
                  <a:lnTo>
                    <a:pt x="0" y="5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5" name="íṡlíḓè">
              <a:extLst>
                <a:ext uri="{FF2B5EF4-FFF2-40B4-BE49-F238E27FC236}">
                  <a16:creationId xmlns:a16="http://schemas.microsoft.com/office/drawing/2014/main" id="{5BB52D13-AE44-4FF6-9574-B27E4B2183EA}"/>
                </a:ext>
              </a:extLst>
            </p:cNvPr>
            <p:cNvSpPr/>
            <p:nvPr/>
          </p:nvSpPr>
          <p:spPr bwMode="auto">
            <a:xfrm>
              <a:off x="4998655" y="2543871"/>
              <a:ext cx="29129" cy="19085"/>
            </a:xfrm>
            <a:custGeom>
              <a:avLst/>
              <a:gdLst>
                <a:gd name="T0" fmla="*/ 3 w 29"/>
                <a:gd name="T1" fmla="*/ 19 h 19"/>
                <a:gd name="T2" fmla="*/ 29 w 29"/>
                <a:gd name="T3" fmla="*/ 14 h 19"/>
                <a:gd name="T4" fmla="*/ 26 w 29"/>
                <a:gd name="T5" fmla="*/ 0 h 19"/>
                <a:gd name="T6" fmla="*/ 0 w 29"/>
                <a:gd name="T7" fmla="*/ 2 h 19"/>
                <a:gd name="T8" fmla="*/ 3 w 2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3" y="19"/>
                  </a:moveTo>
                  <a:lnTo>
                    <a:pt x="29" y="14"/>
                  </a:lnTo>
                  <a:lnTo>
                    <a:pt x="26" y="0"/>
                  </a:lnTo>
                  <a:lnTo>
                    <a:pt x="0" y="2"/>
                  </a:lnTo>
                  <a:lnTo>
                    <a:pt x="3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6" name="îsḻïďe">
              <a:extLst>
                <a:ext uri="{FF2B5EF4-FFF2-40B4-BE49-F238E27FC236}">
                  <a16:creationId xmlns:a16="http://schemas.microsoft.com/office/drawing/2014/main" id="{2823BB6B-BA11-444D-B58F-EEF8C5AEAA6F}"/>
                </a:ext>
              </a:extLst>
            </p:cNvPr>
            <p:cNvSpPr/>
            <p:nvPr/>
          </p:nvSpPr>
          <p:spPr bwMode="auto">
            <a:xfrm>
              <a:off x="4773660" y="2601125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4 h 19"/>
                <a:gd name="T4" fmla="*/ 26 w 28"/>
                <a:gd name="T5" fmla="*/ 0 h 19"/>
                <a:gd name="T6" fmla="*/ 0 w 28"/>
                <a:gd name="T7" fmla="*/ 2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4"/>
                  </a:lnTo>
                  <a:lnTo>
                    <a:pt x="26" y="0"/>
                  </a:lnTo>
                  <a:lnTo>
                    <a:pt x="0" y="2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7" name="íŝļide">
              <a:extLst>
                <a:ext uri="{FF2B5EF4-FFF2-40B4-BE49-F238E27FC236}">
                  <a16:creationId xmlns:a16="http://schemas.microsoft.com/office/drawing/2014/main" id="{0B7735CC-1142-44C0-A8BB-66455EB01E60}"/>
                </a:ext>
              </a:extLst>
            </p:cNvPr>
            <p:cNvSpPr/>
            <p:nvPr/>
          </p:nvSpPr>
          <p:spPr bwMode="auto">
            <a:xfrm>
              <a:off x="4811829" y="2594093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6 h 19"/>
                <a:gd name="T4" fmla="*/ 26 w 28"/>
                <a:gd name="T5" fmla="*/ 0 h 19"/>
                <a:gd name="T6" fmla="*/ 0 w 28"/>
                <a:gd name="T7" fmla="*/ 4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6"/>
                  </a:lnTo>
                  <a:lnTo>
                    <a:pt x="26" y="0"/>
                  </a:lnTo>
                  <a:lnTo>
                    <a:pt x="0" y="4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8" name="íŝliḓé">
              <a:extLst>
                <a:ext uri="{FF2B5EF4-FFF2-40B4-BE49-F238E27FC236}">
                  <a16:creationId xmlns:a16="http://schemas.microsoft.com/office/drawing/2014/main" id="{253E955A-8472-498A-AD6A-2E23FA346259}"/>
                </a:ext>
              </a:extLst>
            </p:cNvPr>
            <p:cNvSpPr/>
            <p:nvPr/>
          </p:nvSpPr>
          <p:spPr bwMode="auto">
            <a:xfrm>
              <a:off x="4848994" y="2589071"/>
              <a:ext cx="29129" cy="19085"/>
            </a:xfrm>
            <a:custGeom>
              <a:avLst/>
              <a:gdLst>
                <a:gd name="T0" fmla="*/ 3 w 29"/>
                <a:gd name="T1" fmla="*/ 19 h 19"/>
                <a:gd name="T2" fmla="*/ 29 w 29"/>
                <a:gd name="T3" fmla="*/ 14 h 19"/>
                <a:gd name="T4" fmla="*/ 26 w 29"/>
                <a:gd name="T5" fmla="*/ 0 h 19"/>
                <a:gd name="T6" fmla="*/ 0 w 29"/>
                <a:gd name="T7" fmla="*/ 5 h 19"/>
                <a:gd name="T8" fmla="*/ 3 w 2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3" y="19"/>
                  </a:moveTo>
                  <a:lnTo>
                    <a:pt x="29" y="14"/>
                  </a:lnTo>
                  <a:lnTo>
                    <a:pt x="26" y="0"/>
                  </a:lnTo>
                  <a:lnTo>
                    <a:pt x="0" y="5"/>
                  </a:lnTo>
                  <a:lnTo>
                    <a:pt x="3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9" name="íṧľïḑê">
              <a:extLst>
                <a:ext uri="{FF2B5EF4-FFF2-40B4-BE49-F238E27FC236}">
                  <a16:creationId xmlns:a16="http://schemas.microsoft.com/office/drawing/2014/main" id="{5C13F428-92E4-4B28-9455-F4ECC7CA50E3}"/>
                </a:ext>
              </a:extLst>
            </p:cNvPr>
            <p:cNvSpPr/>
            <p:nvPr/>
          </p:nvSpPr>
          <p:spPr bwMode="auto">
            <a:xfrm>
              <a:off x="4887163" y="2584049"/>
              <a:ext cx="29129" cy="19085"/>
            </a:xfrm>
            <a:custGeom>
              <a:avLst/>
              <a:gdLst>
                <a:gd name="T0" fmla="*/ 3 w 29"/>
                <a:gd name="T1" fmla="*/ 19 h 19"/>
                <a:gd name="T2" fmla="*/ 29 w 29"/>
                <a:gd name="T3" fmla="*/ 14 h 19"/>
                <a:gd name="T4" fmla="*/ 26 w 29"/>
                <a:gd name="T5" fmla="*/ 0 h 19"/>
                <a:gd name="T6" fmla="*/ 0 w 29"/>
                <a:gd name="T7" fmla="*/ 3 h 19"/>
                <a:gd name="T8" fmla="*/ 3 w 2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3" y="19"/>
                  </a:moveTo>
                  <a:lnTo>
                    <a:pt x="29" y="14"/>
                  </a:lnTo>
                  <a:lnTo>
                    <a:pt x="26" y="0"/>
                  </a:lnTo>
                  <a:lnTo>
                    <a:pt x="0" y="3"/>
                  </a:lnTo>
                  <a:lnTo>
                    <a:pt x="3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0" name="isḷîde">
              <a:extLst>
                <a:ext uri="{FF2B5EF4-FFF2-40B4-BE49-F238E27FC236}">
                  <a16:creationId xmlns:a16="http://schemas.microsoft.com/office/drawing/2014/main" id="{B540F5A4-4F54-4402-AE67-E5071A293FCF}"/>
                </a:ext>
              </a:extLst>
            </p:cNvPr>
            <p:cNvSpPr/>
            <p:nvPr/>
          </p:nvSpPr>
          <p:spPr bwMode="auto">
            <a:xfrm>
              <a:off x="4925331" y="2577018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7 h 19"/>
                <a:gd name="T4" fmla="*/ 26 w 28"/>
                <a:gd name="T5" fmla="*/ 0 h 19"/>
                <a:gd name="T6" fmla="*/ 0 w 28"/>
                <a:gd name="T7" fmla="*/ 5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7"/>
                  </a:lnTo>
                  <a:lnTo>
                    <a:pt x="26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1" name="işlïḋe">
              <a:extLst>
                <a:ext uri="{FF2B5EF4-FFF2-40B4-BE49-F238E27FC236}">
                  <a16:creationId xmlns:a16="http://schemas.microsoft.com/office/drawing/2014/main" id="{F2938102-1682-431D-BB65-71488BE8E2AF}"/>
                </a:ext>
              </a:extLst>
            </p:cNvPr>
            <p:cNvSpPr/>
            <p:nvPr/>
          </p:nvSpPr>
          <p:spPr bwMode="auto">
            <a:xfrm>
              <a:off x="4963500" y="2571996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5 h 19"/>
                <a:gd name="T4" fmla="*/ 26 w 28"/>
                <a:gd name="T5" fmla="*/ 0 h 19"/>
                <a:gd name="T6" fmla="*/ 0 w 28"/>
                <a:gd name="T7" fmla="*/ 5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5"/>
                  </a:lnTo>
                  <a:lnTo>
                    <a:pt x="26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2" name="iŝlíḑé">
              <a:extLst>
                <a:ext uri="{FF2B5EF4-FFF2-40B4-BE49-F238E27FC236}">
                  <a16:creationId xmlns:a16="http://schemas.microsoft.com/office/drawing/2014/main" id="{976695E5-BAF0-43F1-AFDE-5C93E6B6D753}"/>
                </a:ext>
              </a:extLst>
            </p:cNvPr>
            <p:cNvSpPr/>
            <p:nvPr/>
          </p:nvSpPr>
          <p:spPr bwMode="auto">
            <a:xfrm>
              <a:off x="5001669" y="2567978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4 h 19"/>
                <a:gd name="T4" fmla="*/ 26 w 28"/>
                <a:gd name="T5" fmla="*/ 0 h 19"/>
                <a:gd name="T6" fmla="*/ 0 w 28"/>
                <a:gd name="T7" fmla="*/ 2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4"/>
                  </a:lnTo>
                  <a:lnTo>
                    <a:pt x="26" y="0"/>
                  </a:lnTo>
                  <a:lnTo>
                    <a:pt x="0" y="2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3" name="iṡḻiďé">
              <a:extLst>
                <a:ext uri="{FF2B5EF4-FFF2-40B4-BE49-F238E27FC236}">
                  <a16:creationId xmlns:a16="http://schemas.microsoft.com/office/drawing/2014/main" id="{10B2E08A-EB2A-435A-A9E4-8E12690ADD3C}"/>
                </a:ext>
              </a:extLst>
            </p:cNvPr>
            <p:cNvSpPr/>
            <p:nvPr/>
          </p:nvSpPr>
          <p:spPr bwMode="auto">
            <a:xfrm>
              <a:off x="4775669" y="2624227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5 h 19"/>
                <a:gd name="T4" fmla="*/ 26 w 28"/>
                <a:gd name="T5" fmla="*/ 0 h 19"/>
                <a:gd name="T6" fmla="*/ 0 w 28"/>
                <a:gd name="T7" fmla="*/ 3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5"/>
                  </a:lnTo>
                  <a:lnTo>
                    <a:pt x="26" y="0"/>
                  </a:lnTo>
                  <a:lnTo>
                    <a:pt x="0" y="3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4" name="ïśḷîḓê">
              <a:extLst>
                <a:ext uri="{FF2B5EF4-FFF2-40B4-BE49-F238E27FC236}">
                  <a16:creationId xmlns:a16="http://schemas.microsoft.com/office/drawing/2014/main" id="{DBA6F540-3CAC-4D88-8197-0B62547D91AF}"/>
                </a:ext>
              </a:extLst>
            </p:cNvPr>
            <p:cNvSpPr/>
            <p:nvPr/>
          </p:nvSpPr>
          <p:spPr bwMode="auto">
            <a:xfrm>
              <a:off x="4813838" y="2617196"/>
              <a:ext cx="28124" cy="19085"/>
            </a:xfrm>
            <a:custGeom>
              <a:avLst/>
              <a:gdLst>
                <a:gd name="T0" fmla="*/ 2 w 28"/>
                <a:gd name="T1" fmla="*/ 19 h 19"/>
                <a:gd name="T2" fmla="*/ 28 w 28"/>
                <a:gd name="T3" fmla="*/ 17 h 19"/>
                <a:gd name="T4" fmla="*/ 28 w 28"/>
                <a:gd name="T5" fmla="*/ 0 h 19"/>
                <a:gd name="T6" fmla="*/ 0 w 28"/>
                <a:gd name="T7" fmla="*/ 5 h 19"/>
                <a:gd name="T8" fmla="*/ 2 w 2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9"/>
                  </a:moveTo>
                  <a:lnTo>
                    <a:pt x="28" y="17"/>
                  </a:lnTo>
                  <a:lnTo>
                    <a:pt x="28" y="0"/>
                  </a:lnTo>
                  <a:lnTo>
                    <a:pt x="0" y="5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5" name="iṣļïďê">
              <a:extLst>
                <a:ext uri="{FF2B5EF4-FFF2-40B4-BE49-F238E27FC236}">
                  <a16:creationId xmlns:a16="http://schemas.microsoft.com/office/drawing/2014/main" id="{CB26093A-134E-4FBC-B992-F11B27C2C9EF}"/>
                </a:ext>
              </a:extLst>
            </p:cNvPr>
            <p:cNvSpPr/>
            <p:nvPr/>
          </p:nvSpPr>
          <p:spPr bwMode="auto">
            <a:xfrm>
              <a:off x="4852007" y="2613178"/>
              <a:ext cx="30133" cy="19085"/>
            </a:xfrm>
            <a:custGeom>
              <a:avLst/>
              <a:gdLst>
                <a:gd name="T0" fmla="*/ 2 w 30"/>
                <a:gd name="T1" fmla="*/ 19 h 19"/>
                <a:gd name="T2" fmla="*/ 30 w 30"/>
                <a:gd name="T3" fmla="*/ 14 h 19"/>
                <a:gd name="T4" fmla="*/ 28 w 30"/>
                <a:gd name="T5" fmla="*/ 0 h 19"/>
                <a:gd name="T6" fmla="*/ 0 w 30"/>
                <a:gd name="T7" fmla="*/ 2 h 19"/>
                <a:gd name="T8" fmla="*/ 2 w 3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" y="19"/>
                  </a:moveTo>
                  <a:lnTo>
                    <a:pt x="30" y="14"/>
                  </a:lnTo>
                  <a:lnTo>
                    <a:pt x="28" y="0"/>
                  </a:lnTo>
                  <a:lnTo>
                    <a:pt x="0" y="2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6" name="íŝļíde">
              <a:extLst>
                <a:ext uri="{FF2B5EF4-FFF2-40B4-BE49-F238E27FC236}">
                  <a16:creationId xmlns:a16="http://schemas.microsoft.com/office/drawing/2014/main" id="{C5CE19DF-9B44-4182-A137-046DB49DA8D0}"/>
                </a:ext>
              </a:extLst>
            </p:cNvPr>
            <p:cNvSpPr/>
            <p:nvPr/>
          </p:nvSpPr>
          <p:spPr bwMode="auto">
            <a:xfrm>
              <a:off x="4890175" y="2608155"/>
              <a:ext cx="30133" cy="19085"/>
            </a:xfrm>
            <a:custGeom>
              <a:avLst/>
              <a:gdLst>
                <a:gd name="T0" fmla="*/ 2 w 30"/>
                <a:gd name="T1" fmla="*/ 19 h 19"/>
                <a:gd name="T2" fmla="*/ 30 w 30"/>
                <a:gd name="T3" fmla="*/ 14 h 19"/>
                <a:gd name="T4" fmla="*/ 28 w 30"/>
                <a:gd name="T5" fmla="*/ 0 h 19"/>
                <a:gd name="T6" fmla="*/ 0 w 30"/>
                <a:gd name="T7" fmla="*/ 2 h 19"/>
                <a:gd name="T8" fmla="*/ 2 w 3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" y="19"/>
                  </a:moveTo>
                  <a:lnTo>
                    <a:pt x="30" y="14"/>
                  </a:lnTo>
                  <a:lnTo>
                    <a:pt x="28" y="0"/>
                  </a:lnTo>
                  <a:lnTo>
                    <a:pt x="0" y="2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7" name="ïṡľiďê">
              <a:extLst>
                <a:ext uri="{FF2B5EF4-FFF2-40B4-BE49-F238E27FC236}">
                  <a16:creationId xmlns:a16="http://schemas.microsoft.com/office/drawing/2014/main" id="{AD72CBF5-DF15-4FA4-A0F2-7F710BD6B428}"/>
                </a:ext>
              </a:extLst>
            </p:cNvPr>
            <p:cNvSpPr/>
            <p:nvPr/>
          </p:nvSpPr>
          <p:spPr bwMode="auto">
            <a:xfrm>
              <a:off x="4927340" y="2601125"/>
              <a:ext cx="31138" cy="19085"/>
            </a:xfrm>
            <a:custGeom>
              <a:avLst/>
              <a:gdLst>
                <a:gd name="T0" fmla="*/ 3 w 31"/>
                <a:gd name="T1" fmla="*/ 19 h 19"/>
                <a:gd name="T2" fmla="*/ 31 w 31"/>
                <a:gd name="T3" fmla="*/ 16 h 19"/>
                <a:gd name="T4" fmla="*/ 29 w 31"/>
                <a:gd name="T5" fmla="*/ 0 h 19"/>
                <a:gd name="T6" fmla="*/ 0 w 31"/>
                <a:gd name="T7" fmla="*/ 5 h 19"/>
                <a:gd name="T8" fmla="*/ 3 w 31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" y="19"/>
                  </a:moveTo>
                  <a:lnTo>
                    <a:pt x="31" y="16"/>
                  </a:lnTo>
                  <a:lnTo>
                    <a:pt x="29" y="0"/>
                  </a:lnTo>
                  <a:lnTo>
                    <a:pt x="0" y="5"/>
                  </a:lnTo>
                  <a:lnTo>
                    <a:pt x="3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8" name="íslîḓe">
              <a:extLst>
                <a:ext uri="{FF2B5EF4-FFF2-40B4-BE49-F238E27FC236}">
                  <a16:creationId xmlns:a16="http://schemas.microsoft.com/office/drawing/2014/main" id="{3F232185-69E1-40DA-B97F-891094A09571}"/>
                </a:ext>
              </a:extLst>
            </p:cNvPr>
            <p:cNvSpPr/>
            <p:nvPr/>
          </p:nvSpPr>
          <p:spPr bwMode="auto">
            <a:xfrm>
              <a:off x="4965509" y="2596102"/>
              <a:ext cx="31138" cy="19085"/>
            </a:xfrm>
            <a:custGeom>
              <a:avLst/>
              <a:gdLst>
                <a:gd name="T0" fmla="*/ 3 w 31"/>
                <a:gd name="T1" fmla="*/ 19 h 19"/>
                <a:gd name="T2" fmla="*/ 31 w 31"/>
                <a:gd name="T3" fmla="*/ 14 h 19"/>
                <a:gd name="T4" fmla="*/ 29 w 31"/>
                <a:gd name="T5" fmla="*/ 0 h 19"/>
                <a:gd name="T6" fmla="*/ 0 w 31"/>
                <a:gd name="T7" fmla="*/ 2 h 19"/>
                <a:gd name="T8" fmla="*/ 3 w 31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" y="19"/>
                  </a:moveTo>
                  <a:lnTo>
                    <a:pt x="31" y="14"/>
                  </a:lnTo>
                  <a:lnTo>
                    <a:pt x="29" y="0"/>
                  </a:lnTo>
                  <a:lnTo>
                    <a:pt x="0" y="2"/>
                  </a:lnTo>
                  <a:lnTo>
                    <a:pt x="3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9" name="işliďê">
              <a:extLst>
                <a:ext uri="{FF2B5EF4-FFF2-40B4-BE49-F238E27FC236}">
                  <a16:creationId xmlns:a16="http://schemas.microsoft.com/office/drawing/2014/main" id="{35F064F8-155A-4F8E-A966-1EB6B48034CF}"/>
                </a:ext>
              </a:extLst>
            </p:cNvPr>
            <p:cNvSpPr/>
            <p:nvPr/>
          </p:nvSpPr>
          <p:spPr bwMode="auto">
            <a:xfrm>
              <a:off x="5003677" y="2591080"/>
              <a:ext cx="31138" cy="19085"/>
            </a:xfrm>
            <a:custGeom>
              <a:avLst/>
              <a:gdLst>
                <a:gd name="T0" fmla="*/ 2 w 31"/>
                <a:gd name="T1" fmla="*/ 19 h 19"/>
                <a:gd name="T2" fmla="*/ 31 w 31"/>
                <a:gd name="T3" fmla="*/ 15 h 19"/>
                <a:gd name="T4" fmla="*/ 28 w 31"/>
                <a:gd name="T5" fmla="*/ 0 h 19"/>
                <a:gd name="T6" fmla="*/ 0 w 31"/>
                <a:gd name="T7" fmla="*/ 3 h 19"/>
                <a:gd name="T8" fmla="*/ 2 w 31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2" y="19"/>
                  </a:moveTo>
                  <a:lnTo>
                    <a:pt x="31" y="15"/>
                  </a:lnTo>
                  <a:lnTo>
                    <a:pt x="28" y="0"/>
                  </a:lnTo>
                  <a:lnTo>
                    <a:pt x="0" y="3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939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0" name="íṥ1íďé">
              <a:extLst>
                <a:ext uri="{FF2B5EF4-FFF2-40B4-BE49-F238E27FC236}">
                  <a16:creationId xmlns:a16="http://schemas.microsoft.com/office/drawing/2014/main" id="{F8F36C4E-A90B-4072-A8B9-7846B89A9044}"/>
                </a:ext>
              </a:extLst>
            </p:cNvPr>
            <p:cNvSpPr/>
            <p:nvPr/>
          </p:nvSpPr>
          <p:spPr bwMode="auto">
            <a:xfrm>
              <a:off x="7095924" y="2113487"/>
              <a:ext cx="458024" cy="458025"/>
            </a:xfrm>
            <a:prstGeom prst="ellipse">
              <a:avLst/>
            </a:prstGeom>
            <a:solidFill>
              <a:srgbClr val="0449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1" name="íśḷídê">
              <a:extLst>
                <a:ext uri="{FF2B5EF4-FFF2-40B4-BE49-F238E27FC236}">
                  <a16:creationId xmlns:a16="http://schemas.microsoft.com/office/drawing/2014/main" id="{CB29FC68-5516-4930-A61C-B8728C203390}"/>
                </a:ext>
              </a:extLst>
            </p:cNvPr>
            <p:cNvSpPr/>
            <p:nvPr/>
          </p:nvSpPr>
          <p:spPr bwMode="auto">
            <a:xfrm>
              <a:off x="7127062" y="2144624"/>
              <a:ext cx="396754" cy="3987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2" name="išlïḋé">
              <a:extLst>
                <a:ext uri="{FF2B5EF4-FFF2-40B4-BE49-F238E27FC236}">
                  <a16:creationId xmlns:a16="http://schemas.microsoft.com/office/drawing/2014/main" id="{B6D86FB7-0FB8-413A-9DEB-BC830DD47467}"/>
                </a:ext>
              </a:extLst>
            </p:cNvPr>
            <p:cNvSpPr/>
            <p:nvPr/>
          </p:nvSpPr>
          <p:spPr bwMode="auto">
            <a:xfrm>
              <a:off x="7165230" y="2184802"/>
              <a:ext cx="322425" cy="318408"/>
            </a:xfrm>
            <a:custGeom>
              <a:avLst/>
              <a:gdLst>
                <a:gd name="T0" fmla="*/ 68 w 136"/>
                <a:gd name="T1" fmla="*/ 134 h 134"/>
                <a:gd name="T2" fmla="*/ 0 w 136"/>
                <a:gd name="T3" fmla="*/ 67 h 134"/>
                <a:gd name="T4" fmla="*/ 68 w 136"/>
                <a:gd name="T5" fmla="*/ 0 h 134"/>
                <a:gd name="T6" fmla="*/ 136 w 136"/>
                <a:gd name="T7" fmla="*/ 67 h 134"/>
                <a:gd name="T8" fmla="*/ 68 w 136"/>
                <a:gd name="T9" fmla="*/ 134 h 134"/>
                <a:gd name="T10" fmla="*/ 68 w 136"/>
                <a:gd name="T11" fmla="*/ 11 h 134"/>
                <a:gd name="T12" fmla="*/ 68 w 136"/>
                <a:gd name="T13" fmla="*/ 11 h 134"/>
                <a:gd name="T14" fmla="*/ 11 w 136"/>
                <a:gd name="T15" fmla="*/ 67 h 134"/>
                <a:gd name="T16" fmla="*/ 68 w 136"/>
                <a:gd name="T17" fmla="*/ 123 h 134"/>
                <a:gd name="T18" fmla="*/ 125 w 136"/>
                <a:gd name="T19" fmla="*/ 67 h 134"/>
                <a:gd name="T20" fmla="*/ 68 w 136"/>
                <a:gd name="T21" fmla="*/ 11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" h="134">
                  <a:moveTo>
                    <a:pt x="68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5" y="0"/>
                    <a:pt x="136" y="30"/>
                    <a:pt x="136" y="67"/>
                  </a:cubicBezTo>
                  <a:cubicBezTo>
                    <a:pt x="136" y="104"/>
                    <a:pt x="105" y="134"/>
                    <a:pt x="68" y="134"/>
                  </a:cubicBezTo>
                  <a:moveTo>
                    <a:pt x="68" y="11"/>
                  </a:moveTo>
                  <a:cubicBezTo>
                    <a:pt x="68" y="11"/>
                    <a:pt x="68" y="11"/>
                    <a:pt x="68" y="11"/>
                  </a:cubicBezTo>
                  <a:cubicBezTo>
                    <a:pt x="36" y="11"/>
                    <a:pt x="11" y="36"/>
                    <a:pt x="11" y="67"/>
                  </a:cubicBezTo>
                  <a:cubicBezTo>
                    <a:pt x="11" y="98"/>
                    <a:pt x="36" y="123"/>
                    <a:pt x="68" y="123"/>
                  </a:cubicBezTo>
                  <a:cubicBezTo>
                    <a:pt x="99" y="123"/>
                    <a:pt x="125" y="98"/>
                    <a:pt x="125" y="67"/>
                  </a:cubicBezTo>
                  <a:cubicBezTo>
                    <a:pt x="125" y="36"/>
                    <a:pt x="99" y="11"/>
                    <a:pt x="68" y="11"/>
                  </a:cubicBezTo>
                </a:path>
              </a:pathLst>
            </a:custGeom>
            <a:solidFill>
              <a:srgbClr val="C833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3" name="iŝľîdé">
              <a:extLst>
                <a:ext uri="{FF2B5EF4-FFF2-40B4-BE49-F238E27FC236}">
                  <a16:creationId xmlns:a16="http://schemas.microsoft.com/office/drawing/2014/main" id="{AE53DD77-86CB-4DA3-9D0D-EFA842DDDBF5}"/>
                </a:ext>
              </a:extLst>
            </p:cNvPr>
            <p:cNvSpPr/>
            <p:nvPr/>
          </p:nvSpPr>
          <p:spPr bwMode="auto">
            <a:xfrm>
              <a:off x="7231523" y="2251095"/>
              <a:ext cx="189839" cy="184817"/>
            </a:xfrm>
            <a:custGeom>
              <a:avLst/>
              <a:gdLst>
                <a:gd name="T0" fmla="*/ 40 w 80"/>
                <a:gd name="T1" fmla="*/ 78 h 78"/>
                <a:gd name="T2" fmla="*/ 0 w 80"/>
                <a:gd name="T3" fmla="*/ 39 h 78"/>
                <a:gd name="T4" fmla="*/ 40 w 80"/>
                <a:gd name="T5" fmla="*/ 0 h 78"/>
                <a:gd name="T6" fmla="*/ 80 w 80"/>
                <a:gd name="T7" fmla="*/ 39 h 78"/>
                <a:gd name="T8" fmla="*/ 40 w 80"/>
                <a:gd name="T9" fmla="*/ 78 h 78"/>
                <a:gd name="T10" fmla="*/ 40 w 80"/>
                <a:gd name="T11" fmla="*/ 11 h 78"/>
                <a:gd name="T12" fmla="*/ 40 w 80"/>
                <a:gd name="T13" fmla="*/ 11 h 78"/>
                <a:gd name="T14" fmla="*/ 11 w 80"/>
                <a:gd name="T15" fmla="*/ 39 h 78"/>
                <a:gd name="T16" fmla="*/ 40 w 80"/>
                <a:gd name="T17" fmla="*/ 67 h 78"/>
                <a:gd name="T18" fmla="*/ 69 w 80"/>
                <a:gd name="T19" fmla="*/ 39 h 78"/>
                <a:gd name="T20" fmla="*/ 40 w 80"/>
                <a:gd name="T21" fmla="*/ 1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78">
                  <a:moveTo>
                    <a:pt x="40" y="78"/>
                  </a:moveTo>
                  <a:cubicBezTo>
                    <a:pt x="18" y="78"/>
                    <a:pt x="0" y="60"/>
                    <a:pt x="0" y="39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80" y="18"/>
                    <a:pt x="80" y="39"/>
                  </a:cubicBezTo>
                  <a:cubicBezTo>
                    <a:pt x="80" y="60"/>
                    <a:pt x="62" y="78"/>
                    <a:pt x="40" y="78"/>
                  </a:cubicBezTo>
                  <a:moveTo>
                    <a:pt x="40" y="11"/>
                  </a:moveTo>
                  <a:cubicBezTo>
                    <a:pt x="40" y="11"/>
                    <a:pt x="40" y="11"/>
                    <a:pt x="40" y="11"/>
                  </a:cubicBezTo>
                  <a:cubicBezTo>
                    <a:pt x="24" y="11"/>
                    <a:pt x="11" y="24"/>
                    <a:pt x="11" y="39"/>
                  </a:cubicBezTo>
                  <a:cubicBezTo>
                    <a:pt x="11" y="54"/>
                    <a:pt x="24" y="67"/>
                    <a:pt x="40" y="67"/>
                  </a:cubicBezTo>
                  <a:cubicBezTo>
                    <a:pt x="56" y="67"/>
                    <a:pt x="69" y="54"/>
                    <a:pt x="69" y="39"/>
                  </a:cubicBezTo>
                  <a:cubicBezTo>
                    <a:pt x="69" y="24"/>
                    <a:pt x="56" y="11"/>
                    <a:pt x="40" y="11"/>
                  </a:cubicBezTo>
                </a:path>
              </a:pathLst>
            </a:custGeom>
            <a:solidFill>
              <a:srgbClr val="C833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4" name="îśḻíďê">
              <a:extLst>
                <a:ext uri="{FF2B5EF4-FFF2-40B4-BE49-F238E27FC236}">
                  <a16:creationId xmlns:a16="http://schemas.microsoft.com/office/drawing/2014/main" id="{8F5CF509-D98B-40C7-9D52-33DD8AE95779}"/>
                </a:ext>
              </a:extLst>
            </p:cNvPr>
            <p:cNvSpPr/>
            <p:nvPr/>
          </p:nvSpPr>
          <p:spPr bwMode="auto">
            <a:xfrm>
              <a:off x="7292794" y="2310356"/>
              <a:ext cx="69306" cy="69307"/>
            </a:xfrm>
            <a:prstGeom prst="ellipse">
              <a:avLst/>
            </a:prstGeom>
            <a:solidFill>
              <a:srgbClr val="C833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5" name="î$ḷïďé">
              <a:extLst>
                <a:ext uri="{FF2B5EF4-FFF2-40B4-BE49-F238E27FC236}">
                  <a16:creationId xmlns:a16="http://schemas.microsoft.com/office/drawing/2014/main" id="{2EB59E74-98D4-43E1-9247-2BB2FCEF7508}"/>
                </a:ext>
              </a:extLst>
            </p:cNvPr>
            <p:cNvSpPr/>
            <p:nvPr/>
          </p:nvSpPr>
          <p:spPr bwMode="auto">
            <a:xfrm>
              <a:off x="7515779" y="2545395"/>
              <a:ext cx="64284" cy="111493"/>
            </a:xfrm>
            <a:custGeom>
              <a:avLst/>
              <a:gdLst>
                <a:gd name="T0" fmla="*/ 0 w 64"/>
                <a:gd name="T1" fmla="*/ 0 h 111"/>
                <a:gd name="T2" fmla="*/ 17 w 64"/>
                <a:gd name="T3" fmla="*/ 71 h 111"/>
                <a:gd name="T4" fmla="*/ 60 w 64"/>
                <a:gd name="T5" fmla="*/ 111 h 111"/>
                <a:gd name="T6" fmla="*/ 64 w 64"/>
                <a:gd name="T7" fmla="*/ 64 h 111"/>
                <a:gd name="T8" fmla="*/ 0 w 64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11">
                  <a:moveTo>
                    <a:pt x="0" y="0"/>
                  </a:moveTo>
                  <a:lnTo>
                    <a:pt x="17" y="71"/>
                  </a:lnTo>
                  <a:lnTo>
                    <a:pt x="60" y="111"/>
                  </a:lnTo>
                  <a:lnTo>
                    <a:pt x="64" y="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82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6" name="ïṩľïḑé">
              <a:extLst>
                <a:ext uri="{FF2B5EF4-FFF2-40B4-BE49-F238E27FC236}">
                  <a16:creationId xmlns:a16="http://schemas.microsoft.com/office/drawing/2014/main" id="{3DFCE732-2B26-4062-9C3C-33490B79FB5D}"/>
                </a:ext>
              </a:extLst>
            </p:cNvPr>
            <p:cNvSpPr/>
            <p:nvPr/>
          </p:nvSpPr>
          <p:spPr bwMode="auto">
            <a:xfrm>
              <a:off x="7530846" y="2536355"/>
              <a:ext cx="108479" cy="61271"/>
            </a:xfrm>
            <a:custGeom>
              <a:avLst/>
              <a:gdLst>
                <a:gd name="T0" fmla="*/ 0 w 108"/>
                <a:gd name="T1" fmla="*/ 0 h 61"/>
                <a:gd name="T2" fmla="*/ 68 w 108"/>
                <a:gd name="T3" fmla="*/ 14 h 61"/>
                <a:gd name="T4" fmla="*/ 108 w 108"/>
                <a:gd name="T5" fmla="*/ 56 h 61"/>
                <a:gd name="T6" fmla="*/ 63 w 108"/>
                <a:gd name="T7" fmla="*/ 61 h 61"/>
                <a:gd name="T8" fmla="*/ 0 w 108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61">
                  <a:moveTo>
                    <a:pt x="0" y="0"/>
                  </a:moveTo>
                  <a:lnTo>
                    <a:pt x="68" y="14"/>
                  </a:lnTo>
                  <a:lnTo>
                    <a:pt x="108" y="56"/>
                  </a:lnTo>
                  <a:lnTo>
                    <a:pt x="63" y="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82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7" name="iS1íḑê">
              <a:extLst>
                <a:ext uri="{FF2B5EF4-FFF2-40B4-BE49-F238E27FC236}">
                  <a16:creationId xmlns:a16="http://schemas.microsoft.com/office/drawing/2014/main" id="{D3EE193C-E9B9-46E5-A39C-F588B2ACDB9E}"/>
                </a:ext>
              </a:extLst>
            </p:cNvPr>
            <p:cNvSpPr/>
            <p:nvPr/>
          </p:nvSpPr>
          <p:spPr bwMode="auto">
            <a:xfrm>
              <a:off x="7316900" y="2334464"/>
              <a:ext cx="277225" cy="275217"/>
            </a:xfrm>
            <a:custGeom>
              <a:avLst/>
              <a:gdLst>
                <a:gd name="T0" fmla="*/ 7 w 117"/>
                <a:gd name="T1" fmla="*/ 1 h 116"/>
                <a:gd name="T2" fmla="*/ 7 w 117"/>
                <a:gd name="T3" fmla="*/ 1 h 116"/>
                <a:gd name="T4" fmla="*/ 4 w 117"/>
                <a:gd name="T5" fmla="*/ 0 h 116"/>
                <a:gd name="T6" fmla="*/ 0 w 117"/>
                <a:gd name="T7" fmla="*/ 4 h 116"/>
                <a:gd name="T8" fmla="*/ 2 w 117"/>
                <a:gd name="T9" fmla="*/ 7 h 116"/>
                <a:gd name="T10" fmla="*/ 2 w 117"/>
                <a:gd name="T11" fmla="*/ 7 h 116"/>
                <a:gd name="T12" fmla="*/ 111 w 117"/>
                <a:gd name="T13" fmla="*/ 116 h 116"/>
                <a:gd name="T14" fmla="*/ 117 w 117"/>
                <a:gd name="T15" fmla="*/ 111 h 116"/>
                <a:gd name="T16" fmla="*/ 7 w 117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116">
                  <a:moveTo>
                    <a:pt x="7" y="1"/>
                  </a:move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1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11" y="116"/>
                    <a:pt x="111" y="116"/>
                    <a:pt x="111" y="116"/>
                  </a:cubicBezTo>
                  <a:cubicBezTo>
                    <a:pt x="117" y="111"/>
                    <a:pt x="117" y="111"/>
                    <a:pt x="117" y="111"/>
                  </a:cubicBezTo>
                  <a:lnTo>
                    <a:pt x="7" y="1"/>
                  </a:lnTo>
                  <a:close/>
                </a:path>
              </a:pathLst>
            </a:custGeom>
            <a:solidFill>
              <a:srgbClr val="3B3A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8" name="ï$ḷîde">
              <a:extLst>
                <a:ext uri="{FF2B5EF4-FFF2-40B4-BE49-F238E27FC236}">
                  <a16:creationId xmlns:a16="http://schemas.microsoft.com/office/drawing/2014/main" id="{9F713130-C3DA-49B3-8927-BE1C70C5A3CD}"/>
                </a:ext>
              </a:extLst>
            </p:cNvPr>
            <p:cNvSpPr/>
            <p:nvPr/>
          </p:nvSpPr>
          <p:spPr bwMode="auto">
            <a:xfrm>
              <a:off x="7578053" y="2595619"/>
              <a:ext cx="19085" cy="16072"/>
            </a:xfrm>
            <a:custGeom>
              <a:avLst/>
              <a:gdLst>
                <a:gd name="T0" fmla="*/ 5 w 8"/>
                <a:gd name="T1" fmla="*/ 5 h 7"/>
                <a:gd name="T2" fmla="*/ 7 w 8"/>
                <a:gd name="T3" fmla="*/ 1 h 7"/>
                <a:gd name="T4" fmla="*/ 2 w 8"/>
                <a:gd name="T5" fmla="*/ 2 h 7"/>
                <a:gd name="T6" fmla="*/ 1 w 8"/>
                <a:gd name="T7" fmla="*/ 6 h 7"/>
                <a:gd name="T8" fmla="*/ 5 w 8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7">
                  <a:moveTo>
                    <a:pt x="5" y="5"/>
                  </a:moveTo>
                  <a:cubicBezTo>
                    <a:pt x="7" y="4"/>
                    <a:pt x="8" y="2"/>
                    <a:pt x="7" y="1"/>
                  </a:cubicBezTo>
                  <a:cubicBezTo>
                    <a:pt x="6" y="0"/>
                    <a:pt x="4" y="1"/>
                    <a:pt x="2" y="2"/>
                  </a:cubicBezTo>
                  <a:cubicBezTo>
                    <a:pt x="1" y="4"/>
                    <a:pt x="0" y="5"/>
                    <a:pt x="1" y="6"/>
                  </a:cubicBezTo>
                  <a:cubicBezTo>
                    <a:pt x="2" y="7"/>
                    <a:pt x="4" y="7"/>
                    <a:pt x="5" y="5"/>
                  </a:cubicBezTo>
                </a:path>
              </a:pathLst>
            </a:custGeom>
            <a:solidFill>
              <a:srgbClr val="6E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9" name="íṧľîḓé">
              <a:extLst>
                <a:ext uri="{FF2B5EF4-FFF2-40B4-BE49-F238E27FC236}">
                  <a16:creationId xmlns:a16="http://schemas.microsoft.com/office/drawing/2014/main" id="{DE7CDBA8-3247-414F-AD01-F561D1F05D59}"/>
                </a:ext>
              </a:extLst>
            </p:cNvPr>
            <p:cNvSpPr/>
            <p:nvPr/>
          </p:nvSpPr>
          <p:spPr bwMode="auto">
            <a:xfrm>
              <a:off x="4885145" y="3711561"/>
              <a:ext cx="104461" cy="54240"/>
            </a:xfrm>
            <a:custGeom>
              <a:avLst/>
              <a:gdLst>
                <a:gd name="T0" fmla="*/ 44 w 44"/>
                <a:gd name="T1" fmla="*/ 14 h 23"/>
                <a:gd name="T2" fmla="*/ 41 w 44"/>
                <a:gd name="T3" fmla="*/ 23 h 23"/>
                <a:gd name="T4" fmla="*/ 0 w 44"/>
                <a:gd name="T5" fmla="*/ 7 h 23"/>
                <a:gd name="T6" fmla="*/ 4 w 44"/>
                <a:gd name="T7" fmla="*/ 0 h 23"/>
                <a:gd name="T8" fmla="*/ 44 w 44"/>
                <a:gd name="T9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3">
                  <a:moveTo>
                    <a:pt x="44" y="14"/>
                  </a:move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1" y="8"/>
                    <a:pt x="0" y="7"/>
                  </a:cubicBezTo>
                  <a:cubicBezTo>
                    <a:pt x="0" y="5"/>
                    <a:pt x="4" y="0"/>
                    <a:pt x="4" y="0"/>
                  </a:cubicBezTo>
                  <a:lnTo>
                    <a:pt x="44" y="14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99240655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37C4598-A28F-4776-B315-20ACED9AD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小组分工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7782024-0597-48C6-AED9-F877F4772D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DF71664-30B0-4CB0-BD6C-F9B5A6A2F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57D5648-9DEF-4DFD-BF10-7C4A08983124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386646"/>
            <a:ext cx="12192000" cy="5471353"/>
            <a:chOff x="0" y="1386646"/>
            <a:chExt cx="12192000" cy="5471353"/>
          </a:xfrm>
        </p:grpSpPr>
        <p:sp>
          <p:nvSpPr>
            <p:cNvPr id="6" name="íṧļíḑê">
              <a:extLst>
                <a:ext uri="{FF2B5EF4-FFF2-40B4-BE49-F238E27FC236}">
                  <a16:creationId xmlns:a16="http://schemas.microsoft.com/office/drawing/2014/main" id="{AC024B8C-28E3-40EE-A870-FBDAA85AB109}"/>
                </a:ext>
              </a:extLst>
            </p:cNvPr>
            <p:cNvSpPr/>
            <p:nvPr/>
          </p:nvSpPr>
          <p:spPr>
            <a:xfrm>
              <a:off x="0" y="4607708"/>
              <a:ext cx="12192000" cy="2250291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i="1" dirty="0">
                <a:solidFill>
                  <a:schemeClr val="tx1"/>
                </a:solidFill>
              </a:endParaRPr>
            </a:p>
          </p:txBody>
        </p:sp>
        <p:sp>
          <p:nvSpPr>
            <p:cNvPr id="7" name="iŝlîďè">
              <a:extLst>
                <a:ext uri="{FF2B5EF4-FFF2-40B4-BE49-F238E27FC236}">
                  <a16:creationId xmlns:a16="http://schemas.microsoft.com/office/drawing/2014/main" id="{982F1AC1-6CE7-4B20-ADC7-2955DC62EF5D}"/>
                </a:ext>
              </a:extLst>
            </p:cNvPr>
            <p:cNvSpPr txBox="1"/>
            <p:nvPr/>
          </p:nvSpPr>
          <p:spPr>
            <a:xfrm>
              <a:off x="673100" y="1386646"/>
              <a:ext cx="10845800" cy="6897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zh-CN" altLang="en-US" sz="2800" dirty="0"/>
                <a:t>团结就是力量！</a:t>
              </a:r>
              <a:endParaRPr lang="en-US" sz="2800" dirty="0"/>
            </a:p>
          </p:txBody>
        </p:sp>
        <p:sp>
          <p:nvSpPr>
            <p:cNvPr id="8" name="iṡľiďè">
              <a:extLst>
                <a:ext uri="{FF2B5EF4-FFF2-40B4-BE49-F238E27FC236}">
                  <a16:creationId xmlns:a16="http://schemas.microsoft.com/office/drawing/2014/main" id="{88605797-4A01-45D9-A390-6034352D7359}"/>
                </a:ext>
              </a:extLst>
            </p:cNvPr>
            <p:cNvSpPr/>
            <p:nvPr/>
          </p:nvSpPr>
          <p:spPr>
            <a:xfrm>
              <a:off x="673100" y="3242607"/>
              <a:ext cx="2722126" cy="1528064"/>
            </a:xfrm>
            <a:custGeom>
              <a:avLst/>
              <a:gdLst>
                <a:gd name="connsiteX0" fmla="*/ 1814106 w 3628212"/>
                <a:gd name="connsiteY0" fmla="*/ 0 h 2036693"/>
                <a:gd name="connsiteX1" fmla="*/ 3628212 w 3628212"/>
                <a:gd name="connsiteY1" fmla="*/ 1814106 h 2036693"/>
                <a:gd name="connsiteX2" fmla="*/ 3605774 w 3628212"/>
                <a:gd name="connsiteY2" fmla="*/ 2036693 h 2036693"/>
                <a:gd name="connsiteX3" fmla="*/ 22439 w 3628212"/>
                <a:gd name="connsiteY3" fmla="*/ 2036693 h 2036693"/>
                <a:gd name="connsiteX4" fmla="*/ 0 w 3628212"/>
                <a:gd name="connsiteY4" fmla="*/ 1814106 h 2036693"/>
                <a:gd name="connsiteX5" fmla="*/ 1814106 w 3628212"/>
                <a:gd name="connsiteY5" fmla="*/ 0 h 2036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8212" h="2036693">
                  <a:moveTo>
                    <a:pt x="1814106" y="0"/>
                  </a:moveTo>
                  <a:cubicBezTo>
                    <a:pt x="2816009" y="0"/>
                    <a:pt x="3628212" y="812203"/>
                    <a:pt x="3628212" y="1814106"/>
                  </a:cubicBezTo>
                  <a:lnTo>
                    <a:pt x="3605774" y="2036693"/>
                  </a:lnTo>
                  <a:lnTo>
                    <a:pt x="22439" y="2036693"/>
                  </a:lnTo>
                  <a:lnTo>
                    <a:pt x="0" y="1814106"/>
                  </a:lnTo>
                  <a:cubicBezTo>
                    <a:pt x="0" y="812203"/>
                    <a:pt x="812203" y="0"/>
                    <a:pt x="1814106" y="0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>
              <a:outerShdw blurRad="127000" sx="101000" sy="101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2000" b="1" dirty="0">
                  <a:solidFill>
                    <a:schemeClr val="tx1"/>
                  </a:solidFill>
                </a:rPr>
                <a:t>吴侃真</a:t>
              </a:r>
              <a:endParaRPr lang="en-US" altLang="zh-CN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íSḻïḓê">
              <a:extLst>
                <a:ext uri="{FF2B5EF4-FFF2-40B4-BE49-F238E27FC236}">
                  <a16:creationId xmlns:a16="http://schemas.microsoft.com/office/drawing/2014/main" id="{2C562A72-1BEE-4413-BE95-9727C898415A}"/>
                </a:ext>
              </a:extLst>
            </p:cNvPr>
            <p:cNvSpPr/>
            <p:nvPr/>
          </p:nvSpPr>
          <p:spPr bwMode="auto">
            <a:xfrm>
              <a:off x="763723" y="4770671"/>
              <a:ext cx="2540881" cy="12584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1600" dirty="0">
                  <a:solidFill>
                    <a:schemeClr val="bg1"/>
                  </a:solidFill>
                </a:rPr>
                <a:t>后端编写与部署</a:t>
              </a:r>
              <a:endParaRPr lang="en-US" altLang="zh-CN" sz="1600" dirty="0">
                <a:solidFill>
                  <a:schemeClr val="bg1"/>
                </a:solidFill>
              </a:endParaRPr>
            </a:p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1600" dirty="0">
                  <a:solidFill>
                    <a:schemeClr val="bg1"/>
                  </a:solidFill>
                </a:rPr>
                <a:t>前端初始框架搭建</a:t>
              </a:r>
              <a:endParaRPr lang="en-US" altLang="zh-CN" sz="1600" dirty="0">
                <a:solidFill>
                  <a:schemeClr val="bg1"/>
                </a:solidFill>
              </a:endParaRPr>
            </a:p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1600" dirty="0">
                  <a:solidFill>
                    <a:schemeClr val="bg1"/>
                  </a:solidFill>
                </a:rPr>
                <a:t>参与文档撰写</a:t>
              </a:r>
              <a:endParaRPr lang="en-US" altLang="zh-CN" sz="1600" dirty="0">
                <a:solidFill>
                  <a:schemeClr val="bg1"/>
                </a:solidFill>
              </a:endParaRPr>
            </a:p>
          </p:txBody>
        </p:sp>
        <p:sp>
          <p:nvSpPr>
            <p:cNvPr id="10" name="íṣlîdé">
              <a:extLst>
                <a:ext uri="{FF2B5EF4-FFF2-40B4-BE49-F238E27FC236}">
                  <a16:creationId xmlns:a16="http://schemas.microsoft.com/office/drawing/2014/main" id="{CEB4E134-3340-489B-B175-E063CA6C2CD9}"/>
                </a:ext>
              </a:extLst>
            </p:cNvPr>
            <p:cNvSpPr/>
            <p:nvPr/>
          </p:nvSpPr>
          <p:spPr>
            <a:xfrm>
              <a:off x="1739925" y="2758978"/>
              <a:ext cx="588476" cy="477157"/>
            </a:xfrm>
            <a:custGeom>
              <a:avLst/>
              <a:gdLst>
                <a:gd name="connsiteX0" fmla="*/ 301723 w 609652"/>
                <a:gd name="connsiteY0" fmla="*/ 440097 h 494328"/>
                <a:gd name="connsiteX1" fmla="*/ 594166 w 609652"/>
                <a:gd name="connsiteY1" fmla="*/ 440500 h 494328"/>
                <a:gd name="connsiteX2" fmla="*/ 602017 w 609652"/>
                <a:gd name="connsiteY2" fmla="*/ 443617 h 494328"/>
                <a:gd name="connsiteX3" fmla="*/ 609545 w 609652"/>
                <a:gd name="connsiteY3" fmla="*/ 453290 h 494328"/>
                <a:gd name="connsiteX4" fmla="*/ 609652 w 609652"/>
                <a:gd name="connsiteY4" fmla="*/ 476291 h 494328"/>
                <a:gd name="connsiteX5" fmla="*/ 598683 w 609652"/>
                <a:gd name="connsiteY5" fmla="*/ 487254 h 494328"/>
                <a:gd name="connsiteX6" fmla="*/ 10005 w 609652"/>
                <a:gd name="connsiteY6" fmla="*/ 486717 h 494328"/>
                <a:gd name="connsiteX7" fmla="*/ 541 w 609652"/>
                <a:gd name="connsiteY7" fmla="*/ 477151 h 494328"/>
                <a:gd name="connsiteX8" fmla="*/ 4 w 609652"/>
                <a:gd name="connsiteY8" fmla="*/ 453505 h 494328"/>
                <a:gd name="connsiteX9" fmla="*/ 5703 w 609652"/>
                <a:gd name="connsiteY9" fmla="*/ 447056 h 494328"/>
                <a:gd name="connsiteX10" fmla="*/ 9682 w 609652"/>
                <a:gd name="connsiteY10" fmla="*/ 445659 h 494328"/>
                <a:gd name="connsiteX11" fmla="*/ 301723 w 609652"/>
                <a:gd name="connsiteY11" fmla="*/ 440097 h 494328"/>
                <a:gd name="connsiteX12" fmla="*/ 322560 w 609652"/>
                <a:gd name="connsiteY12" fmla="*/ 290718 h 494328"/>
                <a:gd name="connsiteX13" fmla="*/ 431324 w 609652"/>
                <a:gd name="connsiteY13" fmla="*/ 295671 h 494328"/>
                <a:gd name="connsiteX14" fmla="*/ 436809 w 609652"/>
                <a:gd name="connsiteY14" fmla="*/ 307590 h 494328"/>
                <a:gd name="connsiteX15" fmla="*/ 439498 w 609652"/>
                <a:gd name="connsiteY15" fmla="*/ 348929 h 494328"/>
                <a:gd name="connsiteX16" fmla="*/ 437239 w 609652"/>
                <a:gd name="connsiteY16" fmla="*/ 389195 h 494328"/>
                <a:gd name="connsiteX17" fmla="*/ 436594 w 609652"/>
                <a:gd name="connsiteY17" fmla="*/ 407342 h 494328"/>
                <a:gd name="connsiteX18" fmla="*/ 436917 w 609652"/>
                <a:gd name="connsiteY18" fmla="*/ 408631 h 494328"/>
                <a:gd name="connsiteX19" fmla="*/ 437885 w 609652"/>
                <a:gd name="connsiteY19" fmla="*/ 426025 h 494328"/>
                <a:gd name="connsiteX20" fmla="*/ 437239 w 609652"/>
                <a:gd name="connsiteY20" fmla="*/ 427743 h 494328"/>
                <a:gd name="connsiteX21" fmla="*/ 437239 w 609652"/>
                <a:gd name="connsiteY21" fmla="*/ 427851 h 494328"/>
                <a:gd name="connsiteX22" fmla="*/ 430356 w 609652"/>
                <a:gd name="connsiteY22" fmla="*/ 434723 h 494328"/>
                <a:gd name="connsiteX23" fmla="*/ 428850 w 609652"/>
                <a:gd name="connsiteY23" fmla="*/ 434938 h 494328"/>
                <a:gd name="connsiteX24" fmla="*/ 427129 w 609652"/>
                <a:gd name="connsiteY24" fmla="*/ 434723 h 494328"/>
                <a:gd name="connsiteX25" fmla="*/ 210946 w 609652"/>
                <a:gd name="connsiteY25" fmla="*/ 430750 h 494328"/>
                <a:gd name="connsiteX26" fmla="*/ 209655 w 609652"/>
                <a:gd name="connsiteY26" fmla="*/ 424307 h 494328"/>
                <a:gd name="connsiteX27" fmla="*/ 207181 w 609652"/>
                <a:gd name="connsiteY27" fmla="*/ 378887 h 494328"/>
                <a:gd name="connsiteX28" fmla="*/ 207504 w 609652"/>
                <a:gd name="connsiteY28" fmla="*/ 302650 h 494328"/>
                <a:gd name="connsiteX29" fmla="*/ 212667 w 609652"/>
                <a:gd name="connsiteY29" fmla="*/ 296101 h 494328"/>
                <a:gd name="connsiteX30" fmla="*/ 214280 w 609652"/>
                <a:gd name="connsiteY30" fmla="*/ 295027 h 494328"/>
                <a:gd name="connsiteX31" fmla="*/ 322560 w 609652"/>
                <a:gd name="connsiteY31" fmla="*/ 290718 h 494328"/>
                <a:gd name="connsiteX32" fmla="*/ 248606 w 609652"/>
                <a:gd name="connsiteY32" fmla="*/ 220922 h 494328"/>
                <a:gd name="connsiteX33" fmla="*/ 253768 w 609652"/>
                <a:gd name="connsiteY33" fmla="*/ 222640 h 494328"/>
                <a:gd name="connsiteX34" fmla="*/ 258931 w 609652"/>
                <a:gd name="connsiteY34" fmla="*/ 224144 h 494328"/>
                <a:gd name="connsiteX35" fmla="*/ 385627 w 609652"/>
                <a:gd name="connsiteY35" fmla="*/ 222425 h 494328"/>
                <a:gd name="connsiteX36" fmla="*/ 396382 w 609652"/>
                <a:gd name="connsiteY36" fmla="*/ 222318 h 494328"/>
                <a:gd name="connsiteX37" fmla="*/ 489306 w 609652"/>
                <a:gd name="connsiteY37" fmla="*/ 285892 h 494328"/>
                <a:gd name="connsiteX38" fmla="*/ 538780 w 609652"/>
                <a:gd name="connsiteY38" fmla="*/ 421203 h 494328"/>
                <a:gd name="connsiteX39" fmla="*/ 536306 w 609652"/>
                <a:gd name="connsiteY39" fmla="*/ 423888 h 494328"/>
                <a:gd name="connsiteX40" fmla="*/ 532650 w 609652"/>
                <a:gd name="connsiteY40" fmla="*/ 427324 h 494328"/>
                <a:gd name="connsiteX41" fmla="*/ 494791 w 609652"/>
                <a:gd name="connsiteY41" fmla="*/ 428720 h 494328"/>
                <a:gd name="connsiteX42" fmla="*/ 458977 w 609652"/>
                <a:gd name="connsiteY42" fmla="*/ 428720 h 494328"/>
                <a:gd name="connsiteX43" fmla="*/ 450158 w 609652"/>
                <a:gd name="connsiteY43" fmla="*/ 423029 h 494328"/>
                <a:gd name="connsiteX44" fmla="*/ 451556 w 609652"/>
                <a:gd name="connsiteY44" fmla="*/ 353977 h 494328"/>
                <a:gd name="connsiteX45" fmla="*/ 434778 w 609652"/>
                <a:gd name="connsiteY45" fmla="*/ 280630 h 494328"/>
                <a:gd name="connsiteX46" fmla="*/ 321741 w 609652"/>
                <a:gd name="connsiteY46" fmla="*/ 278805 h 494328"/>
                <a:gd name="connsiteX47" fmla="*/ 195476 w 609652"/>
                <a:gd name="connsiteY47" fmla="*/ 286966 h 494328"/>
                <a:gd name="connsiteX48" fmla="*/ 191173 w 609652"/>
                <a:gd name="connsiteY48" fmla="*/ 352903 h 494328"/>
                <a:gd name="connsiteX49" fmla="*/ 190743 w 609652"/>
                <a:gd name="connsiteY49" fmla="*/ 426895 h 494328"/>
                <a:gd name="connsiteX50" fmla="*/ 189668 w 609652"/>
                <a:gd name="connsiteY50" fmla="*/ 428935 h 494328"/>
                <a:gd name="connsiteX51" fmla="*/ 181494 w 609652"/>
                <a:gd name="connsiteY51" fmla="*/ 434627 h 494328"/>
                <a:gd name="connsiteX52" fmla="*/ 156004 w 609652"/>
                <a:gd name="connsiteY52" fmla="*/ 434734 h 494328"/>
                <a:gd name="connsiteX53" fmla="*/ 128686 w 609652"/>
                <a:gd name="connsiteY53" fmla="*/ 433982 h 494328"/>
                <a:gd name="connsiteX54" fmla="*/ 128686 w 609652"/>
                <a:gd name="connsiteY54" fmla="*/ 433875 h 494328"/>
                <a:gd name="connsiteX55" fmla="*/ 119544 w 609652"/>
                <a:gd name="connsiteY55" fmla="*/ 428828 h 494328"/>
                <a:gd name="connsiteX56" fmla="*/ 111693 w 609652"/>
                <a:gd name="connsiteY56" fmla="*/ 412719 h 494328"/>
                <a:gd name="connsiteX57" fmla="*/ 83514 w 609652"/>
                <a:gd name="connsiteY57" fmla="*/ 408316 h 494328"/>
                <a:gd name="connsiteX58" fmla="*/ 67704 w 609652"/>
                <a:gd name="connsiteY58" fmla="*/ 425928 h 494328"/>
                <a:gd name="connsiteX59" fmla="*/ 59853 w 609652"/>
                <a:gd name="connsiteY59" fmla="*/ 429042 h 494328"/>
                <a:gd name="connsiteX60" fmla="*/ 55659 w 609652"/>
                <a:gd name="connsiteY60" fmla="*/ 428720 h 494328"/>
                <a:gd name="connsiteX61" fmla="*/ 52647 w 609652"/>
                <a:gd name="connsiteY61" fmla="*/ 386087 h 494328"/>
                <a:gd name="connsiteX62" fmla="*/ 69855 w 609652"/>
                <a:gd name="connsiteY62" fmla="*/ 370837 h 494328"/>
                <a:gd name="connsiteX63" fmla="*/ 106100 w 609652"/>
                <a:gd name="connsiteY63" fmla="*/ 356447 h 494328"/>
                <a:gd name="connsiteX64" fmla="*/ 125675 w 609652"/>
                <a:gd name="connsiteY64" fmla="*/ 332714 h 494328"/>
                <a:gd name="connsiteX65" fmla="*/ 248606 w 609652"/>
                <a:gd name="connsiteY65" fmla="*/ 220922 h 494328"/>
                <a:gd name="connsiteX66" fmla="*/ 327555 w 609652"/>
                <a:gd name="connsiteY66" fmla="*/ 0 h 494328"/>
                <a:gd name="connsiteX67" fmla="*/ 306046 w 609652"/>
                <a:gd name="connsiteY67" fmla="*/ 221019 h 494328"/>
                <a:gd name="connsiteX68" fmla="*/ 302282 w 609652"/>
                <a:gd name="connsiteY68" fmla="*/ 219193 h 494328"/>
                <a:gd name="connsiteX69" fmla="*/ 327555 w 609652"/>
                <a:gd name="connsiteY69" fmla="*/ 0 h 494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09652" h="494328">
                  <a:moveTo>
                    <a:pt x="301723" y="440097"/>
                  </a:moveTo>
                  <a:cubicBezTo>
                    <a:pt x="399383" y="440822"/>
                    <a:pt x="497111" y="442542"/>
                    <a:pt x="594166" y="440500"/>
                  </a:cubicBezTo>
                  <a:cubicBezTo>
                    <a:pt x="597715" y="440392"/>
                    <a:pt x="600296" y="441682"/>
                    <a:pt x="602017" y="443617"/>
                  </a:cubicBezTo>
                  <a:cubicBezTo>
                    <a:pt x="606103" y="444692"/>
                    <a:pt x="609437" y="447916"/>
                    <a:pt x="609545" y="453290"/>
                  </a:cubicBezTo>
                  <a:cubicBezTo>
                    <a:pt x="609545" y="461029"/>
                    <a:pt x="609545" y="468660"/>
                    <a:pt x="609652" y="476291"/>
                  </a:cubicBezTo>
                  <a:cubicBezTo>
                    <a:pt x="609652" y="482633"/>
                    <a:pt x="604598" y="486824"/>
                    <a:pt x="598683" y="487254"/>
                  </a:cubicBezTo>
                  <a:cubicBezTo>
                    <a:pt x="402851" y="503269"/>
                    <a:pt x="206267" y="487147"/>
                    <a:pt x="10005" y="486717"/>
                  </a:cubicBezTo>
                  <a:cubicBezTo>
                    <a:pt x="4736" y="486717"/>
                    <a:pt x="649" y="482310"/>
                    <a:pt x="541" y="477151"/>
                  </a:cubicBezTo>
                  <a:lnTo>
                    <a:pt x="4" y="453505"/>
                  </a:lnTo>
                  <a:cubicBezTo>
                    <a:pt x="-104" y="449743"/>
                    <a:pt x="2692" y="447486"/>
                    <a:pt x="5703" y="447056"/>
                  </a:cubicBezTo>
                  <a:cubicBezTo>
                    <a:pt x="6779" y="446304"/>
                    <a:pt x="8069" y="445766"/>
                    <a:pt x="9682" y="445659"/>
                  </a:cubicBezTo>
                  <a:cubicBezTo>
                    <a:pt x="106469" y="439640"/>
                    <a:pt x="204062" y="439371"/>
                    <a:pt x="301723" y="440097"/>
                  </a:cubicBezTo>
                  <a:close/>
                  <a:moveTo>
                    <a:pt x="322560" y="290718"/>
                  </a:moveTo>
                  <a:cubicBezTo>
                    <a:pt x="359290" y="291752"/>
                    <a:pt x="396100" y="294329"/>
                    <a:pt x="431324" y="295671"/>
                  </a:cubicBezTo>
                  <a:cubicBezTo>
                    <a:pt x="438100" y="295993"/>
                    <a:pt x="439928" y="303509"/>
                    <a:pt x="436809" y="307590"/>
                  </a:cubicBezTo>
                  <a:cubicBezTo>
                    <a:pt x="443047" y="319938"/>
                    <a:pt x="440251" y="334971"/>
                    <a:pt x="439498" y="348929"/>
                  </a:cubicBezTo>
                  <a:cubicBezTo>
                    <a:pt x="438745" y="362351"/>
                    <a:pt x="437992" y="375773"/>
                    <a:pt x="437239" y="389195"/>
                  </a:cubicBezTo>
                  <a:cubicBezTo>
                    <a:pt x="436917" y="395638"/>
                    <a:pt x="437454" y="401866"/>
                    <a:pt x="436594" y="407342"/>
                  </a:cubicBezTo>
                  <a:cubicBezTo>
                    <a:pt x="436702" y="407772"/>
                    <a:pt x="436917" y="408094"/>
                    <a:pt x="436917" y="408631"/>
                  </a:cubicBezTo>
                  <a:cubicBezTo>
                    <a:pt x="437239" y="414429"/>
                    <a:pt x="437777" y="420227"/>
                    <a:pt x="437885" y="426025"/>
                  </a:cubicBezTo>
                  <a:cubicBezTo>
                    <a:pt x="437885" y="426777"/>
                    <a:pt x="437454" y="427099"/>
                    <a:pt x="437239" y="427743"/>
                  </a:cubicBezTo>
                  <a:lnTo>
                    <a:pt x="437239" y="427851"/>
                  </a:lnTo>
                  <a:cubicBezTo>
                    <a:pt x="437777" y="431931"/>
                    <a:pt x="433690" y="434294"/>
                    <a:pt x="430356" y="434723"/>
                  </a:cubicBezTo>
                  <a:cubicBezTo>
                    <a:pt x="429818" y="434830"/>
                    <a:pt x="429388" y="434830"/>
                    <a:pt x="428850" y="434938"/>
                  </a:cubicBezTo>
                  <a:cubicBezTo>
                    <a:pt x="428312" y="435045"/>
                    <a:pt x="427667" y="434830"/>
                    <a:pt x="427129" y="434723"/>
                  </a:cubicBezTo>
                  <a:cubicBezTo>
                    <a:pt x="357004" y="436763"/>
                    <a:pt x="280210" y="441595"/>
                    <a:pt x="210946" y="430750"/>
                  </a:cubicBezTo>
                  <a:cubicBezTo>
                    <a:pt x="207934" y="430320"/>
                    <a:pt x="207504" y="425918"/>
                    <a:pt x="209655" y="424307"/>
                  </a:cubicBezTo>
                  <a:cubicBezTo>
                    <a:pt x="205030" y="410026"/>
                    <a:pt x="207181" y="393598"/>
                    <a:pt x="207181" y="378887"/>
                  </a:cubicBezTo>
                  <a:cubicBezTo>
                    <a:pt x="207289" y="353439"/>
                    <a:pt x="207504" y="327991"/>
                    <a:pt x="207504" y="302650"/>
                  </a:cubicBezTo>
                  <a:cubicBezTo>
                    <a:pt x="207504" y="298892"/>
                    <a:pt x="209870" y="296745"/>
                    <a:pt x="212667" y="296101"/>
                  </a:cubicBezTo>
                  <a:cubicBezTo>
                    <a:pt x="213097" y="295671"/>
                    <a:pt x="213527" y="295134"/>
                    <a:pt x="214280" y="295027"/>
                  </a:cubicBezTo>
                  <a:cubicBezTo>
                    <a:pt x="249181" y="290195"/>
                    <a:pt x="285830" y="289685"/>
                    <a:pt x="322560" y="290718"/>
                  </a:cubicBezTo>
                  <a:close/>
                  <a:moveTo>
                    <a:pt x="248606" y="220922"/>
                  </a:moveTo>
                  <a:cubicBezTo>
                    <a:pt x="250757" y="220707"/>
                    <a:pt x="252478" y="221459"/>
                    <a:pt x="253768" y="222640"/>
                  </a:cubicBezTo>
                  <a:cubicBezTo>
                    <a:pt x="255597" y="222533"/>
                    <a:pt x="257425" y="222855"/>
                    <a:pt x="258931" y="224144"/>
                  </a:cubicBezTo>
                  <a:cubicBezTo>
                    <a:pt x="300123" y="257971"/>
                    <a:pt x="344757" y="259582"/>
                    <a:pt x="385627" y="222425"/>
                  </a:cubicBezTo>
                  <a:cubicBezTo>
                    <a:pt x="389176" y="219204"/>
                    <a:pt x="393478" y="219955"/>
                    <a:pt x="396382" y="222318"/>
                  </a:cubicBezTo>
                  <a:cubicBezTo>
                    <a:pt x="432519" y="209646"/>
                    <a:pt x="471560" y="260334"/>
                    <a:pt x="489306" y="285892"/>
                  </a:cubicBezTo>
                  <a:cubicBezTo>
                    <a:pt x="508020" y="312847"/>
                    <a:pt x="558139" y="387053"/>
                    <a:pt x="538780" y="421203"/>
                  </a:cubicBezTo>
                  <a:cubicBezTo>
                    <a:pt x="538135" y="422384"/>
                    <a:pt x="537167" y="423243"/>
                    <a:pt x="536306" y="423888"/>
                  </a:cubicBezTo>
                  <a:cubicBezTo>
                    <a:pt x="535769" y="425499"/>
                    <a:pt x="534801" y="426895"/>
                    <a:pt x="532650" y="427324"/>
                  </a:cubicBezTo>
                  <a:cubicBezTo>
                    <a:pt x="520496" y="430116"/>
                    <a:pt x="507267" y="428291"/>
                    <a:pt x="494791" y="428720"/>
                  </a:cubicBezTo>
                  <a:cubicBezTo>
                    <a:pt x="482853" y="429150"/>
                    <a:pt x="470700" y="430761"/>
                    <a:pt x="458977" y="428720"/>
                  </a:cubicBezTo>
                  <a:cubicBezTo>
                    <a:pt x="455212" y="430224"/>
                    <a:pt x="450050" y="428398"/>
                    <a:pt x="450158" y="423029"/>
                  </a:cubicBezTo>
                  <a:cubicBezTo>
                    <a:pt x="450265" y="399940"/>
                    <a:pt x="451018" y="376959"/>
                    <a:pt x="451556" y="353977"/>
                  </a:cubicBezTo>
                  <a:cubicBezTo>
                    <a:pt x="452093" y="329385"/>
                    <a:pt x="457471" y="296953"/>
                    <a:pt x="434778" y="280630"/>
                  </a:cubicBezTo>
                  <a:cubicBezTo>
                    <a:pt x="397135" y="280416"/>
                    <a:pt x="359492" y="279556"/>
                    <a:pt x="321741" y="278805"/>
                  </a:cubicBezTo>
                  <a:cubicBezTo>
                    <a:pt x="292487" y="278375"/>
                    <a:pt x="221933" y="265059"/>
                    <a:pt x="195476" y="286966"/>
                  </a:cubicBezTo>
                  <a:cubicBezTo>
                    <a:pt x="194292" y="308981"/>
                    <a:pt x="190851" y="330674"/>
                    <a:pt x="191173" y="352903"/>
                  </a:cubicBezTo>
                  <a:cubicBezTo>
                    <a:pt x="191389" y="377603"/>
                    <a:pt x="193755" y="402302"/>
                    <a:pt x="190743" y="426895"/>
                  </a:cubicBezTo>
                  <a:cubicBezTo>
                    <a:pt x="190636" y="427754"/>
                    <a:pt x="190098" y="428291"/>
                    <a:pt x="189668" y="428935"/>
                  </a:cubicBezTo>
                  <a:cubicBezTo>
                    <a:pt x="189130" y="432586"/>
                    <a:pt x="186119" y="435808"/>
                    <a:pt x="181494" y="434627"/>
                  </a:cubicBezTo>
                  <a:cubicBezTo>
                    <a:pt x="173212" y="432479"/>
                    <a:pt x="164501" y="434197"/>
                    <a:pt x="156004" y="434734"/>
                  </a:cubicBezTo>
                  <a:cubicBezTo>
                    <a:pt x="146755" y="435271"/>
                    <a:pt x="137935" y="435164"/>
                    <a:pt x="128686" y="433982"/>
                  </a:cubicBezTo>
                  <a:cubicBezTo>
                    <a:pt x="128686" y="433982"/>
                    <a:pt x="128686" y="433875"/>
                    <a:pt x="128686" y="433875"/>
                  </a:cubicBezTo>
                  <a:cubicBezTo>
                    <a:pt x="124814" y="435271"/>
                    <a:pt x="120405" y="434090"/>
                    <a:pt x="119544" y="428828"/>
                  </a:cubicBezTo>
                  <a:cubicBezTo>
                    <a:pt x="118469" y="421740"/>
                    <a:pt x="115457" y="416478"/>
                    <a:pt x="111693" y="412719"/>
                  </a:cubicBezTo>
                  <a:lnTo>
                    <a:pt x="83514" y="408316"/>
                  </a:lnTo>
                  <a:cubicBezTo>
                    <a:pt x="76739" y="411431"/>
                    <a:pt x="70823" y="417122"/>
                    <a:pt x="67704" y="425928"/>
                  </a:cubicBezTo>
                  <a:cubicBezTo>
                    <a:pt x="66521" y="429365"/>
                    <a:pt x="62649" y="430224"/>
                    <a:pt x="59853" y="429042"/>
                  </a:cubicBezTo>
                  <a:cubicBezTo>
                    <a:pt x="58670" y="430009"/>
                    <a:pt x="56949" y="430224"/>
                    <a:pt x="55659" y="428720"/>
                  </a:cubicBezTo>
                  <a:cubicBezTo>
                    <a:pt x="45226" y="415941"/>
                    <a:pt x="43505" y="400799"/>
                    <a:pt x="52647" y="386087"/>
                  </a:cubicBezTo>
                  <a:cubicBezTo>
                    <a:pt x="57057" y="379106"/>
                    <a:pt x="62649" y="374489"/>
                    <a:pt x="69855" y="370837"/>
                  </a:cubicBezTo>
                  <a:cubicBezTo>
                    <a:pt x="84267" y="363642"/>
                    <a:pt x="92334" y="366434"/>
                    <a:pt x="106100" y="356447"/>
                  </a:cubicBezTo>
                  <a:cubicBezTo>
                    <a:pt x="117286" y="348286"/>
                    <a:pt x="119759" y="344312"/>
                    <a:pt x="125675" y="332714"/>
                  </a:cubicBezTo>
                  <a:cubicBezTo>
                    <a:pt x="153638" y="277623"/>
                    <a:pt x="181171" y="227580"/>
                    <a:pt x="248606" y="220922"/>
                  </a:cubicBezTo>
                  <a:close/>
                  <a:moveTo>
                    <a:pt x="327555" y="0"/>
                  </a:moveTo>
                  <a:cubicBezTo>
                    <a:pt x="453279" y="215"/>
                    <a:pt x="435856" y="249586"/>
                    <a:pt x="306046" y="221019"/>
                  </a:cubicBezTo>
                  <a:cubicBezTo>
                    <a:pt x="304433" y="220589"/>
                    <a:pt x="303250" y="219945"/>
                    <a:pt x="302282" y="219193"/>
                  </a:cubicBezTo>
                  <a:cubicBezTo>
                    <a:pt x="237215" y="194600"/>
                    <a:pt x="198820" y="-215"/>
                    <a:pt x="327555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1" name="ïṣļiḋe">
              <a:extLst>
                <a:ext uri="{FF2B5EF4-FFF2-40B4-BE49-F238E27FC236}">
                  <a16:creationId xmlns:a16="http://schemas.microsoft.com/office/drawing/2014/main" id="{C0BD7092-2798-4C2F-95BB-FB963B4BF5E3}"/>
                </a:ext>
              </a:extLst>
            </p:cNvPr>
            <p:cNvSpPr/>
            <p:nvPr/>
          </p:nvSpPr>
          <p:spPr>
            <a:xfrm>
              <a:off x="3380991" y="3242607"/>
              <a:ext cx="2722126" cy="1528064"/>
            </a:xfrm>
            <a:custGeom>
              <a:avLst/>
              <a:gdLst>
                <a:gd name="connsiteX0" fmla="*/ 1814106 w 3628212"/>
                <a:gd name="connsiteY0" fmla="*/ 0 h 2036693"/>
                <a:gd name="connsiteX1" fmla="*/ 3628212 w 3628212"/>
                <a:gd name="connsiteY1" fmla="*/ 1814106 h 2036693"/>
                <a:gd name="connsiteX2" fmla="*/ 3605774 w 3628212"/>
                <a:gd name="connsiteY2" fmla="*/ 2036693 h 2036693"/>
                <a:gd name="connsiteX3" fmla="*/ 22439 w 3628212"/>
                <a:gd name="connsiteY3" fmla="*/ 2036693 h 2036693"/>
                <a:gd name="connsiteX4" fmla="*/ 0 w 3628212"/>
                <a:gd name="connsiteY4" fmla="*/ 1814106 h 2036693"/>
                <a:gd name="connsiteX5" fmla="*/ 1814106 w 3628212"/>
                <a:gd name="connsiteY5" fmla="*/ 0 h 2036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8212" h="2036693">
                  <a:moveTo>
                    <a:pt x="1814106" y="0"/>
                  </a:moveTo>
                  <a:cubicBezTo>
                    <a:pt x="2816009" y="0"/>
                    <a:pt x="3628212" y="812203"/>
                    <a:pt x="3628212" y="1814106"/>
                  </a:cubicBezTo>
                  <a:lnTo>
                    <a:pt x="3605774" y="2036693"/>
                  </a:lnTo>
                  <a:lnTo>
                    <a:pt x="22439" y="2036693"/>
                  </a:lnTo>
                  <a:lnTo>
                    <a:pt x="0" y="1814106"/>
                  </a:lnTo>
                  <a:cubicBezTo>
                    <a:pt x="0" y="812203"/>
                    <a:pt x="812203" y="0"/>
                    <a:pt x="1814106" y="0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>
              <a:outerShdw blurRad="127000" sx="101000" sy="101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2000" b="1" dirty="0">
                  <a:solidFill>
                    <a:schemeClr val="tx1"/>
                  </a:solidFill>
                </a:rPr>
                <a:t>毛彦凯</a:t>
              </a:r>
              <a:endParaRPr lang="en-US" altLang="zh-CN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íŝļïḋè">
              <a:extLst>
                <a:ext uri="{FF2B5EF4-FFF2-40B4-BE49-F238E27FC236}">
                  <a16:creationId xmlns:a16="http://schemas.microsoft.com/office/drawing/2014/main" id="{65148E85-6014-4AC7-9A61-7593281466AA}"/>
                </a:ext>
              </a:extLst>
            </p:cNvPr>
            <p:cNvSpPr/>
            <p:nvPr/>
          </p:nvSpPr>
          <p:spPr bwMode="auto">
            <a:xfrm>
              <a:off x="3395226" y="4860263"/>
              <a:ext cx="2693656" cy="12584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2600" dirty="0">
                  <a:solidFill>
                    <a:schemeClr val="bg1"/>
                  </a:solidFill>
                </a:rPr>
                <a:t>代码解释器的编写</a:t>
              </a:r>
              <a:endParaRPr lang="en-US" altLang="zh-CN" sz="2600" dirty="0">
                <a:solidFill>
                  <a:schemeClr val="bg1"/>
                </a:solidFill>
              </a:endParaRPr>
            </a:p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2600" dirty="0">
                  <a:solidFill>
                    <a:schemeClr val="bg1"/>
                  </a:solidFill>
                </a:rPr>
                <a:t>编写</a:t>
              </a:r>
              <a:r>
                <a:rPr lang="en-US" altLang="zh-CN" sz="2600" dirty="0">
                  <a:solidFill>
                    <a:schemeClr val="bg1"/>
                  </a:solidFill>
                </a:rPr>
                <a:t>LOGO</a:t>
              </a:r>
              <a:r>
                <a:rPr lang="zh-CN" altLang="en-US" sz="2600" dirty="0">
                  <a:solidFill>
                    <a:schemeClr val="bg1"/>
                  </a:solidFill>
                </a:rPr>
                <a:t>样例程序</a:t>
              </a:r>
              <a:endParaRPr lang="en-US" altLang="zh-CN" sz="2600" dirty="0">
                <a:solidFill>
                  <a:schemeClr val="bg1"/>
                </a:solidFill>
              </a:endParaRPr>
            </a:p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2600" dirty="0">
                  <a:solidFill>
                    <a:schemeClr val="bg1"/>
                  </a:solidFill>
                </a:rPr>
                <a:t>文档撰写与审核</a:t>
              </a:r>
              <a:br>
                <a:rPr lang="en-US" altLang="zh-CN" sz="1100" dirty="0">
                  <a:solidFill>
                    <a:schemeClr val="bg1"/>
                  </a:solidFill>
                </a:rPr>
              </a:b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13" name="ïṧḻíďè">
              <a:extLst>
                <a:ext uri="{FF2B5EF4-FFF2-40B4-BE49-F238E27FC236}">
                  <a16:creationId xmlns:a16="http://schemas.microsoft.com/office/drawing/2014/main" id="{FC95DFC4-825D-4629-8A2D-7DB44035EB2D}"/>
                </a:ext>
              </a:extLst>
            </p:cNvPr>
            <p:cNvSpPr/>
            <p:nvPr/>
          </p:nvSpPr>
          <p:spPr>
            <a:xfrm>
              <a:off x="4447816" y="2758978"/>
              <a:ext cx="588476" cy="477157"/>
            </a:xfrm>
            <a:custGeom>
              <a:avLst/>
              <a:gdLst>
                <a:gd name="connsiteX0" fmla="*/ 301723 w 609652"/>
                <a:gd name="connsiteY0" fmla="*/ 440097 h 494328"/>
                <a:gd name="connsiteX1" fmla="*/ 594166 w 609652"/>
                <a:gd name="connsiteY1" fmla="*/ 440500 h 494328"/>
                <a:gd name="connsiteX2" fmla="*/ 602017 w 609652"/>
                <a:gd name="connsiteY2" fmla="*/ 443617 h 494328"/>
                <a:gd name="connsiteX3" fmla="*/ 609545 w 609652"/>
                <a:gd name="connsiteY3" fmla="*/ 453290 h 494328"/>
                <a:gd name="connsiteX4" fmla="*/ 609652 w 609652"/>
                <a:gd name="connsiteY4" fmla="*/ 476291 h 494328"/>
                <a:gd name="connsiteX5" fmla="*/ 598683 w 609652"/>
                <a:gd name="connsiteY5" fmla="*/ 487254 h 494328"/>
                <a:gd name="connsiteX6" fmla="*/ 10005 w 609652"/>
                <a:gd name="connsiteY6" fmla="*/ 486717 h 494328"/>
                <a:gd name="connsiteX7" fmla="*/ 541 w 609652"/>
                <a:gd name="connsiteY7" fmla="*/ 477151 h 494328"/>
                <a:gd name="connsiteX8" fmla="*/ 4 w 609652"/>
                <a:gd name="connsiteY8" fmla="*/ 453505 h 494328"/>
                <a:gd name="connsiteX9" fmla="*/ 5703 w 609652"/>
                <a:gd name="connsiteY9" fmla="*/ 447056 h 494328"/>
                <a:gd name="connsiteX10" fmla="*/ 9682 w 609652"/>
                <a:gd name="connsiteY10" fmla="*/ 445659 h 494328"/>
                <a:gd name="connsiteX11" fmla="*/ 301723 w 609652"/>
                <a:gd name="connsiteY11" fmla="*/ 440097 h 494328"/>
                <a:gd name="connsiteX12" fmla="*/ 322560 w 609652"/>
                <a:gd name="connsiteY12" fmla="*/ 290718 h 494328"/>
                <a:gd name="connsiteX13" fmla="*/ 431324 w 609652"/>
                <a:gd name="connsiteY13" fmla="*/ 295671 h 494328"/>
                <a:gd name="connsiteX14" fmla="*/ 436809 w 609652"/>
                <a:gd name="connsiteY14" fmla="*/ 307590 h 494328"/>
                <a:gd name="connsiteX15" fmla="*/ 439498 w 609652"/>
                <a:gd name="connsiteY15" fmla="*/ 348929 h 494328"/>
                <a:gd name="connsiteX16" fmla="*/ 437239 w 609652"/>
                <a:gd name="connsiteY16" fmla="*/ 389195 h 494328"/>
                <a:gd name="connsiteX17" fmla="*/ 436594 w 609652"/>
                <a:gd name="connsiteY17" fmla="*/ 407342 h 494328"/>
                <a:gd name="connsiteX18" fmla="*/ 436917 w 609652"/>
                <a:gd name="connsiteY18" fmla="*/ 408631 h 494328"/>
                <a:gd name="connsiteX19" fmla="*/ 437885 w 609652"/>
                <a:gd name="connsiteY19" fmla="*/ 426025 h 494328"/>
                <a:gd name="connsiteX20" fmla="*/ 437239 w 609652"/>
                <a:gd name="connsiteY20" fmla="*/ 427743 h 494328"/>
                <a:gd name="connsiteX21" fmla="*/ 437239 w 609652"/>
                <a:gd name="connsiteY21" fmla="*/ 427851 h 494328"/>
                <a:gd name="connsiteX22" fmla="*/ 430356 w 609652"/>
                <a:gd name="connsiteY22" fmla="*/ 434723 h 494328"/>
                <a:gd name="connsiteX23" fmla="*/ 428850 w 609652"/>
                <a:gd name="connsiteY23" fmla="*/ 434938 h 494328"/>
                <a:gd name="connsiteX24" fmla="*/ 427129 w 609652"/>
                <a:gd name="connsiteY24" fmla="*/ 434723 h 494328"/>
                <a:gd name="connsiteX25" fmla="*/ 210946 w 609652"/>
                <a:gd name="connsiteY25" fmla="*/ 430750 h 494328"/>
                <a:gd name="connsiteX26" fmla="*/ 209655 w 609652"/>
                <a:gd name="connsiteY26" fmla="*/ 424307 h 494328"/>
                <a:gd name="connsiteX27" fmla="*/ 207181 w 609652"/>
                <a:gd name="connsiteY27" fmla="*/ 378887 h 494328"/>
                <a:gd name="connsiteX28" fmla="*/ 207504 w 609652"/>
                <a:gd name="connsiteY28" fmla="*/ 302650 h 494328"/>
                <a:gd name="connsiteX29" fmla="*/ 212667 w 609652"/>
                <a:gd name="connsiteY29" fmla="*/ 296101 h 494328"/>
                <a:gd name="connsiteX30" fmla="*/ 214280 w 609652"/>
                <a:gd name="connsiteY30" fmla="*/ 295027 h 494328"/>
                <a:gd name="connsiteX31" fmla="*/ 322560 w 609652"/>
                <a:gd name="connsiteY31" fmla="*/ 290718 h 494328"/>
                <a:gd name="connsiteX32" fmla="*/ 248606 w 609652"/>
                <a:gd name="connsiteY32" fmla="*/ 220922 h 494328"/>
                <a:gd name="connsiteX33" fmla="*/ 253768 w 609652"/>
                <a:gd name="connsiteY33" fmla="*/ 222640 h 494328"/>
                <a:gd name="connsiteX34" fmla="*/ 258931 w 609652"/>
                <a:gd name="connsiteY34" fmla="*/ 224144 h 494328"/>
                <a:gd name="connsiteX35" fmla="*/ 385627 w 609652"/>
                <a:gd name="connsiteY35" fmla="*/ 222425 h 494328"/>
                <a:gd name="connsiteX36" fmla="*/ 396382 w 609652"/>
                <a:gd name="connsiteY36" fmla="*/ 222318 h 494328"/>
                <a:gd name="connsiteX37" fmla="*/ 489306 w 609652"/>
                <a:gd name="connsiteY37" fmla="*/ 285892 h 494328"/>
                <a:gd name="connsiteX38" fmla="*/ 538780 w 609652"/>
                <a:gd name="connsiteY38" fmla="*/ 421203 h 494328"/>
                <a:gd name="connsiteX39" fmla="*/ 536306 w 609652"/>
                <a:gd name="connsiteY39" fmla="*/ 423888 h 494328"/>
                <a:gd name="connsiteX40" fmla="*/ 532650 w 609652"/>
                <a:gd name="connsiteY40" fmla="*/ 427324 h 494328"/>
                <a:gd name="connsiteX41" fmla="*/ 494791 w 609652"/>
                <a:gd name="connsiteY41" fmla="*/ 428720 h 494328"/>
                <a:gd name="connsiteX42" fmla="*/ 458977 w 609652"/>
                <a:gd name="connsiteY42" fmla="*/ 428720 h 494328"/>
                <a:gd name="connsiteX43" fmla="*/ 450158 w 609652"/>
                <a:gd name="connsiteY43" fmla="*/ 423029 h 494328"/>
                <a:gd name="connsiteX44" fmla="*/ 451556 w 609652"/>
                <a:gd name="connsiteY44" fmla="*/ 353977 h 494328"/>
                <a:gd name="connsiteX45" fmla="*/ 434778 w 609652"/>
                <a:gd name="connsiteY45" fmla="*/ 280630 h 494328"/>
                <a:gd name="connsiteX46" fmla="*/ 321741 w 609652"/>
                <a:gd name="connsiteY46" fmla="*/ 278805 h 494328"/>
                <a:gd name="connsiteX47" fmla="*/ 195476 w 609652"/>
                <a:gd name="connsiteY47" fmla="*/ 286966 h 494328"/>
                <a:gd name="connsiteX48" fmla="*/ 191173 w 609652"/>
                <a:gd name="connsiteY48" fmla="*/ 352903 h 494328"/>
                <a:gd name="connsiteX49" fmla="*/ 190743 w 609652"/>
                <a:gd name="connsiteY49" fmla="*/ 426895 h 494328"/>
                <a:gd name="connsiteX50" fmla="*/ 189668 w 609652"/>
                <a:gd name="connsiteY50" fmla="*/ 428935 h 494328"/>
                <a:gd name="connsiteX51" fmla="*/ 181494 w 609652"/>
                <a:gd name="connsiteY51" fmla="*/ 434627 h 494328"/>
                <a:gd name="connsiteX52" fmla="*/ 156004 w 609652"/>
                <a:gd name="connsiteY52" fmla="*/ 434734 h 494328"/>
                <a:gd name="connsiteX53" fmla="*/ 128686 w 609652"/>
                <a:gd name="connsiteY53" fmla="*/ 433982 h 494328"/>
                <a:gd name="connsiteX54" fmla="*/ 128686 w 609652"/>
                <a:gd name="connsiteY54" fmla="*/ 433875 h 494328"/>
                <a:gd name="connsiteX55" fmla="*/ 119544 w 609652"/>
                <a:gd name="connsiteY55" fmla="*/ 428828 h 494328"/>
                <a:gd name="connsiteX56" fmla="*/ 111693 w 609652"/>
                <a:gd name="connsiteY56" fmla="*/ 412719 h 494328"/>
                <a:gd name="connsiteX57" fmla="*/ 83514 w 609652"/>
                <a:gd name="connsiteY57" fmla="*/ 408316 h 494328"/>
                <a:gd name="connsiteX58" fmla="*/ 67704 w 609652"/>
                <a:gd name="connsiteY58" fmla="*/ 425928 h 494328"/>
                <a:gd name="connsiteX59" fmla="*/ 59853 w 609652"/>
                <a:gd name="connsiteY59" fmla="*/ 429042 h 494328"/>
                <a:gd name="connsiteX60" fmla="*/ 55659 w 609652"/>
                <a:gd name="connsiteY60" fmla="*/ 428720 h 494328"/>
                <a:gd name="connsiteX61" fmla="*/ 52647 w 609652"/>
                <a:gd name="connsiteY61" fmla="*/ 386087 h 494328"/>
                <a:gd name="connsiteX62" fmla="*/ 69855 w 609652"/>
                <a:gd name="connsiteY62" fmla="*/ 370837 h 494328"/>
                <a:gd name="connsiteX63" fmla="*/ 106100 w 609652"/>
                <a:gd name="connsiteY63" fmla="*/ 356447 h 494328"/>
                <a:gd name="connsiteX64" fmla="*/ 125675 w 609652"/>
                <a:gd name="connsiteY64" fmla="*/ 332714 h 494328"/>
                <a:gd name="connsiteX65" fmla="*/ 248606 w 609652"/>
                <a:gd name="connsiteY65" fmla="*/ 220922 h 494328"/>
                <a:gd name="connsiteX66" fmla="*/ 327555 w 609652"/>
                <a:gd name="connsiteY66" fmla="*/ 0 h 494328"/>
                <a:gd name="connsiteX67" fmla="*/ 306046 w 609652"/>
                <a:gd name="connsiteY67" fmla="*/ 221019 h 494328"/>
                <a:gd name="connsiteX68" fmla="*/ 302282 w 609652"/>
                <a:gd name="connsiteY68" fmla="*/ 219193 h 494328"/>
                <a:gd name="connsiteX69" fmla="*/ 327555 w 609652"/>
                <a:gd name="connsiteY69" fmla="*/ 0 h 494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09652" h="494328">
                  <a:moveTo>
                    <a:pt x="301723" y="440097"/>
                  </a:moveTo>
                  <a:cubicBezTo>
                    <a:pt x="399383" y="440822"/>
                    <a:pt x="497111" y="442542"/>
                    <a:pt x="594166" y="440500"/>
                  </a:cubicBezTo>
                  <a:cubicBezTo>
                    <a:pt x="597715" y="440392"/>
                    <a:pt x="600296" y="441682"/>
                    <a:pt x="602017" y="443617"/>
                  </a:cubicBezTo>
                  <a:cubicBezTo>
                    <a:pt x="606103" y="444692"/>
                    <a:pt x="609437" y="447916"/>
                    <a:pt x="609545" y="453290"/>
                  </a:cubicBezTo>
                  <a:cubicBezTo>
                    <a:pt x="609545" y="461029"/>
                    <a:pt x="609545" y="468660"/>
                    <a:pt x="609652" y="476291"/>
                  </a:cubicBezTo>
                  <a:cubicBezTo>
                    <a:pt x="609652" y="482633"/>
                    <a:pt x="604598" y="486824"/>
                    <a:pt x="598683" y="487254"/>
                  </a:cubicBezTo>
                  <a:cubicBezTo>
                    <a:pt x="402851" y="503269"/>
                    <a:pt x="206267" y="487147"/>
                    <a:pt x="10005" y="486717"/>
                  </a:cubicBezTo>
                  <a:cubicBezTo>
                    <a:pt x="4736" y="486717"/>
                    <a:pt x="649" y="482310"/>
                    <a:pt x="541" y="477151"/>
                  </a:cubicBezTo>
                  <a:lnTo>
                    <a:pt x="4" y="453505"/>
                  </a:lnTo>
                  <a:cubicBezTo>
                    <a:pt x="-104" y="449743"/>
                    <a:pt x="2692" y="447486"/>
                    <a:pt x="5703" y="447056"/>
                  </a:cubicBezTo>
                  <a:cubicBezTo>
                    <a:pt x="6779" y="446304"/>
                    <a:pt x="8069" y="445766"/>
                    <a:pt x="9682" y="445659"/>
                  </a:cubicBezTo>
                  <a:cubicBezTo>
                    <a:pt x="106469" y="439640"/>
                    <a:pt x="204062" y="439371"/>
                    <a:pt x="301723" y="440097"/>
                  </a:cubicBezTo>
                  <a:close/>
                  <a:moveTo>
                    <a:pt x="322560" y="290718"/>
                  </a:moveTo>
                  <a:cubicBezTo>
                    <a:pt x="359290" y="291752"/>
                    <a:pt x="396100" y="294329"/>
                    <a:pt x="431324" y="295671"/>
                  </a:cubicBezTo>
                  <a:cubicBezTo>
                    <a:pt x="438100" y="295993"/>
                    <a:pt x="439928" y="303509"/>
                    <a:pt x="436809" y="307590"/>
                  </a:cubicBezTo>
                  <a:cubicBezTo>
                    <a:pt x="443047" y="319938"/>
                    <a:pt x="440251" y="334971"/>
                    <a:pt x="439498" y="348929"/>
                  </a:cubicBezTo>
                  <a:cubicBezTo>
                    <a:pt x="438745" y="362351"/>
                    <a:pt x="437992" y="375773"/>
                    <a:pt x="437239" y="389195"/>
                  </a:cubicBezTo>
                  <a:cubicBezTo>
                    <a:pt x="436917" y="395638"/>
                    <a:pt x="437454" y="401866"/>
                    <a:pt x="436594" y="407342"/>
                  </a:cubicBezTo>
                  <a:cubicBezTo>
                    <a:pt x="436702" y="407772"/>
                    <a:pt x="436917" y="408094"/>
                    <a:pt x="436917" y="408631"/>
                  </a:cubicBezTo>
                  <a:cubicBezTo>
                    <a:pt x="437239" y="414429"/>
                    <a:pt x="437777" y="420227"/>
                    <a:pt x="437885" y="426025"/>
                  </a:cubicBezTo>
                  <a:cubicBezTo>
                    <a:pt x="437885" y="426777"/>
                    <a:pt x="437454" y="427099"/>
                    <a:pt x="437239" y="427743"/>
                  </a:cubicBezTo>
                  <a:lnTo>
                    <a:pt x="437239" y="427851"/>
                  </a:lnTo>
                  <a:cubicBezTo>
                    <a:pt x="437777" y="431931"/>
                    <a:pt x="433690" y="434294"/>
                    <a:pt x="430356" y="434723"/>
                  </a:cubicBezTo>
                  <a:cubicBezTo>
                    <a:pt x="429818" y="434830"/>
                    <a:pt x="429388" y="434830"/>
                    <a:pt x="428850" y="434938"/>
                  </a:cubicBezTo>
                  <a:cubicBezTo>
                    <a:pt x="428312" y="435045"/>
                    <a:pt x="427667" y="434830"/>
                    <a:pt x="427129" y="434723"/>
                  </a:cubicBezTo>
                  <a:cubicBezTo>
                    <a:pt x="357004" y="436763"/>
                    <a:pt x="280210" y="441595"/>
                    <a:pt x="210946" y="430750"/>
                  </a:cubicBezTo>
                  <a:cubicBezTo>
                    <a:pt x="207934" y="430320"/>
                    <a:pt x="207504" y="425918"/>
                    <a:pt x="209655" y="424307"/>
                  </a:cubicBezTo>
                  <a:cubicBezTo>
                    <a:pt x="205030" y="410026"/>
                    <a:pt x="207181" y="393598"/>
                    <a:pt x="207181" y="378887"/>
                  </a:cubicBezTo>
                  <a:cubicBezTo>
                    <a:pt x="207289" y="353439"/>
                    <a:pt x="207504" y="327991"/>
                    <a:pt x="207504" y="302650"/>
                  </a:cubicBezTo>
                  <a:cubicBezTo>
                    <a:pt x="207504" y="298892"/>
                    <a:pt x="209870" y="296745"/>
                    <a:pt x="212667" y="296101"/>
                  </a:cubicBezTo>
                  <a:cubicBezTo>
                    <a:pt x="213097" y="295671"/>
                    <a:pt x="213527" y="295134"/>
                    <a:pt x="214280" y="295027"/>
                  </a:cubicBezTo>
                  <a:cubicBezTo>
                    <a:pt x="249181" y="290195"/>
                    <a:pt x="285830" y="289685"/>
                    <a:pt x="322560" y="290718"/>
                  </a:cubicBezTo>
                  <a:close/>
                  <a:moveTo>
                    <a:pt x="248606" y="220922"/>
                  </a:moveTo>
                  <a:cubicBezTo>
                    <a:pt x="250757" y="220707"/>
                    <a:pt x="252478" y="221459"/>
                    <a:pt x="253768" y="222640"/>
                  </a:cubicBezTo>
                  <a:cubicBezTo>
                    <a:pt x="255597" y="222533"/>
                    <a:pt x="257425" y="222855"/>
                    <a:pt x="258931" y="224144"/>
                  </a:cubicBezTo>
                  <a:cubicBezTo>
                    <a:pt x="300123" y="257971"/>
                    <a:pt x="344757" y="259582"/>
                    <a:pt x="385627" y="222425"/>
                  </a:cubicBezTo>
                  <a:cubicBezTo>
                    <a:pt x="389176" y="219204"/>
                    <a:pt x="393478" y="219955"/>
                    <a:pt x="396382" y="222318"/>
                  </a:cubicBezTo>
                  <a:cubicBezTo>
                    <a:pt x="432519" y="209646"/>
                    <a:pt x="471560" y="260334"/>
                    <a:pt x="489306" y="285892"/>
                  </a:cubicBezTo>
                  <a:cubicBezTo>
                    <a:pt x="508020" y="312847"/>
                    <a:pt x="558139" y="387053"/>
                    <a:pt x="538780" y="421203"/>
                  </a:cubicBezTo>
                  <a:cubicBezTo>
                    <a:pt x="538135" y="422384"/>
                    <a:pt x="537167" y="423243"/>
                    <a:pt x="536306" y="423888"/>
                  </a:cubicBezTo>
                  <a:cubicBezTo>
                    <a:pt x="535769" y="425499"/>
                    <a:pt x="534801" y="426895"/>
                    <a:pt x="532650" y="427324"/>
                  </a:cubicBezTo>
                  <a:cubicBezTo>
                    <a:pt x="520496" y="430116"/>
                    <a:pt x="507267" y="428291"/>
                    <a:pt x="494791" y="428720"/>
                  </a:cubicBezTo>
                  <a:cubicBezTo>
                    <a:pt x="482853" y="429150"/>
                    <a:pt x="470700" y="430761"/>
                    <a:pt x="458977" y="428720"/>
                  </a:cubicBezTo>
                  <a:cubicBezTo>
                    <a:pt x="455212" y="430224"/>
                    <a:pt x="450050" y="428398"/>
                    <a:pt x="450158" y="423029"/>
                  </a:cubicBezTo>
                  <a:cubicBezTo>
                    <a:pt x="450265" y="399940"/>
                    <a:pt x="451018" y="376959"/>
                    <a:pt x="451556" y="353977"/>
                  </a:cubicBezTo>
                  <a:cubicBezTo>
                    <a:pt x="452093" y="329385"/>
                    <a:pt x="457471" y="296953"/>
                    <a:pt x="434778" y="280630"/>
                  </a:cubicBezTo>
                  <a:cubicBezTo>
                    <a:pt x="397135" y="280416"/>
                    <a:pt x="359492" y="279556"/>
                    <a:pt x="321741" y="278805"/>
                  </a:cubicBezTo>
                  <a:cubicBezTo>
                    <a:pt x="292487" y="278375"/>
                    <a:pt x="221933" y="265059"/>
                    <a:pt x="195476" y="286966"/>
                  </a:cubicBezTo>
                  <a:cubicBezTo>
                    <a:pt x="194292" y="308981"/>
                    <a:pt x="190851" y="330674"/>
                    <a:pt x="191173" y="352903"/>
                  </a:cubicBezTo>
                  <a:cubicBezTo>
                    <a:pt x="191389" y="377603"/>
                    <a:pt x="193755" y="402302"/>
                    <a:pt x="190743" y="426895"/>
                  </a:cubicBezTo>
                  <a:cubicBezTo>
                    <a:pt x="190636" y="427754"/>
                    <a:pt x="190098" y="428291"/>
                    <a:pt x="189668" y="428935"/>
                  </a:cubicBezTo>
                  <a:cubicBezTo>
                    <a:pt x="189130" y="432586"/>
                    <a:pt x="186119" y="435808"/>
                    <a:pt x="181494" y="434627"/>
                  </a:cubicBezTo>
                  <a:cubicBezTo>
                    <a:pt x="173212" y="432479"/>
                    <a:pt x="164501" y="434197"/>
                    <a:pt x="156004" y="434734"/>
                  </a:cubicBezTo>
                  <a:cubicBezTo>
                    <a:pt x="146755" y="435271"/>
                    <a:pt x="137935" y="435164"/>
                    <a:pt x="128686" y="433982"/>
                  </a:cubicBezTo>
                  <a:cubicBezTo>
                    <a:pt x="128686" y="433982"/>
                    <a:pt x="128686" y="433875"/>
                    <a:pt x="128686" y="433875"/>
                  </a:cubicBezTo>
                  <a:cubicBezTo>
                    <a:pt x="124814" y="435271"/>
                    <a:pt x="120405" y="434090"/>
                    <a:pt x="119544" y="428828"/>
                  </a:cubicBezTo>
                  <a:cubicBezTo>
                    <a:pt x="118469" y="421740"/>
                    <a:pt x="115457" y="416478"/>
                    <a:pt x="111693" y="412719"/>
                  </a:cubicBezTo>
                  <a:lnTo>
                    <a:pt x="83514" y="408316"/>
                  </a:lnTo>
                  <a:cubicBezTo>
                    <a:pt x="76739" y="411431"/>
                    <a:pt x="70823" y="417122"/>
                    <a:pt x="67704" y="425928"/>
                  </a:cubicBezTo>
                  <a:cubicBezTo>
                    <a:pt x="66521" y="429365"/>
                    <a:pt x="62649" y="430224"/>
                    <a:pt x="59853" y="429042"/>
                  </a:cubicBezTo>
                  <a:cubicBezTo>
                    <a:pt x="58670" y="430009"/>
                    <a:pt x="56949" y="430224"/>
                    <a:pt x="55659" y="428720"/>
                  </a:cubicBezTo>
                  <a:cubicBezTo>
                    <a:pt x="45226" y="415941"/>
                    <a:pt x="43505" y="400799"/>
                    <a:pt x="52647" y="386087"/>
                  </a:cubicBezTo>
                  <a:cubicBezTo>
                    <a:pt x="57057" y="379106"/>
                    <a:pt x="62649" y="374489"/>
                    <a:pt x="69855" y="370837"/>
                  </a:cubicBezTo>
                  <a:cubicBezTo>
                    <a:pt x="84267" y="363642"/>
                    <a:pt x="92334" y="366434"/>
                    <a:pt x="106100" y="356447"/>
                  </a:cubicBezTo>
                  <a:cubicBezTo>
                    <a:pt x="117286" y="348286"/>
                    <a:pt x="119759" y="344312"/>
                    <a:pt x="125675" y="332714"/>
                  </a:cubicBezTo>
                  <a:cubicBezTo>
                    <a:pt x="153638" y="277623"/>
                    <a:pt x="181171" y="227580"/>
                    <a:pt x="248606" y="220922"/>
                  </a:cubicBezTo>
                  <a:close/>
                  <a:moveTo>
                    <a:pt x="327555" y="0"/>
                  </a:moveTo>
                  <a:cubicBezTo>
                    <a:pt x="453279" y="215"/>
                    <a:pt x="435856" y="249586"/>
                    <a:pt x="306046" y="221019"/>
                  </a:cubicBezTo>
                  <a:cubicBezTo>
                    <a:pt x="304433" y="220589"/>
                    <a:pt x="303250" y="219945"/>
                    <a:pt x="302282" y="219193"/>
                  </a:cubicBezTo>
                  <a:cubicBezTo>
                    <a:pt x="237215" y="194600"/>
                    <a:pt x="198820" y="-215"/>
                    <a:pt x="327555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4" name="îṣļíḓe">
              <a:extLst>
                <a:ext uri="{FF2B5EF4-FFF2-40B4-BE49-F238E27FC236}">
                  <a16:creationId xmlns:a16="http://schemas.microsoft.com/office/drawing/2014/main" id="{4D5013FB-313D-4E5F-A9A9-9472A660F5A6}"/>
                </a:ext>
              </a:extLst>
            </p:cNvPr>
            <p:cNvSpPr/>
            <p:nvPr/>
          </p:nvSpPr>
          <p:spPr>
            <a:xfrm>
              <a:off x="6088882" y="3242607"/>
              <a:ext cx="2722126" cy="1528064"/>
            </a:xfrm>
            <a:custGeom>
              <a:avLst/>
              <a:gdLst>
                <a:gd name="connsiteX0" fmla="*/ 1814106 w 3628212"/>
                <a:gd name="connsiteY0" fmla="*/ 0 h 2036693"/>
                <a:gd name="connsiteX1" fmla="*/ 3628212 w 3628212"/>
                <a:gd name="connsiteY1" fmla="*/ 1814106 h 2036693"/>
                <a:gd name="connsiteX2" fmla="*/ 3605774 w 3628212"/>
                <a:gd name="connsiteY2" fmla="*/ 2036693 h 2036693"/>
                <a:gd name="connsiteX3" fmla="*/ 22439 w 3628212"/>
                <a:gd name="connsiteY3" fmla="*/ 2036693 h 2036693"/>
                <a:gd name="connsiteX4" fmla="*/ 0 w 3628212"/>
                <a:gd name="connsiteY4" fmla="*/ 1814106 h 2036693"/>
                <a:gd name="connsiteX5" fmla="*/ 1814106 w 3628212"/>
                <a:gd name="connsiteY5" fmla="*/ 0 h 2036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8212" h="2036693">
                  <a:moveTo>
                    <a:pt x="1814106" y="0"/>
                  </a:moveTo>
                  <a:cubicBezTo>
                    <a:pt x="2816009" y="0"/>
                    <a:pt x="3628212" y="812203"/>
                    <a:pt x="3628212" y="1814106"/>
                  </a:cubicBezTo>
                  <a:lnTo>
                    <a:pt x="3605774" y="2036693"/>
                  </a:lnTo>
                  <a:lnTo>
                    <a:pt x="22439" y="2036693"/>
                  </a:lnTo>
                  <a:lnTo>
                    <a:pt x="0" y="1814106"/>
                  </a:lnTo>
                  <a:cubicBezTo>
                    <a:pt x="0" y="812203"/>
                    <a:pt x="812203" y="0"/>
                    <a:pt x="1814106" y="0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>
              <a:outerShdw blurRad="127000" sx="101000" sy="101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2000" b="1" dirty="0">
                  <a:solidFill>
                    <a:schemeClr val="tx1"/>
                  </a:solidFill>
                </a:rPr>
                <a:t>邹立凯</a:t>
              </a:r>
              <a:endParaRPr lang="en-US" altLang="zh-CN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íṡ1îďê">
              <a:extLst>
                <a:ext uri="{FF2B5EF4-FFF2-40B4-BE49-F238E27FC236}">
                  <a16:creationId xmlns:a16="http://schemas.microsoft.com/office/drawing/2014/main" id="{841BA048-A47C-4962-93FD-77137274B6DA}"/>
                </a:ext>
              </a:extLst>
            </p:cNvPr>
            <p:cNvSpPr/>
            <p:nvPr/>
          </p:nvSpPr>
          <p:spPr bwMode="auto">
            <a:xfrm>
              <a:off x="6179505" y="4770671"/>
              <a:ext cx="2540881" cy="16327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1600" dirty="0">
                  <a:solidFill>
                    <a:schemeClr val="bg1"/>
                  </a:solidFill>
                </a:rPr>
                <a:t>画布与绘图控制</a:t>
              </a:r>
              <a:endParaRPr lang="en-US" altLang="zh-CN" sz="1600" dirty="0">
                <a:solidFill>
                  <a:schemeClr val="bg1"/>
                </a:solidFill>
              </a:endParaRPr>
            </a:p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1600" dirty="0">
                  <a:solidFill>
                    <a:schemeClr val="bg1"/>
                  </a:solidFill>
                </a:rPr>
                <a:t>任务与皮肤系统</a:t>
              </a:r>
              <a:endParaRPr lang="en-US" altLang="zh-CN" sz="1600" dirty="0">
                <a:solidFill>
                  <a:schemeClr val="bg1"/>
                </a:solidFill>
              </a:endParaRPr>
            </a:p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1600" dirty="0">
                  <a:solidFill>
                    <a:schemeClr val="bg1"/>
                  </a:solidFill>
                </a:rPr>
                <a:t>文件视图与导入导出</a:t>
              </a:r>
              <a:endParaRPr lang="en-US" altLang="zh-CN" sz="1600" dirty="0">
                <a:solidFill>
                  <a:schemeClr val="bg1"/>
                </a:solidFill>
              </a:endParaRPr>
            </a:p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1600" dirty="0">
                  <a:solidFill>
                    <a:schemeClr val="bg1"/>
                  </a:solidFill>
                </a:rPr>
                <a:t>参与文档撰写</a:t>
              </a:r>
              <a:endParaRPr lang="en-US" altLang="zh-CN" sz="1600" dirty="0">
                <a:solidFill>
                  <a:schemeClr val="bg1"/>
                </a:solidFill>
              </a:endParaRPr>
            </a:p>
          </p:txBody>
        </p:sp>
        <p:sp>
          <p:nvSpPr>
            <p:cNvPr id="16" name="îṡḷîḑè">
              <a:extLst>
                <a:ext uri="{FF2B5EF4-FFF2-40B4-BE49-F238E27FC236}">
                  <a16:creationId xmlns:a16="http://schemas.microsoft.com/office/drawing/2014/main" id="{22F70934-F724-47B4-8465-0DF06208961C}"/>
                </a:ext>
              </a:extLst>
            </p:cNvPr>
            <p:cNvSpPr/>
            <p:nvPr/>
          </p:nvSpPr>
          <p:spPr>
            <a:xfrm>
              <a:off x="7155707" y="2758978"/>
              <a:ext cx="588476" cy="477157"/>
            </a:xfrm>
            <a:custGeom>
              <a:avLst/>
              <a:gdLst>
                <a:gd name="connsiteX0" fmla="*/ 301723 w 609652"/>
                <a:gd name="connsiteY0" fmla="*/ 440097 h 494328"/>
                <a:gd name="connsiteX1" fmla="*/ 594166 w 609652"/>
                <a:gd name="connsiteY1" fmla="*/ 440500 h 494328"/>
                <a:gd name="connsiteX2" fmla="*/ 602017 w 609652"/>
                <a:gd name="connsiteY2" fmla="*/ 443617 h 494328"/>
                <a:gd name="connsiteX3" fmla="*/ 609545 w 609652"/>
                <a:gd name="connsiteY3" fmla="*/ 453290 h 494328"/>
                <a:gd name="connsiteX4" fmla="*/ 609652 w 609652"/>
                <a:gd name="connsiteY4" fmla="*/ 476291 h 494328"/>
                <a:gd name="connsiteX5" fmla="*/ 598683 w 609652"/>
                <a:gd name="connsiteY5" fmla="*/ 487254 h 494328"/>
                <a:gd name="connsiteX6" fmla="*/ 10005 w 609652"/>
                <a:gd name="connsiteY6" fmla="*/ 486717 h 494328"/>
                <a:gd name="connsiteX7" fmla="*/ 541 w 609652"/>
                <a:gd name="connsiteY7" fmla="*/ 477151 h 494328"/>
                <a:gd name="connsiteX8" fmla="*/ 4 w 609652"/>
                <a:gd name="connsiteY8" fmla="*/ 453505 h 494328"/>
                <a:gd name="connsiteX9" fmla="*/ 5703 w 609652"/>
                <a:gd name="connsiteY9" fmla="*/ 447056 h 494328"/>
                <a:gd name="connsiteX10" fmla="*/ 9682 w 609652"/>
                <a:gd name="connsiteY10" fmla="*/ 445659 h 494328"/>
                <a:gd name="connsiteX11" fmla="*/ 301723 w 609652"/>
                <a:gd name="connsiteY11" fmla="*/ 440097 h 494328"/>
                <a:gd name="connsiteX12" fmla="*/ 322560 w 609652"/>
                <a:gd name="connsiteY12" fmla="*/ 290718 h 494328"/>
                <a:gd name="connsiteX13" fmla="*/ 431324 w 609652"/>
                <a:gd name="connsiteY13" fmla="*/ 295671 h 494328"/>
                <a:gd name="connsiteX14" fmla="*/ 436809 w 609652"/>
                <a:gd name="connsiteY14" fmla="*/ 307590 h 494328"/>
                <a:gd name="connsiteX15" fmla="*/ 439498 w 609652"/>
                <a:gd name="connsiteY15" fmla="*/ 348929 h 494328"/>
                <a:gd name="connsiteX16" fmla="*/ 437239 w 609652"/>
                <a:gd name="connsiteY16" fmla="*/ 389195 h 494328"/>
                <a:gd name="connsiteX17" fmla="*/ 436594 w 609652"/>
                <a:gd name="connsiteY17" fmla="*/ 407342 h 494328"/>
                <a:gd name="connsiteX18" fmla="*/ 436917 w 609652"/>
                <a:gd name="connsiteY18" fmla="*/ 408631 h 494328"/>
                <a:gd name="connsiteX19" fmla="*/ 437885 w 609652"/>
                <a:gd name="connsiteY19" fmla="*/ 426025 h 494328"/>
                <a:gd name="connsiteX20" fmla="*/ 437239 w 609652"/>
                <a:gd name="connsiteY20" fmla="*/ 427743 h 494328"/>
                <a:gd name="connsiteX21" fmla="*/ 437239 w 609652"/>
                <a:gd name="connsiteY21" fmla="*/ 427851 h 494328"/>
                <a:gd name="connsiteX22" fmla="*/ 430356 w 609652"/>
                <a:gd name="connsiteY22" fmla="*/ 434723 h 494328"/>
                <a:gd name="connsiteX23" fmla="*/ 428850 w 609652"/>
                <a:gd name="connsiteY23" fmla="*/ 434938 h 494328"/>
                <a:gd name="connsiteX24" fmla="*/ 427129 w 609652"/>
                <a:gd name="connsiteY24" fmla="*/ 434723 h 494328"/>
                <a:gd name="connsiteX25" fmla="*/ 210946 w 609652"/>
                <a:gd name="connsiteY25" fmla="*/ 430750 h 494328"/>
                <a:gd name="connsiteX26" fmla="*/ 209655 w 609652"/>
                <a:gd name="connsiteY26" fmla="*/ 424307 h 494328"/>
                <a:gd name="connsiteX27" fmla="*/ 207181 w 609652"/>
                <a:gd name="connsiteY27" fmla="*/ 378887 h 494328"/>
                <a:gd name="connsiteX28" fmla="*/ 207504 w 609652"/>
                <a:gd name="connsiteY28" fmla="*/ 302650 h 494328"/>
                <a:gd name="connsiteX29" fmla="*/ 212667 w 609652"/>
                <a:gd name="connsiteY29" fmla="*/ 296101 h 494328"/>
                <a:gd name="connsiteX30" fmla="*/ 214280 w 609652"/>
                <a:gd name="connsiteY30" fmla="*/ 295027 h 494328"/>
                <a:gd name="connsiteX31" fmla="*/ 322560 w 609652"/>
                <a:gd name="connsiteY31" fmla="*/ 290718 h 494328"/>
                <a:gd name="connsiteX32" fmla="*/ 248606 w 609652"/>
                <a:gd name="connsiteY32" fmla="*/ 220922 h 494328"/>
                <a:gd name="connsiteX33" fmla="*/ 253768 w 609652"/>
                <a:gd name="connsiteY33" fmla="*/ 222640 h 494328"/>
                <a:gd name="connsiteX34" fmla="*/ 258931 w 609652"/>
                <a:gd name="connsiteY34" fmla="*/ 224144 h 494328"/>
                <a:gd name="connsiteX35" fmla="*/ 385627 w 609652"/>
                <a:gd name="connsiteY35" fmla="*/ 222425 h 494328"/>
                <a:gd name="connsiteX36" fmla="*/ 396382 w 609652"/>
                <a:gd name="connsiteY36" fmla="*/ 222318 h 494328"/>
                <a:gd name="connsiteX37" fmla="*/ 489306 w 609652"/>
                <a:gd name="connsiteY37" fmla="*/ 285892 h 494328"/>
                <a:gd name="connsiteX38" fmla="*/ 538780 w 609652"/>
                <a:gd name="connsiteY38" fmla="*/ 421203 h 494328"/>
                <a:gd name="connsiteX39" fmla="*/ 536306 w 609652"/>
                <a:gd name="connsiteY39" fmla="*/ 423888 h 494328"/>
                <a:gd name="connsiteX40" fmla="*/ 532650 w 609652"/>
                <a:gd name="connsiteY40" fmla="*/ 427324 h 494328"/>
                <a:gd name="connsiteX41" fmla="*/ 494791 w 609652"/>
                <a:gd name="connsiteY41" fmla="*/ 428720 h 494328"/>
                <a:gd name="connsiteX42" fmla="*/ 458977 w 609652"/>
                <a:gd name="connsiteY42" fmla="*/ 428720 h 494328"/>
                <a:gd name="connsiteX43" fmla="*/ 450158 w 609652"/>
                <a:gd name="connsiteY43" fmla="*/ 423029 h 494328"/>
                <a:gd name="connsiteX44" fmla="*/ 451556 w 609652"/>
                <a:gd name="connsiteY44" fmla="*/ 353977 h 494328"/>
                <a:gd name="connsiteX45" fmla="*/ 434778 w 609652"/>
                <a:gd name="connsiteY45" fmla="*/ 280630 h 494328"/>
                <a:gd name="connsiteX46" fmla="*/ 321741 w 609652"/>
                <a:gd name="connsiteY46" fmla="*/ 278805 h 494328"/>
                <a:gd name="connsiteX47" fmla="*/ 195476 w 609652"/>
                <a:gd name="connsiteY47" fmla="*/ 286966 h 494328"/>
                <a:gd name="connsiteX48" fmla="*/ 191173 w 609652"/>
                <a:gd name="connsiteY48" fmla="*/ 352903 h 494328"/>
                <a:gd name="connsiteX49" fmla="*/ 190743 w 609652"/>
                <a:gd name="connsiteY49" fmla="*/ 426895 h 494328"/>
                <a:gd name="connsiteX50" fmla="*/ 189668 w 609652"/>
                <a:gd name="connsiteY50" fmla="*/ 428935 h 494328"/>
                <a:gd name="connsiteX51" fmla="*/ 181494 w 609652"/>
                <a:gd name="connsiteY51" fmla="*/ 434627 h 494328"/>
                <a:gd name="connsiteX52" fmla="*/ 156004 w 609652"/>
                <a:gd name="connsiteY52" fmla="*/ 434734 h 494328"/>
                <a:gd name="connsiteX53" fmla="*/ 128686 w 609652"/>
                <a:gd name="connsiteY53" fmla="*/ 433982 h 494328"/>
                <a:gd name="connsiteX54" fmla="*/ 128686 w 609652"/>
                <a:gd name="connsiteY54" fmla="*/ 433875 h 494328"/>
                <a:gd name="connsiteX55" fmla="*/ 119544 w 609652"/>
                <a:gd name="connsiteY55" fmla="*/ 428828 h 494328"/>
                <a:gd name="connsiteX56" fmla="*/ 111693 w 609652"/>
                <a:gd name="connsiteY56" fmla="*/ 412719 h 494328"/>
                <a:gd name="connsiteX57" fmla="*/ 83514 w 609652"/>
                <a:gd name="connsiteY57" fmla="*/ 408316 h 494328"/>
                <a:gd name="connsiteX58" fmla="*/ 67704 w 609652"/>
                <a:gd name="connsiteY58" fmla="*/ 425928 h 494328"/>
                <a:gd name="connsiteX59" fmla="*/ 59853 w 609652"/>
                <a:gd name="connsiteY59" fmla="*/ 429042 h 494328"/>
                <a:gd name="connsiteX60" fmla="*/ 55659 w 609652"/>
                <a:gd name="connsiteY60" fmla="*/ 428720 h 494328"/>
                <a:gd name="connsiteX61" fmla="*/ 52647 w 609652"/>
                <a:gd name="connsiteY61" fmla="*/ 386087 h 494328"/>
                <a:gd name="connsiteX62" fmla="*/ 69855 w 609652"/>
                <a:gd name="connsiteY62" fmla="*/ 370837 h 494328"/>
                <a:gd name="connsiteX63" fmla="*/ 106100 w 609652"/>
                <a:gd name="connsiteY63" fmla="*/ 356447 h 494328"/>
                <a:gd name="connsiteX64" fmla="*/ 125675 w 609652"/>
                <a:gd name="connsiteY64" fmla="*/ 332714 h 494328"/>
                <a:gd name="connsiteX65" fmla="*/ 248606 w 609652"/>
                <a:gd name="connsiteY65" fmla="*/ 220922 h 494328"/>
                <a:gd name="connsiteX66" fmla="*/ 327555 w 609652"/>
                <a:gd name="connsiteY66" fmla="*/ 0 h 494328"/>
                <a:gd name="connsiteX67" fmla="*/ 306046 w 609652"/>
                <a:gd name="connsiteY67" fmla="*/ 221019 h 494328"/>
                <a:gd name="connsiteX68" fmla="*/ 302282 w 609652"/>
                <a:gd name="connsiteY68" fmla="*/ 219193 h 494328"/>
                <a:gd name="connsiteX69" fmla="*/ 327555 w 609652"/>
                <a:gd name="connsiteY69" fmla="*/ 0 h 494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09652" h="494328">
                  <a:moveTo>
                    <a:pt x="301723" y="440097"/>
                  </a:moveTo>
                  <a:cubicBezTo>
                    <a:pt x="399383" y="440822"/>
                    <a:pt x="497111" y="442542"/>
                    <a:pt x="594166" y="440500"/>
                  </a:cubicBezTo>
                  <a:cubicBezTo>
                    <a:pt x="597715" y="440392"/>
                    <a:pt x="600296" y="441682"/>
                    <a:pt x="602017" y="443617"/>
                  </a:cubicBezTo>
                  <a:cubicBezTo>
                    <a:pt x="606103" y="444692"/>
                    <a:pt x="609437" y="447916"/>
                    <a:pt x="609545" y="453290"/>
                  </a:cubicBezTo>
                  <a:cubicBezTo>
                    <a:pt x="609545" y="461029"/>
                    <a:pt x="609545" y="468660"/>
                    <a:pt x="609652" y="476291"/>
                  </a:cubicBezTo>
                  <a:cubicBezTo>
                    <a:pt x="609652" y="482633"/>
                    <a:pt x="604598" y="486824"/>
                    <a:pt x="598683" y="487254"/>
                  </a:cubicBezTo>
                  <a:cubicBezTo>
                    <a:pt x="402851" y="503269"/>
                    <a:pt x="206267" y="487147"/>
                    <a:pt x="10005" y="486717"/>
                  </a:cubicBezTo>
                  <a:cubicBezTo>
                    <a:pt x="4736" y="486717"/>
                    <a:pt x="649" y="482310"/>
                    <a:pt x="541" y="477151"/>
                  </a:cubicBezTo>
                  <a:lnTo>
                    <a:pt x="4" y="453505"/>
                  </a:lnTo>
                  <a:cubicBezTo>
                    <a:pt x="-104" y="449743"/>
                    <a:pt x="2692" y="447486"/>
                    <a:pt x="5703" y="447056"/>
                  </a:cubicBezTo>
                  <a:cubicBezTo>
                    <a:pt x="6779" y="446304"/>
                    <a:pt x="8069" y="445766"/>
                    <a:pt x="9682" y="445659"/>
                  </a:cubicBezTo>
                  <a:cubicBezTo>
                    <a:pt x="106469" y="439640"/>
                    <a:pt x="204062" y="439371"/>
                    <a:pt x="301723" y="440097"/>
                  </a:cubicBezTo>
                  <a:close/>
                  <a:moveTo>
                    <a:pt x="322560" y="290718"/>
                  </a:moveTo>
                  <a:cubicBezTo>
                    <a:pt x="359290" y="291752"/>
                    <a:pt x="396100" y="294329"/>
                    <a:pt x="431324" y="295671"/>
                  </a:cubicBezTo>
                  <a:cubicBezTo>
                    <a:pt x="438100" y="295993"/>
                    <a:pt x="439928" y="303509"/>
                    <a:pt x="436809" y="307590"/>
                  </a:cubicBezTo>
                  <a:cubicBezTo>
                    <a:pt x="443047" y="319938"/>
                    <a:pt x="440251" y="334971"/>
                    <a:pt x="439498" y="348929"/>
                  </a:cubicBezTo>
                  <a:cubicBezTo>
                    <a:pt x="438745" y="362351"/>
                    <a:pt x="437992" y="375773"/>
                    <a:pt x="437239" y="389195"/>
                  </a:cubicBezTo>
                  <a:cubicBezTo>
                    <a:pt x="436917" y="395638"/>
                    <a:pt x="437454" y="401866"/>
                    <a:pt x="436594" y="407342"/>
                  </a:cubicBezTo>
                  <a:cubicBezTo>
                    <a:pt x="436702" y="407772"/>
                    <a:pt x="436917" y="408094"/>
                    <a:pt x="436917" y="408631"/>
                  </a:cubicBezTo>
                  <a:cubicBezTo>
                    <a:pt x="437239" y="414429"/>
                    <a:pt x="437777" y="420227"/>
                    <a:pt x="437885" y="426025"/>
                  </a:cubicBezTo>
                  <a:cubicBezTo>
                    <a:pt x="437885" y="426777"/>
                    <a:pt x="437454" y="427099"/>
                    <a:pt x="437239" y="427743"/>
                  </a:cubicBezTo>
                  <a:lnTo>
                    <a:pt x="437239" y="427851"/>
                  </a:lnTo>
                  <a:cubicBezTo>
                    <a:pt x="437777" y="431931"/>
                    <a:pt x="433690" y="434294"/>
                    <a:pt x="430356" y="434723"/>
                  </a:cubicBezTo>
                  <a:cubicBezTo>
                    <a:pt x="429818" y="434830"/>
                    <a:pt x="429388" y="434830"/>
                    <a:pt x="428850" y="434938"/>
                  </a:cubicBezTo>
                  <a:cubicBezTo>
                    <a:pt x="428312" y="435045"/>
                    <a:pt x="427667" y="434830"/>
                    <a:pt x="427129" y="434723"/>
                  </a:cubicBezTo>
                  <a:cubicBezTo>
                    <a:pt x="357004" y="436763"/>
                    <a:pt x="280210" y="441595"/>
                    <a:pt x="210946" y="430750"/>
                  </a:cubicBezTo>
                  <a:cubicBezTo>
                    <a:pt x="207934" y="430320"/>
                    <a:pt x="207504" y="425918"/>
                    <a:pt x="209655" y="424307"/>
                  </a:cubicBezTo>
                  <a:cubicBezTo>
                    <a:pt x="205030" y="410026"/>
                    <a:pt x="207181" y="393598"/>
                    <a:pt x="207181" y="378887"/>
                  </a:cubicBezTo>
                  <a:cubicBezTo>
                    <a:pt x="207289" y="353439"/>
                    <a:pt x="207504" y="327991"/>
                    <a:pt x="207504" y="302650"/>
                  </a:cubicBezTo>
                  <a:cubicBezTo>
                    <a:pt x="207504" y="298892"/>
                    <a:pt x="209870" y="296745"/>
                    <a:pt x="212667" y="296101"/>
                  </a:cubicBezTo>
                  <a:cubicBezTo>
                    <a:pt x="213097" y="295671"/>
                    <a:pt x="213527" y="295134"/>
                    <a:pt x="214280" y="295027"/>
                  </a:cubicBezTo>
                  <a:cubicBezTo>
                    <a:pt x="249181" y="290195"/>
                    <a:pt x="285830" y="289685"/>
                    <a:pt x="322560" y="290718"/>
                  </a:cubicBezTo>
                  <a:close/>
                  <a:moveTo>
                    <a:pt x="248606" y="220922"/>
                  </a:moveTo>
                  <a:cubicBezTo>
                    <a:pt x="250757" y="220707"/>
                    <a:pt x="252478" y="221459"/>
                    <a:pt x="253768" y="222640"/>
                  </a:cubicBezTo>
                  <a:cubicBezTo>
                    <a:pt x="255597" y="222533"/>
                    <a:pt x="257425" y="222855"/>
                    <a:pt x="258931" y="224144"/>
                  </a:cubicBezTo>
                  <a:cubicBezTo>
                    <a:pt x="300123" y="257971"/>
                    <a:pt x="344757" y="259582"/>
                    <a:pt x="385627" y="222425"/>
                  </a:cubicBezTo>
                  <a:cubicBezTo>
                    <a:pt x="389176" y="219204"/>
                    <a:pt x="393478" y="219955"/>
                    <a:pt x="396382" y="222318"/>
                  </a:cubicBezTo>
                  <a:cubicBezTo>
                    <a:pt x="432519" y="209646"/>
                    <a:pt x="471560" y="260334"/>
                    <a:pt x="489306" y="285892"/>
                  </a:cubicBezTo>
                  <a:cubicBezTo>
                    <a:pt x="508020" y="312847"/>
                    <a:pt x="558139" y="387053"/>
                    <a:pt x="538780" y="421203"/>
                  </a:cubicBezTo>
                  <a:cubicBezTo>
                    <a:pt x="538135" y="422384"/>
                    <a:pt x="537167" y="423243"/>
                    <a:pt x="536306" y="423888"/>
                  </a:cubicBezTo>
                  <a:cubicBezTo>
                    <a:pt x="535769" y="425499"/>
                    <a:pt x="534801" y="426895"/>
                    <a:pt x="532650" y="427324"/>
                  </a:cubicBezTo>
                  <a:cubicBezTo>
                    <a:pt x="520496" y="430116"/>
                    <a:pt x="507267" y="428291"/>
                    <a:pt x="494791" y="428720"/>
                  </a:cubicBezTo>
                  <a:cubicBezTo>
                    <a:pt x="482853" y="429150"/>
                    <a:pt x="470700" y="430761"/>
                    <a:pt x="458977" y="428720"/>
                  </a:cubicBezTo>
                  <a:cubicBezTo>
                    <a:pt x="455212" y="430224"/>
                    <a:pt x="450050" y="428398"/>
                    <a:pt x="450158" y="423029"/>
                  </a:cubicBezTo>
                  <a:cubicBezTo>
                    <a:pt x="450265" y="399940"/>
                    <a:pt x="451018" y="376959"/>
                    <a:pt x="451556" y="353977"/>
                  </a:cubicBezTo>
                  <a:cubicBezTo>
                    <a:pt x="452093" y="329385"/>
                    <a:pt x="457471" y="296953"/>
                    <a:pt x="434778" y="280630"/>
                  </a:cubicBezTo>
                  <a:cubicBezTo>
                    <a:pt x="397135" y="280416"/>
                    <a:pt x="359492" y="279556"/>
                    <a:pt x="321741" y="278805"/>
                  </a:cubicBezTo>
                  <a:cubicBezTo>
                    <a:pt x="292487" y="278375"/>
                    <a:pt x="221933" y="265059"/>
                    <a:pt x="195476" y="286966"/>
                  </a:cubicBezTo>
                  <a:cubicBezTo>
                    <a:pt x="194292" y="308981"/>
                    <a:pt x="190851" y="330674"/>
                    <a:pt x="191173" y="352903"/>
                  </a:cubicBezTo>
                  <a:cubicBezTo>
                    <a:pt x="191389" y="377603"/>
                    <a:pt x="193755" y="402302"/>
                    <a:pt x="190743" y="426895"/>
                  </a:cubicBezTo>
                  <a:cubicBezTo>
                    <a:pt x="190636" y="427754"/>
                    <a:pt x="190098" y="428291"/>
                    <a:pt x="189668" y="428935"/>
                  </a:cubicBezTo>
                  <a:cubicBezTo>
                    <a:pt x="189130" y="432586"/>
                    <a:pt x="186119" y="435808"/>
                    <a:pt x="181494" y="434627"/>
                  </a:cubicBezTo>
                  <a:cubicBezTo>
                    <a:pt x="173212" y="432479"/>
                    <a:pt x="164501" y="434197"/>
                    <a:pt x="156004" y="434734"/>
                  </a:cubicBezTo>
                  <a:cubicBezTo>
                    <a:pt x="146755" y="435271"/>
                    <a:pt x="137935" y="435164"/>
                    <a:pt x="128686" y="433982"/>
                  </a:cubicBezTo>
                  <a:cubicBezTo>
                    <a:pt x="128686" y="433982"/>
                    <a:pt x="128686" y="433875"/>
                    <a:pt x="128686" y="433875"/>
                  </a:cubicBezTo>
                  <a:cubicBezTo>
                    <a:pt x="124814" y="435271"/>
                    <a:pt x="120405" y="434090"/>
                    <a:pt x="119544" y="428828"/>
                  </a:cubicBezTo>
                  <a:cubicBezTo>
                    <a:pt x="118469" y="421740"/>
                    <a:pt x="115457" y="416478"/>
                    <a:pt x="111693" y="412719"/>
                  </a:cubicBezTo>
                  <a:lnTo>
                    <a:pt x="83514" y="408316"/>
                  </a:lnTo>
                  <a:cubicBezTo>
                    <a:pt x="76739" y="411431"/>
                    <a:pt x="70823" y="417122"/>
                    <a:pt x="67704" y="425928"/>
                  </a:cubicBezTo>
                  <a:cubicBezTo>
                    <a:pt x="66521" y="429365"/>
                    <a:pt x="62649" y="430224"/>
                    <a:pt x="59853" y="429042"/>
                  </a:cubicBezTo>
                  <a:cubicBezTo>
                    <a:pt x="58670" y="430009"/>
                    <a:pt x="56949" y="430224"/>
                    <a:pt x="55659" y="428720"/>
                  </a:cubicBezTo>
                  <a:cubicBezTo>
                    <a:pt x="45226" y="415941"/>
                    <a:pt x="43505" y="400799"/>
                    <a:pt x="52647" y="386087"/>
                  </a:cubicBezTo>
                  <a:cubicBezTo>
                    <a:pt x="57057" y="379106"/>
                    <a:pt x="62649" y="374489"/>
                    <a:pt x="69855" y="370837"/>
                  </a:cubicBezTo>
                  <a:cubicBezTo>
                    <a:pt x="84267" y="363642"/>
                    <a:pt x="92334" y="366434"/>
                    <a:pt x="106100" y="356447"/>
                  </a:cubicBezTo>
                  <a:cubicBezTo>
                    <a:pt x="117286" y="348286"/>
                    <a:pt x="119759" y="344312"/>
                    <a:pt x="125675" y="332714"/>
                  </a:cubicBezTo>
                  <a:cubicBezTo>
                    <a:pt x="153638" y="277623"/>
                    <a:pt x="181171" y="227580"/>
                    <a:pt x="248606" y="220922"/>
                  </a:cubicBezTo>
                  <a:close/>
                  <a:moveTo>
                    <a:pt x="327555" y="0"/>
                  </a:moveTo>
                  <a:cubicBezTo>
                    <a:pt x="453279" y="215"/>
                    <a:pt x="435856" y="249586"/>
                    <a:pt x="306046" y="221019"/>
                  </a:cubicBezTo>
                  <a:cubicBezTo>
                    <a:pt x="304433" y="220589"/>
                    <a:pt x="303250" y="219945"/>
                    <a:pt x="302282" y="219193"/>
                  </a:cubicBezTo>
                  <a:cubicBezTo>
                    <a:pt x="237215" y="194600"/>
                    <a:pt x="198820" y="-215"/>
                    <a:pt x="327555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7" name="ïs1iḓè">
              <a:extLst>
                <a:ext uri="{FF2B5EF4-FFF2-40B4-BE49-F238E27FC236}">
                  <a16:creationId xmlns:a16="http://schemas.microsoft.com/office/drawing/2014/main" id="{969231A8-F66E-47BB-8FB0-A5A6E2CA9842}"/>
                </a:ext>
              </a:extLst>
            </p:cNvPr>
            <p:cNvSpPr/>
            <p:nvPr/>
          </p:nvSpPr>
          <p:spPr>
            <a:xfrm>
              <a:off x="8796774" y="3242607"/>
              <a:ext cx="2722126" cy="1528064"/>
            </a:xfrm>
            <a:custGeom>
              <a:avLst/>
              <a:gdLst>
                <a:gd name="connsiteX0" fmla="*/ 1814106 w 3628212"/>
                <a:gd name="connsiteY0" fmla="*/ 0 h 2036693"/>
                <a:gd name="connsiteX1" fmla="*/ 3628212 w 3628212"/>
                <a:gd name="connsiteY1" fmla="*/ 1814106 h 2036693"/>
                <a:gd name="connsiteX2" fmla="*/ 3605774 w 3628212"/>
                <a:gd name="connsiteY2" fmla="*/ 2036693 h 2036693"/>
                <a:gd name="connsiteX3" fmla="*/ 22439 w 3628212"/>
                <a:gd name="connsiteY3" fmla="*/ 2036693 h 2036693"/>
                <a:gd name="connsiteX4" fmla="*/ 0 w 3628212"/>
                <a:gd name="connsiteY4" fmla="*/ 1814106 h 2036693"/>
                <a:gd name="connsiteX5" fmla="*/ 1814106 w 3628212"/>
                <a:gd name="connsiteY5" fmla="*/ 0 h 2036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8212" h="2036693">
                  <a:moveTo>
                    <a:pt x="1814106" y="0"/>
                  </a:moveTo>
                  <a:cubicBezTo>
                    <a:pt x="2816009" y="0"/>
                    <a:pt x="3628212" y="812203"/>
                    <a:pt x="3628212" y="1814106"/>
                  </a:cubicBezTo>
                  <a:lnTo>
                    <a:pt x="3605774" y="2036693"/>
                  </a:lnTo>
                  <a:lnTo>
                    <a:pt x="22439" y="2036693"/>
                  </a:lnTo>
                  <a:lnTo>
                    <a:pt x="0" y="1814106"/>
                  </a:lnTo>
                  <a:cubicBezTo>
                    <a:pt x="0" y="812203"/>
                    <a:pt x="812203" y="0"/>
                    <a:pt x="1814106" y="0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>
              <a:outerShdw blurRad="127000" sx="101000" sy="101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2000" b="1" dirty="0">
                  <a:solidFill>
                    <a:schemeClr val="tx1"/>
                  </a:solidFill>
                </a:rPr>
                <a:t>王执</a:t>
              </a:r>
              <a:endParaRPr lang="en-US" altLang="zh-CN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18" name="îṡḷîdê">
              <a:extLst>
                <a:ext uri="{FF2B5EF4-FFF2-40B4-BE49-F238E27FC236}">
                  <a16:creationId xmlns:a16="http://schemas.microsoft.com/office/drawing/2014/main" id="{DCE91ED0-E279-41B9-9141-5C10B5DB2B3D}"/>
                </a:ext>
              </a:extLst>
            </p:cNvPr>
            <p:cNvSpPr/>
            <p:nvPr/>
          </p:nvSpPr>
          <p:spPr bwMode="auto">
            <a:xfrm>
              <a:off x="8887397" y="4770671"/>
              <a:ext cx="2540881" cy="12584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19" name="isḷïdè">
              <a:extLst>
                <a:ext uri="{FF2B5EF4-FFF2-40B4-BE49-F238E27FC236}">
                  <a16:creationId xmlns:a16="http://schemas.microsoft.com/office/drawing/2014/main" id="{4280847D-82E2-427C-807B-F42ECB5A287E}"/>
                </a:ext>
              </a:extLst>
            </p:cNvPr>
            <p:cNvSpPr/>
            <p:nvPr/>
          </p:nvSpPr>
          <p:spPr>
            <a:xfrm>
              <a:off x="9863599" y="2758978"/>
              <a:ext cx="588476" cy="477157"/>
            </a:xfrm>
            <a:custGeom>
              <a:avLst/>
              <a:gdLst>
                <a:gd name="connsiteX0" fmla="*/ 301723 w 609652"/>
                <a:gd name="connsiteY0" fmla="*/ 440097 h 494328"/>
                <a:gd name="connsiteX1" fmla="*/ 594166 w 609652"/>
                <a:gd name="connsiteY1" fmla="*/ 440500 h 494328"/>
                <a:gd name="connsiteX2" fmla="*/ 602017 w 609652"/>
                <a:gd name="connsiteY2" fmla="*/ 443617 h 494328"/>
                <a:gd name="connsiteX3" fmla="*/ 609545 w 609652"/>
                <a:gd name="connsiteY3" fmla="*/ 453290 h 494328"/>
                <a:gd name="connsiteX4" fmla="*/ 609652 w 609652"/>
                <a:gd name="connsiteY4" fmla="*/ 476291 h 494328"/>
                <a:gd name="connsiteX5" fmla="*/ 598683 w 609652"/>
                <a:gd name="connsiteY5" fmla="*/ 487254 h 494328"/>
                <a:gd name="connsiteX6" fmla="*/ 10005 w 609652"/>
                <a:gd name="connsiteY6" fmla="*/ 486717 h 494328"/>
                <a:gd name="connsiteX7" fmla="*/ 541 w 609652"/>
                <a:gd name="connsiteY7" fmla="*/ 477151 h 494328"/>
                <a:gd name="connsiteX8" fmla="*/ 4 w 609652"/>
                <a:gd name="connsiteY8" fmla="*/ 453505 h 494328"/>
                <a:gd name="connsiteX9" fmla="*/ 5703 w 609652"/>
                <a:gd name="connsiteY9" fmla="*/ 447056 h 494328"/>
                <a:gd name="connsiteX10" fmla="*/ 9682 w 609652"/>
                <a:gd name="connsiteY10" fmla="*/ 445659 h 494328"/>
                <a:gd name="connsiteX11" fmla="*/ 301723 w 609652"/>
                <a:gd name="connsiteY11" fmla="*/ 440097 h 494328"/>
                <a:gd name="connsiteX12" fmla="*/ 322560 w 609652"/>
                <a:gd name="connsiteY12" fmla="*/ 290718 h 494328"/>
                <a:gd name="connsiteX13" fmla="*/ 431324 w 609652"/>
                <a:gd name="connsiteY13" fmla="*/ 295671 h 494328"/>
                <a:gd name="connsiteX14" fmla="*/ 436809 w 609652"/>
                <a:gd name="connsiteY14" fmla="*/ 307590 h 494328"/>
                <a:gd name="connsiteX15" fmla="*/ 439498 w 609652"/>
                <a:gd name="connsiteY15" fmla="*/ 348929 h 494328"/>
                <a:gd name="connsiteX16" fmla="*/ 437239 w 609652"/>
                <a:gd name="connsiteY16" fmla="*/ 389195 h 494328"/>
                <a:gd name="connsiteX17" fmla="*/ 436594 w 609652"/>
                <a:gd name="connsiteY17" fmla="*/ 407342 h 494328"/>
                <a:gd name="connsiteX18" fmla="*/ 436917 w 609652"/>
                <a:gd name="connsiteY18" fmla="*/ 408631 h 494328"/>
                <a:gd name="connsiteX19" fmla="*/ 437885 w 609652"/>
                <a:gd name="connsiteY19" fmla="*/ 426025 h 494328"/>
                <a:gd name="connsiteX20" fmla="*/ 437239 w 609652"/>
                <a:gd name="connsiteY20" fmla="*/ 427743 h 494328"/>
                <a:gd name="connsiteX21" fmla="*/ 437239 w 609652"/>
                <a:gd name="connsiteY21" fmla="*/ 427851 h 494328"/>
                <a:gd name="connsiteX22" fmla="*/ 430356 w 609652"/>
                <a:gd name="connsiteY22" fmla="*/ 434723 h 494328"/>
                <a:gd name="connsiteX23" fmla="*/ 428850 w 609652"/>
                <a:gd name="connsiteY23" fmla="*/ 434938 h 494328"/>
                <a:gd name="connsiteX24" fmla="*/ 427129 w 609652"/>
                <a:gd name="connsiteY24" fmla="*/ 434723 h 494328"/>
                <a:gd name="connsiteX25" fmla="*/ 210946 w 609652"/>
                <a:gd name="connsiteY25" fmla="*/ 430750 h 494328"/>
                <a:gd name="connsiteX26" fmla="*/ 209655 w 609652"/>
                <a:gd name="connsiteY26" fmla="*/ 424307 h 494328"/>
                <a:gd name="connsiteX27" fmla="*/ 207181 w 609652"/>
                <a:gd name="connsiteY27" fmla="*/ 378887 h 494328"/>
                <a:gd name="connsiteX28" fmla="*/ 207504 w 609652"/>
                <a:gd name="connsiteY28" fmla="*/ 302650 h 494328"/>
                <a:gd name="connsiteX29" fmla="*/ 212667 w 609652"/>
                <a:gd name="connsiteY29" fmla="*/ 296101 h 494328"/>
                <a:gd name="connsiteX30" fmla="*/ 214280 w 609652"/>
                <a:gd name="connsiteY30" fmla="*/ 295027 h 494328"/>
                <a:gd name="connsiteX31" fmla="*/ 322560 w 609652"/>
                <a:gd name="connsiteY31" fmla="*/ 290718 h 494328"/>
                <a:gd name="connsiteX32" fmla="*/ 248606 w 609652"/>
                <a:gd name="connsiteY32" fmla="*/ 220922 h 494328"/>
                <a:gd name="connsiteX33" fmla="*/ 253768 w 609652"/>
                <a:gd name="connsiteY33" fmla="*/ 222640 h 494328"/>
                <a:gd name="connsiteX34" fmla="*/ 258931 w 609652"/>
                <a:gd name="connsiteY34" fmla="*/ 224144 h 494328"/>
                <a:gd name="connsiteX35" fmla="*/ 385627 w 609652"/>
                <a:gd name="connsiteY35" fmla="*/ 222425 h 494328"/>
                <a:gd name="connsiteX36" fmla="*/ 396382 w 609652"/>
                <a:gd name="connsiteY36" fmla="*/ 222318 h 494328"/>
                <a:gd name="connsiteX37" fmla="*/ 489306 w 609652"/>
                <a:gd name="connsiteY37" fmla="*/ 285892 h 494328"/>
                <a:gd name="connsiteX38" fmla="*/ 538780 w 609652"/>
                <a:gd name="connsiteY38" fmla="*/ 421203 h 494328"/>
                <a:gd name="connsiteX39" fmla="*/ 536306 w 609652"/>
                <a:gd name="connsiteY39" fmla="*/ 423888 h 494328"/>
                <a:gd name="connsiteX40" fmla="*/ 532650 w 609652"/>
                <a:gd name="connsiteY40" fmla="*/ 427324 h 494328"/>
                <a:gd name="connsiteX41" fmla="*/ 494791 w 609652"/>
                <a:gd name="connsiteY41" fmla="*/ 428720 h 494328"/>
                <a:gd name="connsiteX42" fmla="*/ 458977 w 609652"/>
                <a:gd name="connsiteY42" fmla="*/ 428720 h 494328"/>
                <a:gd name="connsiteX43" fmla="*/ 450158 w 609652"/>
                <a:gd name="connsiteY43" fmla="*/ 423029 h 494328"/>
                <a:gd name="connsiteX44" fmla="*/ 451556 w 609652"/>
                <a:gd name="connsiteY44" fmla="*/ 353977 h 494328"/>
                <a:gd name="connsiteX45" fmla="*/ 434778 w 609652"/>
                <a:gd name="connsiteY45" fmla="*/ 280630 h 494328"/>
                <a:gd name="connsiteX46" fmla="*/ 321741 w 609652"/>
                <a:gd name="connsiteY46" fmla="*/ 278805 h 494328"/>
                <a:gd name="connsiteX47" fmla="*/ 195476 w 609652"/>
                <a:gd name="connsiteY47" fmla="*/ 286966 h 494328"/>
                <a:gd name="connsiteX48" fmla="*/ 191173 w 609652"/>
                <a:gd name="connsiteY48" fmla="*/ 352903 h 494328"/>
                <a:gd name="connsiteX49" fmla="*/ 190743 w 609652"/>
                <a:gd name="connsiteY49" fmla="*/ 426895 h 494328"/>
                <a:gd name="connsiteX50" fmla="*/ 189668 w 609652"/>
                <a:gd name="connsiteY50" fmla="*/ 428935 h 494328"/>
                <a:gd name="connsiteX51" fmla="*/ 181494 w 609652"/>
                <a:gd name="connsiteY51" fmla="*/ 434627 h 494328"/>
                <a:gd name="connsiteX52" fmla="*/ 156004 w 609652"/>
                <a:gd name="connsiteY52" fmla="*/ 434734 h 494328"/>
                <a:gd name="connsiteX53" fmla="*/ 128686 w 609652"/>
                <a:gd name="connsiteY53" fmla="*/ 433982 h 494328"/>
                <a:gd name="connsiteX54" fmla="*/ 128686 w 609652"/>
                <a:gd name="connsiteY54" fmla="*/ 433875 h 494328"/>
                <a:gd name="connsiteX55" fmla="*/ 119544 w 609652"/>
                <a:gd name="connsiteY55" fmla="*/ 428828 h 494328"/>
                <a:gd name="connsiteX56" fmla="*/ 111693 w 609652"/>
                <a:gd name="connsiteY56" fmla="*/ 412719 h 494328"/>
                <a:gd name="connsiteX57" fmla="*/ 83514 w 609652"/>
                <a:gd name="connsiteY57" fmla="*/ 408316 h 494328"/>
                <a:gd name="connsiteX58" fmla="*/ 67704 w 609652"/>
                <a:gd name="connsiteY58" fmla="*/ 425928 h 494328"/>
                <a:gd name="connsiteX59" fmla="*/ 59853 w 609652"/>
                <a:gd name="connsiteY59" fmla="*/ 429042 h 494328"/>
                <a:gd name="connsiteX60" fmla="*/ 55659 w 609652"/>
                <a:gd name="connsiteY60" fmla="*/ 428720 h 494328"/>
                <a:gd name="connsiteX61" fmla="*/ 52647 w 609652"/>
                <a:gd name="connsiteY61" fmla="*/ 386087 h 494328"/>
                <a:gd name="connsiteX62" fmla="*/ 69855 w 609652"/>
                <a:gd name="connsiteY62" fmla="*/ 370837 h 494328"/>
                <a:gd name="connsiteX63" fmla="*/ 106100 w 609652"/>
                <a:gd name="connsiteY63" fmla="*/ 356447 h 494328"/>
                <a:gd name="connsiteX64" fmla="*/ 125675 w 609652"/>
                <a:gd name="connsiteY64" fmla="*/ 332714 h 494328"/>
                <a:gd name="connsiteX65" fmla="*/ 248606 w 609652"/>
                <a:gd name="connsiteY65" fmla="*/ 220922 h 494328"/>
                <a:gd name="connsiteX66" fmla="*/ 327555 w 609652"/>
                <a:gd name="connsiteY66" fmla="*/ 0 h 494328"/>
                <a:gd name="connsiteX67" fmla="*/ 306046 w 609652"/>
                <a:gd name="connsiteY67" fmla="*/ 221019 h 494328"/>
                <a:gd name="connsiteX68" fmla="*/ 302282 w 609652"/>
                <a:gd name="connsiteY68" fmla="*/ 219193 h 494328"/>
                <a:gd name="connsiteX69" fmla="*/ 327555 w 609652"/>
                <a:gd name="connsiteY69" fmla="*/ 0 h 494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09652" h="494328">
                  <a:moveTo>
                    <a:pt x="301723" y="440097"/>
                  </a:moveTo>
                  <a:cubicBezTo>
                    <a:pt x="399383" y="440822"/>
                    <a:pt x="497111" y="442542"/>
                    <a:pt x="594166" y="440500"/>
                  </a:cubicBezTo>
                  <a:cubicBezTo>
                    <a:pt x="597715" y="440392"/>
                    <a:pt x="600296" y="441682"/>
                    <a:pt x="602017" y="443617"/>
                  </a:cubicBezTo>
                  <a:cubicBezTo>
                    <a:pt x="606103" y="444692"/>
                    <a:pt x="609437" y="447916"/>
                    <a:pt x="609545" y="453290"/>
                  </a:cubicBezTo>
                  <a:cubicBezTo>
                    <a:pt x="609545" y="461029"/>
                    <a:pt x="609545" y="468660"/>
                    <a:pt x="609652" y="476291"/>
                  </a:cubicBezTo>
                  <a:cubicBezTo>
                    <a:pt x="609652" y="482633"/>
                    <a:pt x="604598" y="486824"/>
                    <a:pt x="598683" y="487254"/>
                  </a:cubicBezTo>
                  <a:cubicBezTo>
                    <a:pt x="402851" y="503269"/>
                    <a:pt x="206267" y="487147"/>
                    <a:pt x="10005" y="486717"/>
                  </a:cubicBezTo>
                  <a:cubicBezTo>
                    <a:pt x="4736" y="486717"/>
                    <a:pt x="649" y="482310"/>
                    <a:pt x="541" y="477151"/>
                  </a:cubicBezTo>
                  <a:lnTo>
                    <a:pt x="4" y="453505"/>
                  </a:lnTo>
                  <a:cubicBezTo>
                    <a:pt x="-104" y="449743"/>
                    <a:pt x="2692" y="447486"/>
                    <a:pt x="5703" y="447056"/>
                  </a:cubicBezTo>
                  <a:cubicBezTo>
                    <a:pt x="6779" y="446304"/>
                    <a:pt x="8069" y="445766"/>
                    <a:pt x="9682" y="445659"/>
                  </a:cubicBezTo>
                  <a:cubicBezTo>
                    <a:pt x="106469" y="439640"/>
                    <a:pt x="204062" y="439371"/>
                    <a:pt x="301723" y="440097"/>
                  </a:cubicBezTo>
                  <a:close/>
                  <a:moveTo>
                    <a:pt x="322560" y="290718"/>
                  </a:moveTo>
                  <a:cubicBezTo>
                    <a:pt x="359290" y="291752"/>
                    <a:pt x="396100" y="294329"/>
                    <a:pt x="431324" y="295671"/>
                  </a:cubicBezTo>
                  <a:cubicBezTo>
                    <a:pt x="438100" y="295993"/>
                    <a:pt x="439928" y="303509"/>
                    <a:pt x="436809" y="307590"/>
                  </a:cubicBezTo>
                  <a:cubicBezTo>
                    <a:pt x="443047" y="319938"/>
                    <a:pt x="440251" y="334971"/>
                    <a:pt x="439498" y="348929"/>
                  </a:cubicBezTo>
                  <a:cubicBezTo>
                    <a:pt x="438745" y="362351"/>
                    <a:pt x="437992" y="375773"/>
                    <a:pt x="437239" y="389195"/>
                  </a:cubicBezTo>
                  <a:cubicBezTo>
                    <a:pt x="436917" y="395638"/>
                    <a:pt x="437454" y="401866"/>
                    <a:pt x="436594" y="407342"/>
                  </a:cubicBezTo>
                  <a:cubicBezTo>
                    <a:pt x="436702" y="407772"/>
                    <a:pt x="436917" y="408094"/>
                    <a:pt x="436917" y="408631"/>
                  </a:cubicBezTo>
                  <a:cubicBezTo>
                    <a:pt x="437239" y="414429"/>
                    <a:pt x="437777" y="420227"/>
                    <a:pt x="437885" y="426025"/>
                  </a:cubicBezTo>
                  <a:cubicBezTo>
                    <a:pt x="437885" y="426777"/>
                    <a:pt x="437454" y="427099"/>
                    <a:pt x="437239" y="427743"/>
                  </a:cubicBezTo>
                  <a:lnTo>
                    <a:pt x="437239" y="427851"/>
                  </a:lnTo>
                  <a:cubicBezTo>
                    <a:pt x="437777" y="431931"/>
                    <a:pt x="433690" y="434294"/>
                    <a:pt x="430356" y="434723"/>
                  </a:cubicBezTo>
                  <a:cubicBezTo>
                    <a:pt x="429818" y="434830"/>
                    <a:pt x="429388" y="434830"/>
                    <a:pt x="428850" y="434938"/>
                  </a:cubicBezTo>
                  <a:cubicBezTo>
                    <a:pt x="428312" y="435045"/>
                    <a:pt x="427667" y="434830"/>
                    <a:pt x="427129" y="434723"/>
                  </a:cubicBezTo>
                  <a:cubicBezTo>
                    <a:pt x="357004" y="436763"/>
                    <a:pt x="280210" y="441595"/>
                    <a:pt x="210946" y="430750"/>
                  </a:cubicBezTo>
                  <a:cubicBezTo>
                    <a:pt x="207934" y="430320"/>
                    <a:pt x="207504" y="425918"/>
                    <a:pt x="209655" y="424307"/>
                  </a:cubicBezTo>
                  <a:cubicBezTo>
                    <a:pt x="205030" y="410026"/>
                    <a:pt x="207181" y="393598"/>
                    <a:pt x="207181" y="378887"/>
                  </a:cubicBezTo>
                  <a:cubicBezTo>
                    <a:pt x="207289" y="353439"/>
                    <a:pt x="207504" y="327991"/>
                    <a:pt x="207504" y="302650"/>
                  </a:cubicBezTo>
                  <a:cubicBezTo>
                    <a:pt x="207504" y="298892"/>
                    <a:pt x="209870" y="296745"/>
                    <a:pt x="212667" y="296101"/>
                  </a:cubicBezTo>
                  <a:cubicBezTo>
                    <a:pt x="213097" y="295671"/>
                    <a:pt x="213527" y="295134"/>
                    <a:pt x="214280" y="295027"/>
                  </a:cubicBezTo>
                  <a:cubicBezTo>
                    <a:pt x="249181" y="290195"/>
                    <a:pt x="285830" y="289685"/>
                    <a:pt x="322560" y="290718"/>
                  </a:cubicBezTo>
                  <a:close/>
                  <a:moveTo>
                    <a:pt x="248606" y="220922"/>
                  </a:moveTo>
                  <a:cubicBezTo>
                    <a:pt x="250757" y="220707"/>
                    <a:pt x="252478" y="221459"/>
                    <a:pt x="253768" y="222640"/>
                  </a:cubicBezTo>
                  <a:cubicBezTo>
                    <a:pt x="255597" y="222533"/>
                    <a:pt x="257425" y="222855"/>
                    <a:pt x="258931" y="224144"/>
                  </a:cubicBezTo>
                  <a:cubicBezTo>
                    <a:pt x="300123" y="257971"/>
                    <a:pt x="344757" y="259582"/>
                    <a:pt x="385627" y="222425"/>
                  </a:cubicBezTo>
                  <a:cubicBezTo>
                    <a:pt x="389176" y="219204"/>
                    <a:pt x="393478" y="219955"/>
                    <a:pt x="396382" y="222318"/>
                  </a:cubicBezTo>
                  <a:cubicBezTo>
                    <a:pt x="432519" y="209646"/>
                    <a:pt x="471560" y="260334"/>
                    <a:pt x="489306" y="285892"/>
                  </a:cubicBezTo>
                  <a:cubicBezTo>
                    <a:pt x="508020" y="312847"/>
                    <a:pt x="558139" y="387053"/>
                    <a:pt x="538780" y="421203"/>
                  </a:cubicBezTo>
                  <a:cubicBezTo>
                    <a:pt x="538135" y="422384"/>
                    <a:pt x="537167" y="423243"/>
                    <a:pt x="536306" y="423888"/>
                  </a:cubicBezTo>
                  <a:cubicBezTo>
                    <a:pt x="535769" y="425499"/>
                    <a:pt x="534801" y="426895"/>
                    <a:pt x="532650" y="427324"/>
                  </a:cubicBezTo>
                  <a:cubicBezTo>
                    <a:pt x="520496" y="430116"/>
                    <a:pt x="507267" y="428291"/>
                    <a:pt x="494791" y="428720"/>
                  </a:cubicBezTo>
                  <a:cubicBezTo>
                    <a:pt x="482853" y="429150"/>
                    <a:pt x="470700" y="430761"/>
                    <a:pt x="458977" y="428720"/>
                  </a:cubicBezTo>
                  <a:cubicBezTo>
                    <a:pt x="455212" y="430224"/>
                    <a:pt x="450050" y="428398"/>
                    <a:pt x="450158" y="423029"/>
                  </a:cubicBezTo>
                  <a:cubicBezTo>
                    <a:pt x="450265" y="399940"/>
                    <a:pt x="451018" y="376959"/>
                    <a:pt x="451556" y="353977"/>
                  </a:cubicBezTo>
                  <a:cubicBezTo>
                    <a:pt x="452093" y="329385"/>
                    <a:pt x="457471" y="296953"/>
                    <a:pt x="434778" y="280630"/>
                  </a:cubicBezTo>
                  <a:cubicBezTo>
                    <a:pt x="397135" y="280416"/>
                    <a:pt x="359492" y="279556"/>
                    <a:pt x="321741" y="278805"/>
                  </a:cubicBezTo>
                  <a:cubicBezTo>
                    <a:pt x="292487" y="278375"/>
                    <a:pt x="221933" y="265059"/>
                    <a:pt x="195476" y="286966"/>
                  </a:cubicBezTo>
                  <a:cubicBezTo>
                    <a:pt x="194292" y="308981"/>
                    <a:pt x="190851" y="330674"/>
                    <a:pt x="191173" y="352903"/>
                  </a:cubicBezTo>
                  <a:cubicBezTo>
                    <a:pt x="191389" y="377603"/>
                    <a:pt x="193755" y="402302"/>
                    <a:pt x="190743" y="426895"/>
                  </a:cubicBezTo>
                  <a:cubicBezTo>
                    <a:pt x="190636" y="427754"/>
                    <a:pt x="190098" y="428291"/>
                    <a:pt x="189668" y="428935"/>
                  </a:cubicBezTo>
                  <a:cubicBezTo>
                    <a:pt x="189130" y="432586"/>
                    <a:pt x="186119" y="435808"/>
                    <a:pt x="181494" y="434627"/>
                  </a:cubicBezTo>
                  <a:cubicBezTo>
                    <a:pt x="173212" y="432479"/>
                    <a:pt x="164501" y="434197"/>
                    <a:pt x="156004" y="434734"/>
                  </a:cubicBezTo>
                  <a:cubicBezTo>
                    <a:pt x="146755" y="435271"/>
                    <a:pt x="137935" y="435164"/>
                    <a:pt x="128686" y="433982"/>
                  </a:cubicBezTo>
                  <a:cubicBezTo>
                    <a:pt x="128686" y="433982"/>
                    <a:pt x="128686" y="433875"/>
                    <a:pt x="128686" y="433875"/>
                  </a:cubicBezTo>
                  <a:cubicBezTo>
                    <a:pt x="124814" y="435271"/>
                    <a:pt x="120405" y="434090"/>
                    <a:pt x="119544" y="428828"/>
                  </a:cubicBezTo>
                  <a:cubicBezTo>
                    <a:pt x="118469" y="421740"/>
                    <a:pt x="115457" y="416478"/>
                    <a:pt x="111693" y="412719"/>
                  </a:cubicBezTo>
                  <a:lnTo>
                    <a:pt x="83514" y="408316"/>
                  </a:lnTo>
                  <a:cubicBezTo>
                    <a:pt x="76739" y="411431"/>
                    <a:pt x="70823" y="417122"/>
                    <a:pt x="67704" y="425928"/>
                  </a:cubicBezTo>
                  <a:cubicBezTo>
                    <a:pt x="66521" y="429365"/>
                    <a:pt x="62649" y="430224"/>
                    <a:pt x="59853" y="429042"/>
                  </a:cubicBezTo>
                  <a:cubicBezTo>
                    <a:pt x="58670" y="430009"/>
                    <a:pt x="56949" y="430224"/>
                    <a:pt x="55659" y="428720"/>
                  </a:cubicBezTo>
                  <a:cubicBezTo>
                    <a:pt x="45226" y="415941"/>
                    <a:pt x="43505" y="400799"/>
                    <a:pt x="52647" y="386087"/>
                  </a:cubicBezTo>
                  <a:cubicBezTo>
                    <a:pt x="57057" y="379106"/>
                    <a:pt x="62649" y="374489"/>
                    <a:pt x="69855" y="370837"/>
                  </a:cubicBezTo>
                  <a:cubicBezTo>
                    <a:pt x="84267" y="363642"/>
                    <a:pt x="92334" y="366434"/>
                    <a:pt x="106100" y="356447"/>
                  </a:cubicBezTo>
                  <a:cubicBezTo>
                    <a:pt x="117286" y="348286"/>
                    <a:pt x="119759" y="344312"/>
                    <a:pt x="125675" y="332714"/>
                  </a:cubicBezTo>
                  <a:cubicBezTo>
                    <a:pt x="153638" y="277623"/>
                    <a:pt x="181171" y="227580"/>
                    <a:pt x="248606" y="220922"/>
                  </a:cubicBezTo>
                  <a:close/>
                  <a:moveTo>
                    <a:pt x="327555" y="0"/>
                  </a:moveTo>
                  <a:cubicBezTo>
                    <a:pt x="453279" y="215"/>
                    <a:pt x="435856" y="249586"/>
                    <a:pt x="306046" y="221019"/>
                  </a:cubicBezTo>
                  <a:cubicBezTo>
                    <a:pt x="304433" y="220589"/>
                    <a:pt x="303250" y="219945"/>
                    <a:pt x="302282" y="219193"/>
                  </a:cubicBezTo>
                  <a:cubicBezTo>
                    <a:pt x="237215" y="194600"/>
                    <a:pt x="198820" y="-215"/>
                    <a:pt x="327555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20" name="íṡ1îďê">
              <a:extLst>
                <a:ext uri="{FF2B5EF4-FFF2-40B4-BE49-F238E27FC236}">
                  <a16:creationId xmlns:a16="http://schemas.microsoft.com/office/drawing/2014/main" id="{00A7B79E-3E9F-4100-8DF6-1B8398695E86}"/>
                </a:ext>
              </a:extLst>
            </p:cNvPr>
            <p:cNvSpPr/>
            <p:nvPr/>
          </p:nvSpPr>
          <p:spPr bwMode="auto">
            <a:xfrm>
              <a:off x="8932708" y="4794870"/>
              <a:ext cx="2540881" cy="19017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1600" dirty="0">
                  <a:solidFill>
                    <a:schemeClr val="bg1"/>
                  </a:solidFill>
                </a:rPr>
                <a:t>双人房间</a:t>
              </a:r>
              <a:endParaRPr lang="en-US" altLang="zh-CN" sz="1600" dirty="0">
                <a:solidFill>
                  <a:schemeClr val="bg1"/>
                </a:solidFill>
              </a:endParaRPr>
            </a:p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1600" dirty="0">
                  <a:solidFill>
                    <a:schemeClr val="bg1"/>
                  </a:solidFill>
                </a:rPr>
                <a:t>优化界面布局</a:t>
              </a:r>
              <a:endParaRPr lang="en-US" altLang="zh-CN" sz="1600" dirty="0">
                <a:solidFill>
                  <a:schemeClr val="bg1"/>
                </a:solidFill>
              </a:endParaRPr>
            </a:p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1600" dirty="0">
                  <a:solidFill>
                    <a:schemeClr val="bg1"/>
                  </a:solidFill>
                </a:rPr>
                <a:t>优化色彩配置</a:t>
              </a:r>
              <a:endParaRPr lang="en-US" altLang="zh-CN" sz="1600" dirty="0">
                <a:solidFill>
                  <a:schemeClr val="bg1"/>
                </a:solidFill>
              </a:endParaRPr>
            </a:p>
            <a:p>
              <a:pPr marL="171450" indent="-171450" algn="ctr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1600" dirty="0">
                  <a:solidFill>
                    <a:schemeClr val="bg1"/>
                  </a:solidFill>
                </a:rPr>
                <a:t>参与文档撰写</a:t>
              </a:r>
              <a:endParaRPr lang="en-US" altLang="zh-CN" sz="1600" dirty="0">
                <a:solidFill>
                  <a:schemeClr val="bg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51471615"/>
      </p:ext>
    </p:extLst>
  </p:cSld>
  <p:clrMapOvr>
    <a:masterClrMapping/>
  </p:clrMapOvr>
  <p:transition spd="slow">
    <p:cover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660401" y="1130300"/>
            <a:ext cx="10097245" cy="5003800"/>
            <a:chOff x="660401" y="1130300"/>
            <a:chExt cx="10097245" cy="5003800"/>
          </a:xfrm>
        </p:grpSpPr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40F65DAD-AA3C-4A71-9192-B937A470736C}"/>
                </a:ext>
              </a:extLst>
            </p:cNvPr>
            <p:cNvGrpSpPr/>
            <p:nvPr/>
          </p:nvGrpSpPr>
          <p:grpSpPr>
            <a:xfrm>
              <a:off x="660401" y="1454150"/>
              <a:ext cx="5526644" cy="4356100"/>
              <a:chOff x="660400" y="1454150"/>
              <a:chExt cx="10858499" cy="4356100"/>
            </a:xfrm>
          </p:grpSpPr>
          <p:sp>
            <p:nvSpPr>
              <p:cNvPr id="9" name="圆角矩形 8">
                <a:extLst>
                  <a:ext uri="{FF2B5EF4-FFF2-40B4-BE49-F238E27FC236}">
                    <a16:creationId xmlns:a16="http://schemas.microsoft.com/office/drawing/2014/main" id="{AC53584C-2748-48EB-8FCE-75292027D0BB}"/>
                  </a:ext>
                </a:extLst>
              </p:cNvPr>
              <p:cNvSpPr/>
              <p:nvPr/>
            </p:nvSpPr>
            <p:spPr>
              <a:xfrm>
                <a:off x="660400" y="33210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2400" b="1" dirty="0">
                    <a:solidFill>
                      <a:schemeClr val="accent1"/>
                    </a:solidFill>
                  </a:rPr>
                  <a:t>致谢</a:t>
                </a:r>
                <a:endParaRPr lang="en-US" altLang="zh-CN" sz="24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" name="圆角矩形 9">
                <a:extLst>
                  <a:ext uri="{FF2B5EF4-FFF2-40B4-BE49-F238E27FC236}">
                    <a16:creationId xmlns:a16="http://schemas.microsoft.com/office/drawing/2014/main" id="{DDF6F91D-5F85-4D9C-AE6C-1E9154F2DEB2}"/>
                  </a:ext>
                </a:extLst>
              </p:cNvPr>
              <p:cNvSpPr/>
              <p:nvPr/>
            </p:nvSpPr>
            <p:spPr>
              <a:xfrm>
                <a:off x="660400" y="26987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小组分工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1" name="圆角矩形 10">
                <a:extLst>
                  <a:ext uri="{FF2B5EF4-FFF2-40B4-BE49-F238E27FC236}">
                    <a16:creationId xmlns:a16="http://schemas.microsoft.com/office/drawing/2014/main" id="{3FCD1556-55DB-422A-9A91-03C8CA4C8CFC}"/>
                  </a:ext>
                </a:extLst>
              </p:cNvPr>
              <p:cNvSpPr/>
              <p:nvPr/>
            </p:nvSpPr>
            <p:spPr>
              <a:xfrm>
                <a:off x="660400" y="39433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产品特色与创新点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2" name="圆角矩形 11">
                <a:extLst>
                  <a:ext uri="{FF2B5EF4-FFF2-40B4-BE49-F238E27FC236}">
                    <a16:creationId xmlns:a16="http://schemas.microsoft.com/office/drawing/2014/main" id="{E9125F22-9110-4DA9-BB15-F5E756018AB3}"/>
                  </a:ext>
                </a:extLst>
              </p:cNvPr>
              <p:cNvSpPr/>
              <p:nvPr/>
            </p:nvSpPr>
            <p:spPr>
              <a:xfrm>
                <a:off x="660400" y="45656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产品演示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3" name="圆角矩形 12">
                <a:extLst>
                  <a:ext uri="{FF2B5EF4-FFF2-40B4-BE49-F238E27FC236}">
                    <a16:creationId xmlns:a16="http://schemas.microsoft.com/office/drawing/2014/main" id="{487B6CCD-FECD-4A9D-9A26-BC273CC3851B}"/>
                  </a:ext>
                </a:extLst>
              </p:cNvPr>
              <p:cNvSpPr/>
              <p:nvPr/>
            </p:nvSpPr>
            <p:spPr>
              <a:xfrm>
                <a:off x="660400" y="20764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经验教训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4" name="圆角矩形 13">
                <a:extLst>
                  <a:ext uri="{FF2B5EF4-FFF2-40B4-BE49-F238E27FC236}">
                    <a16:creationId xmlns:a16="http://schemas.microsoft.com/office/drawing/2014/main" id="{EDF8110A-8EDB-418C-B6DF-9602B875D010}"/>
                  </a:ext>
                </a:extLst>
              </p:cNvPr>
              <p:cNvSpPr/>
              <p:nvPr/>
            </p:nvSpPr>
            <p:spPr>
              <a:xfrm>
                <a:off x="660400" y="51879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架构与关键技术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sp>
            <p:nvSpPr>
              <p:cNvPr id="15" name="圆角矩形 14">
                <a:extLst>
                  <a:ext uri="{FF2B5EF4-FFF2-40B4-BE49-F238E27FC236}">
                    <a16:creationId xmlns:a16="http://schemas.microsoft.com/office/drawing/2014/main" id="{49395A25-2C00-42D1-927A-C8E332E0FB46}"/>
                  </a:ext>
                </a:extLst>
              </p:cNvPr>
              <p:cNvSpPr/>
              <p:nvPr/>
            </p:nvSpPr>
            <p:spPr>
              <a:xfrm>
                <a:off x="660400" y="14541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测试报告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296774F8-FE38-4B25-BE73-AF85310781B0}"/>
                  </a:ext>
                </a:extLst>
              </p:cNvPr>
              <p:cNvGrpSpPr/>
              <p:nvPr/>
            </p:nvGrpSpPr>
            <p:grpSpPr>
              <a:xfrm>
                <a:off x="3055917" y="2076450"/>
                <a:ext cx="6080166" cy="3111500"/>
                <a:chOff x="2802576" y="2076450"/>
                <a:chExt cx="6080166" cy="3111500"/>
              </a:xfrm>
            </p:grpSpPr>
            <p:cxnSp>
              <p:nvCxnSpPr>
                <p:cNvPr id="5" name="直接连接符 4">
                  <a:extLst>
                    <a:ext uri="{FF2B5EF4-FFF2-40B4-BE49-F238E27FC236}">
                      <a16:creationId xmlns:a16="http://schemas.microsoft.com/office/drawing/2014/main" id="{665A9CCB-14B6-4181-96D2-1E7424A398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3210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>
                  <a:extLst>
                    <a:ext uri="{FF2B5EF4-FFF2-40B4-BE49-F238E27FC236}">
                      <a16:creationId xmlns:a16="http://schemas.microsoft.com/office/drawing/2014/main" id="{2209BB7D-243A-446A-A163-08AD95BB30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9433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2" name="组合 21">
                  <a:extLst>
                    <a:ext uri="{FF2B5EF4-FFF2-40B4-BE49-F238E27FC236}">
                      <a16:creationId xmlns:a16="http://schemas.microsoft.com/office/drawing/2014/main" id="{B4DB02FD-20CA-439E-94DF-A159F531B24A}"/>
                    </a:ext>
                  </a:extLst>
                </p:cNvPr>
                <p:cNvGrpSpPr/>
                <p:nvPr/>
              </p:nvGrpSpPr>
              <p:grpSpPr>
                <a:xfrm>
                  <a:off x="3241963" y="2076450"/>
                  <a:ext cx="5201393" cy="3111500"/>
                  <a:chOff x="2802576" y="2076450"/>
                  <a:chExt cx="6080166" cy="3111500"/>
                </a:xfrm>
              </p:grpSpPr>
              <p:cxnSp>
                <p:nvCxnSpPr>
                  <p:cNvPr id="17" name="直接连接符 16">
                    <a:extLst>
                      <a:ext uri="{FF2B5EF4-FFF2-40B4-BE49-F238E27FC236}">
                        <a16:creationId xmlns:a16="http://schemas.microsoft.com/office/drawing/2014/main" id="{351CD98E-B842-421D-A69C-11F4C36899A7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45656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" name="直接连接符 18">
                    <a:extLst>
                      <a:ext uri="{FF2B5EF4-FFF2-40B4-BE49-F238E27FC236}">
                        <a16:creationId xmlns:a16="http://schemas.microsoft.com/office/drawing/2014/main" id="{7521AFC8-74E6-48C6-8BD5-E0EA6FDE7D98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26987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1" name="组合 20">
                    <a:extLst>
                      <a:ext uri="{FF2B5EF4-FFF2-40B4-BE49-F238E27FC236}">
                        <a16:creationId xmlns:a16="http://schemas.microsoft.com/office/drawing/2014/main" id="{6F854CE6-0C4E-46E6-B40C-A83741098EAA}"/>
                      </a:ext>
                    </a:extLst>
                  </p:cNvPr>
                  <p:cNvGrpSpPr/>
                  <p:nvPr/>
                </p:nvGrpSpPr>
                <p:grpSpPr>
                  <a:xfrm>
                    <a:off x="3548743" y="2076450"/>
                    <a:ext cx="5094515" cy="3111500"/>
                    <a:chOff x="2802576" y="2076450"/>
                    <a:chExt cx="6080166" cy="3111500"/>
                  </a:xfrm>
                </p:grpSpPr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:a16="http://schemas.microsoft.com/office/drawing/2014/main" id="{274C2429-0D16-4487-80BA-DF46BA86B0F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51879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0" name="直接连接符 19">
                      <a:extLst>
                        <a:ext uri="{FF2B5EF4-FFF2-40B4-BE49-F238E27FC236}">
                          <a16:creationId xmlns:a16="http://schemas.microsoft.com/office/drawing/2014/main" id="{180F0829-2591-4662-B868-7F0B2BA51C9C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20764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  <p:sp>
          <p:nvSpPr>
            <p:cNvPr id="25" name="圆角矩形 24">
              <a:extLst>
                <a:ext uri="{FF2B5EF4-FFF2-40B4-BE49-F238E27FC236}">
                  <a16:creationId xmlns:a16="http://schemas.microsoft.com/office/drawing/2014/main" id="{46D2D162-62B1-41D6-85F2-38FCC8088EB2}"/>
                </a:ext>
              </a:extLst>
            </p:cNvPr>
            <p:cNvSpPr/>
            <p:nvPr/>
          </p:nvSpPr>
          <p:spPr>
            <a:xfrm>
              <a:off x="5751807" y="1130300"/>
              <a:ext cx="5005839" cy="5003800"/>
            </a:xfrm>
            <a:prstGeom prst="roundRect">
              <a:avLst>
                <a:gd name="adj" fmla="val 5556"/>
              </a:avLst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76200">
              <a:noFill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98" name="组合 9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3359469-3516-46EB-BCBC-0497AFC6D309}"/>
              </a:ext>
            </a:extLst>
          </p:cNvPr>
          <p:cNvGrpSpPr>
            <a:grpSpLocks noChangeAspect="1"/>
          </p:cNvGrpSpPr>
          <p:nvPr/>
        </p:nvGrpSpPr>
        <p:grpSpPr>
          <a:xfrm>
            <a:off x="6030094" y="2007673"/>
            <a:ext cx="4449263" cy="3249053"/>
            <a:chOff x="3454401" y="1544638"/>
            <a:chExt cx="5243513" cy="3829050"/>
          </a:xfrm>
        </p:grpSpPr>
        <p:sp>
          <p:nvSpPr>
            <p:cNvPr id="99" name="îŝḻïḋe">
              <a:extLst>
                <a:ext uri="{FF2B5EF4-FFF2-40B4-BE49-F238E27FC236}">
                  <a16:creationId xmlns:a16="http://schemas.microsoft.com/office/drawing/2014/main" id="{84001CCE-EF2F-47EE-96EF-AA4C6BE1E626}"/>
                </a:ext>
              </a:extLst>
            </p:cNvPr>
            <p:cNvSpPr/>
            <p:nvPr/>
          </p:nvSpPr>
          <p:spPr bwMode="auto">
            <a:xfrm>
              <a:off x="4186238" y="1544638"/>
              <a:ext cx="3840163" cy="2103438"/>
            </a:xfrm>
            <a:custGeom>
              <a:avLst/>
              <a:gdLst>
                <a:gd name="T0" fmla="*/ 82 w 194"/>
                <a:gd name="T1" fmla="*/ 43 h 106"/>
                <a:gd name="T2" fmla="*/ 97 w 194"/>
                <a:gd name="T3" fmla="*/ 106 h 106"/>
                <a:gd name="T4" fmla="*/ 111 w 194"/>
                <a:gd name="T5" fmla="*/ 37 h 106"/>
                <a:gd name="T6" fmla="*/ 123 w 194"/>
                <a:gd name="T7" fmla="*/ 77 h 106"/>
                <a:gd name="T8" fmla="*/ 135 w 194"/>
                <a:gd name="T9" fmla="*/ 48 h 106"/>
                <a:gd name="T10" fmla="*/ 143 w 194"/>
                <a:gd name="T11" fmla="*/ 71 h 106"/>
                <a:gd name="T12" fmla="*/ 184 w 194"/>
                <a:gd name="T13" fmla="*/ 71 h 106"/>
                <a:gd name="T14" fmla="*/ 147 w 194"/>
                <a:gd name="T15" fmla="*/ 0 h 106"/>
                <a:gd name="T16" fmla="*/ 97 w 194"/>
                <a:gd name="T17" fmla="*/ 25 h 106"/>
                <a:gd name="T18" fmla="*/ 47 w 194"/>
                <a:gd name="T19" fmla="*/ 0 h 106"/>
                <a:gd name="T20" fmla="*/ 11 w 194"/>
                <a:gd name="T21" fmla="*/ 72 h 106"/>
                <a:gd name="T22" fmla="*/ 73 w 194"/>
                <a:gd name="T23" fmla="*/ 72 h 106"/>
                <a:gd name="T24" fmla="*/ 82 w 194"/>
                <a:gd name="T25" fmla="*/ 43 h 106"/>
                <a:gd name="T26" fmla="*/ 42 w 194"/>
                <a:gd name="T27" fmla="*/ 35 h 106"/>
                <a:gd name="T28" fmla="*/ 37 w 194"/>
                <a:gd name="T29" fmla="*/ 43 h 106"/>
                <a:gd name="T30" fmla="*/ 33 w 194"/>
                <a:gd name="T31" fmla="*/ 35 h 106"/>
                <a:gd name="T32" fmla="*/ 25 w 194"/>
                <a:gd name="T33" fmla="*/ 31 h 106"/>
                <a:gd name="T34" fmla="*/ 33 w 194"/>
                <a:gd name="T35" fmla="*/ 25 h 106"/>
                <a:gd name="T36" fmla="*/ 37 w 194"/>
                <a:gd name="T37" fmla="*/ 17 h 106"/>
                <a:gd name="T38" fmla="*/ 41 w 194"/>
                <a:gd name="T39" fmla="*/ 25 h 106"/>
                <a:gd name="T40" fmla="*/ 50 w 194"/>
                <a:gd name="T41" fmla="*/ 31 h 106"/>
                <a:gd name="T42" fmla="*/ 42 w 194"/>
                <a:gd name="T43" fmla="*/ 3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4" h="106">
                  <a:moveTo>
                    <a:pt x="82" y="43"/>
                  </a:moveTo>
                  <a:cubicBezTo>
                    <a:pt x="97" y="106"/>
                    <a:pt x="97" y="106"/>
                    <a:pt x="97" y="106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23" y="77"/>
                    <a:pt x="123" y="77"/>
                    <a:pt x="123" y="77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84" y="71"/>
                    <a:pt x="184" y="71"/>
                    <a:pt x="184" y="71"/>
                  </a:cubicBezTo>
                  <a:cubicBezTo>
                    <a:pt x="194" y="34"/>
                    <a:pt x="178" y="1"/>
                    <a:pt x="147" y="0"/>
                  </a:cubicBezTo>
                  <a:cubicBezTo>
                    <a:pt x="111" y="0"/>
                    <a:pt x="97" y="25"/>
                    <a:pt x="97" y="25"/>
                  </a:cubicBezTo>
                  <a:cubicBezTo>
                    <a:pt x="97" y="25"/>
                    <a:pt x="83" y="0"/>
                    <a:pt x="47" y="0"/>
                  </a:cubicBezTo>
                  <a:cubicBezTo>
                    <a:pt x="16" y="1"/>
                    <a:pt x="0" y="35"/>
                    <a:pt x="11" y="72"/>
                  </a:cubicBezTo>
                  <a:cubicBezTo>
                    <a:pt x="73" y="72"/>
                    <a:pt x="73" y="72"/>
                    <a:pt x="73" y="72"/>
                  </a:cubicBezTo>
                  <a:lnTo>
                    <a:pt x="82" y="43"/>
                  </a:lnTo>
                  <a:close/>
                  <a:moveTo>
                    <a:pt x="42" y="35"/>
                  </a:moveTo>
                  <a:cubicBezTo>
                    <a:pt x="39" y="39"/>
                    <a:pt x="37" y="43"/>
                    <a:pt x="37" y="43"/>
                  </a:cubicBezTo>
                  <a:cubicBezTo>
                    <a:pt x="37" y="43"/>
                    <a:pt x="36" y="39"/>
                    <a:pt x="33" y="35"/>
                  </a:cubicBezTo>
                  <a:cubicBezTo>
                    <a:pt x="30" y="32"/>
                    <a:pt x="25" y="31"/>
                    <a:pt x="25" y="31"/>
                  </a:cubicBezTo>
                  <a:cubicBezTo>
                    <a:pt x="25" y="31"/>
                    <a:pt x="30" y="29"/>
                    <a:pt x="33" y="25"/>
                  </a:cubicBezTo>
                  <a:cubicBezTo>
                    <a:pt x="36" y="23"/>
                    <a:pt x="37" y="17"/>
                    <a:pt x="37" y="17"/>
                  </a:cubicBezTo>
                  <a:cubicBezTo>
                    <a:pt x="37" y="17"/>
                    <a:pt x="39" y="23"/>
                    <a:pt x="41" y="25"/>
                  </a:cubicBezTo>
                  <a:cubicBezTo>
                    <a:pt x="44" y="29"/>
                    <a:pt x="50" y="31"/>
                    <a:pt x="50" y="31"/>
                  </a:cubicBezTo>
                  <a:cubicBezTo>
                    <a:pt x="50" y="31"/>
                    <a:pt x="45" y="32"/>
                    <a:pt x="42" y="35"/>
                  </a:cubicBezTo>
                  <a:close/>
                </a:path>
              </a:pathLst>
            </a:custGeom>
            <a:solidFill>
              <a:srgbClr val="E84C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îŝḻîḓè">
              <a:extLst>
                <a:ext uri="{FF2B5EF4-FFF2-40B4-BE49-F238E27FC236}">
                  <a16:creationId xmlns:a16="http://schemas.microsoft.com/office/drawing/2014/main" id="{9608D2D2-9F5C-4D72-B5AA-E7A9ECB7F538}"/>
                </a:ext>
              </a:extLst>
            </p:cNvPr>
            <p:cNvSpPr/>
            <p:nvPr/>
          </p:nvSpPr>
          <p:spPr bwMode="auto">
            <a:xfrm>
              <a:off x="4424363" y="2536825"/>
              <a:ext cx="3384550" cy="2063750"/>
            </a:xfrm>
            <a:custGeom>
              <a:avLst/>
              <a:gdLst>
                <a:gd name="T0" fmla="*/ 129 w 171"/>
                <a:gd name="T1" fmla="*/ 24 h 104"/>
                <a:gd name="T2" fmla="*/ 123 w 171"/>
                <a:gd name="T3" fmla="*/ 6 h 104"/>
                <a:gd name="T4" fmla="*/ 110 w 171"/>
                <a:gd name="T5" fmla="*/ 37 h 104"/>
                <a:gd name="T6" fmla="*/ 100 w 171"/>
                <a:gd name="T7" fmla="*/ 0 h 104"/>
                <a:gd name="T8" fmla="*/ 85 w 171"/>
                <a:gd name="T9" fmla="*/ 71 h 104"/>
                <a:gd name="T10" fmla="*/ 70 w 171"/>
                <a:gd name="T11" fmla="*/ 5 h 104"/>
                <a:gd name="T12" fmla="*/ 63 w 171"/>
                <a:gd name="T13" fmla="*/ 25 h 104"/>
                <a:gd name="T14" fmla="*/ 0 w 171"/>
                <a:gd name="T15" fmla="*/ 25 h 104"/>
                <a:gd name="T16" fmla="*/ 9 w 171"/>
                <a:gd name="T17" fmla="*/ 44 h 104"/>
                <a:gd name="T18" fmla="*/ 15 w 171"/>
                <a:gd name="T19" fmla="*/ 47 h 104"/>
                <a:gd name="T20" fmla="*/ 17 w 171"/>
                <a:gd name="T21" fmla="*/ 57 h 104"/>
                <a:gd name="T22" fmla="*/ 18 w 171"/>
                <a:gd name="T23" fmla="*/ 58 h 104"/>
                <a:gd name="T24" fmla="*/ 35 w 171"/>
                <a:gd name="T25" fmla="*/ 57 h 104"/>
                <a:gd name="T26" fmla="*/ 39 w 171"/>
                <a:gd name="T27" fmla="*/ 72 h 104"/>
                <a:gd name="T28" fmla="*/ 39 w 171"/>
                <a:gd name="T29" fmla="*/ 72 h 104"/>
                <a:gd name="T30" fmla="*/ 53 w 171"/>
                <a:gd name="T31" fmla="*/ 73 h 104"/>
                <a:gd name="T32" fmla="*/ 55 w 171"/>
                <a:gd name="T33" fmla="*/ 89 h 104"/>
                <a:gd name="T34" fmla="*/ 55 w 171"/>
                <a:gd name="T35" fmla="*/ 90 h 104"/>
                <a:gd name="T36" fmla="*/ 59 w 171"/>
                <a:gd name="T37" fmla="*/ 89 h 104"/>
                <a:gd name="T38" fmla="*/ 65 w 171"/>
                <a:gd name="T39" fmla="*/ 94 h 104"/>
                <a:gd name="T40" fmla="*/ 66 w 171"/>
                <a:gd name="T41" fmla="*/ 96 h 104"/>
                <a:gd name="T42" fmla="*/ 85 w 171"/>
                <a:gd name="T43" fmla="*/ 104 h 104"/>
                <a:gd name="T44" fmla="*/ 100 w 171"/>
                <a:gd name="T45" fmla="*/ 98 h 104"/>
                <a:gd name="T46" fmla="*/ 102 w 171"/>
                <a:gd name="T47" fmla="*/ 94 h 104"/>
                <a:gd name="T48" fmla="*/ 108 w 171"/>
                <a:gd name="T49" fmla="*/ 89 h 104"/>
                <a:gd name="T50" fmla="*/ 112 w 171"/>
                <a:gd name="T51" fmla="*/ 90 h 104"/>
                <a:gd name="T52" fmla="*/ 114 w 171"/>
                <a:gd name="T53" fmla="*/ 73 h 104"/>
                <a:gd name="T54" fmla="*/ 128 w 171"/>
                <a:gd name="T55" fmla="*/ 72 h 104"/>
                <a:gd name="T56" fmla="*/ 131 w 171"/>
                <a:gd name="T57" fmla="*/ 57 h 104"/>
                <a:gd name="T58" fmla="*/ 150 w 171"/>
                <a:gd name="T59" fmla="*/ 59 h 104"/>
                <a:gd name="T60" fmla="*/ 151 w 171"/>
                <a:gd name="T61" fmla="*/ 47 h 104"/>
                <a:gd name="T62" fmla="*/ 160 w 171"/>
                <a:gd name="T63" fmla="*/ 44 h 104"/>
                <a:gd name="T64" fmla="*/ 162 w 171"/>
                <a:gd name="T65" fmla="*/ 45 h 104"/>
                <a:gd name="T66" fmla="*/ 171 w 171"/>
                <a:gd name="T67" fmla="*/ 24 h 104"/>
                <a:gd name="T68" fmla="*/ 129 w 171"/>
                <a:gd name="T69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1" h="104">
                  <a:moveTo>
                    <a:pt x="129" y="24"/>
                  </a:moveTo>
                  <a:cubicBezTo>
                    <a:pt x="123" y="6"/>
                    <a:pt x="123" y="6"/>
                    <a:pt x="123" y="6"/>
                  </a:cubicBezTo>
                  <a:cubicBezTo>
                    <a:pt x="110" y="37"/>
                    <a:pt x="110" y="37"/>
                    <a:pt x="110" y="37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31"/>
                    <a:pt x="5" y="38"/>
                    <a:pt x="9" y="44"/>
                  </a:cubicBezTo>
                  <a:cubicBezTo>
                    <a:pt x="12" y="45"/>
                    <a:pt x="14" y="46"/>
                    <a:pt x="15" y="47"/>
                  </a:cubicBezTo>
                  <a:cubicBezTo>
                    <a:pt x="18" y="50"/>
                    <a:pt x="18" y="54"/>
                    <a:pt x="17" y="57"/>
                  </a:cubicBezTo>
                  <a:cubicBezTo>
                    <a:pt x="18" y="57"/>
                    <a:pt x="18" y="58"/>
                    <a:pt x="18" y="58"/>
                  </a:cubicBezTo>
                  <a:cubicBezTo>
                    <a:pt x="23" y="55"/>
                    <a:pt x="30" y="53"/>
                    <a:pt x="35" y="57"/>
                  </a:cubicBezTo>
                  <a:cubicBezTo>
                    <a:pt x="41" y="61"/>
                    <a:pt x="40" y="68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43" y="71"/>
                    <a:pt x="49" y="70"/>
                    <a:pt x="53" y="73"/>
                  </a:cubicBezTo>
                  <a:cubicBezTo>
                    <a:pt x="57" y="77"/>
                    <a:pt x="56" y="85"/>
                    <a:pt x="55" y="89"/>
                  </a:cubicBezTo>
                  <a:cubicBezTo>
                    <a:pt x="55" y="89"/>
                    <a:pt x="55" y="89"/>
                    <a:pt x="55" y="90"/>
                  </a:cubicBezTo>
                  <a:cubicBezTo>
                    <a:pt x="56" y="89"/>
                    <a:pt x="57" y="89"/>
                    <a:pt x="59" y="89"/>
                  </a:cubicBezTo>
                  <a:cubicBezTo>
                    <a:pt x="61" y="90"/>
                    <a:pt x="64" y="92"/>
                    <a:pt x="65" y="94"/>
                  </a:cubicBezTo>
                  <a:cubicBezTo>
                    <a:pt x="65" y="95"/>
                    <a:pt x="65" y="95"/>
                    <a:pt x="66" y="96"/>
                  </a:cubicBezTo>
                  <a:cubicBezTo>
                    <a:pt x="72" y="99"/>
                    <a:pt x="78" y="102"/>
                    <a:pt x="85" y="104"/>
                  </a:cubicBezTo>
                  <a:cubicBezTo>
                    <a:pt x="91" y="102"/>
                    <a:pt x="96" y="100"/>
                    <a:pt x="100" y="98"/>
                  </a:cubicBezTo>
                  <a:cubicBezTo>
                    <a:pt x="101" y="96"/>
                    <a:pt x="101" y="95"/>
                    <a:pt x="102" y="94"/>
                  </a:cubicBezTo>
                  <a:cubicBezTo>
                    <a:pt x="103" y="92"/>
                    <a:pt x="105" y="90"/>
                    <a:pt x="108" y="89"/>
                  </a:cubicBezTo>
                  <a:cubicBezTo>
                    <a:pt x="110" y="88"/>
                    <a:pt x="111" y="89"/>
                    <a:pt x="112" y="90"/>
                  </a:cubicBezTo>
                  <a:cubicBezTo>
                    <a:pt x="111" y="85"/>
                    <a:pt x="110" y="77"/>
                    <a:pt x="114" y="73"/>
                  </a:cubicBezTo>
                  <a:cubicBezTo>
                    <a:pt x="118" y="70"/>
                    <a:pt x="124" y="71"/>
                    <a:pt x="128" y="72"/>
                  </a:cubicBezTo>
                  <a:cubicBezTo>
                    <a:pt x="126" y="68"/>
                    <a:pt x="126" y="61"/>
                    <a:pt x="131" y="57"/>
                  </a:cubicBezTo>
                  <a:cubicBezTo>
                    <a:pt x="137" y="53"/>
                    <a:pt x="145" y="55"/>
                    <a:pt x="150" y="59"/>
                  </a:cubicBezTo>
                  <a:cubicBezTo>
                    <a:pt x="149" y="55"/>
                    <a:pt x="149" y="51"/>
                    <a:pt x="151" y="47"/>
                  </a:cubicBezTo>
                  <a:cubicBezTo>
                    <a:pt x="153" y="45"/>
                    <a:pt x="156" y="44"/>
                    <a:pt x="160" y="44"/>
                  </a:cubicBezTo>
                  <a:cubicBezTo>
                    <a:pt x="161" y="44"/>
                    <a:pt x="161" y="44"/>
                    <a:pt x="162" y="45"/>
                  </a:cubicBezTo>
                  <a:cubicBezTo>
                    <a:pt x="166" y="37"/>
                    <a:pt x="171" y="24"/>
                    <a:pt x="171" y="24"/>
                  </a:cubicBezTo>
                  <a:lnTo>
                    <a:pt x="129" y="24"/>
                  </a:lnTo>
                  <a:close/>
                </a:path>
              </a:pathLst>
            </a:custGeom>
            <a:solidFill>
              <a:srgbClr val="E84C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šḷidé">
              <a:extLst>
                <a:ext uri="{FF2B5EF4-FFF2-40B4-BE49-F238E27FC236}">
                  <a16:creationId xmlns:a16="http://schemas.microsoft.com/office/drawing/2014/main" id="{BC2A4231-18AE-430B-A892-A47F34B74B2D}"/>
                </a:ext>
              </a:extLst>
            </p:cNvPr>
            <p:cNvSpPr/>
            <p:nvPr/>
          </p:nvSpPr>
          <p:spPr bwMode="auto">
            <a:xfrm>
              <a:off x="7907338" y="2774950"/>
              <a:ext cx="673100" cy="1150938"/>
            </a:xfrm>
            <a:custGeom>
              <a:avLst/>
              <a:gdLst>
                <a:gd name="T0" fmla="*/ 24 w 34"/>
                <a:gd name="T1" fmla="*/ 58 h 58"/>
                <a:gd name="T2" fmla="*/ 29 w 34"/>
                <a:gd name="T3" fmla="*/ 18 h 58"/>
                <a:gd name="T4" fmla="*/ 16 w 34"/>
                <a:gd name="T5" fmla="*/ 9 h 58"/>
                <a:gd name="T6" fmla="*/ 1 w 34"/>
                <a:gd name="T7" fmla="*/ 38 h 58"/>
                <a:gd name="T8" fmla="*/ 24 w 34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58">
                  <a:moveTo>
                    <a:pt x="24" y="58"/>
                  </a:moveTo>
                  <a:cubicBezTo>
                    <a:pt x="24" y="53"/>
                    <a:pt x="25" y="26"/>
                    <a:pt x="29" y="18"/>
                  </a:cubicBezTo>
                  <a:cubicBezTo>
                    <a:pt x="34" y="8"/>
                    <a:pt x="25" y="0"/>
                    <a:pt x="16" y="9"/>
                  </a:cubicBezTo>
                  <a:cubicBezTo>
                    <a:pt x="7" y="16"/>
                    <a:pt x="0" y="28"/>
                    <a:pt x="1" y="38"/>
                  </a:cubicBezTo>
                  <a:cubicBezTo>
                    <a:pt x="10" y="43"/>
                    <a:pt x="18" y="51"/>
                    <a:pt x="24" y="58"/>
                  </a:cubicBezTo>
                  <a:close/>
                </a:path>
              </a:pathLst>
            </a:cu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ïṡḷîḍè">
              <a:extLst>
                <a:ext uri="{FF2B5EF4-FFF2-40B4-BE49-F238E27FC236}">
                  <a16:creationId xmlns:a16="http://schemas.microsoft.com/office/drawing/2014/main" id="{EB45CF02-E9A0-4572-B5BC-0EB92E9B148B}"/>
                </a:ext>
              </a:extLst>
            </p:cNvPr>
            <p:cNvSpPr/>
            <p:nvPr/>
          </p:nvSpPr>
          <p:spPr bwMode="auto">
            <a:xfrm>
              <a:off x="6640513" y="3984625"/>
              <a:ext cx="1147763" cy="1290638"/>
            </a:xfrm>
            <a:custGeom>
              <a:avLst/>
              <a:gdLst>
                <a:gd name="T0" fmla="*/ 19 w 58"/>
                <a:gd name="T1" fmla="*/ 8 h 65"/>
                <a:gd name="T2" fmla="*/ 19 w 58"/>
                <a:gd name="T3" fmla="*/ 8 h 65"/>
                <a:gd name="T4" fmla="*/ 19 w 58"/>
                <a:gd name="T5" fmla="*/ 8 h 65"/>
                <a:gd name="T6" fmla="*/ 17 w 58"/>
                <a:gd name="T7" fmla="*/ 4 h 65"/>
                <a:gd name="T8" fmla="*/ 4 w 58"/>
                <a:gd name="T9" fmla="*/ 3 h 65"/>
                <a:gd name="T10" fmla="*/ 4 w 58"/>
                <a:gd name="T11" fmla="*/ 19 h 65"/>
                <a:gd name="T12" fmla="*/ 32 w 58"/>
                <a:gd name="T13" fmla="*/ 58 h 65"/>
                <a:gd name="T14" fmla="*/ 54 w 58"/>
                <a:gd name="T15" fmla="*/ 61 h 65"/>
                <a:gd name="T16" fmla="*/ 58 w 58"/>
                <a:gd name="T17" fmla="*/ 52 h 65"/>
                <a:gd name="T18" fmla="*/ 19 w 58"/>
                <a:gd name="T19" fmla="*/ 8 h 65"/>
                <a:gd name="T20" fmla="*/ 7 w 58"/>
                <a:gd name="T21" fmla="*/ 15 h 65"/>
                <a:gd name="T22" fmla="*/ 7 w 58"/>
                <a:gd name="T23" fmla="*/ 5 h 65"/>
                <a:gd name="T24" fmla="*/ 17 w 58"/>
                <a:gd name="T25" fmla="*/ 9 h 65"/>
                <a:gd name="T26" fmla="*/ 7 w 58"/>
                <a:gd name="T27" fmla="*/ 1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" h="65">
                  <a:moveTo>
                    <a:pt x="19" y="8"/>
                  </a:move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6"/>
                    <a:pt x="18" y="5"/>
                    <a:pt x="17" y="4"/>
                  </a:cubicBezTo>
                  <a:cubicBezTo>
                    <a:pt x="13" y="0"/>
                    <a:pt x="7" y="0"/>
                    <a:pt x="4" y="3"/>
                  </a:cubicBezTo>
                  <a:cubicBezTo>
                    <a:pt x="0" y="6"/>
                    <a:pt x="3" y="15"/>
                    <a:pt x="4" y="19"/>
                  </a:cubicBezTo>
                  <a:cubicBezTo>
                    <a:pt x="8" y="26"/>
                    <a:pt x="18" y="43"/>
                    <a:pt x="32" y="58"/>
                  </a:cubicBezTo>
                  <a:cubicBezTo>
                    <a:pt x="40" y="64"/>
                    <a:pt x="48" y="65"/>
                    <a:pt x="54" y="61"/>
                  </a:cubicBezTo>
                  <a:cubicBezTo>
                    <a:pt x="56" y="60"/>
                    <a:pt x="58" y="55"/>
                    <a:pt x="58" y="52"/>
                  </a:cubicBezTo>
                  <a:cubicBezTo>
                    <a:pt x="41" y="38"/>
                    <a:pt x="27" y="19"/>
                    <a:pt x="19" y="8"/>
                  </a:cubicBezTo>
                  <a:close/>
                  <a:moveTo>
                    <a:pt x="7" y="15"/>
                  </a:moveTo>
                  <a:cubicBezTo>
                    <a:pt x="6" y="13"/>
                    <a:pt x="3" y="8"/>
                    <a:pt x="7" y="5"/>
                  </a:cubicBezTo>
                  <a:cubicBezTo>
                    <a:pt x="11" y="2"/>
                    <a:pt x="15" y="6"/>
                    <a:pt x="17" y="9"/>
                  </a:cubicBezTo>
                  <a:cubicBezTo>
                    <a:pt x="19" y="12"/>
                    <a:pt x="9" y="18"/>
                    <a:pt x="7" y="15"/>
                  </a:cubicBezTo>
                  <a:close/>
                </a:path>
              </a:pathLst>
            </a:cu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ṣḷïḓê">
              <a:extLst>
                <a:ext uri="{FF2B5EF4-FFF2-40B4-BE49-F238E27FC236}">
                  <a16:creationId xmlns:a16="http://schemas.microsoft.com/office/drawing/2014/main" id="{ECA31953-E01D-4730-BA96-0CCD19E6AEC1}"/>
                </a:ext>
              </a:extLst>
            </p:cNvPr>
            <p:cNvSpPr/>
            <p:nvPr/>
          </p:nvSpPr>
          <p:spPr bwMode="auto">
            <a:xfrm>
              <a:off x="6442076" y="4341813"/>
              <a:ext cx="773113" cy="1031875"/>
            </a:xfrm>
            <a:custGeom>
              <a:avLst/>
              <a:gdLst>
                <a:gd name="T0" fmla="*/ 13 w 39"/>
                <a:gd name="T1" fmla="*/ 4 h 52"/>
                <a:gd name="T2" fmla="*/ 13 w 39"/>
                <a:gd name="T3" fmla="*/ 4 h 52"/>
                <a:gd name="T4" fmla="*/ 12 w 39"/>
                <a:gd name="T5" fmla="*/ 4 h 52"/>
                <a:gd name="T6" fmla="*/ 6 w 39"/>
                <a:gd name="T7" fmla="*/ 1 h 52"/>
                <a:gd name="T8" fmla="*/ 2 w 39"/>
                <a:gd name="T9" fmla="*/ 4 h 52"/>
                <a:gd name="T10" fmla="*/ 0 w 39"/>
                <a:gd name="T11" fmla="*/ 13 h 52"/>
                <a:gd name="T12" fmla="*/ 0 w 39"/>
                <a:gd name="T13" fmla="*/ 14 h 52"/>
                <a:gd name="T14" fmla="*/ 23 w 39"/>
                <a:gd name="T15" fmla="*/ 48 h 52"/>
                <a:gd name="T16" fmla="*/ 39 w 39"/>
                <a:gd name="T17" fmla="*/ 42 h 52"/>
                <a:gd name="T18" fmla="*/ 13 w 39"/>
                <a:gd name="T19" fmla="*/ 4 h 52"/>
                <a:gd name="T20" fmla="*/ 4 w 39"/>
                <a:gd name="T21" fmla="*/ 15 h 52"/>
                <a:gd name="T22" fmla="*/ 5 w 39"/>
                <a:gd name="T23" fmla="*/ 5 h 52"/>
                <a:gd name="T24" fmla="*/ 13 w 39"/>
                <a:gd name="T25" fmla="*/ 10 h 52"/>
                <a:gd name="T26" fmla="*/ 4 w 39"/>
                <a:gd name="T27" fmla="*/ 1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52">
                  <a:moveTo>
                    <a:pt x="13" y="4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2"/>
                    <a:pt x="10" y="0"/>
                    <a:pt x="6" y="1"/>
                  </a:cubicBezTo>
                  <a:cubicBezTo>
                    <a:pt x="5" y="1"/>
                    <a:pt x="3" y="3"/>
                    <a:pt x="2" y="4"/>
                  </a:cubicBezTo>
                  <a:cubicBezTo>
                    <a:pt x="1" y="6"/>
                    <a:pt x="0" y="9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2" y="29"/>
                    <a:pt x="14" y="45"/>
                    <a:pt x="23" y="48"/>
                  </a:cubicBezTo>
                  <a:cubicBezTo>
                    <a:pt x="34" y="52"/>
                    <a:pt x="38" y="48"/>
                    <a:pt x="39" y="42"/>
                  </a:cubicBezTo>
                  <a:cubicBezTo>
                    <a:pt x="27" y="29"/>
                    <a:pt x="17" y="13"/>
                    <a:pt x="13" y="4"/>
                  </a:cubicBezTo>
                  <a:close/>
                  <a:moveTo>
                    <a:pt x="4" y="15"/>
                  </a:moveTo>
                  <a:cubicBezTo>
                    <a:pt x="3" y="13"/>
                    <a:pt x="1" y="7"/>
                    <a:pt x="5" y="5"/>
                  </a:cubicBezTo>
                  <a:cubicBezTo>
                    <a:pt x="9" y="2"/>
                    <a:pt x="11" y="7"/>
                    <a:pt x="13" y="10"/>
                  </a:cubicBezTo>
                  <a:cubicBezTo>
                    <a:pt x="14" y="13"/>
                    <a:pt x="5" y="17"/>
                    <a:pt x="4" y="15"/>
                  </a:cubicBezTo>
                  <a:close/>
                </a:path>
              </a:pathLst>
            </a:cu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îṡ1iḑe">
              <a:extLst>
                <a:ext uri="{FF2B5EF4-FFF2-40B4-BE49-F238E27FC236}">
                  <a16:creationId xmlns:a16="http://schemas.microsoft.com/office/drawing/2014/main" id="{96BE3738-50A8-4256-8A38-13B64AEBF7EE}"/>
                </a:ext>
              </a:extLst>
            </p:cNvPr>
            <p:cNvSpPr/>
            <p:nvPr/>
          </p:nvSpPr>
          <p:spPr bwMode="auto">
            <a:xfrm>
              <a:off x="6937376" y="3627438"/>
              <a:ext cx="1346200" cy="1409700"/>
            </a:xfrm>
            <a:custGeom>
              <a:avLst/>
              <a:gdLst>
                <a:gd name="T0" fmla="*/ 25 w 68"/>
                <a:gd name="T1" fmla="*/ 11 h 71"/>
                <a:gd name="T2" fmla="*/ 6 w 68"/>
                <a:gd name="T3" fmla="*/ 5 h 71"/>
                <a:gd name="T4" fmla="*/ 6 w 68"/>
                <a:gd name="T5" fmla="*/ 23 h 71"/>
                <a:gd name="T6" fmla="*/ 44 w 68"/>
                <a:gd name="T7" fmla="*/ 67 h 71"/>
                <a:gd name="T8" fmla="*/ 68 w 68"/>
                <a:gd name="T9" fmla="*/ 58 h 71"/>
                <a:gd name="T10" fmla="*/ 25 w 68"/>
                <a:gd name="T11" fmla="*/ 11 h 71"/>
                <a:gd name="T12" fmla="*/ 9 w 68"/>
                <a:gd name="T13" fmla="*/ 20 h 71"/>
                <a:gd name="T14" fmla="*/ 8 w 68"/>
                <a:gd name="T15" fmla="*/ 7 h 71"/>
                <a:gd name="T16" fmla="*/ 20 w 68"/>
                <a:gd name="T17" fmla="*/ 12 h 71"/>
                <a:gd name="T18" fmla="*/ 9 w 68"/>
                <a:gd name="T19" fmla="*/ 2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71">
                  <a:moveTo>
                    <a:pt x="25" y="11"/>
                  </a:moveTo>
                  <a:cubicBezTo>
                    <a:pt x="21" y="6"/>
                    <a:pt x="13" y="0"/>
                    <a:pt x="6" y="5"/>
                  </a:cubicBezTo>
                  <a:cubicBezTo>
                    <a:pt x="0" y="10"/>
                    <a:pt x="4" y="18"/>
                    <a:pt x="6" y="23"/>
                  </a:cubicBezTo>
                  <a:cubicBezTo>
                    <a:pt x="12" y="33"/>
                    <a:pt x="27" y="53"/>
                    <a:pt x="44" y="67"/>
                  </a:cubicBezTo>
                  <a:cubicBezTo>
                    <a:pt x="59" y="71"/>
                    <a:pt x="66" y="68"/>
                    <a:pt x="68" y="58"/>
                  </a:cubicBezTo>
                  <a:cubicBezTo>
                    <a:pt x="46" y="42"/>
                    <a:pt x="28" y="16"/>
                    <a:pt x="25" y="11"/>
                  </a:cubicBezTo>
                  <a:close/>
                  <a:moveTo>
                    <a:pt x="9" y="20"/>
                  </a:moveTo>
                  <a:cubicBezTo>
                    <a:pt x="7" y="17"/>
                    <a:pt x="3" y="11"/>
                    <a:pt x="8" y="7"/>
                  </a:cubicBezTo>
                  <a:cubicBezTo>
                    <a:pt x="13" y="4"/>
                    <a:pt x="18" y="8"/>
                    <a:pt x="20" y="12"/>
                  </a:cubicBezTo>
                  <a:cubicBezTo>
                    <a:pt x="23" y="15"/>
                    <a:pt x="11" y="22"/>
                    <a:pt x="9" y="20"/>
                  </a:cubicBezTo>
                  <a:close/>
                </a:path>
              </a:pathLst>
            </a:cu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íšľïďê">
              <a:extLst>
                <a:ext uri="{FF2B5EF4-FFF2-40B4-BE49-F238E27FC236}">
                  <a16:creationId xmlns:a16="http://schemas.microsoft.com/office/drawing/2014/main" id="{E9D28ED3-5D52-431E-BC9C-904CF26B0145}"/>
                </a:ext>
              </a:extLst>
            </p:cNvPr>
            <p:cNvSpPr/>
            <p:nvPr/>
          </p:nvSpPr>
          <p:spPr bwMode="auto">
            <a:xfrm>
              <a:off x="7432676" y="3468688"/>
              <a:ext cx="1265238" cy="1330325"/>
            </a:xfrm>
            <a:custGeom>
              <a:avLst/>
              <a:gdLst>
                <a:gd name="T0" fmla="*/ 61 w 64"/>
                <a:gd name="T1" fmla="*/ 47 h 67"/>
                <a:gd name="T2" fmla="*/ 61 w 64"/>
                <a:gd name="T3" fmla="*/ 46 h 67"/>
                <a:gd name="T4" fmla="*/ 43 w 64"/>
                <a:gd name="T5" fmla="*/ 22 h 67"/>
                <a:gd name="T6" fmla="*/ 26 w 64"/>
                <a:gd name="T7" fmla="*/ 7 h 67"/>
                <a:gd name="T8" fmla="*/ 8 w 64"/>
                <a:gd name="T9" fmla="*/ 1 h 67"/>
                <a:gd name="T10" fmla="*/ 2 w 64"/>
                <a:gd name="T11" fmla="*/ 2 h 67"/>
                <a:gd name="T12" fmla="*/ 1 w 64"/>
                <a:gd name="T13" fmla="*/ 13 h 67"/>
                <a:gd name="T14" fmla="*/ 4 w 64"/>
                <a:gd name="T15" fmla="*/ 20 h 67"/>
                <a:gd name="T16" fmla="*/ 46 w 64"/>
                <a:gd name="T17" fmla="*/ 63 h 67"/>
                <a:gd name="T18" fmla="*/ 61 w 64"/>
                <a:gd name="T19" fmla="*/ 47 h 67"/>
                <a:gd name="T20" fmla="*/ 8 w 64"/>
                <a:gd name="T21" fmla="*/ 17 h 67"/>
                <a:gd name="T22" fmla="*/ 5 w 64"/>
                <a:gd name="T23" fmla="*/ 5 h 67"/>
                <a:gd name="T24" fmla="*/ 17 w 64"/>
                <a:gd name="T25" fmla="*/ 7 h 67"/>
                <a:gd name="T26" fmla="*/ 8 w 64"/>
                <a:gd name="T27" fmla="*/ 1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67">
                  <a:moveTo>
                    <a:pt x="61" y="47"/>
                  </a:moveTo>
                  <a:cubicBezTo>
                    <a:pt x="61" y="47"/>
                    <a:pt x="61" y="46"/>
                    <a:pt x="61" y="46"/>
                  </a:cubicBezTo>
                  <a:cubicBezTo>
                    <a:pt x="57" y="41"/>
                    <a:pt x="51" y="31"/>
                    <a:pt x="43" y="22"/>
                  </a:cubicBezTo>
                  <a:cubicBezTo>
                    <a:pt x="38" y="17"/>
                    <a:pt x="32" y="11"/>
                    <a:pt x="26" y="7"/>
                  </a:cubicBezTo>
                  <a:cubicBezTo>
                    <a:pt x="20" y="4"/>
                    <a:pt x="14" y="1"/>
                    <a:pt x="8" y="1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0" y="5"/>
                    <a:pt x="0" y="10"/>
                    <a:pt x="1" y="13"/>
                  </a:cubicBezTo>
                  <a:cubicBezTo>
                    <a:pt x="1" y="14"/>
                    <a:pt x="3" y="18"/>
                    <a:pt x="4" y="20"/>
                  </a:cubicBezTo>
                  <a:cubicBezTo>
                    <a:pt x="10" y="28"/>
                    <a:pt x="26" y="50"/>
                    <a:pt x="46" y="63"/>
                  </a:cubicBezTo>
                  <a:cubicBezTo>
                    <a:pt x="60" y="67"/>
                    <a:pt x="64" y="55"/>
                    <a:pt x="61" y="47"/>
                  </a:cubicBezTo>
                  <a:close/>
                  <a:moveTo>
                    <a:pt x="8" y="17"/>
                  </a:moveTo>
                  <a:cubicBezTo>
                    <a:pt x="6" y="15"/>
                    <a:pt x="1" y="10"/>
                    <a:pt x="5" y="5"/>
                  </a:cubicBezTo>
                  <a:cubicBezTo>
                    <a:pt x="9" y="1"/>
                    <a:pt x="14" y="4"/>
                    <a:pt x="17" y="7"/>
                  </a:cubicBezTo>
                  <a:cubicBezTo>
                    <a:pt x="20" y="10"/>
                    <a:pt x="10" y="19"/>
                    <a:pt x="8" y="17"/>
                  </a:cubicBezTo>
                  <a:close/>
                </a:path>
              </a:pathLst>
            </a:cu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ïŝḷídè">
              <a:extLst>
                <a:ext uri="{FF2B5EF4-FFF2-40B4-BE49-F238E27FC236}">
                  <a16:creationId xmlns:a16="http://schemas.microsoft.com/office/drawing/2014/main" id="{A7C21712-CD32-4F5F-BD8B-A3382CC38A90}"/>
                </a:ext>
              </a:extLst>
            </p:cNvPr>
            <p:cNvSpPr/>
            <p:nvPr/>
          </p:nvSpPr>
          <p:spPr bwMode="auto">
            <a:xfrm>
              <a:off x="3592513" y="2774950"/>
              <a:ext cx="673100" cy="1130300"/>
            </a:xfrm>
            <a:custGeom>
              <a:avLst/>
              <a:gdLst>
                <a:gd name="T0" fmla="*/ 10 w 34"/>
                <a:gd name="T1" fmla="*/ 57 h 57"/>
                <a:gd name="T2" fmla="*/ 33 w 34"/>
                <a:gd name="T3" fmla="*/ 37 h 57"/>
                <a:gd name="T4" fmla="*/ 18 w 34"/>
                <a:gd name="T5" fmla="*/ 9 h 57"/>
                <a:gd name="T6" fmla="*/ 5 w 34"/>
                <a:gd name="T7" fmla="*/ 18 h 57"/>
                <a:gd name="T8" fmla="*/ 10 w 34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57">
                  <a:moveTo>
                    <a:pt x="10" y="57"/>
                  </a:moveTo>
                  <a:cubicBezTo>
                    <a:pt x="17" y="49"/>
                    <a:pt x="25" y="42"/>
                    <a:pt x="33" y="37"/>
                  </a:cubicBezTo>
                  <a:cubicBezTo>
                    <a:pt x="34" y="27"/>
                    <a:pt x="27" y="16"/>
                    <a:pt x="18" y="9"/>
                  </a:cubicBezTo>
                  <a:cubicBezTo>
                    <a:pt x="9" y="0"/>
                    <a:pt x="0" y="8"/>
                    <a:pt x="5" y="18"/>
                  </a:cubicBezTo>
                  <a:cubicBezTo>
                    <a:pt x="9" y="26"/>
                    <a:pt x="10" y="49"/>
                    <a:pt x="10" y="57"/>
                  </a:cubicBezTo>
                  <a:close/>
                </a:path>
              </a:pathLst>
            </a:cu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í$ḷîďé">
              <a:extLst>
                <a:ext uri="{FF2B5EF4-FFF2-40B4-BE49-F238E27FC236}">
                  <a16:creationId xmlns:a16="http://schemas.microsoft.com/office/drawing/2014/main" id="{97CDE3AE-8B36-4F2B-B612-4159E7EBFA89}"/>
                </a:ext>
              </a:extLst>
            </p:cNvPr>
            <p:cNvSpPr/>
            <p:nvPr/>
          </p:nvSpPr>
          <p:spPr bwMode="auto">
            <a:xfrm>
              <a:off x="4364038" y="3984625"/>
              <a:ext cx="1128713" cy="1290638"/>
            </a:xfrm>
            <a:custGeom>
              <a:avLst/>
              <a:gdLst>
                <a:gd name="T0" fmla="*/ 54 w 57"/>
                <a:gd name="T1" fmla="*/ 3 h 65"/>
                <a:gd name="T2" fmla="*/ 41 w 57"/>
                <a:gd name="T3" fmla="*/ 4 h 65"/>
                <a:gd name="T4" fmla="*/ 38 w 57"/>
                <a:gd name="T5" fmla="*/ 8 h 65"/>
                <a:gd name="T6" fmla="*/ 38 w 57"/>
                <a:gd name="T7" fmla="*/ 8 h 65"/>
                <a:gd name="T8" fmla="*/ 38 w 57"/>
                <a:gd name="T9" fmla="*/ 8 h 65"/>
                <a:gd name="T10" fmla="*/ 0 w 57"/>
                <a:gd name="T11" fmla="*/ 52 h 65"/>
                <a:gd name="T12" fmla="*/ 4 w 57"/>
                <a:gd name="T13" fmla="*/ 61 h 65"/>
                <a:gd name="T14" fmla="*/ 26 w 57"/>
                <a:gd name="T15" fmla="*/ 58 h 65"/>
                <a:gd name="T16" fmla="*/ 54 w 57"/>
                <a:gd name="T17" fmla="*/ 19 h 65"/>
                <a:gd name="T18" fmla="*/ 54 w 57"/>
                <a:gd name="T19" fmla="*/ 3 h 65"/>
                <a:gd name="T20" fmla="*/ 50 w 57"/>
                <a:gd name="T21" fmla="*/ 15 h 65"/>
                <a:gd name="T22" fmla="*/ 41 w 57"/>
                <a:gd name="T23" fmla="*/ 9 h 65"/>
                <a:gd name="T24" fmla="*/ 51 w 57"/>
                <a:gd name="T25" fmla="*/ 5 h 65"/>
                <a:gd name="T26" fmla="*/ 50 w 57"/>
                <a:gd name="T27" fmla="*/ 1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65">
                  <a:moveTo>
                    <a:pt x="54" y="3"/>
                  </a:moveTo>
                  <a:cubicBezTo>
                    <a:pt x="51" y="0"/>
                    <a:pt x="45" y="0"/>
                    <a:pt x="41" y="4"/>
                  </a:cubicBezTo>
                  <a:cubicBezTo>
                    <a:pt x="40" y="5"/>
                    <a:pt x="39" y="6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1" y="19"/>
                    <a:pt x="17" y="38"/>
                    <a:pt x="0" y="52"/>
                  </a:cubicBezTo>
                  <a:cubicBezTo>
                    <a:pt x="0" y="55"/>
                    <a:pt x="2" y="60"/>
                    <a:pt x="4" y="61"/>
                  </a:cubicBezTo>
                  <a:cubicBezTo>
                    <a:pt x="10" y="65"/>
                    <a:pt x="18" y="64"/>
                    <a:pt x="26" y="58"/>
                  </a:cubicBezTo>
                  <a:cubicBezTo>
                    <a:pt x="40" y="43"/>
                    <a:pt x="50" y="26"/>
                    <a:pt x="54" y="19"/>
                  </a:cubicBezTo>
                  <a:cubicBezTo>
                    <a:pt x="55" y="15"/>
                    <a:pt x="57" y="6"/>
                    <a:pt x="54" y="3"/>
                  </a:cubicBezTo>
                  <a:close/>
                  <a:moveTo>
                    <a:pt x="50" y="15"/>
                  </a:moveTo>
                  <a:cubicBezTo>
                    <a:pt x="48" y="18"/>
                    <a:pt x="39" y="12"/>
                    <a:pt x="41" y="9"/>
                  </a:cubicBezTo>
                  <a:cubicBezTo>
                    <a:pt x="43" y="6"/>
                    <a:pt x="46" y="2"/>
                    <a:pt x="51" y="5"/>
                  </a:cubicBezTo>
                  <a:cubicBezTo>
                    <a:pt x="55" y="8"/>
                    <a:pt x="52" y="13"/>
                    <a:pt x="50" y="15"/>
                  </a:cubicBezTo>
                  <a:close/>
                </a:path>
              </a:pathLst>
            </a:cu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îslîḍé">
              <a:extLst>
                <a:ext uri="{FF2B5EF4-FFF2-40B4-BE49-F238E27FC236}">
                  <a16:creationId xmlns:a16="http://schemas.microsoft.com/office/drawing/2014/main" id="{CCC58677-0430-4E3F-8A65-BFE1AB8969E4}"/>
                </a:ext>
              </a:extLst>
            </p:cNvPr>
            <p:cNvSpPr/>
            <p:nvPr/>
          </p:nvSpPr>
          <p:spPr bwMode="auto">
            <a:xfrm>
              <a:off x="3849688" y="3627438"/>
              <a:ext cx="1365250" cy="1409700"/>
            </a:xfrm>
            <a:custGeom>
              <a:avLst/>
              <a:gdLst>
                <a:gd name="T0" fmla="*/ 62 w 69"/>
                <a:gd name="T1" fmla="*/ 23 h 71"/>
                <a:gd name="T2" fmla="*/ 62 w 69"/>
                <a:gd name="T3" fmla="*/ 23 h 71"/>
                <a:gd name="T4" fmla="*/ 62 w 69"/>
                <a:gd name="T5" fmla="*/ 5 h 71"/>
                <a:gd name="T6" fmla="*/ 44 w 69"/>
                <a:gd name="T7" fmla="*/ 11 h 71"/>
                <a:gd name="T8" fmla="*/ 0 w 69"/>
                <a:gd name="T9" fmla="*/ 58 h 71"/>
                <a:gd name="T10" fmla="*/ 24 w 69"/>
                <a:gd name="T11" fmla="*/ 67 h 71"/>
                <a:gd name="T12" fmla="*/ 62 w 69"/>
                <a:gd name="T13" fmla="*/ 23 h 71"/>
                <a:gd name="T14" fmla="*/ 48 w 69"/>
                <a:gd name="T15" fmla="*/ 12 h 71"/>
                <a:gd name="T16" fmla="*/ 60 w 69"/>
                <a:gd name="T17" fmla="*/ 7 h 71"/>
                <a:gd name="T18" fmla="*/ 59 w 69"/>
                <a:gd name="T19" fmla="*/ 20 h 71"/>
                <a:gd name="T20" fmla="*/ 48 w 69"/>
                <a:gd name="T21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71">
                  <a:moveTo>
                    <a:pt x="62" y="23"/>
                  </a:moveTo>
                  <a:cubicBezTo>
                    <a:pt x="62" y="23"/>
                    <a:pt x="62" y="23"/>
                    <a:pt x="62" y="23"/>
                  </a:cubicBezTo>
                  <a:cubicBezTo>
                    <a:pt x="65" y="18"/>
                    <a:pt x="69" y="10"/>
                    <a:pt x="62" y="5"/>
                  </a:cubicBezTo>
                  <a:cubicBezTo>
                    <a:pt x="56" y="0"/>
                    <a:pt x="48" y="6"/>
                    <a:pt x="44" y="11"/>
                  </a:cubicBezTo>
                  <a:cubicBezTo>
                    <a:pt x="41" y="16"/>
                    <a:pt x="23" y="42"/>
                    <a:pt x="0" y="58"/>
                  </a:cubicBezTo>
                  <a:cubicBezTo>
                    <a:pt x="3" y="67"/>
                    <a:pt x="10" y="71"/>
                    <a:pt x="24" y="67"/>
                  </a:cubicBezTo>
                  <a:cubicBezTo>
                    <a:pt x="41" y="53"/>
                    <a:pt x="56" y="33"/>
                    <a:pt x="62" y="23"/>
                  </a:cubicBezTo>
                  <a:close/>
                  <a:moveTo>
                    <a:pt x="48" y="12"/>
                  </a:moveTo>
                  <a:cubicBezTo>
                    <a:pt x="51" y="8"/>
                    <a:pt x="55" y="4"/>
                    <a:pt x="60" y="7"/>
                  </a:cubicBezTo>
                  <a:cubicBezTo>
                    <a:pt x="65" y="11"/>
                    <a:pt x="61" y="17"/>
                    <a:pt x="59" y="20"/>
                  </a:cubicBezTo>
                  <a:cubicBezTo>
                    <a:pt x="57" y="22"/>
                    <a:pt x="46" y="15"/>
                    <a:pt x="48" y="12"/>
                  </a:cubicBezTo>
                  <a:close/>
                </a:path>
              </a:pathLst>
            </a:cu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îṧḻiḓè">
              <a:extLst>
                <a:ext uri="{FF2B5EF4-FFF2-40B4-BE49-F238E27FC236}">
                  <a16:creationId xmlns:a16="http://schemas.microsoft.com/office/drawing/2014/main" id="{8E74E63C-8A03-4173-B8CD-EA3F81C43147}"/>
                </a:ext>
              </a:extLst>
            </p:cNvPr>
            <p:cNvSpPr/>
            <p:nvPr/>
          </p:nvSpPr>
          <p:spPr bwMode="auto">
            <a:xfrm>
              <a:off x="4938713" y="4341813"/>
              <a:ext cx="771525" cy="1031875"/>
            </a:xfrm>
            <a:custGeom>
              <a:avLst/>
              <a:gdLst>
                <a:gd name="T0" fmla="*/ 37 w 39"/>
                <a:gd name="T1" fmla="*/ 4 h 52"/>
                <a:gd name="T2" fmla="*/ 32 w 39"/>
                <a:gd name="T3" fmla="*/ 1 h 52"/>
                <a:gd name="T4" fmla="*/ 27 w 39"/>
                <a:gd name="T5" fmla="*/ 4 h 52"/>
                <a:gd name="T6" fmla="*/ 26 w 39"/>
                <a:gd name="T7" fmla="*/ 4 h 52"/>
                <a:gd name="T8" fmla="*/ 26 w 39"/>
                <a:gd name="T9" fmla="*/ 4 h 52"/>
                <a:gd name="T10" fmla="*/ 26 w 39"/>
                <a:gd name="T11" fmla="*/ 4 h 52"/>
                <a:gd name="T12" fmla="*/ 0 w 39"/>
                <a:gd name="T13" fmla="*/ 42 h 52"/>
                <a:gd name="T14" fmla="*/ 16 w 39"/>
                <a:gd name="T15" fmla="*/ 48 h 52"/>
                <a:gd name="T16" fmla="*/ 38 w 39"/>
                <a:gd name="T17" fmla="*/ 14 h 52"/>
                <a:gd name="T18" fmla="*/ 39 w 39"/>
                <a:gd name="T19" fmla="*/ 13 h 52"/>
                <a:gd name="T20" fmla="*/ 37 w 39"/>
                <a:gd name="T21" fmla="*/ 4 h 52"/>
                <a:gd name="T22" fmla="*/ 34 w 39"/>
                <a:gd name="T23" fmla="*/ 15 h 52"/>
                <a:gd name="T24" fmla="*/ 26 w 39"/>
                <a:gd name="T25" fmla="*/ 10 h 52"/>
                <a:gd name="T26" fmla="*/ 33 w 39"/>
                <a:gd name="T27" fmla="*/ 5 h 52"/>
                <a:gd name="T28" fmla="*/ 34 w 39"/>
                <a:gd name="T29" fmla="*/ 1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52">
                  <a:moveTo>
                    <a:pt x="37" y="4"/>
                  </a:moveTo>
                  <a:cubicBezTo>
                    <a:pt x="36" y="3"/>
                    <a:pt x="34" y="1"/>
                    <a:pt x="32" y="1"/>
                  </a:cubicBezTo>
                  <a:cubicBezTo>
                    <a:pt x="29" y="0"/>
                    <a:pt x="27" y="2"/>
                    <a:pt x="27" y="4"/>
                  </a:cubicBezTo>
                  <a:cubicBezTo>
                    <a:pt x="27" y="4"/>
                    <a:pt x="26" y="4"/>
                    <a:pt x="2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2" y="13"/>
                    <a:pt x="12" y="29"/>
                    <a:pt x="0" y="42"/>
                  </a:cubicBezTo>
                  <a:cubicBezTo>
                    <a:pt x="0" y="48"/>
                    <a:pt x="5" y="52"/>
                    <a:pt x="16" y="48"/>
                  </a:cubicBezTo>
                  <a:cubicBezTo>
                    <a:pt x="25" y="45"/>
                    <a:pt x="37" y="29"/>
                    <a:pt x="38" y="14"/>
                  </a:cubicBezTo>
                  <a:cubicBezTo>
                    <a:pt x="38" y="14"/>
                    <a:pt x="38" y="13"/>
                    <a:pt x="39" y="13"/>
                  </a:cubicBezTo>
                  <a:cubicBezTo>
                    <a:pt x="38" y="9"/>
                    <a:pt x="38" y="6"/>
                    <a:pt x="37" y="4"/>
                  </a:cubicBezTo>
                  <a:close/>
                  <a:moveTo>
                    <a:pt x="34" y="15"/>
                  </a:moveTo>
                  <a:cubicBezTo>
                    <a:pt x="33" y="17"/>
                    <a:pt x="24" y="13"/>
                    <a:pt x="26" y="10"/>
                  </a:cubicBezTo>
                  <a:cubicBezTo>
                    <a:pt x="28" y="7"/>
                    <a:pt x="29" y="2"/>
                    <a:pt x="33" y="5"/>
                  </a:cubicBezTo>
                  <a:cubicBezTo>
                    <a:pt x="37" y="7"/>
                    <a:pt x="36" y="13"/>
                    <a:pt x="34" y="15"/>
                  </a:cubicBezTo>
                  <a:close/>
                </a:path>
              </a:pathLst>
            </a:cu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íšlîḓe">
              <a:extLst>
                <a:ext uri="{FF2B5EF4-FFF2-40B4-BE49-F238E27FC236}">
                  <a16:creationId xmlns:a16="http://schemas.microsoft.com/office/drawing/2014/main" id="{2E17C859-8594-46B2-9A88-E3586AA13FC4}"/>
                </a:ext>
              </a:extLst>
            </p:cNvPr>
            <p:cNvSpPr/>
            <p:nvPr/>
          </p:nvSpPr>
          <p:spPr bwMode="auto">
            <a:xfrm>
              <a:off x="3454401" y="3468688"/>
              <a:ext cx="1285875" cy="1330325"/>
            </a:xfrm>
            <a:custGeom>
              <a:avLst/>
              <a:gdLst>
                <a:gd name="T0" fmla="*/ 61 w 65"/>
                <a:gd name="T1" fmla="*/ 17 h 67"/>
                <a:gd name="T2" fmla="*/ 62 w 65"/>
                <a:gd name="T3" fmla="*/ 15 h 67"/>
                <a:gd name="T4" fmla="*/ 62 w 65"/>
                <a:gd name="T5" fmla="*/ 2 h 67"/>
                <a:gd name="T6" fmla="*/ 56 w 65"/>
                <a:gd name="T7" fmla="*/ 1 h 67"/>
                <a:gd name="T8" fmla="*/ 40 w 65"/>
                <a:gd name="T9" fmla="*/ 6 h 67"/>
                <a:gd name="T10" fmla="*/ 20 w 65"/>
                <a:gd name="T11" fmla="*/ 23 h 67"/>
                <a:gd name="T12" fmla="*/ 3 w 65"/>
                <a:gd name="T13" fmla="*/ 46 h 67"/>
                <a:gd name="T14" fmla="*/ 3 w 65"/>
                <a:gd name="T15" fmla="*/ 47 h 67"/>
                <a:gd name="T16" fmla="*/ 18 w 65"/>
                <a:gd name="T17" fmla="*/ 63 h 67"/>
                <a:gd name="T18" fmla="*/ 61 w 65"/>
                <a:gd name="T19" fmla="*/ 17 h 67"/>
                <a:gd name="T20" fmla="*/ 46 w 65"/>
                <a:gd name="T21" fmla="*/ 7 h 67"/>
                <a:gd name="T22" fmla="*/ 59 w 65"/>
                <a:gd name="T23" fmla="*/ 5 h 67"/>
                <a:gd name="T24" fmla="*/ 55 w 65"/>
                <a:gd name="T25" fmla="*/ 17 h 67"/>
                <a:gd name="T26" fmla="*/ 46 w 65"/>
                <a:gd name="T27" fmla="*/ 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7">
                  <a:moveTo>
                    <a:pt x="61" y="17"/>
                  </a:moveTo>
                  <a:cubicBezTo>
                    <a:pt x="61" y="17"/>
                    <a:pt x="62" y="16"/>
                    <a:pt x="62" y="15"/>
                  </a:cubicBezTo>
                  <a:cubicBezTo>
                    <a:pt x="63" y="13"/>
                    <a:pt x="65" y="6"/>
                    <a:pt x="62" y="2"/>
                  </a:cubicBezTo>
                  <a:cubicBezTo>
                    <a:pt x="61" y="1"/>
                    <a:pt x="59" y="0"/>
                    <a:pt x="56" y="1"/>
                  </a:cubicBezTo>
                  <a:cubicBezTo>
                    <a:pt x="50" y="1"/>
                    <a:pt x="45" y="3"/>
                    <a:pt x="40" y="6"/>
                  </a:cubicBezTo>
                  <a:cubicBezTo>
                    <a:pt x="33" y="11"/>
                    <a:pt x="26" y="17"/>
                    <a:pt x="20" y="23"/>
                  </a:cubicBezTo>
                  <a:cubicBezTo>
                    <a:pt x="12" y="32"/>
                    <a:pt x="6" y="41"/>
                    <a:pt x="3" y="46"/>
                  </a:cubicBezTo>
                  <a:cubicBezTo>
                    <a:pt x="3" y="46"/>
                    <a:pt x="3" y="47"/>
                    <a:pt x="3" y="47"/>
                  </a:cubicBezTo>
                  <a:cubicBezTo>
                    <a:pt x="0" y="55"/>
                    <a:pt x="4" y="67"/>
                    <a:pt x="18" y="63"/>
                  </a:cubicBezTo>
                  <a:cubicBezTo>
                    <a:pt x="39" y="48"/>
                    <a:pt x="57" y="23"/>
                    <a:pt x="61" y="17"/>
                  </a:cubicBezTo>
                  <a:close/>
                  <a:moveTo>
                    <a:pt x="46" y="7"/>
                  </a:moveTo>
                  <a:cubicBezTo>
                    <a:pt x="49" y="4"/>
                    <a:pt x="55" y="1"/>
                    <a:pt x="59" y="5"/>
                  </a:cubicBezTo>
                  <a:cubicBezTo>
                    <a:pt x="63" y="10"/>
                    <a:pt x="58" y="15"/>
                    <a:pt x="55" y="17"/>
                  </a:cubicBezTo>
                  <a:cubicBezTo>
                    <a:pt x="53" y="19"/>
                    <a:pt x="43" y="10"/>
                    <a:pt x="46" y="7"/>
                  </a:cubicBezTo>
                  <a:close/>
                </a:path>
              </a:pathLst>
            </a:cu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35316941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98842" y="2325660"/>
            <a:ext cx="10845798" cy="1621509"/>
          </a:xfrm>
        </p:spPr>
        <p:txBody>
          <a:bodyPr>
            <a:normAutofit/>
          </a:bodyPr>
          <a:lstStyle/>
          <a:p>
            <a:r>
              <a:rPr lang="zh-CN" altLang="en-US" sz="3600" dirty="0"/>
              <a:t>感谢老师与助教的帮助！</a:t>
            </a:r>
            <a:br>
              <a:rPr lang="en-US" altLang="zh-CN" sz="3600" dirty="0"/>
            </a:br>
            <a:r>
              <a:rPr lang="zh-CN" altLang="en-US" sz="3600" dirty="0"/>
              <a:t>感谢小组成员的辛勤付出！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ransition spd="slow">
    <p:cover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57C49076-2E8F-4C8B-9017-59714BB47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7897D391-A68F-420D-A058-6F9013EC56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Y PCLOGO</a:t>
            </a:r>
            <a:endParaRPr lang="zh-CN" altLang="en-US" dirty="0"/>
          </a:p>
        </p:txBody>
      </p:sp>
      <p:sp>
        <p:nvSpPr>
          <p:cNvPr id="7" name="页脚占位符 2">
            <a:extLst>
              <a:ext uri="{FF2B5EF4-FFF2-40B4-BE49-F238E27FC236}">
                <a16:creationId xmlns:a16="http://schemas.microsoft.com/office/drawing/2014/main" id="{A0A4F56C-6E41-4FAE-9E3F-58C8CDF25408}"/>
              </a:ext>
            </a:extLst>
          </p:cNvPr>
          <p:cNvSpPr txBox="1">
            <a:spLocks/>
          </p:cNvSpPr>
          <p:nvPr/>
        </p:nvSpPr>
        <p:spPr>
          <a:xfrm>
            <a:off x="822324" y="63928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/>
              <a:t>软件工程原理与实践第</a:t>
            </a:r>
            <a:r>
              <a:rPr lang="en-US" altLang="zh-CN"/>
              <a:t>15</a:t>
            </a:r>
            <a:r>
              <a:rPr lang="zh-CN" altLang="en-US"/>
              <a:t>组</a:t>
            </a:r>
            <a:endParaRPr lang="zh-CN" altLang="en-US" dirty="0"/>
          </a:p>
        </p:txBody>
      </p:sp>
      <p:pic>
        <p:nvPicPr>
          <p:cNvPr id="11" name="内容占位符 10">
            <a:extLst>
              <a:ext uri="{FF2B5EF4-FFF2-40B4-BE49-F238E27FC236}">
                <a16:creationId xmlns:a16="http://schemas.microsoft.com/office/drawing/2014/main" id="{A02EA56B-2308-4153-8D33-FCC9AB8649F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/>
          <a:srcRect l="106" t="7236" r="38" b="4137"/>
          <a:stretch/>
        </p:blipFill>
        <p:spPr>
          <a:xfrm>
            <a:off x="924341" y="1028700"/>
            <a:ext cx="10341728" cy="5163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587714"/>
      </p:ext>
    </p:extLst>
  </p:cSld>
  <p:clrMapOvr>
    <a:masterClrMapping/>
  </p:clrMapOvr>
  <p:transition spd="slow">
    <p:cover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660401" y="1130300"/>
            <a:ext cx="10097245" cy="5003800"/>
            <a:chOff x="660401" y="1130300"/>
            <a:chExt cx="10097245" cy="5003800"/>
          </a:xfrm>
        </p:grpSpPr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40F65DAD-AA3C-4A71-9192-B937A470736C}"/>
                </a:ext>
              </a:extLst>
            </p:cNvPr>
            <p:cNvGrpSpPr/>
            <p:nvPr/>
          </p:nvGrpSpPr>
          <p:grpSpPr>
            <a:xfrm>
              <a:off x="660401" y="1454150"/>
              <a:ext cx="5526644" cy="4356100"/>
              <a:chOff x="660400" y="1454150"/>
              <a:chExt cx="10858499" cy="4356100"/>
            </a:xfrm>
          </p:grpSpPr>
          <p:sp>
            <p:nvSpPr>
              <p:cNvPr id="9" name="圆角矩形 8">
                <a:extLst>
                  <a:ext uri="{FF2B5EF4-FFF2-40B4-BE49-F238E27FC236}">
                    <a16:creationId xmlns:a16="http://schemas.microsoft.com/office/drawing/2014/main" id="{AC53584C-2748-48EB-8FCE-75292027D0BB}"/>
                  </a:ext>
                </a:extLst>
              </p:cNvPr>
              <p:cNvSpPr/>
              <p:nvPr/>
            </p:nvSpPr>
            <p:spPr>
              <a:xfrm>
                <a:off x="660400" y="33210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2400" b="1" dirty="0">
                    <a:solidFill>
                      <a:schemeClr val="accent1"/>
                    </a:solidFill>
                  </a:rPr>
                  <a:t>产品特色与创新点</a:t>
                </a:r>
                <a:endParaRPr lang="en-US" altLang="zh-CN" sz="24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" name="圆角矩形 9">
                <a:extLst>
                  <a:ext uri="{FF2B5EF4-FFF2-40B4-BE49-F238E27FC236}">
                    <a16:creationId xmlns:a16="http://schemas.microsoft.com/office/drawing/2014/main" id="{DDF6F91D-5F85-4D9C-AE6C-1E9154F2DEB2}"/>
                  </a:ext>
                </a:extLst>
              </p:cNvPr>
              <p:cNvSpPr/>
              <p:nvPr/>
            </p:nvSpPr>
            <p:spPr>
              <a:xfrm>
                <a:off x="660400" y="26987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致谢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1" name="圆角矩形 10">
                <a:extLst>
                  <a:ext uri="{FF2B5EF4-FFF2-40B4-BE49-F238E27FC236}">
                    <a16:creationId xmlns:a16="http://schemas.microsoft.com/office/drawing/2014/main" id="{3FCD1556-55DB-422A-9A91-03C8CA4C8CFC}"/>
                  </a:ext>
                </a:extLst>
              </p:cNvPr>
              <p:cNvSpPr/>
              <p:nvPr/>
            </p:nvSpPr>
            <p:spPr>
              <a:xfrm>
                <a:off x="660400" y="39433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产品演示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2" name="圆角矩形 11">
                <a:extLst>
                  <a:ext uri="{FF2B5EF4-FFF2-40B4-BE49-F238E27FC236}">
                    <a16:creationId xmlns:a16="http://schemas.microsoft.com/office/drawing/2014/main" id="{E9125F22-9110-4DA9-BB15-F5E756018AB3}"/>
                  </a:ext>
                </a:extLst>
              </p:cNvPr>
              <p:cNvSpPr/>
              <p:nvPr/>
            </p:nvSpPr>
            <p:spPr>
              <a:xfrm>
                <a:off x="660400" y="45656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架构与关键技术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3" name="圆角矩形 12">
                <a:extLst>
                  <a:ext uri="{FF2B5EF4-FFF2-40B4-BE49-F238E27FC236}">
                    <a16:creationId xmlns:a16="http://schemas.microsoft.com/office/drawing/2014/main" id="{487B6CCD-FECD-4A9D-9A26-BC273CC3851B}"/>
                  </a:ext>
                </a:extLst>
              </p:cNvPr>
              <p:cNvSpPr/>
              <p:nvPr/>
            </p:nvSpPr>
            <p:spPr>
              <a:xfrm>
                <a:off x="660400" y="20764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小组分工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4" name="圆角矩形 13">
                <a:extLst>
                  <a:ext uri="{FF2B5EF4-FFF2-40B4-BE49-F238E27FC236}">
                    <a16:creationId xmlns:a16="http://schemas.microsoft.com/office/drawing/2014/main" id="{EDF8110A-8EDB-418C-B6DF-9602B875D010}"/>
                  </a:ext>
                </a:extLst>
              </p:cNvPr>
              <p:cNvSpPr/>
              <p:nvPr/>
            </p:nvSpPr>
            <p:spPr>
              <a:xfrm>
                <a:off x="660400" y="51879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测试报告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sp>
            <p:nvSpPr>
              <p:cNvPr id="15" name="圆角矩形 14">
                <a:extLst>
                  <a:ext uri="{FF2B5EF4-FFF2-40B4-BE49-F238E27FC236}">
                    <a16:creationId xmlns:a16="http://schemas.microsoft.com/office/drawing/2014/main" id="{49395A25-2C00-42D1-927A-C8E332E0FB46}"/>
                  </a:ext>
                </a:extLst>
              </p:cNvPr>
              <p:cNvSpPr/>
              <p:nvPr/>
            </p:nvSpPr>
            <p:spPr>
              <a:xfrm>
                <a:off x="660400" y="14541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经验教训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296774F8-FE38-4B25-BE73-AF85310781B0}"/>
                  </a:ext>
                </a:extLst>
              </p:cNvPr>
              <p:cNvGrpSpPr/>
              <p:nvPr/>
            </p:nvGrpSpPr>
            <p:grpSpPr>
              <a:xfrm>
                <a:off x="3055917" y="2076450"/>
                <a:ext cx="6080166" cy="3111500"/>
                <a:chOff x="2802576" y="2076450"/>
                <a:chExt cx="6080166" cy="3111500"/>
              </a:xfrm>
            </p:grpSpPr>
            <p:cxnSp>
              <p:nvCxnSpPr>
                <p:cNvPr id="5" name="直接连接符 4">
                  <a:extLst>
                    <a:ext uri="{FF2B5EF4-FFF2-40B4-BE49-F238E27FC236}">
                      <a16:creationId xmlns:a16="http://schemas.microsoft.com/office/drawing/2014/main" id="{665A9CCB-14B6-4181-96D2-1E7424A398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3210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>
                  <a:extLst>
                    <a:ext uri="{FF2B5EF4-FFF2-40B4-BE49-F238E27FC236}">
                      <a16:creationId xmlns:a16="http://schemas.microsoft.com/office/drawing/2014/main" id="{2209BB7D-243A-446A-A163-08AD95BB30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9433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2" name="组合 21">
                  <a:extLst>
                    <a:ext uri="{FF2B5EF4-FFF2-40B4-BE49-F238E27FC236}">
                      <a16:creationId xmlns:a16="http://schemas.microsoft.com/office/drawing/2014/main" id="{B4DB02FD-20CA-439E-94DF-A159F531B24A}"/>
                    </a:ext>
                  </a:extLst>
                </p:cNvPr>
                <p:cNvGrpSpPr/>
                <p:nvPr/>
              </p:nvGrpSpPr>
              <p:grpSpPr>
                <a:xfrm>
                  <a:off x="3241963" y="2076450"/>
                  <a:ext cx="5201393" cy="3111500"/>
                  <a:chOff x="2802576" y="2076450"/>
                  <a:chExt cx="6080166" cy="3111500"/>
                </a:xfrm>
              </p:grpSpPr>
              <p:cxnSp>
                <p:nvCxnSpPr>
                  <p:cNvPr id="17" name="直接连接符 16">
                    <a:extLst>
                      <a:ext uri="{FF2B5EF4-FFF2-40B4-BE49-F238E27FC236}">
                        <a16:creationId xmlns:a16="http://schemas.microsoft.com/office/drawing/2014/main" id="{351CD98E-B842-421D-A69C-11F4C36899A7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45656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" name="直接连接符 18">
                    <a:extLst>
                      <a:ext uri="{FF2B5EF4-FFF2-40B4-BE49-F238E27FC236}">
                        <a16:creationId xmlns:a16="http://schemas.microsoft.com/office/drawing/2014/main" id="{7521AFC8-74E6-48C6-8BD5-E0EA6FDE7D98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26987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1" name="组合 20">
                    <a:extLst>
                      <a:ext uri="{FF2B5EF4-FFF2-40B4-BE49-F238E27FC236}">
                        <a16:creationId xmlns:a16="http://schemas.microsoft.com/office/drawing/2014/main" id="{6F854CE6-0C4E-46E6-B40C-A83741098EAA}"/>
                      </a:ext>
                    </a:extLst>
                  </p:cNvPr>
                  <p:cNvGrpSpPr/>
                  <p:nvPr/>
                </p:nvGrpSpPr>
                <p:grpSpPr>
                  <a:xfrm>
                    <a:off x="3548743" y="2076450"/>
                    <a:ext cx="5094515" cy="3111500"/>
                    <a:chOff x="2802576" y="2076450"/>
                    <a:chExt cx="6080166" cy="3111500"/>
                  </a:xfrm>
                </p:grpSpPr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:a16="http://schemas.microsoft.com/office/drawing/2014/main" id="{274C2429-0D16-4487-80BA-DF46BA86B0F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51879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0" name="直接连接符 19">
                      <a:extLst>
                        <a:ext uri="{FF2B5EF4-FFF2-40B4-BE49-F238E27FC236}">
                          <a16:creationId xmlns:a16="http://schemas.microsoft.com/office/drawing/2014/main" id="{180F0829-2591-4662-B868-7F0B2BA51C9C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20764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  <p:sp>
          <p:nvSpPr>
            <p:cNvPr id="25" name="圆角矩形 24">
              <a:extLst>
                <a:ext uri="{FF2B5EF4-FFF2-40B4-BE49-F238E27FC236}">
                  <a16:creationId xmlns:a16="http://schemas.microsoft.com/office/drawing/2014/main" id="{46D2D162-62B1-41D6-85F2-38FCC8088EB2}"/>
                </a:ext>
              </a:extLst>
            </p:cNvPr>
            <p:cNvSpPr/>
            <p:nvPr/>
          </p:nvSpPr>
          <p:spPr>
            <a:xfrm>
              <a:off x="5751807" y="1130300"/>
              <a:ext cx="5005839" cy="5003800"/>
            </a:xfrm>
            <a:prstGeom prst="roundRect">
              <a:avLst>
                <a:gd name="adj" fmla="val 5556"/>
              </a:avLst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76200">
              <a:noFill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E1CAC8EA-050D-48C8-B3F1-D39BA65EED89}"/>
              </a:ext>
            </a:extLst>
          </p:cNvPr>
          <p:cNvGrpSpPr/>
          <p:nvPr/>
        </p:nvGrpSpPr>
        <p:grpSpPr>
          <a:xfrm>
            <a:off x="6144342" y="1569861"/>
            <a:ext cx="4220768" cy="4124678"/>
            <a:chOff x="4418308" y="1751308"/>
            <a:chExt cx="3355385" cy="3355385"/>
          </a:xfrm>
        </p:grpSpPr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86C5DDDA-CB6D-4DD7-A558-CD7A2C907BCB}"/>
                </a:ext>
              </a:extLst>
            </p:cNvPr>
            <p:cNvSpPr/>
            <p:nvPr/>
          </p:nvSpPr>
          <p:spPr>
            <a:xfrm>
              <a:off x="4418308" y="1751308"/>
              <a:ext cx="3355385" cy="3355385"/>
            </a:xfrm>
            <a:prstGeom prst="ellipse">
              <a:avLst/>
            </a:prstGeom>
            <a:solidFill>
              <a:srgbClr val="AAE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任意多边形 6">
              <a:extLst>
                <a:ext uri="{FF2B5EF4-FFF2-40B4-BE49-F238E27FC236}">
                  <a16:creationId xmlns:a16="http://schemas.microsoft.com/office/drawing/2014/main" id="{0F5A56CB-847D-43F7-80D8-8F668F49C4AB}"/>
                </a:ext>
              </a:extLst>
            </p:cNvPr>
            <p:cNvSpPr/>
            <p:nvPr/>
          </p:nvSpPr>
          <p:spPr>
            <a:xfrm>
              <a:off x="4966021" y="3702972"/>
              <a:ext cx="857804" cy="915367"/>
            </a:xfrm>
            <a:custGeom>
              <a:avLst/>
              <a:gdLst>
                <a:gd name="connsiteX0" fmla="*/ 186477 w 316784"/>
                <a:gd name="connsiteY0" fmla="*/ 0 h 338042"/>
                <a:gd name="connsiteX1" fmla="*/ 182572 w 316784"/>
                <a:gd name="connsiteY1" fmla="*/ 286 h 338042"/>
                <a:gd name="connsiteX2" fmla="*/ 169427 w 316784"/>
                <a:gd name="connsiteY2" fmla="*/ 4572 h 338042"/>
                <a:gd name="connsiteX3" fmla="*/ 156188 w 316784"/>
                <a:gd name="connsiteY3" fmla="*/ 12954 h 338042"/>
                <a:gd name="connsiteX4" fmla="*/ 138281 w 316784"/>
                <a:gd name="connsiteY4" fmla="*/ 29718 h 338042"/>
                <a:gd name="connsiteX5" fmla="*/ 121517 w 316784"/>
                <a:gd name="connsiteY5" fmla="*/ 50006 h 338042"/>
                <a:gd name="connsiteX6" fmla="*/ 97037 w 316784"/>
                <a:gd name="connsiteY6" fmla="*/ 87916 h 338042"/>
                <a:gd name="connsiteX7" fmla="*/ 79226 w 316784"/>
                <a:gd name="connsiteY7" fmla="*/ 80582 h 338042"/>
                <a:gd name="connsiteX8" fmla="*/ 72177 w 316784"/>
                <a:gd name="connsiteY8" fmla="*/ 78105 h 338042"/>
                <a:gd name="connsiteX9" fmla="*/ 71225 w 316784"/>
                <a:gd name="connsiteY9" fmla="*/ 77724 h 338042"/>
                <a:gd name="connsiteX10" fmla="*/ 54365 w 316784"/>
                <a:gd name="connsiteY10" fmla="*/ 72200 h 338042"/>
                <a:gd name="connsiteX11" fmla="*/ 34934 w 316784"/>
                <a:gd name="connsiteY11" fmla="*/ 69247 h 338042"/>
                <a:gd name="connsiteX12" fmla="*/ 16361 w 316784"/>
                <a:gd name="connsiteY12" fmla="*/ 73724 h 338042"/>
                <a:gd name="connsiteX13" fmla="*/ 8741 w 316784"/>
                <a:gd name="connsiteY13" fmla="*/ 79915 h 338042"/>
                <a:gd name="connsiteX14" fmla="*/ 3121 w 316784"/>
                <a:gd name="connsiteY14" fmla="*/ 89440 h 338042"/>
                <a:gd name="connsiteX15" fmla="*/ 359 w 316784"/>
                <a:gd name="connsiteY15" fmla="*/ 112395 h 338042"/>
                <a:gd name="connsiteX16" fmla="*/ 7217 w 316784"/>
                <a:gd name="connsiteY16" fmla="*/ 135350 h 338042"/>
                <a:gd name="connsiteX17" fmla="*/ 18933 w 316784"/>
                <a:gd name="connsiteY17" fmla="*/ 157258 h 338042"/>
                <a:gd name="connsiteX18" fmla="*/ 23028 w 316784"/>
                <a:gd name="connsiteY18" fmla="*/ 163925 h 338042"/>
                <a:gd name="connsiteX19" fmla="*/ 25029 w 316784"/>
                <a:gd name="connsiteY19" fmla="*/ 167259 h 338042"/>
                <a:gd name="connsiteX20" fmla="*/ 26552 w 316784"/>
                <a:gd name="connsiteY20" fmla="*/ 169640 h 338042"/>
                <a:gd name="connsiteX21" fmla="*/ 27219 w 316784"/>
                <a:gd name="connsiteY21" fmla="*/ 170783 h 338042"/>
                <a:gd name="connsiteX22" fmla="*/ 27600 w 316784"/>
                <a:gd name="connsiteY22" fmla="*/ 171450 h 338042"/>
                <a:gd name="connsiteX23" fmla="*/ 35220 w 316784"/>
                <a:gd name="connsiteY23" fmla="*/ 184975 h 338042"/>
                <a:gd name="connsiteX24" fmla="*/ 24266 w 316784"/>
                <a:gd name="connsiteY24" fmla="*/ 210788 h 338042"/>
                <a:gd name="connsiteX25" fmla="*/ 15599 w 316784"/>
                <a:gd name="connsiteY25" fmla="*/ 249174 h 338042"/>
                <a:gd name="connsiteX26" fmla="*/ 23314 w 316784"/>
                <a:gd name="connsiteY26" fmla="*/ 283559 h 338042"/>
                <a:gd name="connsiteX27" fmla="*/ 36935 w 316784"/>
                <a:gd name="connsiteY27" fmla="*/ 295084 h 338042"/>
                <a:gd name="connsiteX28" fmla="*/ 55318 w 316784"/>
                <a:gd name="connsiteY28" fmla="*/ 299180 h 338042"/>
                <a:gd name="connsiteX29" fmla="*/ 59223 w 316784"/>
                <a:gd name="connsiteY29" fmla="*/ 299085 h 338042"/>
                <a:gd name="connsiteX30" fmla="*/ 77797 w 316784"/>
                <a:gd name="connsiteY30" fmla="*/ 294513 h 338042"/>
                <a:gd name="connsiteX31" fmla="*/ 95609 w 316784"/>
                <a:gd name="connsiteY31" fmla="*/ 285369 h 338042"/>
                <a:gd name="connsiteX32" fmla="*/ 111325 w 316784"/>
                <a:gd name="connsiteY32" fmla="*/ 274225 h 338042"/>
                <a:gd name="connsiteX33" fmla="*/ 120564 w 316784"/>
                <a:gd name="connsiteY33" fmla="*/ 265938 h 338042"/>
                <a:gd name="connsiteX34" fmla="*/ 122564 w 316784"/>
                <a:gd name="connsiteY34" fmla="*/ 271177 h 338042"/>
                <a:gd name="connsiteX35" fmla="*/ 122946 w 316784"/>
                <a:gd name="connsiteY35" fmla="*/ 271939 h 338042"/>
                <a:gd name="connsiteX36" fmla="*/ 123422 w 316784"/>
                <a:gd name="connsiteY36" fmla="*/ 272796 h 338042"/>
                <a:gd name="connsiteX37" fmla="*/ 124469 w 316784"/>
                <a:gd name="connsiteY37" fmla="*/ 274796 h 338042"/>
                <a:gd name="connsiteX38" fmla="*/ 140186 w 316784"/>
                <a:gd name="connsiteY38" fmla="*/ 303467 h 338042"/>
                <a:gd name="connsiteX39" fmla="*/ 156473 w 316784"/>
                <a:gd name="connsiteY39" fmla="*/ 323088 h 338042"/>
                <a:gd name="connsiteX40" fmla="*/ 178190 w 316784"/>
                <a:gd name="connsiteY40" fmla="*/ 336137 h 338042"/>
                <a:gd name="connsiteX41" fmla="*/ 188668 w 316784"/>
                <a:gd name="connsiteY41" fmla="*/ 338042 h 338042"/>
                <a:gd name="connsiteX42" fmla="*/ 189621 w 316784"/>
                <a:gd name="connsiteY42" fmla="*/ 338042 h 338042"/>
                <a:gd name="connsiteX43" fmla="*/ 199812 w 316784"/>
                <a:gd name="connsiteY43" fmla="*/ 336423 h 338042"/>
                <a:gd name="connsiteX44" fmla="*/ 216767 w 316784"/>
                <a:gd name="connsiteY44" fmla="*/ 325279 h 338042"/>
                <a:gd name="connsiteX45" fmla="*/ 222958 w 316784"/>
                <a:gd name="connsiteY45" fmla="*/ 316421 h 338042"/>
                <a:gd name="connsiteX46" fmla="*/ 227816 w 316784"/>
                <a:gd name="connsiteY46" fmla="*/ 305467 h 338042"/>
                <a:gd name="connsiteX47" fmla="*/ 230959 w 316784"/>
                <a:gd name="connsiteY47" fmla="*/ 293180 h 338042"/>
                <a:gd name="connsiteX48" fmla="*/ 233340 w 316784"/>
                <a:gd name="connsiteY48" fmla="*/ 278511 h 338042"/>
                <a:gd name="connsiteX49" fmla="*/ 234864 w 316784"/>
                <a:gd name="connsiteY49" fmla="*/ 253937 h 338042"/>
                <a:gd name="connsiteX50" fmla="*/ 234293 w 316784"/>
                <a:gd name="connsiteY50" fmla="*/ 234601 h 338042"/>
                <a:gd name="connsiteX51" fmla="*/ 244865 w 316784"/>
                <a:gd name="connsiteY51" fmla="*/ 231076 h 338042"/>
                <a:gd name="connsiteX52" fmla="*/ 261629 w 316784"/>
                <a:gd name="connsiteY52" fmla="*/ 224885 h 338042"/>
                <a:gd name="connsiteX53" fmla="*/ 294967 w 316784"/>
                <a:gd name="connsiteY53" fmla="*/ 207550 h 338042"/>
                <a:gd name="connsiteX54" fmla="*/ 307921 w 316784"/>
                <a:gd name="connsiteY54" fmla="*/ 195643 h 338042"/>
                <a:gd name="connsiteX55" fmla="*/ 315636 w 316784"/>
                <a:gd name="connsiteY55" fmla="*/ 180499 h 338042"/>
                <a:gd name="connsiteX56" fmla="*/ 315922 w 316784"/>
                <a:gd name="connsiteY56" fmla="*/ 163259 h 338042"/>
                <a:gd name="connsiteX57" fmla="*/ 306873 w 316784"/>
                <a:gd name="connsiteY57" fmla="*/ 145542 h 338042"/>
                <a:gd name="connsiteX58" fmla="*/ 290395 w 316784"/>
                <a:gd name="connsiteY58" fmla="*/ 132302 h 338042"/>
                <a:gd name="connsiteX59" fmla="*/ 270202 w 316784"/>
                <a:gd name="connsiteY59" fmla="*/ 122777 h 338042"/>
                <a:gd name="connsiteX60" fmla="*/ 250771 w 316784"/>
                <a:gd name="connsiteY60" fmla="*/ 116205 h 338042"/>
                <a:gd name="connsiteX61" fmla="*/ 248390 w 316784"/>
                <a:gd name="connsiteY61" fmla="*/ 115443 h 338042"/>
                <a:gd name="connsiteX62" fmla="*/ 245818 w 316784"/>
                <a:gd name="connsiteY62" fmla="*/ 114586 h 338042"/>
                <a:gd name="connsiteX63" fmla="*/ 240579 w 316784"/>
                <a:gd name="connsiteY63" fmla="*/ 112967 h 338042"/>
                <a:gd name="connsiteX64" fmla="*/ 236674 w 316784"/>
                <a:gd name="connsiteY64" fmla="*/ 111824 h 338042"/>
                <a:gd name="connsiteX65" fmla="*/ 232864 w 316784"/>
                <a:gd name="connsiteY65" fmla="*/ 110680 h 338042"/>
                <a:gd name="connsiteX66" fmla="*/ 230483 w 316784"/>
                <a:gd name="connsiteY66" fmla="*/ 110014 h 338042"/>
                <a:gd name="connsiteX67" fmla="*/ 228101 w 316784"/>
                <a:gd name="connsiteY67" fmla="*/ 109347 h 338042"/>
                <a:gd name="connsiteX68" fmla="*/ 227530 w 316784"/>
                <a:gd name="connsiteY68" fmla="*/ 91630 h 338042"/>
                <a:gd name="connsiteX69" fmla="*/ 227530 w 316784"/>
                <a:gd name="connsiteY69" fmla="*/ 90773 h 338042"/>
                <a:gd name="connsiteX70" fmla="*/ 227530 w 316784"/>
                <a:gd name="connsiteY70" fmla="*/ 90107 h 338042"/>
                <a:gd name="connsiteX71" fmla="*/ 227530 w 316784"/>
                <a:gd name="connsiteY71" fmla="*/ 89440 h 338042"/>
                <a:gd name="connsiteX72" fmla="*/ 223815 w 316784"/>
                <a:gd name="connsiteY72" fmla="*/ 45910 h 338042"/>
                <a:gd name="connsiteX73" fmla="*/ 216767 w 316784"/>
                <a:gd name="connsiteY73" fmla="*/ 23717 h 338042"/>
                <a:gd name="connsiteX74" fmla="*/ 207623 w 316784"/>
                <a:gd name="connsiteY74" fmla="*/ 9239 h 338042"/>
                <a:gd name="connsiteX75" fmla="*/ 195907 w 316784"/>
                <a:gd name="connsiteY75" fmla="*/ 1238 h 338042"/>
                <a:gd name="connsiteX76" fmla="*/ 186477 w 316784"/>
                <a:gd name="connsiteY76" fmla="*/ 0 h 338042"/>
                <a:gd name="connsiteX77" fmla="*/ 186477 w 316784"/>
                <a:gd name="connsiteY77" fmla="*/ 0 h 338042"/>
                <a:gd name="connsiteX78" fmla="*/ 186477 w 316784"/>
                <a:gd name="connsiteY78" fmla="*/ 0 h 33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316784" h="338042">
                  <a:moveTo>
                    <a:pt x="186477" y="0"/>
                  </a:moveTo>
                  <a:cubicBezTo>
                    <a:pt x="185144" y="0"/>
                    <a:pt x="183810" y="95"/>
                    <a:pt x="182572" y="286"/>
                  </a:cubicBezTo>
                  <a:cubicBezTo>
                    <a:pt x="178286" y="857"/>
                    <a:pt x="174000" y="2286"/>
                    <a:pt x="169427" y="4572"/>
                  </a:cubicBezTo>
                  <a:cubicBezTo>
                    <a:pt x="165141" y="6667"/>
                    <a:pt x="160760" y="9430"/>
                    <a:pt x="156188" y="12954"/>
                  </a:cubicBezTo>
                  <a:cubicBezTo>
                    <a:pt x="150473" y="17335"/>
                    <a:pt x="144948" y="22574"/>
                    <a:pt x="138281" y="29718"/>
                  </a:cubicBezTo>
                  <a:cubicBezTo>
                    <a:pt x="133233" y="35242"/>
                    <a:pt x="127708" y="41815"/>
                    <a:pt x="121517" y="50006"/>
                  </a:cubicBezTo>
                  <a:cubicBezTo>
                    <a:pt x="112182" y="62579"/>
                    <a:pt x="103896" y="75343"/>
                    <a:pt x="97037" y="87916"/>
                  </a:cubicBezTo>
                  <a:cubicBezTo>
                    <a:pt x="91227" y="84487"/>
                    <a:pt x="83988" y="82105"/>
                    <a:pt x="79226" y="80582"/>
                  </a:cubicBezTo>
                  <a:cubicBezTo>
                    <a:pt x="76844" y="79724"/>
                    <a:pt x="74558" y="78962"/>
                    <a:pt x="72177" y="78105"/>
                  </a:cubicBezTo>
                  <a:lnTo>
                    <a:pt x="71225" y="77724"/>
                  </a:lnTo>
                  <a:cubicBezTo>
                    <a:pt x="67605" y="76391"/>
                    <a:pt x="60747" y="73819"/>
                    <a:pt x="54365" y="72200"/>
                  </a:cubicBezTo>
                  <a:cubicBezTo>
                    <a:pt x="46650" y="70104"/>
                    <a:pt x="40650" y="69247"/>
                    <a:pt x="34934" y="69247"/>
                  </a:cubicBezTo>
                  <a:cubicBezTo>
                    <a:pt x="27505" y="69247"/>
                    <a:pt x="21409" y="70771"/>
                    <a:pt x="16361" y="73724"/>
                  </a:cubicBezTo>
                  <a:cubicBezTo>
                    <a:pt x="13694" y="75247"/>
                    <a:pt x="11217" y="77248"/>
                    <a:pt x="8741" y="79915"/>
                  </a:cubicBezTo>
                  <a:cubicBezTo>
                    <a:pt x="6645" y="82296"/>
                    <a:pt x="4740" y="85344"/>
                    <a:pt x="3121" y="89440"/>
                  </a:cubicBezTo>
                  <a:cubicBezTo>
                    <a:pt x="359" y="96107"/>
                    <a:pt x="-594" y="103822"/>
                    <a:pt x="359" y="112395"/>
                  </a:cubicBezTo>
                  <a:cubicBezTo>
                    <a:pt x="1216" y="119348"/>
                    <a:pt x="3407" y="126683"/>
                    <a:pt x="7217" y="135350"/>
                  </a:cubicBezTo>
                  <a:cubicBezTo>
                    <a:pt x="10550" y="143256"/>
                    <a:pt x="14837" y="150495"/>
                    <a:pt x="18933" y="157258"/>
                  </a:cubicBezTo>
                  <a:lnTo>
                    <a:pt x="23028" y="163925"/>
                  </a:lnTo>
                  <a:lnTo>
                    <a:pt x="25029" y="167259"/>
                  </a:lnTo>
                  <a:lnTo>
                    <a:pt x="26552" y="169640"/>
                  </a:lnTo>
                  <a:lnTo>
                    <a:pt x="27219" y="170783"/>
                  </a:lnTo>
                  <a:lnTo>
                    <a:pt x="27600" y="171450"/>
                  </a:lnTo>
                  <a:cubicBezTo>
                    <a:pt x="29791" y="175165"/>
                    <a:pt x="32744" y="180118"/>
                    <a:pt x="35220" y="184975"/>
                  </a:cubicBezTo>
                  <a:cubicBezTo>
                    <a:pt x="31220" y="192596"/>
                    <a:pt x="27600" y="201263"/>
                    <a:pt x="24266" y="210788"/>
                  </a:cubicBezTo>
                  <a:cubicBezTo>
                    <a:pt x="19218" y="225362"/>
                    <a:pt x="16456" y="237554"/>
                    <a:pt x="15599" y="249174"/>
                  </a:cubicBezTo>
                  <a:cubicBezTo>
                    <a:pt x="14646" y="263271"/>
                    <a:pt x="17313" y="274892"/>
                    <a:pt x="23314" y="283559"/>
                  </a:cubicBezTo>
                  <a:cubicBezTo>
                    <a:pt x="26457" y="288226"/>
                    <a:pt x="31029" y="292132"/>
                    <a:pt x="36935" y="295084"/>
                  </a:cubicBezTo>
                  <a:cubicBezTo>
                    <a:pt x="42173" y="297847"/>
                    <a:pt x="48365" y="299180"/>
                    <a:pt x="55318" y="299180"/>
                  </a:cubicBezTo>
                  <a:cubicBezTo>
                    <a:pt x="56651" y="299180"/>
                    <a:pt x="57890" y="299085"/>
                    <a:pt x="59223" y="299085"/>
                  </a:cubicBezTo>
                  <a:cubicBezTo>
                    <a:pt x="65033" y="298609"/>
                    <a:pt x="71129" y="297085"/>
                    <a:pt x="77797" y="294513"/>
                  </a:cubicBezTo>
                  <a:cubicBezTo>
                    <a:pt x="83607" y="292322"/>
                    <a:pt x="89227" y="289370"/>
                    <a:pt x="95609" y="285369"/>
                  </a:cubicBezTo>
                  <a:cubicBezTo>
                    <a:pt x="100371" y="282512"/>
                    <a:pt x="105419" y="278987"/>
                    <a:pt x="111325" y="274225"/>
                  </a:cubicBezTo>
                  <a:cubicBezTo>
                    <a:pt x="114944" y="271272"/>
                    <a:pt x="117897" y="268605"/>
                    <a:pt x="120564" y="265938"/>
                  </a:cubicBezTo>
                  <a:cubicBezTo>
                    <a:pt x="120755" y="267653"/>
                    <a:pt x="121707" y="269558"/>
                    <a:pt x="122564" y="271177"/>
                  </a:cubicBezTo>
                  <a:lnTo>
                    <a:pt x="122946" y="271939"/>
                  </a:lnTo>
                  <a:lnTo>
                    <a:pt x="123422" y="272796"/>
                  </a:lnTo>
                  <a:lnTo>
                    <a:pt x="124469" y="274796"/>
                  </a:lnTo>
                  <a:cubicBezTo>
                    <a:pt x="129041" y="283940"/>
                    <a:pt x="134185" y="294227"/>
                    <a:pt x="140186" y="303467"/>
                  </a:cubicBezTo>
                  <a:cubicBezTo>
                    <a:pt x="144853" y="310801"/>
                    <a:pt x="150377" y="317373"/>
                    <a:pt x="156473" y="323088"/>
                  </a:cubicBezTo>
                  <a:cubicBezTo>
                    <a:pt x="163331" y="329375"/>
                    <a:pt x="170856" y="333851"/>
                    <a:pt x="178190" y="336137"/>
                  </a:cubicBezTo>
                  <a:cubicBezTo>
                    <a:pt x="181905" y="337375"/>
                    <a:pt x="185334" y="337947"/>
                    <a:pt x="188668" y="338042"/>
                  </a:cubicBezTo>
                  <a:lnTo>
                    <a:pt x="189621" y="338042"/>
                  </a:lnTo>
                  <a:cubicBezTo>
                    <a:pt x="192859" y="338042"/>
                    <a:pt x="196097" y="337566"/>
                    <a:pt x="199812" y="336423"/>
                  </a:cubicBezTo>
                  <a:cubicBezTo>
                    <a:pt x="205718" y="334804"/>
                    <a:pt x="211433" y="330994"/>
                    <a:pt x="216767" y="325279"/>
                  </a:cubicBezTo>
                  <a:cubicBezTo>
                    <a:pt x="219434" y="322326"/>
                    <a:pt x="221339" y="319088"/>
                    <a:pt x="222958" y="316421"/>
                  </a:cubicBezTo>
                  <a:cubicBezTo>
                    <a:pt x="224863" y="313277"/>
                    <a:pt x="226482" y="309658"/>
                    <a:pt x="227816" y="305467"/>
                  </a:cubicBezTo>
                  <a:cubicBezTo>
                    <a:pt x="229244" y="301371"/>
                    <a:pt x="230197" y="297275"/>
                    <a:pt x="230959" y="293180"/>
                  </a:cubicBezTo>
                  <a:cubicBezTo>
                    <a:pt x="231912" y="288512"/>
                    <a:pt x="232578" y="284035"/>
                    <a:pt x="233340" y="278511"/>
                  </a:cubicBezTo>
                  <a:cubicBezTo>
                    <a:pt x="234293" y="270224"/>
                    <a:pt x="234769" y="262128"/>
                    <a:pt x="234864" y="253937"/>
                  </a:cubicBezTo>
                  <a:cubicBezTo>
                    <a:pt x="234959" y="247459"/>
                    <a:pt x="234769" y="240983"/>
                    <a:pt x="234293" y="234601"/>
                  </a:cubicBezTo>
                  <a:lnTo>
                    <a:pt x="244865" y="231076"/>
                  </a:lnTo>
                  <a:cubicBezTo>
                    <a:pt x="250485" y="229076"/>
                    <a:pt x="256105" y="227076"/>
                    <a:pt x="261629" y="224885"/>
                  </a:cubicBezTo>
                  <a:cubicBezTo>
                    <a:pt x="275631" y="219361"/>
                    <a:pt x="286204" y="213836"/>
                    <a:pt x="294967" y="207550"/>
                  </a:cubicBezTo>
                  <a:cubicBezTo>
                    <a:pt x="299825" y="204216"/>
                    <a:pt x="304206" y="200216"/>
                    <a:pt x="307921" y="195643"/>
                  </a:cubicBezTo>
                  <a:cubicBezTo>
                    <a:pt x="311540" y="191167"/>
                    <a:pt x="314208" y="186118"/>
                    <a:pt x="315636" y="180499"/>
                  </a:cubicBezTo>
                  <a:cubicBezTo>
                    <a:pt x="317065" y="175260"/>
                    <a:pt x="317160" y="169259"/>
                    <a:pt x="315922" y="163259"/>
                  </a:cubicBezTo>
                  <a:cubicBezTo>
                    <a:pt x="314493" y="156972"/>
                    <a:pt x="311350" y="150876"/>
                    <a:pt x="306873" y="145542"/>
                  </a:cubicBezTo>
                  <a:cubicBezTo>
                    <a:pt x="302587" y="140589"/>
                    <a:pt x="297158" y="136303"/>
                    <a:pt x="290395" y="132302"/>
                  </a:cubicBezTo>
                  <a:cubicBezTo>
                    <a:pt x="284680" y="128873"/>
                    <a:pt x="278108" y="125730"/>
                    <a:pt x="270202" y="122777"/>
                  </a:cubicBezTo>
                  <a:cubicBezTo>
                    <a:pt x="263058" y="120015"/>
                    <a:pt x="256105" y="117824"/>
                    <a:pt x="250771" y="116205"/>
                  </a:cubicBezTo>
                  <a:lnTo>
                    <a:pt x="248390" y="115443"/>
                  </a:lnTo>
                  <a:lnTo>
                    <a:pt x="245818" y="114586"/>
                  </a:lnTo>
                  <a:lnTo>
                    <a:pt x="240579" y="112967"/>
                  </a:lnTo>
                  <a:cubicBezTo>
                    <a:pt x="239246" y="112585"/>
                    <a:pt x="237912" y="112109"/>
                    <a:pt x="236674" y="111824"/>
                  </a:cubicBezTo>
                  <a:lnTo>
                    <a:pt x="232864" y="110680"/>
                  </a:lnTo>
                  <a:lnTo>
                    <a:pt x="230483" y="110014"/>
                  </a:lnTo>
                  <a:lnTo>
                    <a:pt x="228101" y="109347"/>
                  </a:lnTo>
                  <a:cubicBezTo>
                    <a:pt x="227911" y="103632"/>
                    <a:pt x="227721" y="97631"/>
                    <a:pt x="227530" y="91630"/>
                  </a:cubicBezTo>
                  <a:lnTo>
                    <a:pt x="227530" y="90773"/>
                  </a:lnTo>
                  <a:lnTo>
                    <a:pt x="227530" y="90107"/>
                  </a:lnTo>
                  <a:lnTo>
                    <a:pt x="227530" y="89440"/>
                  </a:lnTo>
                  <a:cubicBezTo>
                    <a:pt x="227149" y="74676"/>
                    <a:pt x="226863" y="59912"/>
                    <a:pt x="223815" y="45910"/>
                  </a:cubicBezTo>
                  <a:cubicBezTo>
                    <a:pt x="221910" y="37243"/>
                    <a:pt x="219624" y="29908"/>
                    <a:pt x="216767" y="23717"/>
                  </a:cubicBezTo>
                  <a:cubicBezTo>
                    <a:pt x="214195" y="17812"/>
                    <a:pt x="211242" y="13049"/>
                    <a:pt x="207623" y="9239"/>
                  </a:cubicBezTo>
                  <a:cubicBezTo>
                    <a:pt x="204003" y="5429"/>
                    <a:pt x="200098" y="2762"/>
                    <a:pt x="195907" y="1238"/>
                  </a:cubicBezTo>
                  <a:cubicBezTo>
                    <a:pt x="192764" y="571"/>
                    <a:pt x="189621" y="0"/>
                    <a:pt x="186477" y="0"/>
                  </a:cubicBezTo>
                  <a:lnTo>
                    <a:pt x="186477" y="0"/>
                  </a:lnTo>
                  <a:lnTo>
                    <a:pt x="186477" y="0"/>
                  </a:lnTo>
                  <a:close/>
                </a:path>
              </a:pathLst>
            </a:custGeom>
            <a:solidFill>
              <a:srgbClr val="61CAA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7">
              <a:extLst>
                <a:ext uri="{FF2B5EF4-FFF2-40B4-BE49-F238E27FC236}">
                  <a16:creationId xmlns:a16="http://schemas.microsoft.com/office/drawing/2014/main" id="{FF63AE60-9B70-42AD-96BC-B01DF9B0C0BA}"/>
                </a:ext>
              </a:extLst>
            </p:cNvPr>
            <p:cNvSpPr/>
            <p:nvPr/>
          </p:nvSpPr>
          <p:spPr>
            <a:xfrm>
              <a:off x="5024768" y="4393171"/>
              <a:ext cx="25792" cy="25792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  <a:gd name="connsiteX3" fmla="*/ 0 w 9525"/>
                <a:gd name="connsiteY3" fmla="*/ 0 h 9525"/>
                <a:gd name="connsiteX4" fmla="*/ 0 w 9525"/>
                <a:gd name="connsiteY4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A22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8">
              <a:extLst>
                <a:ext uri="{FF2B5EF4-FFF2-40B4-BE49-F238E27FC236}">
                  <a16:creationId xmlns:a16="http://schemas.microsoft.com/office/drawing/2014/main" id="{ADB70645-8F8C-4020-9422-3322975249C1}"/>
                </a:ext>
              </a:extLst>
            </p:cNvPr>
            <p:cNvSpPr/>
            <p:nvPr/>
          </p:nvSpPr>
          <p:spPr>
            <a:xfrm>
              <a:off x="5008599" y="4380276"/>
              <a:ext cx="553420" cy="239092"/>
            </a:xfrm>
            <a:custGeom>
              <a:avLst/>
              <a:gdLst>
                <a:gd name="connsiteX0" fmla="*/ 161 w 204376"/>
                <a:gd name="connsiteY0" fmla="*/ 0 h 88296"/>
                <a:gd name="connsiteX1" fmla="*/ 161 w 204376"/>
                <a:gd name="connsiteY1" fmla="*/ 0 h 88296"/>
                <a:gd name="connsiteX2" fmla="*/ 161 w 204376"/>
                <a:gd name="connsiteY2" fmla="*/ 0 h 88296"/>
                <a:gd name="connsiteX3" fmla="*/ 7781 w 204376"/>
                <a:gd name="connsiteY3" fmla="*/ 33623 h 88296"/>
                <a:gd name="connsiteX4" fmla="*/ 21402 w 204376"/>
                <a:gd name="connsiteY4" fmla="*/ 45149 h 88296"/>
                <a:gd name="connsiteX5" fmla="*/ 39690 w 204376"/>
                <a:gd name="connsiteY5" fmla="*/ 49244 h 88296"/>
                <a:gd name="connsiteX6" fmla="*/ 43595 w 204376"/>
                <a:gd name="connsiteY6" fmla="*/ 49149 h 88296"/>
                <a:gd name="connsiteX7" fmla="*/ 62073 w 204376"/>
                <a:gd name="connsiteY7" fmla="*/ 44577 h 88296"/>
                <a:gd name="connsiteX8" fmla="*/ 79885 w 204376"/>
                <a:gd name="connsiteY8" fmla="*/ 35433 h 88296"/>
                <a:gd name="connsiteX9" fmla="*/ 95601 w 204376"/>
                <a:gd name="connsiteY9" fmla="*/ 24289 h 88296"/>
                <a:gd name="connsiteX10" fmla="*/ 104841 w 204376"/>
                <a:gd name="connsiteY10" fmla="*/ 16002 h 88296"/>
                <a:gd name="connsiteX11" fmla="*/ 107031 w 204376"/>
                <a:gd name="connsiteY11" fmla="*/ 21336 h 88296"/>
                <a:gd name="connsiteX12" fmla="*/ 107412 w 204376"/>
                <a:gd name="connsiteY12" fmla="*/ 22193 h 88296"/>
                <a:gd name="connsiteX13" fmla="*/ 107889 w 204376"/>
                <a:gd name="connsiteY13" fmla="*/ 23050 h 88296"/>
                <a:gd name="connsiteX14" fmla="*/ 108936 w 204376"/>
                <a:gd name="connsiteY14" fmla="*/ 25051 h 88296"/>
                <a:gd name="connsiteX15" fmla="*/ 124653 w 204376"/>
                <a:gd name="connsiteY15" fmla="*/ 53721 h 88296"/>
                <a:gd name="connsiteX16" fmla="*/ 140940 w 204376"/>
                <a:gd name="connsiteY16" fmla="*/ 73343 h 88296"/>
                <a:gd name="connsiteX17" fmla="*/ 162657 w 204376"/>
                <a:gd name="connsiteY17" fmla="*/ 86392 h 88296"/>
                <a:gd name="connsiteX18" fmla="*/ 173040 w 204376"/>
                <a:gd name="connsiteY18" fmla="*/ 88297 h 88296"/>
                <a:gd name="connsiteX19" fmla="*/ 173992 w 204376"/>
                <a:gd name="connsiteY19" fmla="*/ 88297 h 88296"/>
                <a:gd name="connsiteX20" fmla="*/ 184089 w 204376"/>
                <a:gd name="connsiteY20" fmla="*/ 86773 h 88296"/>
                <a:gd name="connsiteX21" fmla="*/ 201043 w 204376"/>
                <a:gd name="connsiteY21" fmla="*/ 75629 h 88296"/>
                <a:gd name="connsiteX22" fmla="*/ 204377 w 204376"/>
                <a:gd name="connsiteY22" fmla="*/ 71342 h 88296"/>
                <a:gd name="connsiteX23" fmla="*/ 202662 w 204376"/>
                <a:gd name="connsiteY23" fmla="*/ 72485 h 88296"/>
                <a:gd name="connsiteX24" fmla="*/ 201805 w 204376"/>
                <a:gd name="connsiteY24" fmla="*/ 73152 h 88296"/>
                <a:gd name="connsiteX25" fmla="*/ 190661 w 204376"/>
                <a:gd name="connsiteY25" fmla="*/ 78677 h 88296"/>
                <a:gd name="connsiteX26" fmla="*/ 183803 w 204376"/>
                <a:gd name="connsiteY26" fmla="*/ 79439 h 88296"/>
                <a:gd name="connsiteX27" fmla="*/ 177516 w 204376"/>
                <a:gd name="connsiteY27" fmla="*/ 78772 h 88296"/>
                <a:gd name="connsiteX28" fmla="*/ 163896 w 204376"/>
                <a:gd name="connsiteY28" fmla="*/ 73533 h 88296"/>
                <a:gd name="connsiteX29" fmla="*/ 150656 w 204376"/>
                <a:gd name="connsiteY29" fmla="*/ 64103 h 88296"/>
                <a:gd name="connsiteX30" fmla="*/ 137797 w 204376"/>
                <a:gd name="connsiteY30" fmla="*/ 51435 h 88296"/>
                <a:gd name="connsiteX31" fmla="*/ 116652 w 204376"/>
                <a:gd name="connsiteY31" fmla="*/ 22574 h 88296"/>
                <a:gd name="connsiteX32" fmla="*/ 109127 w 204376"/>
                <a:gd name="connsiteY32" fmla="*/ 8858 h 88296"/>
                <a:gd name="connsiteX33" fmla="*/ 106555 w 204376"/>
                <a:gd name="connsiteY33" fmla="*/ 3239 h 88296"/>
                <a:gd name="connsiteX34" fmla="*/ 105031 w 204376"/>
                <a:gd name="connsiteY34" fmla="*/ 4667 h 88296"/>
                <a:gd name="connsiteX35" fmla="*/ 95982 w 204376"/>
                <a:gd name="connsiteY35" fmla="*/ 12764 h 88296"/>
                <a:gd name="connsiteX36" fmla="*/ 74742 w 204376"/>
                <a:gd name="connsiteY36" fmla="*/ 25718 h 88296"/>
                <a:gd name="connsiteX37" fmla="*/ 63216 w 204376"/>
                <a:gd name="connsiteY37" fmla="*/ 30480 h 88296"/>
                <a:gd name="connsiteX38" fmla="*/ 53025 w 204376"/>
                <a:gd name="connsiteY38" fmla="*/ 33338 h 88296"/>
                <a:gd name="connsiteX39" fmla="*/ 44928 w 204376"/>
                <a:gd name="connsiteY39" fmla="*/ 34100 h 88296"/>
                <a:gd name="connsiteX40" fmla="*/ 42166 w 204376"/>
                <a:gd name="connsiteY40" fmla="*/ 34004 h 88296"/>
                <a:gd name="connsiteX41" fmla="*/ 37213 w 204376"/>
                <a:gd name="connsiteY41" fmla="*/ 33433 h 88296"/>
                <a:gd name="connsiteX42" fmla="*/ 32546 w 204376"/>
                <a:gd name="connsiteY42" fmla="*/ 32290 h 88296"/>
                <a:gd name="connsiteX43" fmla="*/ 23402 w 204376"/>
                <a:gd name="connsiteY43" fmla="*/ 28385 h 88296"/>
                <a:gd name="connsiteX44" fmla="*/ 15972 w 204376"/>
                <a:gd name="connsiteY44" fmla="*/ 22955 h 88296"/>
                <a:gd name="connsiteX45" fmla="*/ 3685 w 204376"/>
                <a:gd name="connsiteY45" fmla="*/ 7239 h 88296"/>
                <a:gd name="connsiteX46" fmla="*/ 447 w 204376"/>
                <a:gd name="connsiteY46" fmla="*/ 286 h 88296"/>
                <a:gd name="connsiteX47" fmla="*/ 161 w 204376"/>
                <a:gd name="connsiteY47" fmla="*/ 0 h 88296"/>
                <a:gd name="connsiteX48" fmla="*/ 161 w 204376"/>
                <a:gd name="connsiteY48" fmla="*/ 0 h 88296"/>
                <a:gd name="connsiteX49" fmla="*/ 161 w 204376"/>
                <a:gd name="connsiteY49" fmla="*/ 0 h 88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04376" h="88296">
                  <a:moveTo>
                    <a:pt x="161" y="0"/>
                  </a:move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66" y="95"/>
                    <a:pt x="161" y="0"/>
                  </a:cubicBezTo>
                  <a:cubicBezTo>
                    <a:pt x="-696" y="13907"/>
                    <a:pt x="1875" y="25146"/>
                    <a:pt x="7781" y="33623"/>
                  </a:cubicBezTo>
                  <a:cubicBezTo>
                    <a:pt x="10829" y="38195"/>
                    <a:pt x="15401" y="42005"/>
                    <a:pt x="21402" y="45149"/>
                  </a:cubicBezTo>
                  <a:cubicBezTo>
                    <a:pt x="26640" y="47816"/>
                    <a:pt x="32832" y="49244"/>
                    <a:pt x="39690" y="49244"/>
                  </a:cubicBezTo>
                  <a:cubicBezTo>
                    <a:pt x="40928" y="49244"/>
                    <a:pt x="42261" y="49149"/>
                    <a:pt x="43595" y="49149"/>
                  </a:cubicBezTo>
                  <a:cubicBezTo>
                    <a:pt x="49310" y="48768"/>
                    <a:pt x="55311" y="47244"/>
                    <a:pt x="62073" y="44577"/>
                  </a:cubicBezTo>
                  <a:cubicBezTo>
                    <a:pt x="67884" y="42386"/>
                    <a:pt x="73503" y="39433"/>
                    <a:pt x="79885" y="35433"/>
                  </a:cubicBezTo>
                  <a:cubicBezTo>
                    <a:pt x="84552" y="32671"/>
                    <a:pt x="89601" y="29051"/>
                    <a:pt x="95601" y="24289"/>
                  </a:cubicBezTo>
                  <a:cubicBezTo>
                    <a:pt x="99126" y="21336"/>
                    <a:pt x="102078" y="18764"/>
                    <a:pt x="104841" y="16002"/>
                  </a:cubicBezTo>
                  <a:cubicBezTo>
                    <a:pt x="105317" y="17717"/>
                    <a:pt x="106174" y="19621"/>
                    <a:pt x="107031" y="21336"/>
                  </a:cubicBezTo>
                  <a:lnTo>
                    <a:pt x="107412" y="22193"/>
                  </a:lnTo>
                  <a:lnTo>
                    <a:pt x="107889" y="23050"/>
                  </a:lnTo>
                  <a:lnTo>
                    <a:pt x="108936" y="25051"/>
                  </a:lnTo>
                  <a:cubicBezTo>
                    <a:pt x="113508" y="34195"/>
                    <a:pt x="118652" y="44482"/>
                    <a:pt x="124653" y="53721"/>
                  </a:cubicBezTo>
                  <a:cubicBezTo>
                    <a:pt x="129320" y="60960"/>
                    <a:pt x="134749" y="67532"/>
                    <a:pt x="140940" y="73343"/>
                  </a:cubicBezTo>
                  <a:cubicBezTo>
                    <a:pt x="147798" y="79629"/>
                    <a:pt x="155323" y="84106"/>
                    <a:pt x="162657" y="86392"/>
                  </a:cubicBezTo>
                  <a:cubicBezTo>
                    <a:pt x="166372" y="87535"/>
                    <a:pt x="169801" y="88202"/>
                    <a:pt x="173040" y="88297"/>
                  </a:cubicBezTo>
                  <a:lnTo>
                    <a:pt x="173992" y="88297"/>
                  </a:lnTo>
                  <a:cubicBezTo>
                    <a:pt x="177231" y="88297"/>
                    <a:pt x="180469" y="87821"/>
                    <a:pt x="184089" y="86773"/>
                  </a:cubicBezTo>
                  <a:cubicBezTo>
                    <a:pt x="189994" y="85154"/>
                    <a:pt x="195709" y="81344"/>
                    <a:pt x="201043" y="75629"/>
                  </a:cubicBezTo>
                  <a:cubicBezTo>
                    <a:pt x="202281" y="74295"/>
                    <a:pt x="203329" y="72866"/>
                    <a:pt x="204377" y="71342"/>
                  </a:cubicBezTo>
                  <a:cubicBezTo>
                    <a:pt x="203710" y="71628"/>
                    <a:pt x="203139" y="72104"/>
                    <a:pt x="202662" y="72485"/>
                  </a:cubicBezTo>
                  <a:lnTo>
                    <a:pt x="201805" y="73152"/>
                  </a:lnTo>
                  <a:cubicBezTo>
                    <a:pt x="198186" y="75914"/>
                    <a:pt x="194471" y="77724"/>
                    <a:pt x="190661" y="78677"/>
                  </a:cubicBezTo>
                  <a:cubicBezTo>
                    <a:pt x="188470" y="79153"/>
                    <a:pt x="186089" y="79439"/>
                    <a:pt x="183803" y="79439"/>
                  </a:cubicBezTo>
                  <a:cubicBezTo>
                    <a:pt x="181612" y="79439"/>
                    <a:pt x="179517" y="79248"/>
                    <a:pt x="177516" y="78772"/>
                  </a:cubicBezTo>
                  <a:cubicBezTo>
                    <a:pt x="173135" y="77915"/>
                    <a:pt x="168563" y="76105"/>
                    <a:pt x="163896" y="73533"/>
                  </a:cubicBezTo>
                  <a:cubicBezTo>
                    <a:pt x="159324" y="70866"/>
                    <a:pt x="154847" y="67723"/>
                    <a:pt x="150656" y="64103"/>
                  </a:cubicBezTo>
                  <a:cubicBezTo>
                    <a:pt x="146274" y="60293"/>
                    <a:pt x="141893" y="56007"/>
                    <a:pt x="137797" y="51435"/>
                  </a:cubicBezTo>
                  <a:cubicBezTo>
                    <a:pt x="129987" y="42672"/>
                    <a:pt x="122843" y="32957"/>
                    <a:pt x="116652" y="22574"/>
                  </a:cubicBezTo>
                  <a:cubicBezTo>
                    <a:pt x="113604" y="17526"/>
                    <a:pt x="111222" y="13049"/>
                    <a:pt x="109127" y="8858"/>
                  </a:cubicBezTo>
                  <a:cubicBezTo>
                    <a:pt x="108270" y="6953"/>
                    <a:pt x="107412" y="5144"/>
                    <a:pt x="106555" y="3239"/>
                  </a:cubicBezTo>
                  <a:cubicBezTo>
                    <a:pt x="105984" y="3715"/>
                    <a:pt x="105507" y="4191"/>
                    <a:pt x="105031" y="4667"/>
                  </a:cubicBezTo>
                  <a:cubicBezTo>
                    <a:pt x="101602" y="8096"/>
                    <a:pt x="98840" y="10573"/>
                    <a:pt x="95982" y="12764"/>
                  </a:cubicBezTo>
                  <a:cubicBezTo>
                    <a:pt x="89505" y="17717"/>
                    <a:pt x="82362" y="22098"/>
                    <a:pt x="74742" y="25718"/>
                  </a:cubicBezTo>
                  <a:cubicBezTo>
                    <a:pt x="70455" y="27718"/>
                    <a:pt x="66741" y="29337"/>
                    <a:pt x="63216" y="30480"/>
                  </a:cubicBezTo>
                  <a:cubicBezTo>
                    <a:pt x="60264" y="31528"/>
                    <a:pt x="56739" y="32671"/>
                    <a:pt x="53025" y="33338"/>
                  </a:cubicBezTo>
                  <a:cubicBezTo>
                    <a:pt x="50167" y="33814"/>
                    <a:pt x="47500" y="34100"/>
                    <a:pt x="44928" y="34100"/>
                  </a:cubicBezTo>
                  <a:cubicBezTo>
                    <a:pt x="43976" y="34100"/>
                    <a:pt x="43119" y="34100"/>
                    <a:pt x="42166" y="34004"/>
                  </a:cubicBezTo>
                  <a:cubicBezTo>
                    <a:pt x="40452" y="33909"/>
                    <a:pt x="38832" y="33719"/>
                    <a:pt x="37213" y="33433"/>
                  </a:cubicBezTo>
                  <a:cubicBezTo>
                    <a:pt x="35689" y="33147"/>
                    <a:pt x="34070" y="32766"/>
                    <a:pt x="32546" y="32290"/>
                  </a:cubicBezTo>
                  <a:cubicBezTo>
                    <a:pt x="29403" y="31337"/>
                    <a:pt x="26355" y="30004"/>
                    <a:pt x="23402" y="28385"/>
                  </a:cubicBezTo>
                  <a:cubicBezTo>
                    <a:pt x="20354" y="26575"/>
                    <a:pt x="18068" y="24860"/>
                    <a:pt x="15972" y="22955"/>
                  </a:cubicBezTo>
                  <a:cubicBezTo>
                    <a:pt x="10924" y="18479"/>
                    <a:pt x="6828" y="13145"/>
                    <a:pt x="3685" y="7239"/>
                  </a:cubicBezTo>
                  <a:cubicBezTo>
                    <a:pt x="2542" y="4953"/>
                    <a:pt x="1399" y="2667"/>
                    <a:pt x="447" y="286"/>
                  </a:cubicBezTo>
                  <a:cubicBezTo>
                    <a:pt x="351" y="95"/>
                    <a:pt x="161" y="0"/>
                    <a:pt x="161" y="0"/>
                  </a:cubicBezTo>
                  <a:lnTo>
                    <a:pt x="161" y="0"/>
                  </a:lnTo>
                  <a:lnTo>
                    <a:pt x="161" y="0"/>
                  </a:lnTo>
                  <a:close/>
                </a:path>
              </a:pathLst>
            </a:custGeom>
            <a:solidFill>
              <a:srgbClr val="57B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9">
              <a:extLst>
                <a:ext uri="{FF2B5EF4-FFF2-40B4-BE49-F238E27FC236}">
                  <a16:creationId xmlns:a16="http://schemas.microsoft.com/office/drawing/2014/main" id="{C1908F46-33C5-4A56-A4D5-58A46A5F3290}"/>
                </a:ext>
              </a:extLst>
            </p:cNvPr>
            <p:cNvSpPr/>
            <p:nvPr/>
          </p:nvSpPr>
          <p:spPr>
            <a:xfrm>
              <a:off x="5595808" y="4195089"/>
              <a:ext cx="224134" cy="144177"/>
            </a:xfrm>
            <a:custGeom>
              <a:avLst/>
              <a:gdLst>
                <a:gd name="connsiteX0" fmla="*/ 82487 w 82772"/>
                <a:gd name="connsiteY0" fmla="*/ 0 h 53244"/>
                <a:gd name="connsiteX1" fmla="*/ 82487 w 82772"/>
                <a:gd name="connsiteY1" fmla="*/ 0 h 53244"/>
                <a:gd name="connsiteX2" fmla="*/ 72200 w 82772"/>
                <a:gd name="connsiteY2" fmla="*/ 12097 h 53244"/>
                <a:gd name="connsiteX3" fmla="*/ 59817 w 82772"/>
                <a:gd name="connsiteY3" fmla="*/ 21812 h 53244"/>
                <a:gd name="connsiteX4" fmla="*/ 30290 w 82772"/>
                <a:gd name="connsiteY4" fmla="*/ 36004 h 53244"/>
                <a:gd name="connsiteX5" fmla="*/ 0 w 82772"/>
                <a:gd name="connsiteY5" fmla="*/ 43529 h 53244"/>
                <a:gd name="connsiteX6" fmla="*/ 381 w 82772"/>
                <a:gd name="connsiteY6" fmla="*/ 46577 h 53244"/>
                <a:gd name="connsiteX7" fmla="*/ 1429 w 82772"/>
                <a:gd name="connsiteY7" fmla="*/ 53245 h 53244"/>
                <a:gd name="connsiteX8" fmla="*/ 12287 w 82772"/>
                <a:gd name="connsiteY8" fmla="*/ 49625 h 53244"/>
                <a:gd name="connsiteX9" fmla="*/ 29051 w 82772"/>
                <a:gd name="connsiteY9" fmla="*/ 43434 h 53244"/>
                <a:gd name="connsiteX10" fmla="*/ 62389 w 82772"/>
                <a:gd name="connsiteY10" fmla="*/ 26098 h 53244"/>
                <a:gd name="connsiteX11" fmla="*/ 75343 w 82772"/>
                <a:gd name="connsiteY11" fmla="*/ 14192 h 53244"/>
                <a:gd name="connsiteX12" fmla="*/ 82772 w 82772"/>
                <a:gd name="connsiteY12" fmla="*/ 95 h 53244"/>
                <a:gd name="connsiteX13" fmla="*/ 82487 w 82772"/>
                <a:gd name="connsiteY13" fmla="*/ 0 h 53244"/>
                <a:gd name="connsiteX14" fmla="*/ 82487 w 82772"/>
                <a:gd name="connsiteY14" fmla="*/ 0 h 53244"/>
                <a:gd name="connsiteX15" fmla="*/ 82487 w 82772"/>
                <a:gd name="connsiteY15" fmla="*/ 0 h 5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2772" h="53244">
                  <a:moveTo>
                    <a:pt x="82487" y="0"/>
                  </a:moveTo>
                  <a:cubicBezTo>
                    <a:pt x="82487" y="0"/>
                    <a:pt x="82391" y="0"/>
                    <a:pt x="82487" y="0"/>
                  </a:cubicBezTo>
                  <a:cubicBezTo>
                    <a:pt x="78962" y="4953"/>
                    <a:pt x="75724" y="8763"/>
                    <a:pt x="72200" y="12097"/>
                  </a:cubicBezTo>
                  <a:cubicBezTo>
                    <a:pt x="68580" y="15526"/>
                    <a:pt x="64389" y="18764"/>
                    <a:pt x="59817" y="21812"/>
                  </a:cubicBezTo>
                  <a:cubicBezTo>
                    <a:pt x="51340" y="27432"/>
                    <a:pt x="41434" y="32195"/>
                    <a:pt x="30290" y="36004"/>
                  </a:cubicBezTo>
                  <a:cubicBezTo>
                    <a:pt x="20860" y="39243"/>
                    <a:pt x="10668" y="41720"/>
                    <a:pt x="0" y="43529"/>
                  </a:cubicBezTo>
                  <a:lnTo>
                    <a:pt x="381" y="46577"/>
                  </a:lnTo>
                  <a:cubicBezTo>
                    <a:pt x="762" y="48768"/>
                    <a:pt x="1048" y="51054"/>
                    <a:pt x="1429" y="53245"/>
                  </a:cubicBezTo>
                  <a:lnTo>
                    <a:pt x="12287" y="49625"/>
                  </a:lnTo>
                  <a:cubicBezTo>
                    <a:pt x="17907" y="47625"/>
                    <a:pt x="23527" y="45625"/>
                    <a:pt x="29051" y="43434"/>
                  </a:cubicBezTo>
                  <a:cubicBezTo>
                    <a:pt x="43053" y="37909"/>
                    <a:pt x="53626" y="32385"/>
                    <a:pt x="62389" y="26098"/>
                  </a:cubicBezTo>
                  <a:cubicBezTo>
                    <a:pt x="67246" y="22670"/>
                    <a:pt x="71628" y="18669"/>
                    <a:pt x="75343" y="14192"/>
                  </a:cubicBezTo>
                  <a:cubicBezTo>
                    <a:pt x="78772" y="10001"/>
                    <a:pt x="81248" y="5239"/>
                    <a:pt x="82772" y="95"/>
                  </a:cubicBezTo>
                  <a:cubicBezTo>
                    <a:pt x="82582" y="191"/>
                    <a:pt x="82487" y="0"/>
                    <a:pt x="82487" y="0"/>
                  </a:cubicBezTo>
                  <a:lnTo>
                    <a:pt x="82487" y="0"/>
                  </a:lnTo>
                  <a:lnTo>
                    <a:pt x="82487" y="0"/>
                  </a:lnTo>
                  <a:close/>
                </a:path>
              </a:pathLst>
            </a:custGeom>
            <a:solidFill>
              <a:srgbClr val="57B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10">
              <a:extLst>
                <a:ext uri="{FF2B5EF4-FFF2-40B4-BE49-F238E27FC236}">
                  <a16:creationId xmlns:a16="http://schemas.microsoft.com/office/drawing/2014/main" id="{BCAB22D3-E17A-4FE5-8BF5-483C45FABE32}"/>
                </a:ext>
              </a:extLst>
            </p:cNvPr>
            <p:cNvSpPr/>
            <p:nvPr/>
          </p:nvSpPr>
          <p:spPr>
            <a:xfrm>
              <a:off x="5485417" y="3704775"/>
              <a:ext cx="99557" cy="297384"/>
            </a:xfrm>
            <a:custGeom>
              <a:avLst/>
              <a:gdLst>
                <a:gd name="connsiteX0" fmla="*/ 0 w 36766"/>
                <a:gd name="connsiteY0" fmla="*/ 0 h 109823"/>
                <a:gd name="connsiteX1" fmla="*/ 0 w 36766"/>
                <a:gd name="connsiteY1" fmla="*/ 0 h 109823"/>
                <a:gd name="connsiteX2" fmla="*/ 2476 w 36766"/>
                <a:gd name="connsiteY2" fmla="*/ 3239 h 109823"/>
                <a:gd name="connsiteX3" fmla="*/ 5715 w 36766"/>
                <a:gd name="connsiteY3" fmla="*/ 7906 h 109823"/>
                <a:gd name="connsiteX4" fmla="*/ 15526 w 36766"/>
                <a:gd name="connsiteY4" fmla="*/ 31814 h 109823"/>
                <a:gd name="connsiteX5" fmla="*/ 19050 w 36766"/>
                <a:gd name="connsiteY5" fmla="*/ 45434 h 109823"/>
                <a:gd name="connsiteX6" fmla="*/ 21812 w 36766"/>
                <a:gd name="connsiteY6" fmla="*/ 66866 h 109823"/>
                <a:gd name="connsiteX7" fmla="*/ 22193 w 36766"/>
                <a:gd name="connsiteY7" fmla="*/ 87725 h 109823"/>
                <a:gd name="connsiteX8" fmla="*/ 21908 w 36766"/>
                <a:gd name="connsiteY8" fmla="*/ 99155 h 109823"/>
                <a:gd name="connsiteX9" fmla="*/ 21526 w 36766"/>
                <a:gd name="connsiteY9" fmla="*/ 108204 h 109823"/>
                <a:gd name="connsiteX10" fmla="*/ 27146 w 36766"/>
                <a:gd name="connsiteY10" fmla="*/ 108871 h 109823"/>
                <a:gd name="connsiteX11" fmla="*/ 35433 w 36766"/>
                <a:gd name="connsiteY11" fmla="*/ 109633 h 109823"/>
                <a:gd name="connsiteX12" fmla="*/ 36100 w 36766"/>
                <a:gd name="connsiteY12" fmla="*/ 109728 h 109823"/>
                <a:gd name="connsiteX13" fmla="*/ 36767 w 36766"/>
                <a:gd name="connsiteY13" fmla="*/ 109823 h 109823"/>
                <a:gd name="connsiteX14" fmla="*/ 36004 w 36766"/>
                <a:gd name="connsiteY14" fmla="*/ 109347 h 109823"/>
                <a:gd name="connsiteX15" fmla="*/ 35338 w 36766"/>
                <a:gd name="connsiteY15" fmla="*/ 89916 h 109823"/>
                <a:gd name="connsiteX16" fmla="*/ 35338 w 36766"/>
                <a:gd name="connsiteY16" fmla="*/ 89249 h 109823"/>
                <a:gd name="connsiteX17" fmla="*/ 31718 w 36766"/>
                <a:gd name="connsiteY17" fmla="*/ 45815 h 109823"/>
                <a:gd name="connsiteX18" fmla="*/ 24670 w 36766"/>
                <a:gd name="connsiteY18" fmla="*/ 23622 h 109823"/>
                <a:gd name="connsiteX19" fmla="*/ 15526 w 36766"/>
                <a:gd name="connsiteY19" fmla="*/ 9239 h 109823"/>
                <a:gd name="connsiteX20" fmla="*/ 3905 w 36766"/>
                <a:gd name="connsiteY20" fmla="*/ 1238 h 109823"/>
                <a:gd name="connsiteX21" fmla="*/ 0 w 36766"/>
                <a:gd name="connsiteY21" fmla="*/ 0 h 109823"/>
                <a:gd name="connsiteX22" fmla="*/ 0 w 36766"/>
                <a:gd name="connsiteY22" fmla="*/ 0 h 109823"/>
                <a:gd name="connsiteX23" fmla="*/ 0 w 36766"/>
                <a:gd name="connsiteY23" fmla="*/ 0 h 109823"/>
                <a:gd name="connsiteX24" fmla="*/ 0 w 36766"/>
                <a:gd name="connsiteY24" fmla="*/ 0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6766" h="109823">
                  <a:moveTo>
                    <a:pt x="0" y="0"/>
                  </a:moveTo>
                  <a:lnTo>
                    <a:pt x="0" y="0"/>
                  </a:lnTo>
                  <a:cubicBezTo>
                    <a:pt x="857" y="1143"/>
                    <a:pt x="1714" y="2191"/>
                    <a:pt x="2476" y="3239"/>
                  </a:cubicBezTo>
                  <a:cubicBezTo>
                    <a:pt x="3620" y="4763"/>
                    <a:pt x="4667" y="6287"/>
                    <a:pt x="5715" y="7906"/>
                  </a:cubicBezTo>
                  <a:cubicBezTo>
                    <a:pt x="10478" y="16002"/>
                    <a:pt x="13430" y="24956"/>
                    <a:pt x="15526" y="31814"/>
                  </a:cubicBezTo>
                  <a:cubicBezTo>
                    <a:pt x="16764" y="36100"/>
                    <a:pt x="18097" y="40767"/>
                    <a:pt x="19050" y="45434"/>
                  </a:cubicBezTo>
                  <a:cubicBezTo>
                    <a:pt x="20479" y="52292"/>
                    <a:pt x="21336" y="59531"/>
                    <a:pt x="21812" y="66866"/>
                  </a:cubicBezTo>
                  <a:cubicBezTo>
                    <a:pt x="22193" y="73438"/>
                    <a:pt x="22288" y="80201"/>
                    <a:pt x="22193" y="87725"/>
                  </a:cubicBezTo>
                  <a:cubicBezTo>
                    <a:pt x="22098" y="91535"/>
                    <a:pt x="22003" y="95345"/>
                    <a:pt x="21908" y="99155"/>
                  </a:cubicBezTo>
                  <a:cubicBezTo>
                    <a:pt x="21812" y="102203"/>
                    <a:pt x="21717" y="105156"/>
                    <a:pt x="21526" y="108204"/>
                  </a:cubicBezTo>
                  <a:lnTo>
                    <a:pt x="27146" y="108871"/>
                  </a:lnTo>
                  <a:cubicBezTo>
                    <a:pt x="29908" y="109061"/>
                    <a:pt x="32671" y="109347"/>
                    <a:pt x="35433" y="109633"/>
                  </a:cubicBezTo>
                  <a:lnTo>
                    <a:pt x="36100" y="109728"/>
                  </a:lnTo>
                  <a:lnTo>
                    <a:pt x="36767" y="109823"/>
                  </a:lnTo>
                  <a:lnTo>
                    <a:pt x="36004" y="109347"/>
                  </a:lnTo>
                  <a:cubicBezTo>
                    <a:pt x="35719" y="103061"/>
                    <a:pt x="35528" y="96393"/>
                    <a:pt x="35338" y="89916"/>
                  </a:cubicBezTo>
                  <a:lnTo>
                    <a:pt x="35338" y="89249"/>
                  </a:lnTo>
                  <a:cubicBezTo>
                    <a:pt x="35052" y="74867"/>
                    <a:pt x="34671" y="59912"/>
                    <a:pt x="31718" y="45815"/>
                  </a:cubicBezTo>
                  <a:cubicBezTo>
                    <a:pt x="29813" y="37148"/>
                    <a:pt x="27527" y="29909"/>
                    <a:pt x="24670" y="23622"/>
                  </a:cubicBezTo>
                  <a:cubicBezTo>
                    <a:pt x="22098" y="17621"/>
                    <a:pt x="19050" y="12954"/>
                    <a:pt x="15526" y="9239"/>
                  </a:cubicBezTo>
                  <a:cubicBezTo>
                    <a:pt x="11906" y="5429"/>
                    <a:pt x="8001" y="2762"/>
                    <a:pt x="3905" y="1238"/>
                  </a:cubicBezTo>
                  <a:cubicBezTo>
                    <a:pt x="2667" y="667"/>
                    <a:pt x="1333" y="286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B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11">
              <a:extLst>
                <a:ext uri="{FF2B5EF4-FFF2-40B4-BE49-F238E27FC236}">
                  <a16:creationId xmlns:a16="http://schemas.microsoft.com/office/drawing/2014/main" id="{CFF00DEC-4D85-4773-8344-E9DB1325AE0A}"/>
                </a:ext>
              </a:extLst>
            </p:cNvPr>
            <p:cNvSpPr/>
            <p:nvPr/>
          </p:nvSpPr>
          <p:spPr>
            <a:xfrm>
              <a:off x="4966211" y="3962958"/>
              <a:ext cx="110654" cy="241156"/>
            </a:xfrm>
            <a:custGeom>
              <a:avLst/>
              <a:gdLst>
                <a:gd name="connsiteX0" fmla="*/ 1146 w 40864"/>
                <a:gd name="connsiteY0" fmla="*/ 0 h 89058"/>
                <a:gd name="connsiteX1" fmla="*/ 1050 w 40864"/>
                <a:gd name="connsiteY1" fmla="*/ 95 h 89058"/>
                <a:gd name="connsiteX2" fmla="*/ 384 w 40864"/>
                <a:gd name="connsiteY2" fmla="*/ 16478 h 89058"/>
                <a:gd name="connsiteX3" fmla="*/ 7242 w 40864"/>
                <a:gd name="connsiteY3" fmla="*/ 39433 h 89058"/>
                <a:gd name="connsiteX4" fmla="*/ 18957 w 40864"/>
                <a:gd name="connsiteY4" fmla="*/ 61341 h 89058"/>
                <a:gd name="connsiteX5" fmla="*/ 25148 w 40864"/>
                <a:gd name="connsiteY5" fmla="*/ 71342 h 89058"/>
                <a:gd name="connsiteX6" fmla="*/ 26673 w 40864"/>
                <a:gd name="connsiteY6" fmla="*/ 73723 h 89058"/>
                <a:gd name="connsiteX7" fmla="*/ 35340 w 40864"/>
                <a:gd name="connsiteY7" fmla="*/ 89059 h 89058"/>
                <a:gd name="connsiteX8" fmla="*/ 37436 w 40864"/>
                <a:gd name="connsiteY8" fmla="*/ 86201 h 89058"/>
                <a:gd name="connsiteX9" fmla="*/ 40865 w 40864"/>
                <a:gd name="connsiteY9" fmla="*/ 80867 h 89058"/>
                <a:gd name="connsiteX10" fmla="*/ 34864 w 40864"/>
                <a:gd name="connsiteY10" fmla="*/ 73533 h 89058"/>
                <a:gd name="connsiteX11" fmla="*/ 28863 w 40864"/>
                <a:gd name="connsiteY11" fmla="*/ 66199 h 89058"/>
                <a:gd name="connsiteX12" fmla="*/ 14195 w 40864"/>
                <a:gd name="connsiteY12" fmla="*/ 43243 h 89058"/>
                <a:gd name="connsiteX13" fmla="*/ 4575 w 40864"/>
                <a:gd name="connsiteY13" fmla="*/ 18574 h 89058"/>
                <a:gd name="connsiteX14" fmla="*/ 1907 w 40864"/>
                <a:gd name="connsiteY14" fmla="*/ 5429 h 89058"/>
                <a:gd name="connsiteX15" fmla="*/ 1336 w 40864"/>
                <a:gd name="connsiteY15" fmla="*/ 0 h 89058"/>
                <a:gd name="connsiteX16" fmla="*/ 1146 w 40864"/>
                <a:gd name="connsiteY16" fmla="*/ 0 h 89058"/>
                <a:gd name="connsiteX17" fmla="*/ 1146 w 40864"/>
                <a:gd name="connsiteY17" fmla="*/ 0 h 89058"/>
                <a:gd name="connsiteX18" fmla="*/ 1146 w 40864"/>
                <a:gd name="connsiteY18" fmla="*/ 0 h 89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0864" h="89058">
                  <a:moveTo>
                    <a:pt x="1146" y="0"/>
                  </a:moveTo>
                  <a:cubicBezTo>
                    <a:pt x="1146" y="0"/>
                    <a:pt x="1050" y="95"/>
                    <a:pt x="1050" y="95"/>
                  </a:cubicBezTo>
                  <a:cubicBezTo>
                    <a:pt x="-93" y="5048"/>
                    <a:pt x="-283" y="10573"/>
                    <a:pt x="384" y="16478"/>
                  </a:cubicBezTo>
                  <a:cubicBezTo>
                    <a:pt x="1146" y="23336"/>
                    <a:pt x="3336" y="30575"/>
                    <a:pt x="7242" y="39433"/>
                  </a:cubicBezTo>
                  <a:cubicBezTo>
                    <a:pt x="10671" y="47434"/>
                    <a:pt x="15147" y="54959"/>
                    <a:pt x="18957" y="61341"/>
                  </a:cubicBezTo>
                  <a:cubicBezTo>
                    <a:pt x="20957" y="64675"/>
                    <a:pt x="23053" y="68008"/>
                    <a:pt x="25148" y="71342"/>
                  </a:cubicBezTo>
                  <a:lnTo>
                    <a:pt x="26673" y="73723"/>
                  </a:lnTo>
                  <a:cubicBezTo>
                    <a:pt x="28959" y="77533"/>
                    <a:pt x="32483" y="83439"/>
                    <a:pt x="35340" y="89059"/>
                  </a:cubicBezTo>
                  <a:lnTo>
                    <a:pt x="37436" y="86201"/>
                  </a:lnTo>
                  <a:cubicBezTo>
                    <a:pt x="38579" y="84487"/>
                    <a:pt x="39722" y="82677"/>
                    <a:pt x="40865" y="80867"/>
                  </a:cubicBezTo>
                  <a:cubicBezTo>
                    <a:pt x="38864" y="78391"/>
                    <a:pt x="36769" y="76009"/>
                    <a:pt x="34864" y="73533"/>
                  </a:cubicBezTo>
                  <a:cubicBezTo>
                    <a:pt x="32768" y="71152"/>
                    <a:pt x="30768" y="68675"/>
                    <a:pt x="28863" y="66199"/>
                  </a:cubicBezTo>
                  <a:cubicBezTo>
                    <a:pt x="22863" y="58388"/>
                    <a:pt x="18005" y="50863"/>
                    <a:pt x="14195" y="43243"/>
                  </a:cubicBezTo>
                  <a:cubicBezTo>
                    <a:pt x="9813" y="34576"/>
                    <a:pt x="6670" y="26575"/>
                    <a:pt x="4575" y="18574"/>
                  </a:cubicBezTo>
                  <a:cubicBezTo>
                    <a:pt x="3336" y="13811"/>
                    <a:pt x="2479" y="9430"/>
                    <a:pt x="1907" y="5429"/>
                  </a:cubicBezTo>
                  <a:cubicBezTo>
                    <a:pt x="1622" y="3620"/>
                    <a:pt x="1431" y="1810"/>
                    <a:pt x="1336" y="0"/>
                  </a:cubicBezTo>
                  <a:cubicBezTo>
                    <a:pt x="1336" y="191"/>
                    <a:pt x="1241" y="0"/>
                    <a:pt x="1146" y="0"/>
                  </a:cubicBezTo>
                  <a:lnTo>
                    <a:pt x="1146" y="0"/>
                  </a:lnTo>
                  <a:lnTo>
                    <a:pt x="1146" y="0"/>
                  </a:lnTo>
                  <a:close/>
                </a:path>
              </a:pathLst>
            </a:custGeom>
            <a:solidFill>
              <a:srgbClr val="57B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12">
              <a:extLst>
                <a:ext uri="{FF2B5EF4-FFF2-40B4-BE49-F238E27FC236}">
                  <a16:creationId xmlns:a16="http://schemas.microsoft.com/office/drawing/2014/main" id="{C8B388AA-A528-420B-8E64-D9C765E8BBDF}"/>
                </a:ext>
              </a:extLst>
            </p:cNvPr>
            <p:cNvSpPr/>
            <p:nvPr/>
          </p:nvSpPr>
          <p:spPr>
            <a:xfrm>
              <a:off x="5107818" y="4151755"/>
              <a:ext cx="29919" cy="29919"/>
            </a:xfrm>
            <a:custGeom>
              <a:avLst/>
              <a:gdLst>
                <a:gd name="connsiteX0" fmla="*/ 5620 w 11049"/>
                <a:gd name="connsiteY0" fmla="*/ 0 h 11049"/>
                <a:gd name="connsiteX1" fmla="*/ 0 w 11049"/>
                <a:gd name="connsiteY1" fmla="*/ 5429 h 11049"/>
                <a:gd name="connsiteX2" fmla="*/ 1619 w 11049"/>
                <a:gd name="connsiteY2" fmla="*/ 9430 h 11049"/>
                <a:gd name="connsiteX3" fmla="*/ 5429 w 11049"/>
                <a:gd name="connsiteY3" fmla="*/ 11049 h 11049"/>
                <a:gd name="connsiteX4" fmla="*/ 11049 w 11049"/>
                <a:gd name="connsiteY4" fmla="*/ 5620 h 11049"/>
                <a:gd name="connsiteX5" fmla="*/ 9430 w 11049"/>
                <a:gd name="connsiteY5" fmla="*/ 1619 h 11049"/>
                <a:gd name="connsiteX6" fmla="*/ 5620 w 11049"/>
                <a:gd name="connsiteY6" fmla="*/ 0 h 11049"/>
                <a:gd name="connsiteX7" fmla="*/ 5620 w 11049"/>
                <a:gd name="connsiteY7" fmla="*/ 0 h 11049"/>
                <a:gd name="connsiteX8" fmla="*/ 5620 w 11049"/>
                <a:gd name="connsiteY8" fmla="*/ 0 h 11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49" h="11049">
                  <a:moveTo>
                    <a:pt x="5620" y="0"/>
                  </a:moveTo>
                  <a:cubicBezTo>
                    <a:pt x="2572" y="0"/>
                    <a:pt x="0" y="2477"/>
                    <a:pt x="0" y="5429"/>
                  </a:cubicBezTo>
                  <a:cubicBezTo>
                    <a:pt x="0" y="6858"/>
                    <a:pt x="571" y="8287"/>
                    <a:pt x="1619" y="9430"/>
                  </a:cubicBezTo>
                  <a:cubicBezTo>
                    <a:pt x="2667" y="10478"/>
                    <a:pt x="4000" y="11049"/>
                    <a:pt x="5429" y="11049"/>
                  </a:cubicBezTo>
                  <a:cubicBezTo>
                    <a:pt x="8477" y="11049"/>
                    <a:pt x="11049" y="8573"/>
                    <a:pt x="11049" y="5620"/>
                  </a:cubicBezTo>
                  <a:cubicBezTo>
                    <a:pt x="11049" y="4191"/>
                    <a:pt x="10478" y="2762"/>
                    <a:pt x="9430" y="1619"/>
                  </a:cubicBezTo>
                  <a:cubicBezTo>
                    <a:pt x="8382" y="572"/>
                    <a:pt x="7049" y="0"/>
                    <a:pt x="5620" y="0"/>
                  </a:cubicBezTo>
                  <a:lnTo>
                    <a:pt x="5620" y="0"/>
                  </a:lnTo>
                  <a:lnTo>
                    <a:pt x="5620" y="0"/>
                  </a:lnTo>
                  <a:close/>
                </a:path>
              </a:pathLst>
            </a:custGeom>
            <a:solidFill>
              <a:srgbClr val="A6EE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13">
              <a:extLst>
                <a:ext uri="{FF2B5EF4-FFF2-40B4-BE49-F238E27FC236}">
                  <a16:creationId xmlns:a16="http://schemas.microsoft.com/office/drawing/2014/main" id="{B2967F0B-BF73-4C81-AA42-58C1CC093DA3}"/>
                </a:ext>
              </a:extLst>
            </p:cNvPr>
            <p:cNvSpPr/>
            <p:nvPr/>
          </p:nvSpPr>
          <p:spPr>
            <a:xfrm>
              <a:off x="5013419" y="3947480"/>
              <a:ext cx="100846" cy="201437"/>
            </a:xfrm>
            <a:custGeom>
              <a:avLst/>
              <a:gdLst>
                <a:gd name="connsiteX0" fmla="*/ 3238 w 37242"/>
                <a:gd name="connsiteY0" fmla="*/ 0 h 74390"/>
                <a:gd name="connsiteX1" fmla="*/ 3238 w 37242"/>
                <a:gd name="connsiteY1" fmla="*/ 0 h 74390"/>
                <a:gd name="connsiteX2" fmla="*/ 3238 w 37242"/>
                <a:gd name="connsiteY2" fmla="*/ 0 h 74390"/>
                <a:gd name="connsiteX3" fmla="*/ 0 w 37242"/>
                <a:gd name="connsiteY3" fmla="*/ 3048 h 74390"/>
                <a:gd name="connsiteX4" fmla="*/ 95 w 37242"/>
                <a:gd name="connsiteY4" fmla="*/ 10954 h 74390"/>
                <a:gd name="connsiteX5" fmla="*/ 762 w 37242"/>
                <a:gd name="connsiteY5" fmla="*/ 18860 h 74390"/>
                <a:gd name="connsiteX6" fmla="*/ 857 w 37242"/>
                <a:gd name="connsiteY6" fmla="*/ 20098 h 74390"/>
                <a:gd name="connsiteX7" fmla="*/ 2000 w 37242"/>
                <a:gd name="connsiteY7" fmla="*/ 28480 h 74390"/>
                <a:gd name="connsiteX8" fmla="*/ 3429 w 37242"/>
                <a:gd name="connsiteY8" fmla="*/ 34576 h 74390"/>
                <a:gd name="connsiteX9" fmla="*/ 3620 w 37242"/>
                <a:gd name="connsiteY9" fmla="*/ 35338 h 74390"/>
                <a:gd name="connsiteX10" fmla="*/ 4286 w 37242"/>
                <a:gd name="connsiteY10" fmla="*/ 37814 h 74390"/>
                <a:gd name="connsiteX11" fmla="*/ 10478 w 37242"/>
                <a:gd name="connsiteY11" fmla="*/ 55531 h 74390"/>
                <a:gd name="connsiteX12" fmla="*/ 15050 w 37242"/>
                <a:gd name="connsiteY12" fmla="*/ 63532 h 74390"/>
                <a:gd name="connsiteX13" fmla="*/ 21431 w 37242"/>
                <a:gd name="connsiteY13" fmla="*/ 71533 h 74390"/>
                <a:gd name="connsiteX14" fmla="*/ 27908 w 37242"/>
                <a:gd name="connsiteY14" fmla="*/ 74390 h 74390"/>
                <a:gd name="connsiteX15" fmla="*/ 34385 w 37242"/>
                <a:gd name="connsiteY15" fmla="*/ 71914 h 74390"/>
                <a:gd name="connsiteX16" fmla="*/ 37243 w 37242"/>
                <a:gd name="connsiteY16" fmla="*/ 65437 h 74390"/>
                <a:gd name="connsiteX17" fmla="*/ 34766 w 37242"/>
                <a:gd name="connsiteY17" fmla="*/ 59055 h 74390"/>
                <a:gd name="connsiteX18" fmla="*/ 31433 w 37242"/>
                <a:gd name="connsiteY18" fmla="*/ 55150 h 74390"/>
                <a:gd name="connsiteX19" fmla="*/ 30766 w 37242"/>
                <a:gd name="connsiteY19" fmla="*/ 54292 h 74390"/>
                <a:gd name="connsiteX20" fmla="*/ 27051 w 37242"/>
                <a:gd name="connsiteY20" fmla="*/ 49911 h 74390"/>
                <a:gd name="connsiteX21" fmla="*/ 26003 w 37242"/>
                <a:gd name="connsiteY21" fmla="*/ 48673 h 74390"/>
                <a:gd name="connsiteX22" fmla="*/ 19907 w 37242"/>
                <a:gd name="connsiteY22" fmla="*/ 40767 h 74390"/>
                <a:gd name="connsiteX23" fmla="*/ 14288 w 37242"/>
                <a:gd name="connsiteY23" fmla="*/ 31718 h 74390"/>
                <a:gd name="connsiteX24" fmla="*/ 10096 w 37242"/>
                <a:gd name="connsiteY24" fmla="*/ 22193 h 74390"/>
                <a:gd name="connsiteX25" fmla="*/ 9620 w 37242"/>
                <a:gd name="connsiteY25" fmla="*/ 21050 h 74390"/>
                <a:gd name="connsiteX26" fmla="*/ 6382 w 37242"/>
                <a:gd name="connsiteY26" fmla="*/ 7334 h 74390"/>
                <a:gd name="connsiteX27" fmla="*/ 6191 w 37242"/>
                <a:gd name="connsiteY27" fmla="*/ 3143 h 74390"/>
                <a:gd name="connsiteX28" fmla="*/ 3238 w 37242"/>
                <a:gd name="connsiteY28" fmla="*/ 0 h 74390"/>
                <a:gd name="connsiteX29" fmla="*/ 3238 w 37242"/>
                <a:gd name="connsiteY29" fmla="*/ 0 h 74390"/>
                <a:gd name="connsiteX30" fmla="*/ 3238 w 37242"/>
                <a:gd name="connsiteY30" fmla="*/ 0 h 7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7242" h="74390">
                  <a:moveTo>
                    <a:pt x="3238" y="0"/>
                  </a:moveTo>
                  <a:cubicBezTo>
                    <a:pt x="3238" y="0"/>
                    <a:pt x="3238" y="0"/>
                    <a:pt x="3238" y="0"/>
                  </a:cubicBezTo>
                  <a:lnTo>
                    <a:pt x="3238" y="0"/>
                  </a:lnTo>
                  <a:cubicBezTo>
                    <a:pt x="1429" y="0"/>
                    <a:pt x="0" y="1429"/>
                    <a:pt x="0" y="3048"/>
                  </a:cubicBezTo>
                  <a:cubicBezTo>
                    <a:pt x="0" y="5620"/>
                    <a:pt x="0" y="8287"/>
                    <a:pt x="95" y="10954"/>
                  </a:cubicBezTo>
                  <a:cubicBezTo>
                    <a:pt x="286" y="13621"/>
                    <a:pt x="476" y="16288"/>
                    <a:pt x="762" y="18860"/>
                  </a:cubicBezTo>
                  <a:lnTo>
                    <a:pt x="857" y="20098"/>
                  </a:lnTo>
                  <a:cubicBezTo>
                    <a:pt x="1143" y="22860"/>
                    <a:pt x="1429" y="25717"/>
                    <a:pt x="2000" y="28480"/>
                  </a:cubicBezTo>
                  <a:cubicBezTo>
                    <a:pt x="2381" y="30575"/>
                    <a:pt x="2953" y="32575"/>
                    <a:pt x="3429" y="34576"/>
                  </a:cubicBezTo>
                  <a:lnTo>
                    <a:pt x="3620" y="35338"/>
                  </a:lnTo>
                  <a:lnTo>
                    <a:pt x="4286" y="37814"/>
                  </a:lnTo>
                  <a:cubicBezTo>
                    <a:pt x="6001" y="44291"/>
                    <a:pt x="8001" y="50102"/>
                    <a:pt x="10478" y="55531"/>
                  </a:cubicBezTo>
                  <a:cubicBezTo>
                    <a:pt x="11621" y="58103"/>
                    <a:pt x="13145" y="60770"/>
                    <a:pt x="15050" y="63532"/>
                  </a:cubicBezTo>
                  <a:cubicBezTo>
                    <a:pt x="16669" y="65818"/>
                    <a:pt x="18764" y="69056"/>
                    <a:pt x="21431" y="71533"/>
                  </a:cubicBezTo>
                  <a:cubicBezTo>
                    <a:pt x="23432" y="73438"/>
                    <a:pt x="25622" y="74390"/>
                    <a:pt x="27908" y="74390"/>
                  </a:cubicBezTo>
                  <a:cubicBezTo>
                    <a:pt x="30290" y="74390"/>
                    <a:pt x="32575" y="73533"/>
                    <a:pt x="34385" y="71914"/>
                  </a:cubicBezTo>
                  <a:cubicBezTo>
                    <a:pt x="36195" y="70199"/>
                    <a:pt x="37243" y="67818"/>
                    <a:pt x="37243" y="65437"/>
                  </a:cubicBezTo>
                  <a:cubicBezTo>
                    <a:pt x="37243" y="63151"/>
                    <a:pt x="36481" y="61055"/>
                    <a:pt x="34766" y="59055"/>
                  </a:cubicBezTo>
                  <a:cubicBezTo>
                    <a:pt x="33719" y="57721"/>
                    <a:pt x="32575" y="56388"/>
                    <a:pt x="31433" y="55150"/>
                  </a:cubicBezTo>
                  <a:lnTo>
                    <a:pt x="30766" y="54292"/>
                  </a:lnTo>
                  <a:cubicBezTo>
                    <a:pt x="29528" y="52864"/>
                    <a:pt x="28289" y="51435"/>
                    <a:pt x="27051" y="49911"/>
                  </a:cubicBezTo>
                  <a:lnTo>
                    <a:pt x="26003" y="48673"/>
                  </a:lnTo>
                  <a:cubicBezTo>
                    <a:pt x="23908" y="46101"/>
                    <a:pt x="21908" y="43529"/>
                    <a:pt x="19907" y="40767"/>
                  </a:cubicBezTo>
                  <a:cubicBezTo>
                    <a:pt x="17717" y="37529"/>
                    <a:pt x="15907" y="34671"/>
                    <a:pt x="14288" y="31718"/>
                  </a:cubicBezTo>
                  <a:cubicBezTo>
                    <a:pt x="12573" y="28575"/>
                    <a:pt x="11335" y="25146"/>
                    <a:pt x="10096" y="22193"/>
                  </a:cubicBezTo>
                  <a:lnTo>
                    <a:pt x="9620" y="21050"/>
                  </a:lnTo>
                  <a:cubicBezTo>
                    <a:pt x="8096" y="16954"/>
                    <a:pt x="7049" y="12573"/>
                    <a:pt x="6382" y="7334"/>
                  </a:cubicBezTo>
                  <a:cubicBezTo>
                    <a:pt x="6287" y="5906"/>
                    <a:pt x="6191" y="4572"/>
                    <a:pt x="6191" y="3143"/>
                  </a:cubicBezTo>
                  <a:cubicBezTo>
                    <a:pt x="6287" y="1429"/>
                    <a:pt x="4953" y="0"/>
                    <a:pt x="3238" y="0"/>
                  </a:cubicBezTo>
                  <a:lnTo>
                    <a:pt x="3238" y="0"/>
                  </a:lnTo>
                  <a:lnTo>
                    <a:pt x="3238" y="0"/>
                  </a:lnTo>
                  <a:close/>
                </a:path>
              </a:pathLst>
            </a:custGeom>
            <a:solidFill>
              <a:srgbClr val="A6EE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14">
              <a:extLst>
                <a:ext uri="{FF2B5EF4-FFF2-40B4-BE49-F238E27FC236}">
                  <a16:creationId xmlns:a16="http://schemas.microsoft.com/office/drawing/2014/main" id="{A2A6AF79-41D9-4513-A11B-FDDF6DFAB9E8}"/>
                </a:ext>
              </a:extLst>
            </p:cNvPr>
            <p:cNvSpPr/>
            <p:nvPr/>
          </p:nvSpPr>
          <p:spPr>
            <a:xfrm>
              <a:off x="5271009" y="3739078"/>
              <a:ext cx="181063" cy="214592"/>
            </a:xfrm>
            <a:custGeom>
              <a:avLst/>
              <a:gdLst>
                <a:gd name="connsiteX0" fmla="*/ 63559 w 66866"/>
                <a:gd name="connsiteY0" fmla="*/ 0 h 79248"/>
                <a:gd name="connsiteX1" fmla="*/ 62130 w 66866"/>
                <a:gd name="connsiteY1" fmla="*/ 381 h 79248"/>
                <a:gd name="connsiteX2" fmla="*/ 61368 w 66866"/>
                <a:gd name="connsiteY2" fmla="*/ 857 h 79248"/>
                <a:gd name="connsiteX3" fmla="*/ 44128 w 66866"/>
                <a:gd name="connsiteY3" fmla="*/ 12192 h 79248"/>
                <a:gd name="connsiteX4" fmla="*/ 26697 w 66866"/>
                <a:gd name="connsiteY4" fmla="*/ 27527 h 79248"/>
                <a:gd name="connsiteX5" fmla="*/ 11362 w 66866"/>
                <a:gd name="connsiteY5" fmla="*/ 46196 h 79248"/>
                <a:gd name="connsiteX6" fmla="*/ 408 w 66866"/>
                <a:gd name="connsiteY6" fmla="*/ 66675 h 79248"/>
                <a:gd name="connsiteX7" fmla="*/ 313 w 66866"/>
                <a:gd name="connsiteY7" fmla="*/ 71723 h 79248"/>
                <a:gd name="connsiteX8" fmla="*/ 4695 w 66866"/>
                <a:gd name="connsiteY8" fmla="*/ 77819 h 79248"/>
                <a:gd name="connsiteX9" fmla="*/ 9838 w 66866"/>
                <a:gd name="connsiteY9" fmla="*/ 79248 h 79248"/>
                <a:gd name="connsiteX10" fmla="*/ 12124 w 66866"/>
                <a:gd name="connsiteY10" fmla="*/ 78962 h 79248"/>
                <a:gd name="connsiteX11" fmla="*/ 18220 w 66866"/>
                <a:gd name="connsiteY11" fmla="*/ 74486 h 79248"/>
                <a:gd name="connsiteX12" fmla="*/ 21459 w 66866"/>
                <a:gd name="connsiteY12" fmla="*/ 68008 h 79248"/>
                <a:gd name="connsiteX13" fmla="*/ 33270 w 66866"/>
                <a:gd name="connsiteY13" fmla="*/ 45434 h 79248"/>
                <a:gd name="connsiteX14" fmla="*/ 42795 w 66866"/>
                <a:gd name="connsiteY14" fmla="*/ 30575 h 79248"/>
                <a:gd name="connsiteX15" fmla="*/ 46319 w 66866"/>
                <a:gd name="connsiteY15" fmla="*/ 25813 h 79248"/>
                <a:gd name="connsiteX16" fmla="*/ 46890 w 66866"/>
                <a:gd name="connsiteY16" fmla="*/ 25051 h 79248"/>
                <a:gd name="connsiteX17" fmla="*/ 47938 w 66866"/>
                <a:gd name="connsiteY17" fmla="*/ 23717 h 79248"/>
                <a:gd name="connsiteX18" fmla="*/ 48795 w 66866"/>
                <a:gd name="connsiteY18" fmla="*/ 22574 h 79248"/>
                <a:gd name="connsiteX19" fmla="*/ 52605 w 66866"/>
                <a:gd name="connsiteY19" fmla="*/ 17621 h 79248"/>
                <a:gd name="connsiteX20" fmla="*/ 63178 w 66866"/>
                <a:gd name="connsiteY20" fmla="*/ 7334 h 79248"/>
                <a:gd name="connsiteX21" fmla="*/ 65178 w 66866"/>
                <a:gd name="connsiteY21" fmla="*/ 5906 h 79248"/>
                <a:gd name="connsiteX22" fmla="*/ 66512 w 66866"/>
                <a:gd name="connsiteY22" fmla="*/ 1524 h 79248"/>
                <a:gd name="connsiteX23" fmla="*/ 63559 w 66866"/>
                <a:gd name="connsiteY23" fmla="*/ 0 h 79248"/>
                <a:gd name="connsiteX24" fmla="*/ 63559 w 66866"/>
                <a:gd name="connsiteY24" fmla="*/ 0 h 79248"/>
                <a:gd name="connsiteX25" fmla="*/ 63559 w 66866"/>
                <a:gd name="connsiteY25" fmla="*/ 0 h 7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6866" h="79248">
                  <a:moveTo>
                    <a:pt x="63559" y="0"/>
                  </a:moveTo>
                  <a:cubicBezTo>
                    <a:pt x="63083" y="0"/>
                    <a:pt x="62607" y="191"/>
                    <a:pt x="62130" y="381"/>
                  </a:cubicBezTo>
                  <a:lnTo>
                    <a:pt x="61368" y="857"/>
                  </a:lnTo>
                  <a:cubicBezTo>
                    <a:pt x="55558" y="4572"/>
                    <a:pt x="49748" y="8287"/>
                    <a:pt x="44128" y="12192"/>
                  </a:cubicBezTo>
                  <a:cubicBezTo>
                    <a:pt x="37080" y="17145"/>
                    <a:pt x="31079" y="22955"/>
                    <a:pt x="26697" y="27527"/>
                  </a:cubicBezTo>
                  <a:cubicBezTo>
                    <a:pt x="20792" y="33623"/>
                    <a:pt x="15648" y="39910"/>
                    <a:pt x="11362" y="46196"/>
                  </a:cubicBezTo>
                  <a:cubicBezTo>
                    <a:pt x="6695" y="53054"/>
                    <a:pt x="3075" y="59722"/>
                    <a:pt x="408" y="66675"/>
                  </a:cubicBezTo>
                  <a:cubicBezTo>
                    <a:pt x="-68" y="68390"/>
                    <a:pt x="-163" y="70009"/>
                    <a:pt x="313" y="71723"/>
                  </a:cubicBezTo>
                  <a:cubicBezTo>
                    <a:pt x="885" y="74200"/>
                    <a:pt x="2504" y="76486"/>
                    <a:pt x="4695" y="77819"/>
                  </a:cubicBezTo>
                  <a:cubicBezTo>
                    <a:pt x="6219" y="78772"/>
                    <a:pt x="8028" y="79248"/>
                    <a:pt x="9838" y="79248"/>
                  </a:cubicBezTo>
                  <a:cubicBezTo>
                    <a:pt x="10600" y="79248"/>
                    <a:pt x="11362" y="79153"/>
                    <a:pt x="12124" y="78962"/>
                  </a:cubicBezTo>
                  <a:cubicBezTo>
                    <a:pt x="14315" y="78486"/>
                    <a:pt x="16982" y="76867"/>
                    <a:pt x="18220" y="74486"/>
                  </a:cubicBezTo>
                  <a:lnTo>
                    <a:pt x="21459" y="68008"/>
                  </a:lnTo>
                  <a:cubicBezTo>
                    <a:pt x="25173" y="60579"/>
                    <a:pt x="29079" y="52864"/>
                    <a:pt x="33270" y="45434"/>
                  </a:cubicBezTo>
                  <a:cubicBezTo>
                    <a:pt x="35841" y="40862"/>
                    <a:pt x="38985" y="36004"/>
                    <a:pt x="42795" y="30575"/>
                  </a:cubicBezTo>
                  <a:cubicBezTo>
                    <a:pt x="43938" y="28956"/>
                    <a:pt x="45176" y="27432"/>
                    <a:pt x="46319" y="25813"/>
                  </a:cubicBezTo>
                  <a:lnTo>
                    <a:pt x="46890" y="25051"/>
                  </a:lnTo>
                  <a:lnTo>
                    <a:pt x="47938" y="23717"/>
                  </a:lnTo>
                  <a:lnTo>
                    <a:pt x="48795" y="22574"/>
                  </a:lnTo>
                  <a:cubicBezTo>
                    <a:pt x="50034" y="20860"/>
                    <a:pt x="51272" y="19241"/>
                    <a:pt x="52605" y="17621"/>
                  </a:cubicBezTo>
                  <a:cubicBezTo>
                    <a:pt x="56130" y="13430"/>
                    <a:pt x="59654" y="10001"/>
                    <a:pt x="63178" y="7334"/>
                  </a:cubicBezTo>
                  <a:lnTo>
                    <a:pt x="65178" y="5906"/>
                  </a:lnTo>
                  <a:cubicBezTo>
                    <a:pt x="66798" y="4858"/>
                    <a:pt x="67274" y="3048"/>
                    <a:pt x="66512" y="1524"/>
                  </a:cubicBezTo>
                  <a:cubicBezTo>
                    <a:pt x="66036" y="762"/>
                    <a:pt x="64797" y="0"/>
                    <a:pt x="63559" y="0"/>
                  </a:cubicBezTo>
                  <a:lnTo>
                    <a:pt x="63559" y="0"/>
                  </a:lnTo>
                  <a:lnTo>
                    <a:pt x="63559" y="0"/>
                  </a:lnTo>
                  <a:close/>
                </a:path>
              </a:pathLst>
            </a:custGeom>
            <a:solidFill>
              <a:srgbClr val="A6EE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15">
              <a:extLst>
                <a:ext uri="{FF2B5EF4-FFF2-40B4-BE49-F238E27FC236}">
                  <a16:creationId xmlns:a16="http://schemas.microsoft.com/office/drawing/2014/main" id="{625347AA-EED4-4E55-9C87-0B17CE7A23A8}"/>
                </a:ext>
              </a:extLst>
            </p:cNvPr>
            <p:cNvSpPr/>
            <p:nvPr/>
          </p:nvSpPr>
          <p:spPr>
            <a:xfrm>
              <a:off x="5040674" y="4260857"/>
              <a:ext cx="51381" cy="163779"/>
            </a:xfrm>
            <a:custGeom>
              <a:avLst/>
              <a:gdLst>
                <a:gd name="connsiteX0" fmla="*/ 15748 w 18975"/>
                <a:gd name="connsiteY0" fmla="*/ 0 h 60483"/>
                <a:gd name="connsiteX1" fmla="*/ 12890 w 18975"/>
                <a:gd name="connsiteY1" fmla="*/ 1619 h 60483"/>
                <a:gd name="connsiteX2" fmla="*/ 6509 w 18975"/>
                <a:gd name="connsiteY2" fmla="*/ 13906 h 60483"/>
                <a:gd name="connsiteX3" fmla="*/ 1937 w 18975"/>
                <a:gd name="connsiteY3" fmla="*/ 26956 h 60483"/>
                <a:gd name="connsiteX4" fmla="*/ 698 w 18975"/>
                <a:gd name="connsiteY4" fmla="*/ 33147 h 60483"/>
                <a:gd name="connsiteX5" fmla="*/ 32 w 18975"/>
                <a:gd name="connsiteY5" fmla="*/ 40862 h 60483"/>
                <a:gd name="connsiteX6" fmla="*/ 2127 w 18975"/>
                <a:gd name="connsiteY6" fmla="*/ 55245 h 60483"/>
                <a:gd name="connsiteX7" fmla="*/ 5175 w 18975"/>
                <a:gd name="connsiteY7" fmla="*/ 59436 h 60483"/>
                <a:gd name="connsiteX8" fmla="*/ 8699 w 18975"/>
                <a:gd name="connsiteY8" fmla="*/ 60484 h 60483"/>
                <a:gd name="connsiteX9" fmla="*/ 10319 w 18975"/>
                <a:gd name="connsiteY9" fmla="*/ 60293 h 60483"/>
                <a:gd name="connsiteX10" fmla="*/ 15367 w 18975"/>
                <a:gd name="connsiteY10" fmla="*/ 52006 h 60483"/>
                <a:gd name="connsiteX11" fmla="*/ 14700 w 18975"/>
                <a:gd name="connsiteY11" fmla="*/ 49244 h 60483"/>
                <a:gd name="connsiteX12" fmla="*/ 12128 w 18975"/>
                <a:gd name="connsiteY12" fmla="*/ 36481 h 60483"/>
                <a:gd name="connsiteX13" fmla="*/ 12319 w 18975"/>
                <a:gd name="connsiteY13" fmla="*/ 22384 h 60483"/>
                <a:gd name="connsiteX14" fmla="*/ 16129 w 18975"/>
                <a:gd name="connsiteY14" fmla="*/ 9620 h 60483"/>
                <a:gd name="connsiteX15" fmla="*/ 18510 w 18975"/>
                <a:gd name="connsiteY15" fmla="*/ 5048 h 60483"/>
                <a:gd name="connsiteX16" fmla="*/ 17367 w 18975"/>
                <a:gd name="connsiteY16" fmla="*/ 476 h 60483"/>
                <a:gd name="connsiteX17" fmla="*/ 15748 w 18975"/>
                <a:gd name="connsiteY17" fmla="*/ 0 h 60483"/>
                <a:gd name="connsiteX18" fmla="*/ 15748 w 18975"/>
                <a:gd name="connsiteY18" fmla="*/ 0 h 60483"/>
                <a:gd name="connsiteX19" fmla="*/ 15748 w 18975"/>
                <a:gd name="connsiteY19" fmla="*/ 0 h 6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975" h="60483">
                  <a:moveTo>
                    <a:pt x="15748" y="0"/>
                  </a:moveTo>
                  <a:cubicBezTo>
                    <a:pt x="14510" y="0"/>
                    <a:pt x="13462" y="667"/>
                    <a:pt x="12890" y="1619"/>
                  </a:cubicBezTo>
                  <a:cubicBezTo>
                    <a:pt x="10033" y="6477"/>
                    <a:pt x="8033" y="10287"/>
                    <a:pt x="6509" y="13906"/>
                  </a:cubicBezTo>
                  <a:cubicBezTo>
                    <a:pt x="4699" y="18288"/>
                    <a:pt x="3175" y="22669"/>
                    <a:pt x="1937" y="26956"/>
                  </a:cubicBezTo>
                  <a:cubicBezTo>
                    <a:pt x="1365" y="28956"/>
                    <a:pt x="984" y="31147"/>
                    <a:pt x="698" y="33147"/>
                  </a:cubicBezTo>
                  <a:cubicBezTo>
                    <a:pt x="222" y="36195"/>
                    <a:pt x="127" y="38481"/>
                    <a:pt x="32" y="40862"/>
                  </a:cubicBezTo>
                  <a:cubicBezTo>
                    <a:pt x="-159" y="45910"/>
                    <a:pt x="508" y="50863"/>
                    <a:pt x="2127" y="55245"/>
                  </a:cubicBezTo>
                  <a:cubicBezTo>
                    <a:pt x="2794" y="57055"/>
                    <a:pt x="3556" y="58388"/>
                    <a:pt x="5175" y="59436"/>
                  </a:cubicBezTo>
                  <a:cubicBezTo>
                    <a:pt x="6223" y="60103"/>
                    <a:pt x="7461" y="60484"/>
                    <a:pt x="8699" y="60484"/>
                  </a:cubicBezTo>
                  <a:cubicBezTo>
                    <a:pt x="9176" y="60484"/>
                    <a:pt x="9747" y="60388"/>
                    <a:pt x="10319" y="60293"/>
                  </a:cubicBezTo>
                  <a:cubicBezTo>
                    <a:pt x="13938" y="59436"/>
                    <a:pt x="16224" y="55721"/>
                    <a:pt x="15367" y="52006"/>
                  </a:cubicBezTo>
                  <a:lnTo>
                    <a:pt x="14700" y="49244"/>
                  </a:lnTo>
                  <a:cubicBezTo>
                    <a:pt x="13748" y="45339"/>
                    <a:pt x="12700" y="40862"/>
                    <a:pt x="12128" y="36481"/>
                  </a:cubicBezTo>
                  <a:cubicBezTo>
                    <a:pt x="11747" y="31813"/>
                    <a:pt x="11747" y="27051"/>
                    <a:pt x="12319" y="22384"/>
                  </a:cubicBezTo>
                  <a:cubicBezTo>
                    <a:pt x="13081" y="18193"/>
                    <a:pt x="14319" y="13906"/>
                    <a:pt x="16129" y="9620"/>
                  </a:cubicBezTo>
                  <a:cubicBezTo>
                    <a:pt x="16891" y="8096"/>
                    <a:pt x="17653" y="6572"/>
                    <a:pt x="18510" y="5048"/>
                  </a:cubicBezTo>
                  <a:cubicBezTo>
                    <a:pt x="19463" y="3429"/>
                    <a:pt x="18891" y="1429"/>
                    <a:pt x="17367" y="476"/>
                  </a:cubicBezTo>
                  <a:cubicBezTo>
                    <a:pt x="16891" y="95"/>
                    <a:pt x="16319" y="0"/>
                    <a:pt x="15748" y="0"/>
                  </a:cubicBezTo>
                  <a:lnTo>
                    <a:pt x="15748" y="0"/>
                  </a:lnTo>
                  <a:lnTo>
                    <a:pt x="15748" y="0"/>
                  </a:lnTo>
                  <a:close/>
                </a:path>
              </a:pathLst>
            </a:custGeom>
            <a:solidFill>
              <a:srgbClr val="A6EE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16">
              <a:extLst>
                <a:ext uri="{FF2B5EF4-FFF2-40B4-BE49-F238E27FC236}">
                  <a16:creationId xmlns:a16="http://schemas.microsoft.com/office/drawing/2014/main" id="{5280D56C-C61A-4559-9EF9-44F1DF0D0A9F}"/>
                </a:ext>
              </a:extLst>
            </p:cNvPr>
            <p:cNvSpPr/>
            <p:nvPr/>
          </p:nvSpPr>
          <p:spPr>
            <a:xfrm>
              <a:off x="5352393" y="4405036"/>
              <a:ext cx="129538" cy="156300"/>
            </a:xfrm>
            <a:custGeom>
              <a:avLst/>
              <a:gdLst>
                <a:gd name="connsiteX0" fmla="*/ 2738 w 47838"/>
                <a:gd name="connsiteY0" fmla="*/ 0 h 57721"/>
                <a:gd name="connsiteX1" fmla="*/ 1595 w 47838"/>
                <a:gd name="connsiteY1" fmla="*/ 286 h 57721"/>
                <a:gd name="connsiteX2" fmla="*/ 262 w 47838"/>
                <a:gd name="connsiteY2" fmla="*/ 4000 h 57721"/>
                <a:gd name="connsiteX3" fmla="*/ 13978 w 47838"/>
                <a:gd name="connsiteY3" fmla="*/ 32099 h 57721"/>
                <a:gd name="connsiteX4" fmla="*/ 23788 w 47838"/>
                <a:gd name="connsiteY4" fmla="*/ 45529 h 57721"/>
                <a:gd name="connsiteX5" fmla="*/ 36457 w 47838"/>
                <a:gd name="connsiteY5" fmla="*/ 56483 h 57721"/>
                <a:gd name="connsiteX6" fmla="*/ 40743 w 47838"/>
                <a:gd name="connsiteY6" fmla="*/ 57721 h 57721"/>
                <a:gd name="connsiteX7" fmla="*/ 46553 w 47838"/>
                <a:gd name="connsiteY7" fmla="*/ 54769 h 57721"/>
                <a:gd name="connsiteX8" fmla="*/ 47696 w 47838"/>
                <a:gd name="connsiteY8" fmla="*/ 49149 h 57721"/>
                <a:gd name="connsiteX9" fmla="*/ 44839 w 47838"/>
                <a:gd name="connsiteY9" fmla="*/ 44672 h 57721"/>
                <a:gd name="connsiteX10" fmla="*/ 35314 w 47838"/>
                <a:gd name="connsiteY10" fmla="*/ 37909 h 57721"/>
                <a:gd name="connsiteX11" fmla="*/ 26932 w 47838"/>
                <a:gd name="connsiteY11" fmla="*/ 30671 h 57721"/>
                <a:gd name="connsiteX12" fmla="*/ 10930 w 47838"/>
                <a:gd name="connsiteY12" fmla="*/ 12001 h 57721"/>
                <a:gd name="connsiteX13" fmla="*/ 5405 w 47838"/>
                <a:gd name="connsiteY13" fmla="*/ 1619 h 57721"/>
                <a:gd name="connsiteX14" fmla="*/ 2738 w 47838"/>
                <a:gd name="connsiteY14" fmla="*/ 0 h 57721"/>
                <a:gd name="connsiteX15" fmla="*/ 2738 w 47838"/>
                <a:gd name="connsiteY15" fmla="*/ 0 h 57721"/>
                <a:gd name="connsiteX16" fmla="*/ 2738 w 47838"/>
                <a:gd name="connsiteY16" fmla="*/ 0 h 57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838" h="57721">
                  <a:moveTo>
                    <a:pt x="2738" y="0"/>
                  </a:moveTo>
                  <a:cubicBezTo>
                    <a:pt x="2357" y="0"/>
                    <a:pt x="1976" y="95"/>
                    <a:pt x="1595" y="286"/>
                  </a:cubicBezTo>
                  <a:cubicBezTo>
                    <a:pt x="262" y="952"/>
                    <a:pt x="-405" y="2572"/>
                    <a:pt x="262" y="4000"/>
                  </a:cubicBezTo>
                  <a:cubicBezTo>
                    <a:pt x="4072" y="12859"/>
                    <a:pt x="8453" y="22955"/>
                    <a:pt x="13978" y="32099"/>
                  </a:cubicBezTo>
                  <a:cubicBezTo>
                    <a:pt x="17311" y="37529"/>
                    <a:pt x="20359" y="41815"/>
                    <a:pt x="23788" y="45529"/>
                  </a:cubicBezTo>
                  <a:cubicBezTo>
                    <a:pt x="27789" y="50006"/>
                    <a:pt x="32075" y="53626"/>
                    <a:pt x="36457" y="56483"/>
                  </a:cubicBezTo>
                  <a:cubicBezTo>
                    <a:pt x="37695" y="57341"/>
                    <a:pt x="39124" y="57721"/>
                    <a:pt x="40743" y="57721"/>
                  </a:cubicBezTo>
                  <a:cubicBezTo>
                    <a:pt x="43124" y="57721"/>
                    <a:pt x="45220" y="56674"/>
                    <a:pt x="46553" y="54769"/>
                  </a:cubicBezTo>
                  <a:cubicBezTo>
                    <a:pt x="47696" y="53245"/>
                    <a:pt x="48077" y="51149"/>
                    <a:pt x="47696" y="49149"/>
                  </a:cubicBezTo>
                  <a:cubicBezTo>
                    <a:pt x="47315" y="47244"/>
                    <a:pt x="46363" y="45720"/>
                    <a:pt x="44839" y="44672"/>
                  </a:cubicBezTo>
                  <a:cubicBezTo>
                    <a:pt x="41600" y="42481"/>
                    <a:pt x="38362" y="40291"/>
                    <a:pt x="35314" y="37909"/>
                  </a:cubicBezTo>
                  <a:cubicBezTo>
                    <a:pt x="32361" y="35719"/>
                    <a:pt x="29789" y="33338"/>
                    <a:pt x="26932" y="30671"/>
                  </a:cubicBezTo>
                  <a:cubicBezTo>
                    <a:pt x="20740" y="24860"/>
                    <a:pt x="15311" y="18669"/>
                    <a:pt x="10930" y="12001"/>
                  </a:cubicBezTo>
                  <a:cubicBezTo>
                    <a:pt x="8929" y="8858"/>
                    <a:pt x="7120" y="5429"/>
                    <a:pt x="5405" y="1619"/>
                  </a:cubicBezTo>
                  <a:cubicBezTo>
                    <a:pt x="4929" y="667"/>
                    <a:pt x="3881" y="0"/>
                    <a:pt x="2738" y="0"/>
                  </a:cubicBezTo>
                  <a:lnTo>
                    <a:pt x="2738" y="0"/>
                  </a:lnTo>
                  <a:lnTo>
                    <a:pt x="2738" y="0"/>
                  </a:lnTo>
                  <a:close/>
                </a:path>
              </a:pathLst>
            </a:custGeom>
            <a:solidFill>
              <a:srgbClr val="A6EE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18">
              <a:extLst>
                <a:ext uri="{FF2B5EF4-FFF2-40B4-BE49-F238E27FC236}">
                  <a16:creationId xmlns:a16="http://schemas.microsoft.com/office/drawing/2014/main" id="{70E7DF7E-BE4A-4F19-B868-1525EFF29DFC}"/>
                </a:ext>
              </a:extLst>
            </p:cNvPr>
            <p:cNvSpPr/>
            <p:nvPr/>
          </p:nvSpPr>
          <p:spPr>
            <a:xfrm>
              <a:off x="6340274" y="2166954"/>
              <a:ext cx="711984" cy="760759"/>
            </a:xfrm>
            <a:custGeom>
              <a:avLst/>
              <a:gdLst>
                <a:gd name="connsiteX0" fmla="*/ 264916 w 449994"/>
                <a:gd name="connsiteY0" fmla="*/ 0 h 480821"/>
                <a:gd name="connsiteX1" fmla="*/ 259296 w 449994"/>
                <a:gd name="connsiteY1" fmla="*/ 381 h 480821"/>
                <a:gd name="connsiteX2" fmla="*/ 240722 w 449994"/>
                <a:gd name="connsiteY2" fmla="*/ 6382 h 480821"/>
                <a:gd name="connsiteX3" fmla="*/ 221958 w 449994"/>
                <a:gd name="connsiteY3" fmla="*/ 18288 h 480821"/>
                <a:gd name="connsiteX4" fmla="*/ 196526 w 449994"/>
                <a:gd name="connsiteY4" fmla="*/ 42196 h 480821"/>
                <a:gd name="connsiteX5" fmla="*/ 172714 w 449994"/>
                <a:gd name="connsiteY5" fmla="*/ 71057 h 480821"/>
                <a:gd name="connsiteX6" fmla="*/ 137852 w 449994"/>
                <a:gd name="connsiteY6" fmla="*/ 124968 h 480821"/>
                <a:gd name="connsiteX7" fmla="*/ 112325 w 449994"/>
                <a:gd name="connsiteY7" fmla="*/ 114586 h 480821"/>
                <a:gd name="connsiteX8" fmla="*/ 102324 w 449994"/>
                <a:gd name="connsiteY8" fmla="*/ 111062 h 480821"/>
                <a:gd name="connsiteX9" fmla="*/ 100990 w 449994"/>
                <a:gd name="connsiteY9" fmla="*/ 110585 h 480821"/>
                <a:gd name="connsiteX10" fmla="*/ 76987 w 449994"/>
                <a:gd name="connsiteY10" fmla="*/ 102775 h 480821"/>
                <a:gd name="connsiteX11" fmla="*/ 49460 w 449994"/>
                <a:gd name="connsiteY11" fmla="*/ 98584 h 480821"/>
                <a:gd name="connsiteX12" fmla="*/ 23076 w 449994"/>
                <a:gd name="connsiteY12" fmla="*/ 104870 h 480821"/>
                <a:gd name="connsiteX13" fmla="*/ 12408 w 449994"/>
                <a:gd name="connsiteY13" fmla="*/ 113729 h 480821"/>
                <a:gd name="connsiteX14" fmla="*/ 4407 w 449994"/>
                <a:gd name="connsiteY14" fmla="*/ 127254 h 480821"/>
                <a:gd name="connsiteX15" fmla="*/ 501 w 449994"/>
                <a:gd name="connsiteY15" fmla="*/ 159830 h 480821"/>
                <a:gd name="connsiteX16" fmla="*/ 10217 w 449994"/>
                <a:gd name="connsiteY16" fmla="*/ 192405 h 480821"/>
                <a:gd name="connsiteX17" fmla="*/ 26886 w 449994"/>
                <a:gd name="connsiteY17" fmla="*/ 223552 h 480821"/>
                <a:gd name="connsiteX18" fmla="*/ 35649 w 449994"/>
                <a:gd name="connsiteY18" fmla="*/ 237839 h 480821"/>
                <a:gd name="connsiteX19" fmla="*/ 37840 w 449994"/>
                <a:gd name="connsiteY19" fmla="*/ 241268 h 480821"/>
                <a:gd name="connsiteX20" fmla="*/ 50222 w 449994"/>
                <a:gd name="connsiteY20" fmla="*/ 263081 h 480821"/>
                <a:gd name="connsiteX21" fmla="*/ 34696 w 449994"/>
                <a:gd name="connsiteY21" fmla="*/ 299942 h 480821"/>
                <a:gd name="connsiteX22" fmla="*/ 22409 w 449994"/>
                <a:gd name="connsiteY22" fmla="*/ 354521 h 480821"/>
                <a:gd name="connsiteX23" fmla="*/ 33268 w 449994"/>
                <a:gd name="connsiteY23" fmla="*/ 403384 h 480821"/>
                <a:gd name="connsiteX24" fmla="*/ 52603 w 449994"/>
                <a:gd name="connsiteY24" fmla="*/ 419767 h 480821"/>
                <a:gd name="connsiteX25" fmla="*/ 78607 w 449994"/>
                <a:gd name="connsiteY25" fmla="*/ 425577 h 480821"/>
                <a:gd name="connsiteX26" fmla="*/ 84131 w 449994"/>
                <a:gd name="connsiteY26" fmla="*/ 425387 h 480821"/>
                <a:gd name="connsiteX27" fmla="*/ 110420 w 449994"/>
                <a:gd name="connsiteY27" fmla="*/ 418910 h 480821"/>
                <a:gd name="connsiteX28" fmla="*/ 135757 w 449994"/>
                <a:gd name="connsiteY28" fmla="*/ 405956 h 480821"/>
                <a:gd name="connsiteX29" fmla="*/ 158045 w 449994"/>
                <a:gd name="connsiteY29" fmla="*/ 390049 h 480821"/>
                <a:gd name="connsiteX30" fmla="*/ 171190 w 449994"/>
                <a:gd name="connsiteY30" fmla="*/ 378238 h 480821"/>
                <a:gd name="connsiteX31" fmla="*/ 174333 w 449994"/>
                <a:gd name="connsiteY31" fmla="*/ 385763 h 480821"/>
                <a:gd name="connsiteX32" fmla="*/ 174904 w 449994"/>
                <a:gd name="connsiteY32" fmla="*/ 386906 h 480821"/>
                <a:gd name="connsiteX33" fmla="*/ 175571 w 449994"/>
                <a:gd name="connsiteY33" fmla="*/ 388144 h 480821"/>
                <a:gd name="connsiteX34" fmla="*/ 177000 w 449994"/>
                <a:gd name="connsiteY34" fmla="*/ 391001 h 480821"/>
                <a:gd name="connsiteX35" fmla="*/ 199288 w 449994"/>
                <a:gd name="connsiteY35" fmla="*/ 431768 h 480821"/>
                <a:gd name="connsiteX36" fmla="*/ 222529 w 449994"/>
                <a:gd name="connsiteY36" fmla="*/ 459677 h 480821"/>
                <a:gd name="connsiteX37" fmla="*/ 253390 w 449994"/>
                <a:gd name="connsiteY37" fmla="*/ 478155 h 480821"/>
                <a:gd name="connsiteX38" fmla="*/ 268249 w 449994"/>
                <a:gd name="connsiteY38" fmla="*/ 480822 h 480821"/>
                <a:gd name="connsiteX39" fmla="*/ 269583 w 449994"/>
                <a:gd name="connsiteY39" fmla="*/ 480822 h 480821"/>
                <a:gd name="connsiteX40" fmla="*/ 283966 w 449994"/>
                <a:gd name="connsiteY40" fmla="*/ 478631 h 480821"/>
                <a:gd name="connsiteX41" fmla="*/ 308064 w 449994"/>
                <a:gd name="connsiteY41" fmla="*/ 462725 h 480821"/>
                <a:gd name="connsiteX42" fmla="*/ 316827 w 449994"/>
                <a:gd name="connsiteY42" fmla="*/ 450152 h 480821"/>
                <a:gd name="connsiteX43" fmla="*/ 323685 w 449994"/>
                <a:gd name="connsiteY43" fmla="*/ 434531 h 480821"/>
                <a:gd name="connsiteX44" fmla="*/ 328161 w 449994"/>
                <a:gd name="connsiteY44" fmla="*/ 417005 h 480821"/>
                <a:gd name="connsiteX45" fmla="*/ 331400 w 449994"/>
                <a:gd name="connsiteY45" fmla="*/ 396240 h 480821"/>
                <a:gd name="connsiteX46" fmla="*/ 333591 w 449994"/>
                <a:gd name="connsiteY46" fmla="*/ 361283 h 480821"/>
                <a:gd name="connsiteX47" fmla="*/ 332734 w 449994"/>
                <a:gd name="connsiteY47" fmla="*/ 333756 h 480821"/>
                <a:gd name="connsiteX48" fmla="*/ 347878 w 449994"/>
                <a:gd name="connsiteY48" fmla="*/ 328613 h 480821"/>
                <a:gd name="connsiteX49" fmla="*/ 371691 w 449994"/>
                <a:gd name="connsiteY49" fmla="*/ 319850 h 480821"/>
                <a:gd name="connsiteX50" fmla="*/ 419030 w 449994"/>
                <a:gd name="connsiteY50" fmla="*/ 295275 h 480821"/>
                <a:gd name="connsiteX51" fmla="*/ 437413 w 449994"/>
                <a:gd name="connsiteY51" fmla="*/ 278416 h 480821"/>
                <a:gd name="connsiteX52" fmla="*/ 448367 w 449994"/>
                <a:gd name="connsiteY52" fmla="*/ 256889 h 480821"/>
                <a:gd name="connsiteX53" fmla="*/ 448748 w 449994"/>
                <a:gd name="connsiteY53" fmla="*/ 232505 h 480821"/>
                <a:gd name="connsiteX54" fmla="*/ 435889 w 449994"/>
                <a:gd name="connsiteY54" fmla="*/ 207359 h 480821"/>
                <a:gd name="connsiteX55" fmla="*/ 412458 w 449994"/>
                <a:gd name="connsiteY55" fmla="*/ 188500 h 480821"/>
                <a:gd name="connsiteX56" fmla="*/ 383787 w 449994"/>
                <a:gd name="connsiteY56" fmla="*/ 174879 h 480821"/>
                <a:gd name="connsiteX57" fmla="*/ 356070 w 449994"/>
                <a:gd name="connsiteY57" fmla="*/ 165545 h 480821"/>
                <a:gd name="connsiteX58" fmla="*/ 352641 w 449994"/>
                <a:gd name="connsiteY58" fmla="*/ 164497 h 480821"/>
                <a:gd name="connsiteX59" fmla="*/ 348926 w 449994"/>
                <a:gd name="connsiteY59" fmla="*/ 163259 h 480821"/>
                <a:gd name="connsiteX60" fmla="*/ 341496 w 449994"/>
                <a:gd name="connsiteY60" fmla="*/ 160973 h 480821"/>
                <a:gd name="connsiteX61" fmla="*/ 335877 w 449994"/>
                <a:gd name="connsiteY61" fmla="*/ 159353 h 480821"/>
                <a:gd name="connsiteX62" fmla="*/ 330352 w 449994"/>
                <a:gd name="connsiteY62" fmla="*/ 157734 h 480821"/>
                <a:gd name="connsiteX63" fmla="*/ 326923 w 449994"/>
                <a:gd name="connsiteY63" fmla="*/ 156782 h 480821"/>
                <a:gd name="connsiteX64" fmla="*/ 323590 w 449994"/>
                <a:gd name="connsiteY64" fmla="*/ 155829 h 480821"/>
                <a:gd name="connsiteX65" fmla="*/ 322637 w 449994"/>
                <a:gd name="connsiteY65" fmla="*/ 128207 h 480821"/>
                <a:gd name="connsiteX66" fmla="*/ 322637 w 449994"/>
                <a:gd name="connsiteY66" fmla="*/ 127254 h 480821"/>
                <a:gd name="connsiteX67" fmla="*/ 317398 w 449994"/>
                <a:gd name="connsiteY67" fmla="*/ 65437 h 480821"/>
                <a:gd name="connsiteX68" fmla="*/ 307397 w 449994"/>
                <a:gd name="connsiteY68" fmla="*/ 33909 h 480821"/>
                <a:gd name="connsiteX69" fmla="*/ 294443 w 449994"/>
                <a:gd name="connsiteY69" fmla="*/ 13430 h 480821"/>
                <a:gd name="connsiteX70" fmla="*/ 277869 w 449994"/>
                <a:gd name="connsiteY70" fmla="*/ 2096 h 480821"/>
                <a:gd name="connsiteX71" fmla="*/ 264916 w 449994"/>
                <a:gd name="connsiteY71" fmla="*/ 0 h 480821"/>
                <a:gd name="connsiteX72" fmla="*/ 264916 w 449994"/>
                <a:gd name="connsiteY72" fmla="*/ 0 h 480821"/>
                <a:gd name="connsiteX73" fmla="*/ 264916 w 449994"/>
                <a:gd name="connsiteY73" fmla="*/ 0 h 480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49994" h="480821">
                  <a:moveTo>
                    <a:pt x="264916" y="0"/>
                  </a:moveTo>
                  <a:cubicBezTo>
                    <a:pt x="263010" y="0"/>
                    <a:pt x="261201" y="191"/>
                    <a:pt x="259296" y="381"/>
                  </a:cubicBezTo>
                  <a:cubicBezTo>
                    <a:pt x="253295" y="1238"/>
                    <a:pt x="247199" y="3143"/>
                    <a:pt x="240722" y="6382"/>
                  </a:cubicBezTo>
                  <a:cubicBezTo>
                    <a:pt x="234626" y="9335"/>
                    <a:pt x="228435" y="13240"/>
                    <a:pt x="221958" y="18288"/>
                  </a:cubicBezTo>
                  <a:cubicBezTo>
                    <a:pt x="213957" y="24479"/>
                    <a:pt x="206146" y="31909"/>
                    <a:pt x="196526" y="42196"/>
                  </a:cubicBezTo>
                  <a:cubicBezTo>
                    <a:pt x="189382" y="49911"/>
                    <a:pt x="181572" y="59341"/>
                    <a:pt x="172714" y="71057"/>
                  </a:cubicBezTo>
                  <a:cubicBezTo>
                    <a:pt x="159474" y="88868"/>
                    <a:pt x="147758" y="106966"/>
                    <a:pt x="137852" y="124968"/>
                  </a:cubicBezTo>
                  <a:cubicBezTo>
                    <a:pt x="129565" y="120396"/>
                    <a:pt x="120040" y="117158"/>
                    <a:pt x="112325" y="114586"/>
                  </a:cubicBezTo>
                  <a:cubicBezTo>
                    <a:pt x="108896" y="113443"/>
                    <a:pt x="105658" y="112300"/>
                    <a:pt x="102324" y="111062"/>
                  </a:cubicBezTo>
                  <a:lnTo>
                    <a:pt x="100990" y="110585"/>
                  </a:lnTo>
                  <a:cubicBezTo>
                    <a:pt x="95370" y="108490"/>
                    <a:pt x="85941" y="105061"/>
                    <a:pt x="76987" y="102775"/>
                  </a:cubicBezTo>
                  <a:cubicBezTo>
                    <a:pt x="66034" y="99917"/>
                    <a:pt x="57556" y="98584"/>
                    <a:pt x="49460" y="98584"/>
                  </a:cubicBezTo>
                  <a:cubicBezTo>
                    <a:pt x="38792" y="98584"/>
                    <a:pt x="30219" y="100679"/>
                    <a:pt x="23076" y="104870"/>
                  </a:cubicBezTo>
                  <a:cubicBezTo>
                    <a:pt x="19266" y="107061"/>
                    <a:pt x="15837" y="109919"/>
                    <a:pt x="12408" y="113729"/>
                  </a:cubicBezTo>
                  <a:cubicBezTo>
                    <a:pt x="9360" y="116967"/>
                    <a:pt x="6788" y="121444"/>
                    <a:pt x="4407" y="127254"/>
                  </a:cubicBezTo>
                  <a:cubicBezTo>
                    <a:pt x="501" y="136684"/>
                    <a:pt x="-832" y="147638"/>
                    <a:pt x="501" y="159830"/>
                  </a:cubicBezTo>
                  <a:cubicBezTo>
                    <a:pt x="1644" y="169545"/>
                    <a:pt x="4693" y="179927"/>
                    <a:pt x="10217" y="192405"/>
                  </a:cubicBezTo>
                  <a:cubicBezTo>
                    <a:pt x="15075" y="203549"/>
                    <a:pt x="21076" y="213931"/>
                    <a:pt x="26886" y="223552"/>
                  </a:cubicBezTo>
                  <a:cubicBezTo>
                    <a:pt x="29743" y="228314"/>
                    <a:pt x="32696" y="233077"/>
                    <a:pt x="35649" y="237839"/>
                  </a:cubicBezTo>
                  <a:lnTo>
                    <a:pt x="37840" y="241268"/>
                  </a:lnTo>
                  <a:cubicBezTo>
                    <a:pt x="41173" y="246698"/>
                    <a:pt x="46126" y="254984"/>
                    <a:pt x="50222" y="263081"/>
                  </a:cubicBezTo>
                  <a:cubicBezTo>
                    <a:pt x="44412" y="274511"/>
                    <a:pt x="39173" y="286988"/>
                    <a:pt x="34696" y="299942"/>
                  </a:cubicBezTo>
                  <a:cubicBezTo>
                    <a:pt x="27457" y="320802"/>
                    <a:pt x="23552" y="338138"/>
                    <a:pt x="22409" y="354521"/>
                  </a:cubicBezTo>
                  <a:cubicBezTo>
                    <a:pt x="21076" y="374618"/>
                    <a:pt x="24790" y="391001"/>
                    <a:pt x="33268" y="403384"/>
                  </a:cubicBezTo>
                  <a:cubicBezTo>
                    <a:pt x="37744" y="409956"/>
                    <a:pt x="44317" y="415481"/>
                    <a:pt x="52603" y="419767"/>
                  </a:cubicBezTo>
                  <a:cubicBezTo>
                    <a:pt x="60033" y="423672"/>
                    <a:pt x="68796" y="425577"/>
                    <a:pt x="78607" y="425577"/>
                  </a:cubicBezTo>
                  <a:cubicBezTo>
                    <a:pt x="80511" y="425577"/>
                    <a:pt x="82321" y="425482"/>
                    <a:pt x="84131" y="425387"/>
                  </a:cubicBezTo>
                  <a:cubicBezTo>
                    <a:pt x="92227" y="424815"/>
                    <a:pt x="100800" y="422624"/>
                    <a:pt x="110420" y="418910"/>
                  </a:cubicBezTo>
                  <a:cubicBezTo>
                    <a:pt x="118611" y="415766"/>
                    <a:pt x="126708" y="411671"/>
                    <a:pt x="135757" y="405956"/>
                  </a:cubicBezTo>
                  <a:cubicBezTo>
                    <a:pt x="142424" y="401955"/>
                    <a:pt x="149473" y="396907"/>
                    <a:pt x="158045" y="390049"/>
                  </a:cubicBezTo>
                  <a:cubicBezTo>
                    <a:pt x="163093" y="385858"/>
                    <a:pt x="167284" y="382143"/>
                    <a:pt x="171190" y="378238"/>
                  </a:cubicBezTo>
                  <a:cubicBezTo>
                    <a:pt x="171856" y="380714"/>
                    <a:pt x="173094" y="383381"/>
                    <a:pt x="174333" y="385763"/>
                  </a:cubicBezTo>
                  <a:lnTo>
                    <a:pt x="174904" y="386906"/>
                  </a:lnTo>
                  <a:lnTo>
                    <a:pt x="175571" y="388144"/>
                  </a:lnTo>
                  <a:lnTo>
                    <a:pt x="177000" y="391001"/>
                  </a:lnTo>
                  <a:cubicBezTo>
                    <a:pt x="183477" y="403955"/>
                    <a:pt x="190811" y="418624"/>
                    <a:pt x="199288" y="431768"/>
                  </a:cubicBezTo>
                  <a:cubicBezTo>
                    <a:pt x="205860" y="442055"/>
                    <a:pt x="213671" y="451485"/>
                    <a:pt x="222529" y="459677"/>
                  </a:cubicBezTo>
                  <a:cubicBezTo>
                    <a:pt x="232245" y="468535"/>
                    <a:pt x="242913" y="474917"/>
                    <a:pt x="253390" y="478155"/>
                  </a:cubicBezTo>
                  <a:cubicBezTo>
                    <a:pt x="258629" y="479774"/>
                    <a:pt x="263487" y="480727"/>
                    <a:pt x="268249" y="480822"/>
                  </a:cubicBezTo>
                  <a:lnTo>
                    <a:pt x="269583" y="480822"/>
                  </a:lnTo>
                  <a:cubicBezTo>
                    <a:pt x="274155" y="480822"/>
                    <a:pt x="278727" y="480155"/>
                    <a:pt x="283966" y="478631"/>
                  </a:cubicBezTo>
                  <a:cubicBezTo>
                    <a:pt x="292348" y="476250"/>
                    <a:pt x="300444" y="470916"/>
                    <a:pt x="308064" y="462725"/>
                  </a:cubicBezTo>
                  <a:cubicBezTo>
                    <a:pt x="311683" y="458724"/>
                    <a:pt x="314350" y="454343"/>
                    <a:pt x="316827" y="450152"/>
                  </a:cubicBezTo>
                  <a:cubicBezTo>
                    <a:pt x="319589" y="445484"/>
                    <a:pt x="321875" y="440341"/>
                    <a:pt x="323685" y="434531"/>
                  </a:cubicBezTo>
                  <a:cubicBezTo>
                    <a:pt x="325685" y="428720"/>
                    <a:pt x="327019" y="422720"/>
                    <a:pt x="328161" y="417005"/>
                  </a:cubicBezTo>
                  <a:cubicBezTo>
                    <a:pt x="329400" y="410623"/>
                    <a:pt x="330448" y="404241"/>
                    <a:pt x="331400" y="396240"/>
                  </a:cubicBezTo>
                  <a:cubicBezTo>
                    <a:pt x="332734" y="384905"/>
                    <a:pt x="333495" y="373475"/>
                    <a:pt x="333591" y="361283"/>
                  </a:cubicBezTo>
                  <a:cubicBezTo>
                    <a:pt x="333781" y="352330"/>
                    <a:pt x="333495" y="342995"/>
                    <a:pt x="332734" y="333756"/>
                  </a:cubicBezTo>
                  <a:lnTo>
                    <a:pt x="347878" y="328613"/>
                  </a:lnTo>
                  <a:cubicBezTo>
                    <a:pt x="355879" y="325755"/>
                    <a:pt x="363880" y="322898"/>
                    <a:pt x="371691" y="319850"/>
                  </a:cubicBezTo>
                  <a:cubicBezTo>
                    <a:pt x="391598" y="312039"/>
                    <a:pt x="406648" y="304229"/>
                    <a:pt x="419030" y="295275"/>
                  </a:cubicBezTo>
                  <a:cubicBezTo>
                    <a:pt x="425983" y="290417"/>
                    <a:pt x="432175" y="284702"/>
                    <a:pt x="437413" y="278416"/>
                  </a:cubicBezTo>
                  <a:cubicBezTo>
                    <a:pt x="442652" y="272034"/>
                    <a:pt x="446271" y="264795"/>
                    <a:pt x="448367" y="256889"/>
                  </a:cubicBezTo>
                  <a:cubicBezTo>
                    <a:pt x="450367" y="249460"/>
                    <a:pt x="450558" y="241078"/>
                    <a:pt x="448748" y="232505"/>
                  </a:cubicBezTo>
                  <a:cubicBezTo>
                    <a:pt x="446748" y="223647"/>
                    <a:pt x="442366" y="214979"/>
                    <a:pt x="435889" y="207359"/>
                  </a:cubicBezTo>
                  <a:cubicBezTo>
                    <a:pt x="429889" y="200406"/>
                    <a:pt x="422173" y="194215"/>
                    <a:pt x="412458" y="188500"/>
                  </a:cubicBezTo>
                  <a:cubicBezTo>
                    <a:pt x="404361" y="183642"/>
                    <a:pt x="395027" y="179261"/>
                    <a:pt x="383787" y="174879"/>
                  </a:cubicBezTo>
                  <a:cubicBezTo>
                    <a:pt x="374262" y="171164"/>
                    <a:pt x="364833" y="168116"/>
                    <a:pt x="356070" y="165545"/>
                  </a:cubicBezTo>
                  <a:lnTo>
                    <a:pt x="352641" y="164497"/>
                  </a:lnTo>
                  <a:lnTo>
                    <a:pt x="348926" y="163259"/>
                  </a:lnTo>
                  <a:lnTo>
                    <a:pt x="341496" y="160973"/>
                  </a:lnTo>
                  <a:cubicBezTo>
                    <a:pt x="339687" y="160401"/>
                    <a:pt x="337782" y="159830"/>
                    <a:pt x="335877" y="159353"/>
                  </a:cubicBezTo>
                  <a:lnTo>
                    <a:pt x="330352" y="157734"/>
                  </a:lnTo>
                  <a:lnTo>
                    <a:pt x="326923" y="156782"/>
                  </a:lnTo>
                  <a:lnTo>
                    <a:pt x="323590" y="155829"/>
                  </a:lnTo>
                  <a:cubicBezTo>
                    <a:pt x="323209" y="146876"/>
                    <a:pt x="322923" y="137351"/>
                    <a:pt x="322637" y="128207"/>
                  </a:cubicBezTo>
                  <a:lnTo>
                    <a:pt x="322637" y="127254"/>
                  </a:lnTo>
                  <a:cubicBezTo>
                    <a:pt x="322161" y="106775"/>
                    <a:pt x="321780" y="85534"/>
                    <a:pt x="317398" y="65437"/>
                  </a:cubicBezTo>
                  <a:cubicBezTo>
                    <a:pt x="314636" y="53150"/>
                    <a:pt x="311398" y="42863"/>
                    <a:pt x="307397" y="33909"/>
                  </a:cubicBezTo>
                  <a:cubicBezTo>
                    <a:pt x="303682" y="25432"/>
                    <a:pt x="299396" y="18764"/>
                    <a:pt x="294443" y="13430"/>
                  </a:cubicBezTo>
                  <a:cubicBezTo>
                    <a:pt x="289300" y="8001"/>
                    <a:pt x="283775" y="4191"/>
                    <a:pt x="277869" y="2096"/>
                  </a:cubicBezTo>
                  <a:cubicBezTo>
                    <a:pt x="273869" y="762"/>
                    <a:pt x="269392" y="0"/>
                    <a:pt x="264916" y="0"/>
                  </a:cubicBezTo>
                  <a:lnTo>
                    <a:pt x="264916" y="0"/>
                  </a:lnTo>
                  <a:lnTo>
                    <a:pt x="264916" y="0"/>
                  </a:lnTo>
                  <a:close/>
                </a:path>
              </a:pathLst>
            </a:custGeom>
            <a:solidFill>
              <a:srgbClr val="F3B7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19">
              <a:extLst>
                <a:ext uri="{FF2B5EF4-FFF2-40B4-BE49-F238E27FC236}">
                  <a16:creationId xmlns:a16="http://schemas.microsoft.com/office/drawing/2014/main" id="{781A2B5B-77A4-48F6-83BC-9B9B743ED181}"/>
                </a:ext>
              </a:extLst>
            </p:cNvPr>
            <p:cNvSpPr/>
            <p:nvPr/>
          </p:nvSpPr>
          <p:spPr>
            <a:xfrm>
              <a:off x="6340364" y="2383065"/>
              <a:ext cx="91426" cy="199985"/>
            </a:xfrm>
            <a:custGeom>
              <a:avLst/>
              <a:gdLst>
                <a:gd name="connsiteX0" fmla="*/ 539 w 57784"/>
                <a:gd name="connsiteY0" fmla="*/ 23241 h 126396"/>
                <a:gd name="connsiteX1" fmla="*/ 10255 w 57784"/>
                <a:gd name="connsiteY1" fmla="*/ 55721 h 126396"/>
                <a:gd name="connsiteX2" fmla="*/ 26923 w 57784"/>
                <a:gd name="connsiteY2" fmla="*/ 86868 h 126396"/>
                <a:gd name="connsiteX3" fmla="*/ 35686 w 57784"/>
                <a:gd name="connsiteY3" fmla="*/ 101155 h 126396"/>
                <a:gd name="connsiteX4" fmla="*/ 37877 w 57784"/>
                <a:gd name="connsiteY4" fmla="*/ 104584 h 126396"/>
                <a:gd name="connsiteX5" fmla="*/ 50260 w 57784"/>
                <a:gd name="connsiteY5" fmla="*/ 126397 h 126396"/>
                <a:gd name="connsiteX6" fmla="*/ 57784 w 57784"/>
                <a:gd name="connsiteY6" fmla="*/ 114776 h 126396"/>
                <a:gd name="connsiteX7" fmla="*/ 49307 w 57784"/>
                <a:gd name="connsiteY7" fmla="*/ 104584 h 126396"/>
                <a:gd name="connsiteX8" fmla="*/ 40735 w 57784"/>
                <a:gd name="connsiteY8" fmla="*/ 94202 h 126396"/>
                <a:gd name="connsiteX9" fmla="*/ 19875 w 57784"/>
                <a:gd name="connsiteY9" fmla="*/ 61531 h 126396"/>
                <a:gd name="connsiteX10" fmla="*/ 6254 w 57784"/>
                <a:gd name="connsiteY10" fmla="*/ 26480 h 126396"/>
                <a:gd name="connsiteX11" fmla="*/ 2444 w 57784"/>
                <a:gd name="connsiteY11" fmla="*/ 7715 h 126396"/>
                <a:gd name="connsiteX12" fmla="*/ 1587 w 57784"/>
                <a:gd name="connsiteY12" fmla="*/ 0 h 126396"/>
                <a:gd name="connsiteX13" fmla="*/ 539 w 57784"/>
                <a:gd name="connsiteY13" fmla="*/ 23241 h 126396"/>
                <a:gd name="connsiteX14" fmla="*/ 539 w 57784"/>
                <a:gd name="connsiteY14" fmla="*/ 23241 h 126396"/>
                <a:gd name="connsiteX15" fmla="*/ 539 w 57784"/>
                <a:gd name="connsiteY15" fmla="*/ 23241 h 126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784" h="126396">
                  <a:moveTo>
                    <a:pt x="539" y="23241"/>
                  </a:moveTo>
                  <a:cubicBezTo>
                    <a:pt x="1682" y="32957"/>
                    <a:pt x="4730" y="43339"/>
                    <a:pt x="10255" y="55721"/>
                  </a:cubicBezTo>
                  <a:cubicBezTo>
                    <a:pt x="15112" y="66961"/>
                    <a:pt x="21494" y="77819"/>
                    <a:pt x="26923" y="86868"/>
                  </a:cubicBezTo>
                  <a:cubicBezTo>
                    <a:pt x="29781" y="91630"/>
                    <a:pt x="32734" y="96393"/>
                    <a:pt x="35686" y="101155"/>
                  </a:cubicBezTo>
                  <a:lnTo>
                    <a:pt x="37877" y="104584"/>
                  </a:lnTo>
                  <a:cubicBezTo>
                    <a:pt x="41973" y="111347"/>
                    <a:pt x="46354" y="118777"/>
                    <a:pt x="50260" y="126397"/>
                  </a:cubicBezTo>
                  <a:cubicBezTo>
                    <a:pt x="52736" y="122492"/>
                    <a:pt x="55308" y="118681"/>
                    <a:pt x="57784" y="114776"/>
                  </a:cubicBezTo>
                  <a:cubicBezTo>
                    <a:pt x="54832" y="111443"/>
                    <a:pt x="52069" y="108109"/>
                    <a:pt x="49307" y="104584"/>
                  </a:cubicBezTo>
                  <a:cubicBezTo>
                    <a:pt x="46354" y="101251"/>
                    <a:pt x="43497" y="97727"/>
                    <a:pt x="40735" y="94202"/>
                  </a:cubicBezTo>
                  <a:cubicBezTo>
                    <a:pt x="32829" y="84011"/>
                    <a:pt x="25685" y="73152"/>
                    <a:pt x="19875" y="61531"/>
                  </a:cubicBezTo>
                  <a:cubicBezTo>
                    <a:pt x="14160" y="50292"/>
                    <a:pt x="9397" y="38671"/>
                    <a:pt x="6254" y="26480"/>
                  </a:cubicBezTo>
                  <a:cubicBezTo>
                    <a:pt x="4635" y="20288"/>
                    <a:pt x="3301" y="14002"/>
                    <a:pt x="2444" y="7715"/>
                  </a:cubicBezTo>
                  <a:cubicBezTo>
                    <a:pt x="2063" y="5144"/>
                    <a:pt x="1777" y="2572"/>
                    <a:pt x="1587" y="0"/>
                  </a:cubicBezTo>
                  <a:cubicBezTo>
                    <a:pt x="-128" y="7144"/>
                    <a:pt x="-413" y="14859"/>
                    <a:pt x="539" y="23241"/>
                  </a:cubicBezTo>
                  <a:lnTo>
                    <a:pt x="539" y="23241"/>
                  </a:lnTo>
                  <a:lnTo>
                    <a:pt x="539" y="23241"/>
                  </a:lnTo>
                  <a:close/>
                </a:path>
              </a:pathLst>
            </a:custGeom>
            <a:solidFill>
              <a:srgbClr val="E5A22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20">
              <a:extLst>
                <a:ext uri="{FF2B5EF4-FFF2-40B4-BE49-F238E27FC236}">
                  <a16:creationId xmlns:a16="http://schemas.microsoft.com/office/drawing/2014/main" id="{4EFA5089-4894-4911-A6CC-BC7A56BDFFD1}"/>
                </a:ext>
              </a:extLst>
            </p:cNvPr>
            <p:cNvSpPr/>
            <p:nvPr/>
          </p:nvSpPr>
          <p:spPr>
            <a:xfrm>
              <a:off x="6771633" y="2168460"/>
              <a:ext cx="82585" cy="246101"/>
            </a:xfrm>
            <a:custGeom>
              <a:avLst/>
              <a:gdLst>
                <a:gd name="connsiteX0" fmla="*/ 3620 w 52196"/>
                <a:gd name="connsiteY0" fmla="*/ 4191 h 155543"/>
                <a:gd name="connsiteX1" fmla="*/ 8191 w 52196"/>
                <a:gd name="connsiteY1" fmla="*/ 10859 h 155543"/>
                <a:gd name="connsiteX2" fmla="*/ 22098 w 52196"/>
                <a:gd name="connsiteY2" fmla="*/ 44863 h 155543"/>
                <a:gd name="connsiteX3" fmla="*/ 27146 w 52196"/>
                <a:gd name="connsiteY3" fmla="*/ 64294 h 155543"/>
                <a:gd name="connsiteX4" fmla="*/ 31052 w 52196"/>
                <a:gd name="connsiteY4" fmla="*/ 94774 h 155543"/>
                <a:gd name="connsiteX5" fmla="*/ 31528 w 52196"/>
                <a:gd name="connsiteY5" fmla="*/ 124396 h 155543"/>
                <a:gd name="connsiteX6" fmla="*/ 31147 w 52196"/>
                <a:gd name="connsiteY6" fmla="*/ 140589 h 155543"/>
                <a:gd name="connsiteX7" fmla="*/ 30671 w 52196"/>
                <a:gd name="connsiteY7" fmla="*/ 153448 h 155543"/>
                <a:gd name="connsiteX8" fmla="*/ 50197 w 52196"/>
                <a:gd name="connsiteY8" fmla="*/ 155258 h 155543"/>
                <a:gd name="connsiteX9" fmla="*/ 52197 w 52196"/>
                <a:gd name="connsiteY9" fmla="*/ 155543 h 155543"/>
                <a:gd name="connsiteX10" fmla="*/ 51054 w 52196"/>
                <a:gd name="connsiteY10" fmla="*/ 155258 h 155543"/>
                <a:gd name="connsiteX11" fmla="*/ 50006 w 52196"/>
                <a:gd name="connsiteY11" fmla="*/ 125635 h 155543"/>
                <a:gd name="connsiteX12" fmla="*/ 44767 w 52196"/>
                <a:gd name="connsiteY12" fmla="*/ 64770 h 155543"/>
                <a:gd name="connsiteX13" fmla="*/ 34862 w 52196"/>
                <a:gd name="connsiteY13" fmla="*/ 33242 h 155543"/>
                <a:gd name="connsiteX14" fmla="*/ 21907 w 52196"/>
                <a:gd name="connsiteY14" fmla="*/ 12859 h 155543"/>
                <a:gd name="connsiteX15" fmla="*/ 5429 w 52196"/>
                <a:gd name="connsiteY15" fmla="*/ 1524 h 155543"/>
                <a:gd name="connsiteX16" fmla="*/ 0 w 52196"/>
                <a:gd name="connsiteY16" fmla="*/ 0 h 155543"/>
                <a:gd name="connsiteX17" fmla="*/ 3620 w 52196"/>
                <a:gd name="connsiteY17" fmla="*/ 4191 h 155543"/>
                <a:gd name="connsiteX18" fmla="*/ 3620 w 52196"/>
                <a:gd name="connsiteY18" fmla="*/ 4191 h 155543"/>
                <a:gd name="connsiteX19" fmla="*/ 3620 w 52196"/>
                <a:gd name="connsiteY19" fmla="*/ 4191 h 15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2196" h="155543">
                  <a:moveTo>
                    <a:pt x="3620" y="4191"/>
                  </a:moveTo>
                  <a:cubicBezTo>
                    <a:pt x="5239" y="6382"/>
                    <a:pt x="6763" y="8572"/>
                    <a:pt x="8191" y="10859"/>
                  </a:cubicBezTo>
                  <a:cubicBezTo>
                    <a:pt x="14478" y="21431"/>
                    <a:pt x="18669" y="33147"/>
                    <a:pt x="22098" y="44863"/>
                  </a:cubicBezTo>
                  <a:cubicBezTo>
                    <a:pt x="24003" y="51244"/>
                    <a:pt x="25813" y="57721"/>
                    <a:pt x="27146" y="64294"/>
                  </a:cubicBezTo>
                  <a:cubicBezTo>
                    <a:pt x="29146" y="74390"/>
                    <a:pt x="30385" y="84582"/>
                    <a:pt x="31052" y="94774"/>
                  </a:cubicBezTo>
                  <a:cubicBezTo>
                    <a:pt x="31623" y="104680"/>
                    <a:pt x="31718" y="114491"/>
                    <a:pt x="31528" y="124396"/>
                  </a:cubicBezTo>
                  <a:cubicBezTo>
                    <a:pt x="31432" y="129826"/>
                    <a:pt x="31242" y="135255"/>
                    <a:pt x="31147" y="140589"/>
                  </a:cubicBezTo>
                  <a:cubicBezTo>
                    <a:pt x="31052" y="144875"/>
                    <a:pt x="30861" y="149162"/>
                    <a:pt x="30671" y="153448"/>
                  </a:cubicBezTo>
                  <a:cubicBezTo>
                    <a:pt x="37243" y="154115"/>
                    <a:pt x="43720" y="154591"/>
                    <a:pt x="50197" y="155258"/>
                  </a:cubicBezTo>
                  <a:cubicBezTo>
                    <a:pt x="50863" y="155353"/>
                    <a:pt x="51530" y="155448"/>
                    <a:pt x="52197" y="155543"/>
                  </a:cubicBezTo>
                  <a:lnTo>
                    <a:pt x="51054" y="155258"/>
                  </a:lnTo>
                  <a:cubicBezTo>
                    <a:pt x="50482" y="145542"/>
                    <a:pt x="50197" y="135446"/>
                    <a:pt x="50006" y="125635"/>
                  </a:cubicBezTo>
                  <a:cubicBezTo>
                    <a:pt x="49530" y="105156"/>
                    <a:pt x="49149" y="84773"/>
                    <a:pt x="44767" y="64770"/>
                  </a:cubicBezTo>
                  <a:cubicBezTo>
                    <a:pt x="42100" y="52578"/>
                    <a:pt x="38862" y="42196"/>
                    <a:pt x="34862" y="33242"/>
                  </a:cubicBezTo>
                  <a:cubicBezTo>
                    <a:pt x="31147" y="24765"/>
                    <a:pt x="26956" y="18097"/>
                    <a:pt x="21907" y="12859"/>
                  </a:cubicBezTo>
                  <a:cubicBezTo>
                    <a:pt x="16764" y="7429"/>
                    <a:pt x="11239" y="3620"/>
                    <a:pt x="5429" y="1524"/>
                  </a:cubicBezTo>
                  <a:cubicBezTo>
                    <a:pt x="3620" y="857"/>
                    <a:pt x="1810" y="381"/>
                    <a:pt x="0" y="0"/>
                  </a:cubicBezTo>
                  <a:cubicBezTo>
                    <a:pt x="1238" y="1334"/>
                    <a:pt x="2477" y="2762"/>
                    <a:pt x="3620" y="4191"/>
                  </a:cubicBezTo>
                  <a:lnTo>
                    <a:pt x="3620" y="4191"/>
                  </a:lnTo>
                  <a:lnTo>
                    <a:pt x="3620" y="4191"/>
                  </a:lnTo>
                  <a:close/>
                </a:path>
              </a:pathLst>
            </a:custGeom>
            <a:solidFill>
              <a:srgbClr val="E5A22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21">
              <a:extLst>
                <a:ext uri="{FF2B5EF4-FFF2-40B4-BE49-F238E27FC236}">
                  <a16:creationId xmlns:a16="http://schemas.microsoft.com/office/drawing/2014/main" id="{40315F00-8CF5-4563-A50F-1981210E2AE5}"/>
                </a:ext>
              </a:extLst>
            </p:cNvPr>
            <p:cNvSpPr/>
            <p:nvPr/>
          </p:nvSpPr>
          <p:spPr>
            <a:xfrm>
              <a:off x="6863110" y="2576119"/>
              <a:ext cx="185819" cy="119357"/>
            </a:xfrm>
            <a:custGeom>
              <a:avLst/>
              <a:gdLst>
                <a:gd name="connsiteX0" fmla="*/ 116872 w 117443"/>
                <a:gd name="connsiteY0" fmla="*/ 667 h 75437"/>
                <a:gd name="connsiteX1" fmla="*/ 102870 w 117443"/>
                <a:gd name="connsiteY1" fmla="*/ 17050 h 75437"/>
                <a:gd name="connsiteX2" fmla="*/ 85249 w 117443"/>
                <a:gd name="connsiteY2" fmla="*/ 30956 h 75437"/>
                <a:gd name="connsiteX3" fmla="*/ 43148 w 117443"/>
                <a:gd name="connsiteY3" fmla="*/ 51149 h 75437"/>
                <a:gd name="connsiteX4" fmla="*/ 0 w 117443"/>
                <a:gd name="connsiteY4" fmla="*/ 61913 h 75437"/>
                <a:gd name="connsiteX5" fmla="*/ 2191 w 117443"/>
                <a:gd name="connsiteY5" fmla="*/ 75438 h 75437"/>
                <a:gd name="connsiteX6" fmla="*/ 17431 w 117443"/>
                <a:gd name="connsiteY6" fmla="*/ 70104 h 75437"/>
                <a:gd name="connsiteX7" fmla="*/ 41243 w 117443"/>
                <a:gd name="connsiteY7" fmla="*/ 61341 h 75437"/>
                <a:gd name="connsiteX8" fmla="*/ 88582 w 117443"/>
                <a:gd name="connsiteY8" fmla="*/ 36767 h 75437"/>
                <a:gd name="connsiteX9" fmla="*/ 106871 w 117443"/>
                <a:gd name="connsiteY9" fmla="*/ 19907 h 75437"/>
                <a:gd name="connsiteX10" fmla="*/ 117443 w 117443"/>
                <a:gd name="connsiteY10" fmla="*/ 0 h 75437"/>
                <a:gd name="connsiteX11" fmla="*/ 116872 w 117443"/>
                <a:gd name="connsiteY11" fmla="*/ 667 h 75437"/>
                <a:gd name="connsiteX12" fmla="*/ 116872 w 117443"/>
                <a:gd name="connsiteY12" fmla="*/ 667 h 75437"/>
                <a:gd name="connsiteX13" fmla="*/ 116872 w 117443"/>
                <a:gd name="connsiteY13" fmla="*/ 667 h 7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7443" h="75437">
                  <a:moveTo>
                    <a:pt x="116872" y="667"/>
                  </a:moveTo>
                  <a:cubicBezTo>
                    <a:pt x="112776" y="6572"/>
                    <a:pt x="108013" y="12097"/>
                    <a:pt x="102870" y="17050"/>
                  </a:cubicBezTo>
                  <a:cubicBezTo>
                    <a:pt x="97441" y="22193"/>
                    <a:pt x="91440" y="26765"/>
                    <a:pt x="85249" y="30956"/>
                  </a:cubicBezTo>
                  <a:cubicBezTo>
                    <a:pt x="72295" y="39624"/>
                    <a:pt x="57912" y="46101"/>
                    <a:pt x="43148" y="51149"/>
                  </a:cubicBezTo>
                  <a:cubicBezTo>
                    <a:pt x="29051" y="55912"/>
                    <a:pt x="14668" y="59436"/>
                    <a:pt x="0" y="61913"/>
                  </a:cubicBezTo>
                  <a:cubicBezTo>
                    <a:pt x="762" y="66389"/>
                    <a:pt x="1524" y="70961"/>
                    <a:pt x="2191" y="75438"/>
                  </a:cubicBezTo>
                  <a:lnTo>
                    <a:pt x="17431" y="70104"/>
                  </a:lnTo>
                  <a:cubicBezTo>
                    <a:pt x="25432" y="67246"/>
                    <a:pt x="33433" y="64389"/>
                    <a:pt x="41243" y="61341"/>
                  </a:cubicBezTo>
                  <a:cubicBezTo>
                    <a:pt x="61150" y="53530"/>
                    <a:pt x="76105" y="45720"/>
                    <a:pt x="88582" y="36767"/>
                  </a:cubicBezTo>
                  <a:cubicBezTo>
                    <a:pt x="95631" y="31814"/>
                    <a:pt x="101727" y="26098"/>
                    <a:pt x="106871" y="19907"/>
                  </a:cubicBezTo>
                  <a:cubicBezTo>
                    <a:pt x="111728" y="13906"/>
                    <a:pt x="115252" y="7239"/>
                    <a:pt x="117443" y="0"/>
                  </a:cubicBezTo>
                  <a:cubicBezTo>
                    <a:pt x="117157" y="191"/>
                    <a:pt x="116967" y="381"/>
                    <a:pt x="116872" y="667"/>
                  </a:cubicBezTo>
                  <a:lnTo>
                    <a:pt x="116872" y="667"/>
                  </a:lnTo>
                  <a:lnTo>
                    <a:pt x="116872" y="667"/>
                  </a:lnTo>
                  <a:close/>
                </a:path>
              </a:pathLst>
            </a:custGeom>
            <a:solidFill>
              <a:srgbClr val="E5A22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22">
              <a:extLst>
                <a:ext uri="{FF2B5EF4-FFF2-40B4-BE49-F238E27FC236}">
                  <a16:creationId xmlns:a16="http://schemas.microsoft.com/office/drawing/2014/main" id="{309D2786-A2FB-4EB2-91CA-27E400ABFDB1}"/>
                </a:ext>
              </a:extLst>
            </p:cNvPr>
            <p:cNvSpPr/>
            <p:nvPr/>
          </p:nvSpPr>
          <p:spPr>
            <a:xfrm>
              <a:off x="6375655" y="2729989"/>
              <a:ext cx="459122" cy="197574"/>
            </a:xfrm>
            <a:custGeom>
              <a:avLst/>
              <a:gdLst>
                <a:gd name="connsiteX0" fmla="*/ 10905 w 290178"/>
                <a:gd name="connsiteY0" fmla="*/ 47434 h 124872"/>
                <a:gd name="connsiteX1" fmla="*/ 30145 w 290178"/>
                <a:gd name="connsiteY1" fmla="*/ 63722 h 124872"/>
                <a:gd name="connsiteX2" fmla="*/ 56053 w 290178"/>
                <a:gd name="connsiteY2" fmla="*/ 69532 h 124872"/>
                <a:gd name="connsiteX3" fmla="*/ 61578 w 290178"/>
                <a:gd name="connsiteY3" fmla="*/ 69342 h 124872"/>
                <a:gd name="connsiteX4" fmla="*/ 87867 w 290178"/>
                <a:gd name="connsiteY4" fmla="*/ 62865 h 124872"/>
                <a:gd name="connsiteX5" fmla="*/ 113203 w 290178"/>
                <a:gd name="connsiteY5" fmla="*/ 49911 h 124872"/>
                <a:gd name="connsiteX6" fmla="*/ 135492 w 290178"/>
                <a:gd name="connsiteY6" fmla="*/ 34004 h 124872"/>
                <a:gd name="connsiteX7" fmla="*/ 148637 w 290178"/>
                <a:gd name="connsiteY7" fmla="*/ 22289 h 124872"/>
                <a:gd name="connsiteX8" fmla="*/ 152637 w 290178"/>
                <a:gd name="connsiteY8" fmla="*/ 31051 h 124872"/>
                <a:gd name="connsiteX9" fmla="*/ 153304 w 290178"/>
                <a:gd name="connsiteY9" fmla="*/ 32290 h 124872"/>
                <a:gd name="connsiteX10" fmla="*/ 154733 w 290178"/>
                <a:gd name="connsiteY10" fmla="*/ 35147 h 124872"/>
                <a:gd name="connsiteX11" fmla="*/ 177021 w 290178"/>
                <a:gd name="connsiteY11" fmla="*/ 75914 h 124872"/>
                <a:gd name="connsiteX12" fmla="*/ 200262 w 290178"/>
                <a:gd name="connsiteY12" fmla="*/ 103727 h 124872"/>
                <a:gd name="connsiteX13" fmla="*/ 231028 w 290178"/>
                <a:gd name="connsiteY13" fmla="*/ 122206 h 124872"/>
                <a:gd name="connsiteX14" fmla="*/ 245792 w 290178"/>
                <a:gd name="connsiteY14" fmla="*/ 124873 h 124872"/>
                <a:gd name="connsiteX15" fmla="*/ 247125 w 290178"/>
                <a:gd name="connsiteY15" fmla="*/ 124873 h 124872"/>
                <a:gd name="connsiteX16" fmla="*/ 261508 w 290178"/>
                <a:gd name="connsiteY16" fmla="*/ 122777 h 124872"/>
                <a:gd name="connsiteX17" fmla="*/ 285511 w 290178"/>
                <a:gd name="connsiteY17" fmla="*/ 106966 h 124872"/>
                <a:gd name="connsiteX18" fmla="*/ 290178 w 290178"/>
                <a:gd name="connsiteY18" fmla="*/ 100965 h 124872"/>
                <a:gd name="connsiteX19" fmla="*/ 286844 w 290178"/>
                <a:gd name="connsiteY19" fmla="*/ 103823 h 124872"/>
                <a:gd name="connsiteX20" fmla="*/ 270937 w 290178"/>
                <a:gd name="connsiteY20" fmla="*/ 111633 h 124872"/>
                <a:gd name="connsiteX21" fmla="*/ 252078 w 290178"/>
                <a:gd name="connsiteY21" fmla="*/ 111824 h 124872"/>
                <a:gd name="connsiteX22" fmla="*/ 232742 w 290178"/>
                <a:gd name="connsiteY22" fmla="*/ 104299 h 124872"/>
                <a:gd name="connsiteX23" fmla="*/ 213787 w 290178"/>
                <a:gd name="connsiteY23" fmla="*/ 90869 h 124872"/>
                <a:gd name="connsiteX24" fmla="*/ 195595 w 290178"/>
                <a:gd name="connsiteY24" fmla="*/ 72866 h 124872"/>
                <a:gd name="connsiteX25" fmla="*/ 165496 w 290178"/>
                <a:gd name="connsiteY25" fmla="*/ 31814 h 124872"/>
                <a:gd name="connsiteX26" fmla="*/ 154828 w 290178"/>
                <a:gd name="connsiteY26" fmla="*/ 12287 h 124872"/>
                <a:gd name="connsiteX27" fmla="*/ 151208 w 290178"/>
                <a:gd name="connsiteY27" fmla="*/ 4286 h 124872"/>
                <a:gd name="connsiteX28" fmla="*/ 148637 w 290178"/>
                <a:gd name="connsiteY28" fmla="*/ 7049 h 124872"/>
                <a:gd name="connsiteX29" fmla="*/ 136445 w 290178"/>
                <a:gd name="connsiteY29" fmla="*/ 17812 h 124872"/>
                <a:gd name="connsiteX30" fmla="*/ 106155 w 290178"/>
                <a:gd name="connsiteY30" fmla="*/ 36290 h 124872"/>
                <a:gd name="connsiteX31" fmla="*/ 89867 w 290178"/>
                <a:gd name="connsiteY31" fmla="*/ 43053 h 124872"/>
                <a:gd name="connsiteX32" fmla="*/ 75294 w 290178"/>
                <a:gd name="connsiteY32" fmla="*/ 47149 h 124872"/>
                <a:gd name="connsiteX33" fmla="*/ 59768 w 290178"/>
                <a:gd name="connsiteY33" fmla="*/ 48006 h 124872"/>
                <a:gd name="connsiteX34" fmla="*/ 52720 w 290178"/>
                <a:gd name="connsiteY34" fmla="*/ 47149 h 124872"/>
                <a:gd name="connsiteX35" fmla="*/ 45957 w 290178"/>
                <a:gd name="connsiteY35" fmla="*/ 45529 h 124872"/>
                <a:gd name="connsiteX36" fmla="*/ 32908 w 290178"/>
                <a:gd name="connsiteY36" fmla="*/ 39910 h 124872"/>
                <a:gd name="connsiteX37" fmla="*/ 22335 w 290178"/>
                <a:gd name="connsiteY37" fmla="*/ 32290 h 124872"/>
                <a:gd name="connsiteX38" fmla="*/ 4809 w 290178"/>
                <a:gd name="connsiteY38" fmla="*/ 9906 h 124872"/>
                <a:gd name="connsiteX39" fmla="*/ 237 w 290178"/>
                <a:gd name="connsiteY39" fmla="*/ 0 h 124872"/>
                <a:gd name="connsiteX40" fmla="*/ 10905 w 290178"/>
                <a:gd name="connsiteY40" fmla="*/ 47434 h 124872"/>
                <a:gd name="connsiteX41" fmla="*/ 10905 w 290178"/>
                <a:gd name="connsiteY41" fmla="*/ 47434 h 124872"/>
                <a:gd name="connsiteX42" fmla="*/ 10905 w 290178"/>
                <a:gd name="connsiteY42" fmla="*/ 47434 h 12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0178" h="124872">
                  <a:moveTo>
                    <a:pt x="10905" y="47434"/>
                  </a:moveTo>
                  <a:cubicBezTo>
                    <a:pt x="15287" y="53912"/>
                    <a:pt x="21859" y="59436"/>
                    <a:pt x="30145" y="63722"/>
                  </a:cubicBezTo>
                  <a:cubicBezTo>
                    <a:pt x="37575" y="67532"/>
                    <a:pt x="46338" y="69532"/>
                    <a:pt x="56053" y="69532"/>
                  </a:cubicBezTo>
                  <a:cubicBezTo>
                    <a:pt x="57863" y="69532"/>
                    <a:pt x="59768" y="69437"/>
                    <a:pt x="61578" y="69342"/>
                  </a:cubicBezTo>
                  <a:cubicBezTo>
                    <a:pt x="69389" y="68771"/>
                    <a:pt x="78056" y="66675"/>
                    <a:pt x="87867" y="62865"/>
                  </a:cubicBezTo>
                  <a:cubicBezTo>
                    <a:pt x="95963" y="59722"/>
                    <a:pt x="104060" y="55626"/>
                    <a:pt x="113203" y="49911"/>
                  </a:cubicBezTo>
                  <a:cubicBezTo>
                    <a:pt x="119966" y="45815"/>
                    <a:pt x="127110" y="40767"/>
                    <a:pt x="135492" y="34004"/>
                  </a:cubicBezTo>
                  <a:cubicBezTo>
                    <a:pt x="140921" y="29527"/>
                    <a:pt x="145017" y="25813"/>
                    <a:pt x="148637" y="22289"/>
                  </a:cubicBezTo>
                  <a:cubicBezTo>
                    <a:pt x="149684" y="25146"/>
                    <a:pt x="151208" y="28099"/>
                    <a:pt x="152637" y="31051"/>
                  </a:cubicBezTo>
                  <a:lnTo>
                    <a:pt x="153304" y="32290"/>
                  </a:lnTo>
                  <a:lnTo>
                    <a:pt x="154733" y="35147"/>
                  </a:lnTo>
                  <a:cubicBezTo>
                    <a:pt x="161210" y="48101"/>
                    <a:pt x="168544" y="62770"/>
                    <a:pt x="177021" y="75914"/>
                  </a:cubicBezTo>
                  <a:cubicBezTo>
                    <a:pt x="183689" y="86297"/>
                    <a:pt x="191499" y="95631"/>
                    <a:pt x="200262" y="103727"/>
                  </a:cubicBezTo>
                  <a:cubicBezTo>
                    <a:pt x="209978" y="112586"/>
                    <a:pt x="220550" y="118967"/>
                    <a:pt x="231028" y="122206"/>
                  </a:cubicBezTo>
                  <a:cubicBezTo>
                    <a:pt x="236267" y="123825"/>
                    <a:pt x="241029" y="124682"/>
                    <a:pt x="245792" y="124873"/>
                  </a:cubicBezTo>
                  <a:lnTo>
                    <a:pt x="247125" y="124873"/>
                  </a:lnTo>
                  <a:cubicBezTo>
                    <a:pt x="251792" y="124873"/>
                    <a:pt x="256269" y="124206"/>
                    <a:pt x="261508" y="122777"/>
                  </a:cubicBezTo>
                  <a:cubicBezTo>
                    <a:pt x="269890" y="120396"/>
                    <a:pt x="277986" y="115157"/>
                    <a:pt x="285511" y="106966"/>
                  </a:cubicBezTo>
                  <a:cubicBezTo>
                    <a:pt x="287225" y="105061"/>
                    <a:pt x="288845" y="102965"/>
                    <a:pt x="290178" y="100965"/>
                  </a:cubicBezTo>
                  <a:cubicBezTo>
                    <a:pt x="289130" y="101918"/>
                    <a:pt x="287987" y="102870"/>
                    <a:pt x="286844" y="103823"/>
                  </a:cubicBezTo>
                  <a:cubicBezTo>
                    <a:pt x="282082" y="107442"/>
                    <a:pt x="276748" y="110299"/>
                    <a:pt x="270937" y="111633"/>
                  </a:cubicBezTo>
                  <a:cubicBezTo>
                    <a:pt x="264746" y="113062"/>
                    <a:pt x="258365" y="113157"/>
                    <a:pt x="252078" y="111824"/>
                  </a:cubicBezTo>
                  <a:cubicBezTo>
                    <a:pt x="245315" y="110395"/>
                    <a:pt x="238743" y="107728"/>
                    <a:pt x="232742" y="104299"/>
                  </a:cubicBezTo>
                  <a:cubicBezTo>
                    <a:pt x="225979" y="100489"/>
                    <a:pt x="219693" y="95917"/>
                    <a:pt x="213787" y="90869"/>
                  </a:cubicBezTo>
                  <a:cubicBezTo>
                    <a:pt x="207311" y="85249"/>
                    <a:pt x="201215" y="79248"/>
                    <a:pt x="195595" y="72866"/>
                  </a:cubicBezTo>
                  <a:cubicBezTo>
                    <a:pt x="184355" y="60198"/>
                    <a:pt x="174259" y="46292"/>
                    <a:pt x="165496" y="31814"/>
                  </a:cubicBezTo>
                  <a:cubicBezTo>
                    <a:pt x="161686" y="25432"/>
                    <a:pt x="158066" y="18955"/>
                    <a:pt x="154828" y="12287"/>
                  </a:cubicBezTo>
                  <a:cubicBezTo>
                    <a:pt x="153590" y="9620"/>
                    <a:pt x="152351" y="6953"/>
                    <a:pt x="151208" y="4286"/>
                  </a:cubicBezTo>
                  <a:cubicBezTo>
                    <a:pt x="150351" y="5239"/>
                    <a:pt x="149494" y="6096"/>
                    <a:pt x="148637" y="7049"/>
                  </a:cubicBezTo>
                  <a:cubicBezTo>
                    <a:pt x="144827" y="10858"/>
                    <a:pt x="140731" y="14573"/>
                    <a:pt x="136445" y="17812"/>
                  </a:cubicBezTo>
                  <a:cubicBezTo>
                    <a:pt x="127015" y="25051"/>
                    <a:pt x="116823" y="31242"/>
                    <a:pt x="106155" y="36290"/>
                  </a:cubicBezTo>
                  <a:cubicBezTo>
                    <a:pt x="100821" y="38862"/>
                    <a:pt x="95392" y="41148"/>
                    <a:pt x="89867" y="43053"/>
                  </a:cubicBezTo>
                  <a:cubicBezTo>
                    <a:pt x="85105" y="44768"/>
                    <a:pt x="80247" y="46292"/>
                    <a:pt x="75294" y="47149"/>
                  </a:cubicBezTo>
                  <a:cubicBezTo>
                    <a:pt x="70151" y="48006"/>
                    <a:pt x="65007" y="48387"/>
                    <a:pt x="59768" y="48006"/>
                  </a:cubicBezTo>
                  <a:cubicBezTo>
                    <a:pt x="57387" y="47816"/>
                    <a:pt x="55006" y="47625"/>
                    <a:pt x="52720" y="47149"/>
                  </a:cubicBezTo>
                  <a:cubicBezTo>
                    <a:pt x="50434" y="46673"/>
                    <a:pt x="48243" y="46196"/>
                    <a:pt x="45957" y="45529"/>
                  </a:cubicBezTo>
                  <a:cubicBezTo>
                    <a:pt x="41385" y="44196"/>
                    <a:pt x="37003" y="42291"/>
                    <a:pt x="32908" y="39910"/>
                  </a:cubicBezTo>
                  <a:cubicBezTo>
                    <a:pt x="29193" y="37624"/>
                    <a:pt x="25574" y="35147"/>
                    <a:pt x="22335" y="32290"/>
                  </a:cubicBezTo>
                  <a:cubicBezTo>
                    <a:pt x="15287" y="26003"/>
                    <a:pt x="9286" y="18383"/>
                    <a:pt x="4809" y="9906"/>
                  </a:cubicBezTo>
                  <a:cubicBezTo>
                    <a:pt x="3095" y="6668"/>
                    <a:pt x="1570" y="3334"/>
                    <a:pt x="237" y="0"/>
                  </a:cubicBezTo>
                  <a:cubicBezTo>
                    <a:pt x="-1001" y="19431"/>
                    <a:pt x="2618" y="35433"/>
                    <a:pt x="10905" y="47434"/>
                  </a:cubicBezTo>
                  <a:lnTo>
                    <a:pt x="10905" y="47434"/>
                  </a:lnTo>
                  <a:lnTo>
                    <a:pt x="10905" y="47434"/>
                  </a:lnTo>
                  <a:close/>
                </a:path>
              </a:pathLst>
            </a:custGeom>
            <a:solidFill>
              <a:srgbClr val="E5A22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23">
              <a:extLst>
                <a:ext uri="{FF2B5EF4-FFF2-40B4-BE49-F238E27FC236}">
                  <a16:creationId xmlns:a16="http://schemas.microsoft.com/office/drawing/2014/main" id="{505310FD-6FE6-4AB5-B9CC-787A05F3A88B}"/>
                </a:ext>
              </a:extLst>
            </p:cNvPr>
            <p:cNvSpPr/>
            <p:nvPr/>
          </p:nvSpPr>
          <p:spPr>
            <a:xfrm>
              <a:off x="6388690" y="2740387"/>
              <a:ext cx="15071" cy="15071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  <a:gd name="connsiteX3" fmla="*/ 0 w 9525"/>
                <a:gd name="connsiteY3" fmla="*/ 0 h 9525"/>
                <a:gd name="connsiteX4" fmla="*/ 0 w 9525"/>
                <a:gd name="connsiteY4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A22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24">
              <a:extLst>
                <a:ext uri="{FF2B5EF4-FFF2-40B4-BE49-F238E27FC236}">
                  <a16:creationId xmlns:a16="http://schemas.microsoft.com/office/drawing/2014/main" id="{80C6892B-DB8F-4C06-8D40-904A127885FA}"/>
                </a:ext>
              </a:extLst>
            </p:cNvPr>
            <p:cNvSpPr/>
            <p:nvPr/>
          </p:nvSpPr>
          <p:spPr>
            <a:xfrm>
              <a:off x="6593418" y="2196945"/>
              <a:ext cx="149971" cy="178144"/>
            </a:xfrm>
            <a:custGeom>
              <a:avLst/>
              <a:gdLst>
                <a:gd name="connsiteX0" fmla="*/ 88347 w 94786"/>
                <a:gd name="connsiteY0" fmla="*/ 667 h 112592"/>
                <a:gd name="connsiteX1" fmla="*/ 62725 w 94786"/>
                <a:gd name="connsiteY1" fmla="*/ 17526 h 112592"/>
                <a:gd name="connsiteX2" fmla="*/ 37960 w 94786"/>
                <a:gd name="connsiteY2" fmla="*/ 39338 h 112592"/>
                <a:gd name="connsiteX3" fmla="*/ 16148 w 94786"/>
                <a:gd name="connsiteY3" fmla="*/ 65913 h 112592"/>
                <a:gd name="connsiteX4" fmla="*/ 527 w 94786"/>
                <a:gd name="connsiteY4" fmla="*/ 95060 h 112592"/>
                <a:gd name="connsiteX5" fmla="*/ 336 w 94786"/>
                <a:gd name="connsiteY5" fmla="*/ 102108 h 112592"/>
                <a:gd name="connsiteX6" fmla="*/ 6527 w 94786"/>
                <a:gd name="connsiteY6" fmla="*/ 110585 h 112592"/>
                <a:gd name="connsiteX7" fmla="*/ 16910 w 94786"/>
                <a:gd name="connsiteY7" fmla="*/ 112205 h 112592"/>
                <a:gd name="connsiteX8" fmla="*/ 25387 w 94786"/>
                <a:gd name="connsiteY8" fmla="*/ 106013 h 112592"/>
                <a:gd name="connsiteX9" fmla="*/ 46914 w 94786"/>
                <a:gd name="connsiteY9" fmla="*/ 64770 h 112592"/>
                <a:gd name="connsiteX10" fmla="*/ 60439 w 94786"/>
                <a:gd name="connsiteY10" fmla="*/ 43624 h 112592"/>
                <a:gd name="connsiteX11" fmla="*/ 67773 w 94786"/>
                <a:gd name="connsiteY11" fmla="*/ 33719 h 112592"/>
                <a:gd name="connsiteX12" fmla="*/ 74345 w 94786"/>
                <a:gd name="connsiteY12" fmla="*/ 25051 h 112592"/>
                <a:gd name="connsiteX13" fmla="*/ 89490 w 94786"/>
                <a:gd name="connsiteY13" fmla="*/ 10382 h 112592"/>
                <a:gd name="connsiteX14" fmla="*/ 92443 w 94786"/>
                <a:gd name="connsiteY14" fmla="*/ 8382 h 112592"/>
                <a:gd name="connsiteX15" fmla="*/ 94253 w 94786"/>
                <a:gd name="connsiteY15" fmla="*/ 2381 h 112592"/>
                <a:gd name="connsiteX16" fmla="*/ 90252 w 94786"/>
                <a:gd name="connsiteY16" fmla="*/ 0 h 112592"/>
                <a:gd name="connsiteX17" fmla="*/ 88347 w 94786"/>
                <a:gd name="connsiteY17" fmla="*/ 667 h 112592"/>
                <a:gd name="connsiteX18" fmla="*/ 88347 w 94786"/>
                <a:gd name="connsiteY18" fmla="*/ 667 h 112592"/>
                <a:gd name="connsiteX19" fmla="*/ 88347 w 94786"/>
                <a:gd name="connsiteY19" fmla="*/ 667 h 112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4786" h="112592">
                  <a:moveTo>
                    <a:pt x="88347" y="667"/>
                  </a:moveTo>
                  <a:cubicBezTo>
                    <a:pt x="79775" y="6096"/>
                    <a:pt x="71107" y="11620"/>
                    <a:pt x="62725" y="17526"/>
                  </a:cubicBezTo>
                  <a:cubicBezTo>
                    <a:pt x="53676" y="23908"/>
                    <a:pt x="45675" y="31433"/>
                    <a:pt x="37960" y="39338"/>
                  </a:cubicBezTo>
                  <a:cubicBezTo>
                    <a:pt x="30054" y="47530"/>
                    <a:pt x="22625" y="56483"/>
                    <a:pt x="16148" y="65913"/>
                  </a:cubicBezTo>
                  <a:cubicBezTo>
                    <a:pt x="9861" y="75057"/>
                    <a:pt x="4623" y="84677"/>
                    <a:pt x="527" y="95060"/>
                  </a:cubicBezTo>
                  <a:cubicBezTo>
                    <a:pt x="-140" y="97441"/>
                    <a:pt x="-140" y="99727"/>
                    <a:pt x="336" y="102108"/>
                  </a:cubicBezTo>
                  <a:cubicBezTo>
                    <a:pt x="1194" y="105632"/>
                    <a:pt x="3384" y="108775"/>
                    <a:pt x="6527" y="110585"/>
                  </a:cubicBezTo>
                  <a:cubicBezTo>
                    <a:pt x="9576" y="112490"/>
                    <a:pt x="13385" y="113062"/>
                    <a:pt x="16910" y="112205"/>
                  </a:cubicBezTo>
                  <a:cubicBezTo>
                    <a:pt x="20244" y="111443"/>
                    <a:pt x="23863" y="109157"/>
                    <a:pt x="25387" y="106013"/>
                  </a:cubicBezTo>
                  <a:cubicBezTo>
                    <a:pt x="32435" y="92202"/>
                    <a:pt x="39198" y="78200"/>
                    <a:pt x="46914" y="64770"/>
                  </a:cubicBezTo>
                  <a:cubicBezTo>
                    <a:pt x="51105" y="57531"/>
                    <a:pt x="55581" y="50483"/>
                    <a:pt x="60439" y="43624"/>
                  </a:cubicBezTo>
                  <a:cubicBezTo>
                    <a:pt x="62820" y="40291"/>
                    <a:pt x="65297" y="37052"/>
                    <a:pt x="67773" y="33719"/>
                  </a:cubicBezTo>
                  <a:cubicBezTo>
                    <a:pt x="69964" y="30766"/>
                    <a:pt x="72155" y="27908"/>
                    <a:pt x="74345" y="25051"/>
                  </a:cubicBezTo>
                  <a:cubicBezTo>
                    <a:pt x="78822" y="19717"/>
                    <a:pt x="83870" y="14669"/>
                    <a:pt x="89490" y="10382"/>
                  </a:cubicBezTo>
                  <a:cubicBezTo>
                    <a:pt x="90443" y="9715"/>
                    <a:pt x="91491" y="9049"/>
                    <a:pt x="92443" y="8382"/>
                  </a:cubicBezTo>
                  <a:cubicBezTo>
                    <a:pt x="94443" y="7048"/>
                    <a:pt x="95491" y="4667"/>
                    <a:pt x="94253" y="2381"/>
                  </a:cubicBezTo>
                  <a:cubicBezTo>
                    <a:pt x="93491" y="952"/>
                    <a:pt x="91872" y="0"/>
                    <a:pt x="90252" y="0"/>
                  </a:cubicBezTo>
                  <a:cubicBezTo>
                    <a:pt x="89681" y="95"/>
                    <a:pt x="89014" y="286"/>
                    <a:pt x="88347" y="667"/>
                  </a:cubicBezTo>
                  <a:lnTo>
                    <a:pt x="88347" y="667"/>
                  </a:lnTo>
                  <a:lnTo>
                    <a:pt x="88347" y="667"/>
                  </a:lnTo>
                  <a:close/>
                </a:path>
              </a:pathLst>
            </a:custGeom>
            <a:solidFill>
              <a:srgbClr val="FFD38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25">
              <a:extLst>
                <a:ext uri="{FF2B5EF4-FFF2-40B4-BE49-F238E27FC236}">
                  <a16:creationId xmlns:a16="http://schemas.microsoft.com/office/drawing/2014/main" id="{AFE29E39-98F4-4653-A6BB-3A2D49C231A4}"/>
                </a:ext>
              </a:extLst>
            </p:cNvPr>
            <p:cNvSpPr/>
            <p:nvPr/>
          </p:nvSpPr>
          <p:spPr>
            <a:xfrm>
              <a:off x="6379647" y="2370535"/>
              <a:ext cx="83490" cy="166709"/>
            </a:xfrm>
            <a:custGeom>
              <a:avLst/>
              <a:gdLst>
                <a:gd name="connsiteX0" fmla="*/ 0 w 52768"/>
                <a:gd name="connsiteY0" fmla="*/ 4014 h 105365"/>
                <a:gd name="connsiteX1" fmla="*/ 191 w 52768"/>
                <a:gd name="connsiteY1" fmla="*/ 15254 h 105365"/>
                <a:gd name="connsiteX2" fmla="*/ 1238 w 52768"/>
                <a:gd name="connsiteY2" fmla="*/ 28208 h 105365"/>
                <a:gd name="connsiteX3" fmla="*/ 2762 w 52768"/>
                <a:gd name="connsiteY3" fmla="*/ 40114 h 105365"/>
                <a:gd name="connsiteX4" fmla="*/ 6001 w 52768"/>
                <a:gd name="connsiteY4" fmla="*/ 53354 h 105365"/>
                <a:gd name="connsiteX5" fmla="*/ 14764 w 52768"/>
                <a:gd name="connsiteY5" fmla="*/ 78500 h 105365"/>
                <a:gd name="connsiteX6" fmla="*/ 21336 w 52768"/>
                <a:gd name="connsiteY6" fmla="*/ 89930 h 105365"/>
                <a:gd name="connsiteX7" fmla="*/ 30480 w 52768"/>
                <a:gd name="connsiteY7" fmla="*/ 101265 h 105365"/>
                <a:gd name="connsiteX8" fmla="*/ 39624 w 52768"/>
                <a:gd name="connsiteY8" fmla="*/ 105360 h 105365"/>
                <a:gd name="connsiteX9" fmla="*/ 48673 w 52768"/>
                <a:gd name="connsiteY9" fmla="*/ 101931 h 105365"/>
                <a:gd name="connsiteX10" fmla="*/ 52769 w 52768"/>
                <a:gd name="connsiteY10" fmla="*/ 92883 h 105365"/>
                <a:gd name="connsiteX11" fmla="*/ 49339 w 52768"/>
                <a:gd name="connsiteY11" fmla="*/ 83834 h 105365"/>
                <a:gd name="connsiteX12" fmla="*/ 38291 w 52768"/>
                <a:gd name="connsiteY12" fmla="*/ 70785 h 105365"/>
                <a:gd name="connsiteX13" fmla="*/ 27908 w 52768"/>
                <a:gd name="connsiteY13" fmla="*/ 57450 h 105365"/>
                <a:gd name="connsiteX14" fmla="*/ 20098 w 52768"/>
                <a:gd name="connsiteY14" fmla="*/ 44877 h 105365"/>
                <a:gd name="connsiteX15" fmla="*/ 13526 w 52768"/>
                <a:gd name="connsiteY15" fmla="*/ 29732 h 105365"/>
                <a:gd name="connsiteX16" fmla="*/ 8954 w 52768"/>
                <a:gd name="connsiteY16" fmla="*/ 10206 h 105365"/>
                <a:gd name="connsiteX17" fmla="*/ 8763 w 52768"/>
                <a:gd name="connsiteY17" fmla="*/ 4300 h 105365"/>
                <a:gd name="connsiteX18" fmla="*/ 4572 w 52768"/>
                <a:gd name="connsiteY18" fmla="*/ 14 h 105365"/>
                <a:gd name="connsiteX19" fmla="*/ 4477 w 52768"/>
                <a:gd name="connsiteY19" fmla="*/ 14 h 105365"/>
                <a:gd name="connsiteX20" fmla="*/ 0 w 52768"/>
                <a:gd name="connsiteY20" fmla="*/ 4014 h 105365"/>
                <a:gd name="connsiteX21" fmla="*/ 0 w 52768"/>
                <a:gd name="connsiteY21" fmla="*/ 4014 h 105365"/>
                <a:gd name="connsiteX22" fmla="*/ 0 w 52768"/>
                <a:gd name="connsiteY22" fmla="*/ 4014 h 105365"/>
                <a:gd name="connsiteX23" fmla="*/ 8763 w 52768"/>
                <a:gd name="connsiteY23" fmla="*/ 10110 h 105365"/>
                <a:gd name="connsiteX24" fmla="*/ 8858 w 52768"/>
                <a:gd name="connsiteY24" fmla="*/ 11158 h 105365"/>
                <a:gd name="connsiteX25" fmla="*/ 8763 w 52768"/>
                <a:gd name="connsiteY25" fmla="*/ 10110 h 105365"/>
                <a:gd name="connsiteX26" fmla="*/ 8763 w 52768"/>
                <a:gd name="connsiteY26" fmla="*/ 10110 h 105365"/>
                <a:gd name="connsiteX27" fmla="*/ 8763 w 52768"/>
                <a:gd name="connsiteY27" fmla="*/ 10110 h 105365"/>
                <a:gd name="connsiteX28" fmla="*/ 27908 w 52768"/>
                <a:gd name="connsiteY28" fmla="*/ 57640 h 105365"/>
                <a:gd name="connsiteX29" fmla="*/ 28861 w 52768"/>
                <a:gd name="connsiteY29" fmla="*/ 58974 h 105365"/>
                <a:gd name="connsiteX30" fmla="*/ 27908 w 52768"/>
                <a:gd name="connsiteY30" fmla="*/ 57640 h 105365"/>
                <a:gd name="connsiteX31" fmla="*/ 27908 w 52768"/>
                <a:gd name="connsiteY31" fmla="*/ 57640 h 105365"/>
                <a:gd name="connsiteX32" fmla="*/ 27908 w 52768"/>
                <a:gd name="connsiteY32" fmla="*/ 57640 h 10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2768" h="105365">
                  <a:moveTo>
                    <a:pt x="0" y="4014"/>
                  </a:moveTo>
                  <a:cubicBezTo>
                    <a:pt x="0" y="7729"/>
                    <a:pt x="0" y="11539"/>
                    <a:pt x="191" y="15254"/>
                  </a:cubicBezTo>
                  <a:cubicBezTo>
                    <a:pt x="381" y="19540"/>
                    <a:pt x="857" y="23922"/>
                    <a:pt x="1238" y="28208"/>
                  </a:cubicBezTo>
                  <a:cubicBezTo>
                    <a:pt x="1619" y="32208"/>
                    <a:pt x="2096" y="36114"/>
                    <a:pt x="2762" y="40114"/>
                  </a:cubicBezTo>
                  <a:cubicBezTo>
                    <a:pt x="3620" y="44591"/>
                    <a:pt x="4858" y="48972"/>
                    <a:pt x="6001" y="53354"/>
                  </a:cubicBezTo>
                  <a:cubicBezTo>
                    <a:pt x="8192" y="61926"/>
                    <a:pt x="11049" y="70404"/>
                    <a:pt x="14764" y="78500"/>
                  </a:cubicBezTo>
                  <a:cubicBezTo>
                    <a:pt x="16573" y="82500"/>
                    <a:pt x="18764" y="86215"/>
                    <a:pt x="21336" y="89930"/>
                  </a:cubicBezTo>
                  <a:cubicBezTo>
                    <a:pt x="24098" y="93930"/>
                    <a:pt x="26956" y="97931"/>
                    <a:pt x="30480" y="101265"/>
                  </a:cubicBezTo>
                  <a:cubicBezTo>
                    <a:pt x="33052" y="103646"/>
                    <a:pt x="36004" y="105265"/>
                    <a:pt x="39624" y="105360"/>
                  </a:cubicBezTo>
                  <a:cubicBezTo>
                    <a:pt x="42958" y="105456"/>
                    <a:pt x="46196" y="104122"/>
                    <a:pt x="48673" y="101931"/>
                  </a:cubicBezTo>
                  <a:cubicBezTo>
                    <a:pt x="51149" y="99550"/>
                    <a:pt x="52673" y="96312"/>
                    <a:pt x="52769" y="92883"/>
                  </a:cubicBezTo>
                  <a:cubicBezTo>
                    <a:pt x="52769" y="89358"/>
                    <a:pt x="51435" y="86501"/>
                    <a:pt x="49339" y="83834"/>
                  </a:cubicBezTo>
                  <a:cubicBezTo>
                    <a:pt x="45720" y="79452"/>
                    <a:pt x="41910" y="75166"/>
                    <a:pt x="38291" y="70785"/>
                  </a:cubicBezTo>
                  <a:cubicBezTo>
                    <a:pt x="34766" y="66403"/>
                    <a:pt x="31242" y="62022"/>
                    <a:pt x="27908" y="57450"/>
                  </a:cubicBezTo>
                  <a:cubicBezTo>
                    <a:pt x="25146" y="53354"/>
                    <a:pt x="22479" y="49258"/>
                    <a:pt x="20098" y="44877"/>
                  </a:cubicBezTo>
                  <a:cubicBezTo>
                    <a:pt x="17526" y="40019"/>
                    <a:pt x="15526" y="34875"/>
                    <a:pt x="13526" y="29732"/>
                  </a:cubicBezTo>
                  <a:cubicBezTo>
                    <a:pt x="11144" y="23350"/>
                    <a:pt x="9716" y="16873"/>
                    <a:pt x="8954" y="10206"/>
                  </a:cubicBezTo>
                  <a:cubicBezTo>
                    <a:pt x="8763" y="8205"/>
                    <a:pt x="8763" y="6300"/>
                    <a:pt x="8763" y="4300"/>
                  </a:cubicBezTo>
                  <a:cubicBezTo>
                    <a:pt x="8763" y="2014"/>
                    <a:pt x="6953" y="14"/>
                    <a:pt x="4572" y="14"/>
                  </a:cubicBezTo>
                  <a:cubicBezTo>
                    <a:pt x="4572" y="14"/>
                    <a:pt x="4477" y="14"/>
                    <a:pt x="4477" y="14"/>
                  </a:cubicBezTo>
                  <a:cubicBezTo>
                    <a:pt x="1905" y="-177"/>
                    <a:pt x="0" y="1633"/>
                    <a:pt x="0" y="4014"/>
                  </a:cubicBezTo>
                  <a:lnTo>
                    <a:pt x="0" y="4014"/>
                  </a:lnTo>
                  <a:lnTo>
                    <a:pt x="0" y="4014"/>
                  </a:lnTo>
                  <a:close/>
                  <a:moveTo>
                    <a:pt x="8763" y="10110"/>
                  </a:moveTo>
                  <a:cubicBezTo>
                    <a:pt x="8763" y="10491"/>
                    <a:pt x="8858" y="10777"/>
                    <a:pt x="8858" y="11158"/>
                  </a:cubicBezTo>
                  <a:cubicBezTo>
                    <a:pt x="8763" y="10777"/>
                    <a:pt x="8763" y="10396"/>
                    <a:pt x="8763" y="10110"/>
                  </a:cubicBezTo>
                  <a:lnTo>
                    <a:pt x="8763" y="10110"/>
                  </a:lnTo>
                  <a:lnTo>
                    <a:pt x="8763" y="10110"/>
                  </a:lnTo>
                  <a:close/>
                  <a:moveTo>
                    <a:pt x="27908" y="57640"/>
                  </a:moveTo>
                  <a:cubicBezTo>
                    <a:pt x="28194" y="58116"/>
                    <a:pt x="28480" y="58497"/>
                    <a:pt x="28861" y="58974"/>
                  </a:cubicBezTo>
                  <a:cubicBezTo>
                    <a:pt x="28480" y="58497"/>
                    <a:pt x="28194" y="58116"/>
                    <a:pt x="27908" y="57640"/>
                  </a:cubicBezTo>
                  <a:lnTo>
                    <a:pt x="27908" y="57640"/>
                  </a:lnTo>
                  <a:lnTo>
                    <a:pt x="27908" y="57640"/>
                  </a:lnTo>
                  <a:close/>
                </a:path>
              </a:pathLst>
            </a:custGeom>
            <a:solidFill>
              <a:srgbClr val="FFD38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26">
              <a:extLst>
                <a:ext uri="{FF2B5EF4-FFF2-40B4-BE49-F238E27FC236}">
                  <a16:creationId xmlns:a16="http://schemas.microsoft.com/office/drawing/2014/main" id="{4221D59C-D8AE-4D58-A203-C432F9E24FDE}"/>
                </a:ext>
              </a:extLst>
            </p:cNvPr>
            <p:cNvSpPr/>
            <p:nvPr/>
          </p:nvSpPr>
          <p:spPr>
            <a:xfrm>
              <a:off x="6457861" y="2539949"/>
              <a:ext cx="24269" cy="24263"/>
            </a:xfrm>
            <a:custGeom>
              <a:avLst/>
              <a:gdLst>
                <a:gd name="connsiteX0" fmla="*/ 2 w 15339"/>
                <a:gd name="connsiteY0" fmla="*/ 7525 h 15335"/>
                <a:gd name="connsiteX1" fmla="*/ 7527 w 15339"/>
                <a:gd name="connsiteY1" fmla="*/ 15335 h 15335"/>
                <a:gd name="connsiteX2" fmla="*/ 15337 w 15339"/>
                <a:gd name="connsiteY2" fmla="*/ 7810 h 15335"/>
                <a:gd name="connsiteX3" fmla="*/ 7813 w 15339"/>
                <a:gd name="connsiteY3" fmla="*/ 0 h 15335"/>
                <a:gd name="connsiteX4" fmla="*/ 2 w 15339"/>
                <a:gd name="connsiteY4" fmla="*/ 7525 h 15335"/>
                <a:gd name="connsiteX5" fmla="*/ 2 w 15339"/>
                <a:gd name="connsiteY5" fmla="*/ 7525 h 15335"/>
                <a:gd name="connsiteX6" fmla="*/ 2 w 15339"/>
                <a:gd name="connsiteY6" fmla="*/ 7525 h 15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39" h="15335">
                  <a:moveTo>
                    <a:pt x="2" y="7525"/>
                  </a:moveTo>
                  <a:cubicBezTo>
                    <a:pt x="-93" y="11621"/>
                    <a:pt x="3336" y="15335"/>
                    <a:pt x="7527" y="15335"/>
                  </a:cubicBezTo>
                  <a:cubicBezTo>
                    <a:pt x="11718" y="15335"/>
                    <a:pt x="15242" y="12097"/>
                    <a:pt x="15337" y="7810"/>
                  </a:cubicBezTo>
                  <a:cubicBezTo>
                    <a:pt x="15432" y="3715"/>
                    <a:pt x="12004" y="0"/>
                    <a:pt x="7813" y="0"/>
                  </a:cubicBezTo>
                  <a:cubicBezTo>
                    <a:pt x="3621" y="0"/>
                    <a:pt x="97" y="3334"/>
                    <a:pt x="2" y="7525"/>
                  </a:cubicBezTo>
                  <a:lnTo>
                    <a:pt x="2" y="7525"/>
                  </a:lnTo>
                  <a:lnTo>
                    <a:pt x="2" y="7525"/>
                  </a:lnTo>
                  <a:close/>
                </a:path>
              </a:pathLst>
            </a:custGeom>
            <a:solidFill>
              <a:srgbClr val="FFD38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27">
              <a:extLst>
                <a:ext uri="{FF2B5EF4-FFF2-40B4-BE49-F238E27FC236}">
                  <a16:creationId xmlns:a16="http://schemas.microsoft.com/office/drawing/2014/main" id="{3426410A-C05C-45B0-99A1-9ECC1673623C}"/>
                </a:ext>
              </a:extLst>
            </p:cNvPr>
            <p:cNvSpPr/>
            <p:nvPr/>
          </p:nvSpPr>
          <p:spPr>
            <a:xfrm>
              <a:off x="6402018" y="2630524"/>
              <a:ext cx="42243" cy="135439"/>
            </a:xfrm>
            <a:custGeom>
              <a:avLst/>
              <a:gdLst>
                <a:gd name="connsiteX0" fmla="*/ 18341 w 26699"/>
                <a:gd name="connsiteY0" fmla="*/ 2191 h 85601"/>
                <a:gd name="connsiteX1" fmla="*/ 9292 w 26699"/>
                <a:gd name="connsiteY1" fmla="*/ 19621 h 85601"/>
                <a:gd name="connsiteX2" fmla="*/ 2815 w 26699"/>
                <a:gd name="connsiteY2" fmla="*/ 38195 h 85601"/>
                <a:gd name="connsiteX3" fmla="*/ 911 w 26699"/>
                <a:gd name="connsiteY3" fmla="*/ 48101 h 85601"/>
                <a:gd name="connsiteX4" fmla="*/ 53 w 26699"/>
                <a:gd name="connsiteY4" fmla="*/ 57912 h 85601"/>
                <a:gd name="connsiteX5" fmla="*/ 2911 w 26699"/>
                <a:gd name="connsiteY5" fmla="*/ 78295 h 85601"/>
                <a:gd name="connsiteX6" fmla="*/ 7197 w 26699"/>
                <a:gd name="connsiteY6" fmla="*/ 84201 h 85601"/>
                <a:gd name="connsiteX7" fmla="*/ 14436 w 26699"/>
                <a:gd name="connsiteY7" fmla="*/ 85344 h 85601"/>
                <a:gd name="connsiteX8" fmla="*/ 21484 w 26699"/>
                <a:gd name="connsiteY8" fmla="*/ 73819 h 85601"/>
                <a:gd name="connsiteX9" fmla="*/ 16912 w 26699"/>
                <a:gd name="connsiteY9" fmla="*/ 51816 h 85601"/>
                <a:gd name="connsiteX10" fmla="*/ 17294 w 26699"/>
                <a:gd name="connsiteY10" fmla="*/ 31718 h 85601"/>
                <a:gd name="connsiteX11" fmla="*/ 22723 w 26699"/>
                <a:gd name="connsiteY11" fmla="*/ 13430 h 85601"/>
                <a:gd name="connsiteX12" fmla="*/ 26056 w 26699"/>
                <a:gd name="connsiteY12" fmla="*/ 6953 h 85601"/>
                <a:gd name="connsiteX13" fmla="*/ 24532 w 26699"/>
                <a:gd name="connsiteY13" fmla="*/ 667 h 85601"/>
                <a:gd name="connsiteX14" fmla="*/ 22151 w 26699"/>
                <a:gd name="connsiteY14" fmla="*/ 0 h 85601"/>
                <a:gd name="connsiteX15" fmla="*/ 18341 w 26699"/>
                <a:gd name="connsiteY15" fmla="*/ 2191 h 85601"/>
                <a:gd name="connsiteX16" fmla="*/ 18341 w 26699"/>
                <a:gd name="connsiteY16" fmla="*/ 2191 h 85601"/>
                <a:gd name="connsiteX17" fmla="*/ 18341 w 26699"/>
                <a:gd name="connsiteY17" fmla="*/ 2191 h 8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699" h="85601">
                  <a:moveTo>
                    <a:pt x="18341" y="2191"/>
                  </a:moveTo>
                  <a:cubicBezTo>
                    <a:pt x="15007" y="7810"/>
                    <a:pt x="11864" y="13621"/>
                    <a:pt x="9292" y="19621"/>
                  </a:cubicBezTo>
                  <a:cubicBezTo>
                    <a:pt x="6721" y="25622"/>
                    <a:pt x="4530" y="31909"/>
                    <a:pt x="2815" y="38195"/>
                  </a:cubicBezTo>
                  <a:cubicBezTo>
                    <a:pt x="1863" y="41434"/>
                    <a:pt x="1482" y="44767"/>
                    <a:pt x="911" y="48101"/>
                  </a:cubicBezTo>
                  <a:cubicBezTo>
                    <a:pt x="434" y="51340"/>
                    <a:pt x="244" y="54578"/>
                    <a:pt x="53" y="57912"/>
                  </a:cubicBezTo>
                  <a:cubicBezTo>
                    <a:pt x="-233" y="64675"/>
                    <a:pt x="625" y="71818"/>
                    <a:pt x="2911" y="78295"/>
                  </a:cubicBezTo>
                  <a:cubicBezTo>
                    <a:pt x="3768" y="80772"/>
                    <a:pt x="4816" y="82772"/>
                    <a:pt x="7197" y="84201"/>
                  </a:cubicBezTo>
                  <a:cubicBezTo>
                    <a:pt x="9388" y="85534"/>
                    <a:pt x="11959" y="85915"/>
                    <a:pt x="14436" y="85344"/>
                  </a:cubicBezTo>
                  <a:cubicBezTo>
                    <a:pt x="19484" y="84106"/>
                    <a:pt x="22628" y="78867"/>
                    <a:pt x="21484" y="73819"/>
                  </a:cubicBezTo>
                  <a:cubicBezTo>
                    <a:pt x="19770" y="66484"/>
                    <a:pt x="17865" y="59245"/>
                    <a:pt x="16912" y="51816"/>
                  </a:cubicBezTo>
                  <a:cubicBezTo>
                    <a:pt x="16341" y="45148"/>
                    <a:pt x="16436" y="38386"/>
                    <a:pt x="17294" y="31718"/>
                  </a:cubicBezTo>
                  <a:cubicBezTo>
                    <a:pt x="18436" y="25432"/>
                    <a:pt x="20246" y="19336"/>
                    <a:pt x="22723" y="13430"/>
                  </a:cubicBezTo>
                  <a:cubicBezTo>
                    <a:pt x="23770" y="11239"/>
                    <a:pt x="24913" y="9049"/>
                    <a:pt x="26056" y="6953"/>
                  </a:cubicBezTo>
                  <a:cubicBezTo>
                    <a:pt x="27295" y="4763"/>
                    <a:pt x="26723" y="2000"/>
                    <a:pt x="24532" y="667"/>
                  </a:cubicBezTo>
                  <a:cubicBezTo>
                    <a:pt x="23770" y="190"/>
                    <a:pt x="23008" y="0"/>
                    <a:pt x="22151" y="0"/>
                  </a:cubicBezTo>
                  <a:cubicBezTo>
                    <a:pt x="20722" y="0"/>
                    <a:pt x="19198" y="762"/>
                    <a:pt x="18341" y="2191"/>
                  </a:cubicBezTo>
                  <a:lnTo>
                    <a:pt x="18341" y="2191"/>
                  </a:lnTo>
                  <a:lnTo>
                    <a:pt x="18341" y="2191"/>
                  </a:lnTo>
                  <a:close/>
                </a:path>
              </a:pathLst>
            </a:custGeom>
            <a:solidFill>
              <a:srgbClr val="FFD38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28">
              <a:extLst>
                <a:ext uri="{FF2B5EF4-FFF2-40B4-BE49-F238E27FC236}">
                  <a16:creationId xmlns:a16="http://schemas.microsoft.com/office/drawing/2014/main" id="{E6FFFE27-320D-431B-8FF9-62274897C7CF}"/>
                </a:ext>
              </a:extLst>
            </p:cNvPr>
            <p:cNvSpPr/>
            <p:nvPr/>
          </p:nvSpPr>
          <p:spPr>
            <a:xfrm>
              <a:off x="6661214" y="2750485"/>
              <a:ext cx="106929" cy="129368"/>
            </a:xfrm>
            <a:custGeom>
              <a:avLst/>
              <a:gdLst>
                <a:gd name="connsiteX0" fmla="*/ 2160 w 67582"/>
                <a:gd name="connsiteY0" fmla="*/ 381 h 81764"/>
                <a:gd name="connsiteX1" fmla="*/ 350 w 67582"/>
                <a:gd name="connsiteY1" fmla="*/ 5429 h 81764"/>
                <a:gd name="connsiteX2" fmla="*/ 19876 w 67582"/>
                <a:gd name="connsiteY2" fmla="*/ 45434 h 81764"/>
                <a:gd name="connsiteX3" fmla="*/ 33783 w 67582"/>
                <a:gd name="connsiteY3" fmla="*/ 64484 h 81764"/>
                <a:gd name="connsiteX4" fmla="*/ 51690 w 67582"/>
                <a:gd name="connsiteY4" fmla="*/ 80010 h 81764"/>
                <a:gd name="connsiteX5" fmla="*/ 65786 w 67582"/>
                <a:gd name="connsiteY5" fmla="*/ 77629 h 81764"/>
                <a:gd name="connsiteX6" fmla="*/ 63405 w 67582"/>
                <a:gd name="connsiteY6" fmla="*/ 63532 h 81764"/>
                <a:gd name="connsiteX7" fmla="*/ 49785 w 67582"/>
                <a:gd name="connsiteY7" fmla="*/ 53816 h 81764"/>
                <a:gd name="connsiteX8" fmla="*/ 37783 w 67582"/>
                <a:gd name="connsiteY8" fmla="*/ 43529 h 81764"/>
                <a:gd name="connsiteX9" fmla="*/ 14352 w 67582"/>
                <a:gd name="connsiteY9" fmla="*/ 16002 h 81764"/>
                <a:gd name="connsiteX10" fmla="*/ 15018 w 67582"/>
                <a:gd name="connsiteY10" fmla="*/ 16954 h 81764"/>
                <a:gd name="connsiteX11" fmla="*/ 7112 w 67582"/>
                <a:gd name="connsiteY11" fmla="*/ 2191 h 81764"/>
                <a:gd name="connsiteX12" fmla="*/ 3684 w 67582"/>
                <a:gd name="connsiteY12" fmla="*/ 0 h 81764"/>
                <a:gd name="connsiteX13" fmla="*/ 2160 w 67582"/>
                <a:gd name="connsiteY13" fmla="*/ 381 h 81764"/>
                <a:gd name="connsiteX14" fmla="*/ 2160 w 67582"/>
                <a:gd name="connsiteY14" fmla="*/ 381 h 81764"/>
                <a:gd name="connsiteX15" fmla="*/ 2160 w 67582"/>
                <a:gd name="connsiteY15" fmla="*/ 381 h 81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582" h="81764">
                  <a:moveTo>
                    <a:pt x="2160" y="381"/>
                  </a:moveTo>
                  <a:cubicBezTo>
                    <a:pt x="254" y="1238"/>
                    <a:pt x="-507" y="3524"/>
                    <a:pt x="350" y="5429"/>
                  </a:cubicBezTo>
                  <a:cubicBezTo>
                    <a:pt x="6255" y="19050"/>
                    <a:pt x="12256" y="32671"/>
                    <a:pt x="19876" y="45434"/>
                  </a:cubicBezTo>
                  <a:cubicBezTo>
                    <a:pt x="23972" y="52197"/>
                    <a:pt x="28449" y="58579"/>
                    <a:pt x="33783" y="64484"/>
                  </a:cubicBezTo>
                  <a:cubicBezTo>
                    <a:pt x="39117" y="70295"/>
                    <a:pt x="45117" y="75724"/>
                    <a:pt x="51690" y="80010"/>
                  </a:cubicBezTo>
                  <a:cubicBezTo>
                    <a:pt x="56261" y="82963"/>
                    <a:pt x="62453" y="82201"/>
                    <a:pt x="65786" y="77629"/>
                  </a:cubicBezTo>
                  <a:cubicBezTo>
                    <a:pt x="68835" y="73247"/>
                    <a:pt x="67977" y="66580"/>
                    <a:pt x="63405" y="63532"/>
                  </a:cubicBezTo>
                  <a:cubicBezTo>
                    <a:pt x="58738" y="60484"/>
                    <a:pt x="54166" y="57245"/>
                    <a:pt x="49785" y="53816"/>
                  </a:cubicBezTo>
                  <a:cubicBezTo>
                    <a:pt x="45594" y="50578"/>
                    <a:pt x="41688" y="47053"/>
                    <a:pt x="37783" y="43529"/>
                  </a:cubicBezTo>
                  <a:cubicBezTo>
                    <a:pt x="28925" y="35243"/>
                    <a:pt x="21019" y="26194"/>
                    <a:pt x="14352" y="16002"/>
                  </a:cubicBezTo>
                  <a:cubicBezTo>
                    <a:pt x="14542" y="16288"/>
                    <a:pt x="14733" y="16669"/>
                    <a:pt x="15018" y="16954"/>
                  </a:cubicBezTo>
                  <a:cubicBezTo>
                    <a:pt x="11970" y="12192"/>
                    <a:pt x="9399" y="7334"/>
                    <a:pt x="7112" y="2191"/>
                  </a:cubicBezTo>
                  <a:cubicBezTo>
                    <a:pt x="6541" y="857"/>
                    <a:pt x="5112" y="0"/>
                    <a:pt x="3684" y="0"/>
                  </a:cubicBezTo>
                  <a:cubicBezTo>
                    <a:pt x="3207" y="0"/>
                    <a:pt x="2731" y="95"/>
                    <a:pt x="2160" y="381"/>
                  </a:cubicBezTo>
                  <a:lnTo>
                    <a:pt x="2160" y="381"/>
                  </a:lnTo>
                  <a:lnTo>
                    <a:pt x="2160" y="381"/>
                  </a:lnTo>
                  <a:close/>
                </a:path>
              </a:pathLst>
            </a:custGeom>
            <a:solidFill>
              <a:srgbClr val="FFD38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30">
              <a:extLst>
                <a:ext uri="{FF2B5EF4-FFF2-40B4-BE49-F238E27FC236}">
                  <a16:creationId xmlns:a16="http://schemas.microsoft.com/office/drawing/2014/main" id="{1405DECA-3555-4BD6-A2FD-A7F8AC712F38}"/>
                </a:ext>
              </a:extLst>
            </p:cNvPr>
            <p:cNvSpPr/>
            <p:nvPr/>
          </p:nvSpPr>
          <p:spPr>
            <a:xfrm rot="782819">
              <a:off x="6665102" y="3262338"/>
              <a:ext cx="953658" cy="1009609"/>
            </a:xfrm>
            <a:custGeom>
              <a:avLst/>
              <a:gdLst>
                <a:gd name="connsiteX0" fmla="*/ 218338 w 383469"/>
                <a:gd name="connsiteY0" fmla="*/ 12 h 405967"/>
                <a:gd name="connsiteX1" fmla="*/ 213671 w 383469"/>
                <a:gd name="connsiteY1" fmla="*/ 488 h 405967"/>
                <a:gd name="connsiteX2" fmla="*/ 198145 w 383469"/>
                <a:gd name="connsiteY2" fmla="*/ 6298 h 405967"/>
                <a:gd name="connsiteX3" fmla="*/ 182619 w 383469"/>
                <a:gd name="connsiteY3" fmla="*/ 17062 h 405967"/>
                <a:gd name="connsiteX4" fmla="*/ 162046 w 383469"/>
                <a:gd name="connsiteY4" fmla="*/ 38112 h 405967"/>
                <a:gd name="connsiteX5" fmla="*/ 142996 w 383469"/>
                <a:gd name="connsiteY5" fmla="*/ 63353 h 405967"/>
                <a:gd name="connsiteX6" fmla="*/ 115564 w 383469"/>
                <a:gd name="connsiteY6" fmla="*/ 110121 h 405967"/>
                <a:gd name="connsiteX7" fmla="*/ 93846 w 383469"/>
                <a:gd name="connsiteY7" fmla="*/ 102215 h 405967"/>
                <a:gd name="connsiteX8" fmla="*/ 85274 w 383469"/>
                <a:gd name="connsiteY8" fmla="*/ 99643 h 405967"/>
                <a:gd name="connsiteX9" fmla="*/ 84131 w 383469"/>
                <a:gd name="connsiteY9" fmla="*/ 99262 h 405967"/>
                <a:gd name="connsiteX10" fmla="*/ 63557 w 383469"/>
                <a:gd name="connsiteY10" fmla="*/ 93547 h 405967"/>
                <a:gd name="connsiteX11" fmla="*/ 40125 w 383469"/>
                <a:gd name="connsiteY11" fmla="*/ 90976 h 405967"/>
                <a:gd name="connsiteX12" fmla="*/ 18028 w 383469"/>
                <a:gd name="connsiteY12" fmla="*/ 97262 h 405967"/>
                <a:gd name="connsiteX13" fmla="*/ 9264 w 383469"/>
                <a:gd name="connsiteY13" fmla="*/ 105073 h 405967"/>
                <a:gd name="connsiteX14" fmla="*/ 2978 w 383469"/>
                <a:gd name="connsiteY14" fmla="*/ 116884 h 405967"/>
                <a:gd name="connsiteX15" fmla="*/ 788 w 383469"/>
                <a:gd name="connsiteY15" fmla="*/ 144601 h 405967"/>
                <a:gd name="connsiteX16" fmla="*/ 10217 w 383469"/>
                <a:gd name="connsiteY16" fmla="*/ 171748 h 405967"/>
                <a:gd name="connsiteX17" fmla="*/ 25457 w 383469"/>
                <a:gd name="connsiteY17" fmla="*/ 197465 h 405967"/>
                <a:gd name="connsiteX18" fmla="*/ 30696 w 383469"/>
                <a:gd name="connsiteY18" fmla="*/ 205276 h 405967"/>
                <a:gd name="connsiteX19" fmla="*/ 33267 w 383469"/>
                <a:gd name="connsiteY19" fmla="*/ 209181 h 405967"/>
                <a:gd name="connsiteX20" fmla="*/ 35268 w 383469"/>
                <a:gd name="connsiteY20" fmla="*/ 211943 h 405967"/>
                <a:gd name="connsiteX21" fmla="*/ 36125 w 383469"/>
                <a:gd name="connsiteY21" fmla="*/ 213181 h 405967"/>
                <a:gd name="connsiteX22" fmla="*/ 36696 w 383469"/>
                <a:gd name="connsiteY22" fmla="*/ 214039 h 405967"/>
                <a:gd name="connsiteX23" fmla="*/ 46507 w 383469"/>
                <a:gd name="connsiteY23" fmla="*/ 229850 h 405967"/>
                <a:gd name="connsiteX24" fmla="*/ 34696 w 383469"/>
                <a:gd name="connsiteY24" fmla="*/ 261378 h 405967"/>
                <a:gd name="connsiteX25" fmla="*/ 26219 w 383469"/>
                <a:gd name="connsiteY25" fmla="*/ 307955 h 405967"/>
                <a:gd name="connsiteX26" fmla="*/ 37172 w 383469"/>
                <a:gd name="connsiteY26" fmla="*/ 348817 h 405967"/>
                <a:gd name="connsiteX27" fmla="*/ 54127 w 383469"/>
                <a:gd name="connsiteY27" fmla="*/ 361962 h 405967"/>
                <a:gd name="connsiteX28" fmla="*/ 76321 w 383469"/>
                <a:gd name="connsiteY28" fmla="*/ 365962 h 405967"/>
                <a:gd name="connsiteX29" fmla="*/ 80988 w 383469"/>
                <a:gd name="connsiteY29" fmla="*/ 365581 h 405967"/>
                <a:gd name="connsiteX30" fmla="*/ 102991 w 383469"/>
                <a:gd name="connsiteY30" fmla="*/ 359104 h 405967"/>
                <a:gd name="connsiteX31" fmla="*/ 123946 w 383469"/>
                <a:gd name="connsiteY31" fmla="*/ 347293 h 405967"/>
                <a:gd name="connsiteX32" fmla="*/ 142234 w 383469"/>
                <a:gd name="connsiteY32" fmla="*/ 333101 h 405967"/>
                <a:gd name="connsiteX33" fmla="*/ 152901 w 383469"/>
                <a:gd name="connsiteY33" fmla="*/ 322719 h 405967"/>
                <a:gd name="connsiteX34" fmla="*/ 155569 w 383469"/>
                <a:gd name="connsiteY34" fmla="*/ 328910 h 405967"/>
                <a:gd name="connsiteX35" fmla="*/ 156045 w 383469"/>
                <a:gd name="connsiteY35" fmla="*/ 329863 h 405967"/>
                <a:gd name="connsiteX36" fmla="*/ 156616 w 383469"/>
                <a:gd name="connsiteY36" fmla="*/ 330910 h 405967"/>
                <a:gd name="connsiteX37" fmla="*/ 157950 w 383469"/>
                <a:gd name="connsiteY37" fmla="*/ 333292 h 405967"/>
                <a:gd name="connsiteX38" fmla="*/ 178238 w 383469"/>
                <a:gd name="connsiteY38" fmla="*/ 366915 h 405967"/>
                <a:gd name="connsiteX39" fmla="*/ 198812 w 383469"/>
                <a:gd name="connsiteY39" fmla="*/ 389680 h 405967"/>
                <a:gd name="connsiteX40" fmla="*/ 225577 w 383469"/>
                <a:gd name="connsiteY40" fmla="*/ 404158 h 405967"/>
                <a:gd name="connsiteX41" fmla="*/ 238246 w 383469"/>
                <a:gd name="connsiteY41" fmla="*/ 405967 h 405967"/>
                <a:gd name="connsiteX42" fmla="*/ 239389 w 383469"/>
                <a:gd name="connsiteY42" fmla="*/ 405872 h 405967"/>
                <a:gd name="connsiteX43" fmla="*/ 251580 w 383469"/>
                <a:gd name="connsiteY43" fmla="*/ 403491 h 405967"/>
                <a:gd name="connsiteX44" fmla="*/ 271393 w 383469"/>
                <a:gd name="connsiteY44" fmla="*/ 389203 h 405967"/>
                <a:gd name="connsiteX45" fmla="*/ 278346 w 383469"/>
                <a:gd name="connsiteY45" fmla="*/ 378250 h 405967"/>
                <a:gd name="connsiteX46" fmla="*/ 283584 w 383469"/>
                <a:gd name="connsiteY46" fmla="*/ 364819 h 405967"/>
                <a:gd name="connsiteX47" fmla="*/ 286728 w 383469"/>
                <a:gd name="connsiteY47" fmla="*/ 349960 h 405967"/>
                <a:gd name="connsiteX48" fmla="*/ 288823 w 383469"/>
                <a:gd name="connsiteY48" fmla="*/ 332149 h 405967"/>
                <a:gd name="connsiteX49" fmla="*/ 289395 w 383469"/>
                <a:gd name="connsiteY49" fmla="*/ 302621 h 405967"/>
                <a:gd name="connsiteX50" fmla="*/ 287680 w 383469"/>
                <a:gd name="connsiteY50" fmla="*/ 279380 h 405967"/>
                <a:gd name="connsiteX51" fmla="*/ 300158 w 383469"/>
                <a:gd name="connsiteY51" fmla="*/ 274618 h 405967"/>
                <a:gd name="connsiteX52" fmla="*/ 319970 w 383469"/>
                <a:gd name="connsiteY52" fmla="*/ 266331 h 405967"/>
                <a:gd name="connsiteX53" fmla="*/ 359023 w 383469"/>
                <a:gd name="connsiteY53" fmla="*/ 243852 h 405967"/>
                <a:gd name="connsiteX54" fmla="*/ 373977 w 383469"/>
                <a:gd name="connsiteY54" fmla="*/ 228993 h 405967"/>
                <a:gd name="connsiteX55" fmla="*/ 382454 w 383469"/>
                <a:gd name="connsiteY55" fmla="*/ 210419 h 405967"/>
                <a:gd name="connsiteX56" fmla="*/ 381882 w 383469"/>
                <a:gd name="connsiteY56" fmla="*/ 189750 h 405967"/>
                <a:gd name="connsiteX57" fmla="*/ 370071 w 383469"/>
                <a:gd name="connsiteY57" fmla="*/ 168890 h 405967"/>
                <a:gd name="connsiteX58" fmla="*/ 349593 w 383469"/>
                <a:gd name="connsiteY58" fmla="*/ 153841 h 405967"/>
                <a:gd name="connsiteX59" fmla="*/ 324923 w 383469"/>
                <a:gd name="connsiteY59" fmla="*/ 143458 h 405967"/>
                <a:gd name="connsiteX60" fmla="*/ 301206 w 383469"/>
                <a:gd name="connsiteY60" fmla="*/ 136505 h 405967"/>
                <a:gd name="connsiteX61" fmla="*/ 298348 w 383469"/>
                <a:gd name="connsiteY61" fmla="*/ 135743 h 405967"/>
                <a:gd name="connsiteX62" fmla="*/ 295205 w 383469"/>
                <a:gd name="connsiteY62" fmla="*/ 134886 h 405967"/>
                <a:gd name="connsiteX63" fmla="*/ 288823 w 383469"/>
                <a:gd name="connsiteY63" fmla="*/ 133267 h 405967"/>
                <a:gd name="connsiteX64" fmla="*/ 284061 w 383469"/>
                <a:gd name="connsiteY64" fmla="*/ 132028 h 405967"/>
                <a:gd name="connsiteX65" fmla="*/ 279394 w 383469"/>
                <a:gd name="connsiteY65" fmla="*/ 130885 h 405967"/>
                <a:gd name="connsiteX66" fmla="*/ 276536 w 383469"/>
                <a:gd name="connsiteY66" fmla="*/ 130219 h 405967"/>
                <a:gd name="connsiteX67" fmla="*/ 273678 w 383469"/>
                <a:gd name="connsiteY67" fmla="*/ 129552 h 405967"/>
                <a:gd name="connsiteX68" fmla="*/ 272155 w 383469"/>
                <a:gd name="connsiteY68" fmla="*/ 108311 h 405967"/>
                <a:gd name="connsiteX69" fmla="*/ 272059 w 383469"/>
                <a:gd name="connsiteY69" fmla="*/ 107263 h 405967"/>
                <a:gd name="connsiteX70" fmla="*/ 272059 w 383469"/>
                <a:gd name="connsiteY70" fmla="*/ 106406 h 405967"/>
                <a:gd name="connsiteX71" fmla="*/ 272059 w 383469"/>
                <a:gd name="connsiteY71" fmla="*/ 105549 h 405967"/>
                <a:gd name="connsiteX72" fmla="*/ 265392 w 383469"/>
                <a:gd name="connsiteY72" fmla="*/ 53542 h 405967"/>
                <a:gd name="connsiteX73" fmla="*/ 255771 w 383469"/>
                <a:gd name="connsiteY73" fmla="*/ 27253 h 405967"/>
                <a:gd name="connsiteX74" fmla="*/ 244056 w 383469"/>
                <a:gd name="connsiteY74" fmla="*/ 10394 h 405967"/>
                <a:gd name="connsiteX75" fmla="*/ 229578 w 383469"/>
                <a:gd name="connsiteY75" fmla="*/ 1441 h 405967"/>
                <a:gd name="connsiteX76" fmla="*/ 218338 w 383469"/>
                <a:gd name="connsiteY76" fmla="*/ 12 h 405967"/>
                <a:gd name="connsiteX77" fmla="*/ 218338 w 383469"/>
                <a:gd name="connsiteY77" fmla="*/ 12 h 405967"/>
                <a:gd name="connsiteX78" fmla="*/ 218338 w 383469"/>
                <a:gd name="connsiteY78" fmla="*/ 12 h 405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383469" h="405967">
                  <a:moveTo>
                    <a:pt x="218338" y="12"/>
                  </a:moveTo>
                  <a:cubicBezTo>
                    <a:pt x="216814" y="107"/>
                    <a:pt x="215195" y="298"/>
                    <a:pt x="213671" y="488"/>
                  </a:cubicBezTo>
                  <a:cubicBezTo>
                    <a:pt x="208622" y="1441"/>
                    <a:pt x="203575" y="3346"/>
                    <a:pt x="198145" y="6298"/>
                  </a:cubicBezTo>
                  <a:cubicBezTo>
                    <a:pt x="193097" y="8965"/>
                    <a:pt x="188049" y="12490"/>
                    <a:pt x="182619" y="17062"/>
                  </a:cubicBezTo>
                  <a:cubicBezTo>
                    <a:pt x="176047" y="22681"/>
                    <a:pt x="169666" y="29158"/>
                    <a:pt x="162046" y="38112"/>
                  </a:cubicBezTo>
                  <a:cubicBezTo>
                    <a:pt x="156235" y="44970"/>
                    <a:pt x="150044" y="53257"/>
                    <a:pt x="142996" y="63353"/>
                  </a:cubicBezTo>
                  <a:cubicBezTo>
                    <a:pt x="132422" y="78879"/>
                    <a:pt x="123184" y="94690"/>
                    <a:pt x="115564" y="110121"/>
                  </a:cubicBezTo>
                  <a:cubicBezTo>
                    <a:pt x="108420" y="106311"/>
                    <a:pt x="99656" y="103834"/>
                    <a:pt x="93846" y="102215"/>
                  </a:cubicBezTo>
                  <a:cubicBezTo>
                    <a:pt x="90989" y="101358"/>
                    <a:pt x="88132" y="100501"/>
                    <a:pt x="85274" y="99643"/>
                  </a:cubicBezTo>
                  <a:lnTo>
                    <a:pt x="84131" y="99262"/>
                  </a:lnTo>
                  <a:cubicBezTo>
                    <a:pt x="79654" y="97834"/>
                    <a:pt x="71367" y="95167"/>
                    <a:pt x="63557" y="93547"/>
                  </a:cubicBezTo>
                  <a:cubicBezTo>
                    <a:pt x="54223" y="91452"/>
                    <a:pt x="46984" y="90690"/>
                    <a:pt x="40125" y="90976"/>
                  </a:cubicBezTo>
                  <a:cubicBezTo>
                    <a:pt x="31172" y="91357"/>
                    <a:pt x="23933" y="93452"/>
                    <a:pt x="18028" y="97262"/>
                  </a:cubicBezTo>
                  <a:cubicBezTo>
                    <a:pt x="14884" y="99262"/>
                    <a:pt x="12122" y="101739"/>
                    <a:pt x="9264" y="105073"/>
                  </a:cubicBezTo>
                  <a:cubicBezTo>
                    <a:pt x="6788" y="108025"/>
                    <a:pt x="4788" y="111835"/>
                    <a:pt x="2978" y="116884"/>
                  </a:cubicBezTo>
                  <a:cubicBezTo>
                    <a:pt x="-70" y="124980"/>
                    <a:pt x="-737" y="134314"/>
                    <a:pt x="788" y="144601"/>
                  </a:cubicBezTo>
                  <a:cubicBezTo>
                    <a:pt x="2121" y="152888"/>
                    <a:pt x="5169" y="161556"/>
                    <a:pt x="10217" y="171748"/>
                  </a:cubicBezTo>
                  <a:cubicBezTo>
                    <a:pt x="14694" y="180987"/>
                    <a:pt x="20123" y="189559"/>
                    <a:pt x="25457" y="197465"/>
                  </a:cubicBezTo>
                  <a:lnTo>
                    <a:pt x="30696" y="205276"/>
                  </a:lnTo>
                  <a:lnTo>
                    <a:pt x="33267" y="209181"/>
                  </a:lnTo>
                  <a:lnTo>
                    <a:pt x="35268" y="211943"/>
                  </a:lnTo>
                  <a:lnTo>
                    <a:pt x="36125" y="213181"/>
                  </a:lnTo>
                  <a:lnTo>
                    <a:pt x="36696" y="214039"/>
                  </a:lnTo>
                  <a:cubicBezTo>
                    <a:pt x="39459" y="218325"/>
                    <a:pt x="43364" y="224230"/>
                    <a:pt x="46507" y="229850"/>
                  </a:cubicBezTo>
                  <a:cubicBezTo>
                    <a:pt x="42126" y="239185"/>
                    <a:pt x="38125" y="249853"/>
                    <a:pt x="34696" y="261378"/>
                  </a:cubicBezTo>
                  <a:cubicBezTo>
                    <a:pt x="29363" y="279094"/>
                    <a:pt x="26695" y="293858"/>
                    <a:pt x="26219" y="307955"/>
                  </a:cubicBezTo>
                  <a:cubicBezTo>
                    <a:pt x="25838" y="324910"/>
                    <a:pt x="29553" y="338721"/>
                    <a:pt x="37172" y="348817"/>
                  </a:cubicBezTo>
                  <a:cubicBezTo>
                    <a:pt x="41173" y="354247"/>
                    <a:pt x="46888" y="358628"/>
                    <a:pt x="54127" y="361962"/>
                  </a:cubicBezTo>
                  <a:cubicBezTo>
                    <a:pt x="60604" y="365010"/>
                    <a:pt x="68034" y="366343"/>
                    <a:pt x="76321" y="365962"/>
                  </a:cubicBezTo>
                  <a:cubicBezTo>
                    <a:pt x="77844" y="365867"/>
                    <a:pt x="79464" y="365772"/>
                    <a:pt x="80988" y="365581"/>
                  </a:cubicBezTo>
                  <a:cubicBezTo>
                    <a:pt x="87941" y="364724"/>
                    <a:pt x="95085" y="362629"/>
                    <a:pt x="102991" y="359104"/>
                  </a:cubicBezTo>
                  <a:cubicBezTo>
                    <a:pt x="109848" y="356152"/>
                    <a:pt x="116516" y="352342"/>
                    <a:pt x="123946" y="347293"/>
                  </a:cubicBezTo>
                  <a:cubicBezTo>
                    <a:pt x="129565" y="343579"/>
                    <a:pt x="135375" y="339102"/>
                    <a:pt x="142234" y="333101"/>
                  </a:cubicBezTo>
                  <a:cubicBezTo>
                    <a:pt x="146425" y="329291"/>
                    <a:pt x="149758" y="326053"/>
                    <a:pt x="152901" y="322719"/>
                  </a:cubicBezTo>
                  <a:cubicBezTo>
                    <a:pt x="153282" y="324814"/>
                    <a:pt x="154521" y="327005"/>
                    <a:pt x="155569" y="328910"/>
                  </a:cubicBezTo>
                  <a:lnTo>
                    <a:pt x="156045" y="329863"/>
                  </a:lnTo>
                  <a:lnTo>
                    <a:pt x="156616" y="330910"/>
                  </a:lnTo>
                  <a:lnTo>
                    <a:pt x="157950" y="333292"/>
                  </a:lnTo>
                  <a:cubicBezTo>
                    <a:pt x="163855" y="343960"/>
                    <a:pt x="170618" y="356056"/>
                    <a:pt x="178238" y="366915"/>
                  </a:cubicBezTo>
                  <a:cubicBezTo>
                    <a:pt x="184239" y="375487"/>
                    <a:pt x="191192" y="383107"/>
                    <a:pt x="198812" y="389680"/>
                  </a:cubicBezTo>
                  <a:cubicBezTo>
                    <a:pt x="207384" y="396823"/>
                    <a:pt x="216624" y="401872"/>
                    <a:pt x="225577" y="404158"/>
                  </a:cubicBezTo>
                  <a:cubicBezTo>
                    <a:pt x="230149" y="405396"/>
                    <a:pt x="234245" y="405967"/>
                    <a:pt x="238246" y="405967"/>
                  </a:cubicBezTo>
                  <a:lnTo>
                    <a:pt x="239389" y="405872"/>
                  </a:lnTo>
                  <a:cubicBezTo>
                    <a:pt x="243198" y="405682"/>
                    <a:pt x="247104" y="404920"/>
                    <a:pt x="251580" y="403491"/>
                  </a:cubicBezTo>
                  <a:cubicBezTo>
                    <a:pt x="258629" y="401205"/>
                    <a:pt x="265296" y="396442"/>
                    <a:pt x="271393" y="389203"/>
                  </a:cubicBezTo>
                  <a:cubicBezTo>
                    <a:pt x="274441" y="385489"/>
                    <a:pt x="276631" y="381583"/>
                    <a:pt x="278346" y="378250"/>
                  </a:cubicBezTo>
                  <a:cubicBezTo>
                    <a:pt x="280537" y="374344"/>
                    <a:pt x="282251" y="369963"/>
                    <a:pt x="283584" y="364819"/>
                  </a:cubicBezTo>
                  <a:cubicBezTo>
                    <a:pt x="285109" y="359866"/>
                    <a:pt x="285965" y="354818"/>
                    <a:pt x="286728" y="349960"/>
                  </a:cubicBezTo>
                  <a:cubicBezTo>
                    <a:pt x="287585" y="344341"/>
                    <a:pt x="288252" y="338816"/>
                    <a:pt x="288823" y="332149"/>
                  </a:cubicBezTo>
                  <a:cubicBezTo>
                    <a:pt x="289585" y="322147"/>
                    <a:pt x="289776" y="312432"/>
                    <a:pt x="289395" y="302621"/>
                  </a:cubicBezTo>
                  <a:cubicBezTo>
                    <a:pt x="289204" y="294906"/>
                    <a:pt x="288537" y="287095"/>
                    <a:pt x="287680" y="279380"/>
                  </a:cubicBezTo>
                  <a:lnTo>
                    <a:pt x="300158" y="274618"/>
                  </a:lnTo>
                  <a:cubicBezTo>
                    <a:pt x="306825" y="271951"/>
                    <a:pt x="313398" y="269284"/>
                    <a:pt x="319970" y="266331"/>
                  </a:cubicBezTo>
                  <a:cubicBezTo>
                    <a:pt x="336448" y="258997"/>
                    <a:pt x="348831" y="251853"/>
                    <a:pt x="359023" y="243852"/>
                  </a:cubicBezTo>
                  <a:cubicBezTo>
                    <a:pt x="364642" y="239566"/>
                    <a:pt x="369691" y="234517"/>
                    <a:pt x="373977" y="228993"/>
                  </a:cubicBezTo>
                  <a:cubicBezTo>
                    <a:pt x="378168" y="223468"/>
                    <a:pt x="381025" y="217182"/>
                    <a:pt x="382454" y="210419"/>
                  </a:cubicBezTo>
                  <a:cubicBezTo>
                    <a:pt x="383978" y="204037"/>
                    <a:pt x="383787" y="196894"/>
                    <a:pt x="381882" y="189750"/>
                  </a:cubicBezTo>
                  <a:cubicBezTo>
                    <a:pt x="379882" y="182320"/>
                    <a:pt x="375787" y="175081"/>
                    <a:pt x="370071" y="168890"/>
                  </a:cubicBezTo>
                  <a:cubicBezTo>
                    <a:pt x="364642" y="163175"/>
                    <a:pt x="357975" y="158317"/>
                    <a:pt x="349593" y="153841"/>
                  </a:cubicBezTo>
                  <a:cubicBezTo>
                    <a:pt x="342639" y="150031"/>
                    <a:pt x="334543" y="146602"/>
                    <a:pt x="324923" y="143458"/>
                  </a:cubicBezTo>
                  <a:cubicBezTo>
                    <a:pt x="316255" y="140506"/>
                    <a:pt x="307683" y="138220"/>
                    <a:pt x="301206" y="136505"/>
                  </a:cubicBezTo>
                  <a:lnTo>
                    <a:pt x="298348" y="135743"/>
                  </a:lnTo>
                  <a:lnTo>
                    <a:pt x="295205" y="134886"/>
                  </a:lnTo>
                  <a:lnTo>
                    <a:pt x="288823" y="133267"/>
                  </a:lnTo>
                  <a:cubicBezTo>
                    <a:pt x="287204" y="132790"/>
                    <a:pt x="285585" y="132409"/>
                    <a:pt x="284061" y="132028"/>
                  </a:cubicBezTo>
                  <a:lnTo>
                    <a:pt x="279394" y="130885"/>
                  </a:lnTo>
                  <a:lnTo>
                    <a:pt x="276536" y="130219"/>
                  </a:lnTo>
                  <a:lnTo>
                    <a:pt x="273678" y="129552"/>
                  </a:lnTo>
                  <a:cubicBezTo>
                    <a:pt x="273202" y="122694"/>
                    <a:pt x="272631" y="115455"/>
                    <a:pt x="272155" y="108311"/>
                  </a:cubicBezTo>
                  <a:lnTo>
                    <a:pt x="272059" y="107263"/>
                  </a:lnTo>
                  <a:lnTo>
                    <a:pt x="272059" y="106406"/>
                  </a:lnTo>
                  <a:lnTo>
                    <a:pt x="272059" y="105549"/>
                  </a:lnTo>
                  <a:cubicBezTo>
                    <a:pt x="270916" y="87832"/>
                    <a:pt x="269678" y="70116"/>
                    <a:pt x="265392" y="53542"/>
                  </a:cubicBezTo>
                  <a:cubicBezTo>
                    <a:pt x="262630" y="43255"/>
                    <a:pt x="259486" y="34588"/>
                    <a:pt x="255771" y="27253"/>
                  </a:cubicBezTo>
                  <a:cubicBezTo>
                    <a:pt x="252343" y="20300"/>
                    <a:pt x="248532" y="14776"/>
                    <a:pt x="244056" y="10394"/>
                  </a:cubicBezTo>
                  <a:cubicBezTo>
                    <a:pt x="239484" y="6013"/>
                    <a:pt x="234626" y="2965"/>
                    <a:pt x="229578" y="1441"/>
                  </a:cubicBezTo>
                  <a:cubicBezTo>
                    <a:pt x="225958" y="393"/>
                    <a:pt x="222148" y="-83"/>
                    <a:pt x="218338" y="12"/>
                  </a:cubicBezTo>
                  <a:lnTo>
                    <a:pt x="218338" y="12"/>
                  </a:lnTo>
                  <a:lnTo>
                    <a:pt x="218338" y="12"/>
                  </a:lnTo>
                  <a:close/>
                </a:path>
              </a:pathLst>
            </a:custGeom>
            <a:solidFill>
              <a:srgbClr val="FC8A7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31">
              <a:extLst>
                <a:ext uri="{FF2B5EF4-FFF2-40B4-BE49-F238E27FC236}">
                  <a16:creationId xmlns:a16="http://schemas.microsoft.com/office/drawing/2014/main" id="{B5B2F31B-A0F0-4742-9C4E-E94CC798AB0D}"/>
                </a:ext>
              </a:extLst>
            </p:cNvPr>
            <p:cNvSpPr/>
            <p:nvPr/>
          </p:nvSpPr>
          <p:spPr>
            <a:xfrm rot="782819">
              <a:off x="6693667" y="3950590"/>
              <a:ext cx="23688" cy="23688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  <a:gd name="connsiteX3" fmla="*/ 0 w 9525"/>
                <a:gd name="connsiteY3" fmla="*/ 0 h 9525"/>
                <a:gd name="connsiteX4" fmla="*/ 0 w 9525"/>
                <a:gd name="connsiteY4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A22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32">
              <a:extLst>
                <a:ext uri="{FF2B5EF4-FFF2-40B4-BE49-F238E27FC236}">
                  <a16:creationId xmlns:a16="http://schemas.microsoft.com/office/drawing/2014/main" id="{E33E391B-5557-4019-8991-02B9FC94394D}"/>
                </a:ext>
              </a:extLst>
            </p:cNvPr>
            <p:cNvSpPr/>
            <p:nvPr/>
          </p:nvSpPr>
          <p:spPr>
            <a:xfrm rot="782819">
              <a:off x="6647390" y="3993462"/>
              <a:ext cx="618272" cy="245668"/>
            </a:xfrm>
            <a:custGeom>
              <a:avLst/>
              <a:gdLst>
                <a:gd name="connsiteX0" fmla="*/ 102 w 248609"/>
                <a:gd name="connsiteY0" fmla="*/ 1715 h 98784"/>
                <a:gd name="connsiteX1" fmla="*/ 102 w 248609"/>
                <a:gd name="connsiteY1" fmla="*/ 1715 h 98784"/>
                <a:gd name="connsiteX2" fmla="*/ 7 w 248609"/>
                <a:gd name="connsiteY2" fmla="*/ 1810 h 98784"/>
                <a:gd name="connsiteX3" fmla="*/ 10961 w 248609"/>
                <a:gd name="connsiteY3" fmla="*/ 41624 h 98784"/>
                <a:gd name="connsiteX4" fmla="*/ 27821 w 248609"/>
                <a:gd name="connsiteY4" fmla="*/ 54769 h 98784"/>
                <a:gd name="connsiteX5" fmla="*/ 50013 w 248609"/>
                <a:gd name="connsiteY5" fmla="*/ 58769 h 98784"/>
                <a:gd name="connsiteX6" fmla="*/ 54681 w 248609"/>
                <a:gd name="connsiteY6" fmla="*/ 58388 h 98784"/>
                <a:gd name="connsiteX7" fmla="*/ 76684 w 248609"/>
                <a:gd name="connsiteY7" fmla="*/ 52007 h 98784"/>
                <a:gd name="connsiteX8" fmla="*/ 97638 w 248609"/>
                <a:gd name="connsiteY8" fmla="*/ 40196 h 98784"/>
                <a:gd name="connsiteX9" fmla="*/ 115831 w 248609"/>
                <a:gd name="connsiteY9" fmla="*/ 26003 h 98784"/>
                <a:gd name="connsiteX10" fmla="*/ 126499 w 248609"/>
                <a:gd name="connsiteY10" fmla="*/ 15621 h 98784"/>
                <a:gd name="connsiteX11" fmla="*/ 129452 w 248609"/>
                <a:gd name="connsiteY11" fmla="*/ 21908 h 98784"/>
                <a:gd name="connsiteX12" fmla="*/ 129928 w 248609"/>
                <a:gd name="connsiteY12" fmla="*/ 22860 h 98784"/>
                <a:gd name="connsiteX13" fmla="*/ 130500 w 248609"/>
                <a:gd name="connsiteY13" fmla="*/ 23908 h 98784"/>
                <a:gd name="connsiteX14" fmla="*/ 131833 w 248609"/>
                <a:gd name="connsiteY14" fmla="*/ 26289 h 98784"/>
                <a:gd name="connsiteX15" fmla="*/ 152122 w 248609"/>
                <a:gd name="connsiteY15" fmla="*/ 59912 h 98784"/>
                <a:gd name="connsiteX16" fmla="*/ 172695 w 248609"/>
                <a:gd name="connsiteY16" fmla="*/ 82582 h 98784"/>
                <a:gd name="connsiteX17" fmla="*/ 199365 w 248609"/>
                <a:gd name="connsiteY17" fmla="*/ 97060 h 98784"/>
                <a:gd name="connsiteX18" fmla="*/ 211938 w 248609"/>
                <a:gd name="connsiteY18" fmla="*/ 98774 h 98784"/>
                <a:gd name="connsiteX19" fmla="*/ 213081 w 248609"/>
                <a:gd name="connsiteY19" fmla="*/ 98774 h 98784"/>
                <a:gd name="connsiteX20" fmla="*/ 225178 w 248609"/>
                <a:gd name="connsiteY20" fmla="*/ 96393 h 98784"/>
                <a:gd name="connsiteX21" fmla="*/ 244895 w 248609"/>
                <a:gd name="connsiteY21" fmla="*/ 82106 h 98784"/>
                <a:gd name="connsiteX22" fmla="*/ 248610 w 248609"/>
                <a:gd name="connsiteY22" fmla="*/ 76772 h 98784"/>
                <a:gd name="connsiteX23" fmla="*/ 246610 w 248609"/>
                <a:gd name="connsiteY23" fmla="*/ 78296 h 98784"/>
                <a:gd name="connsiteX24" fmla="*/ 245657 w 248609"/>
                <a:gd name="connsiteY24" fmla="*/ 79153 h 98784"/>
                <a:gd name="connsiteX25" fmla="*/ 232608 w 248609"/>
                <a:gd name="connsiteY25" fmla="*/ 86297 h 98784"/>
                <a:gd name="connsiteX26" fmla="*/ 224416 w 248609"/>
                <a:gd name="connsiteY26" fmla="*/ 87630 h 98784"/>
                <a:gd name="connsiteX27" fmla="*/ 216796 w 248609"/>
                <a:gd name="connsiteY27" fmla="*/ 87154 h 98784"/>
                <a:gd name="connsiteX28" fmla="*/ 200223 w 248609"/>
                <a:gd name="connsiteY28" fmla="*/ 81534 h 98784"/>
                <a:gd name="connsiteX29" fmla="*/ 183840 w 248609"/>
                <a:gd name="connsiteY29" fmla="*/ 70866 h 98784"/>
                <a:gd name="connsiteX30" fmla="*/ 167838 w 248609"/>
                <a:gd name="connsiteY30" fmla="*/ 56293 h 98784"/>
                <a:gd name="connsiteX31" fmla="*/ 140978 w 248609"/>
                <a:gd name="connsiteY31" fmla="*/ 22765 h 98784"/>
                <a:gd name="connsiteX32" fmla="*/ 131262 w 248609"/>
                <a:gd name="connsiteY32" fmla="*/ 6668 h 98784"/>
                <a:gd name="connsiteX33" fmla="*/ 127928 w 248609"/>
                <a:gd name="connsiteY33" fmla="*/ 0 h 98784"/>
                <a:gd name="connsiteX34" fmla="*/ 126118 w 248609"/>
                <a:gd name="connsiteY34" fmla="*/ 1715 h 98784"/>
                <a:gd name="connsiteX35" fmla="*/ 115641 w 248609"/>
                <a:gd name="connsiteY35" fmla="*/ 11811 h 98784"/>
                <a:gd name="connsiteX36" fmla="*/ 90781 w 248609"/>
                <a:gd name="connsiteY36" fmla="*/ 28480 h 98784"/>
                <a:gd name="connsiteX37" fmla="*/ 77255 w 248609"/>
                <a:gd name="connsiteY37" fmla="*/ 34766 h 98784"/>
                <a:gd name="connsiteX38" fmla="*/ 65158 w 248609"/>
                <a:gd name="connsiteY38" fmla="*/ 38672 h 98784"/>
                <a:gd name="connsiteX39" fmla="*/ 55443 w 248609"/>
                <a:gd name="connsiteY39" fmla="*/ 40005 h 98784"/>
                <a:gd name="connsiteX40" fmla="*/ 52109 w 248609"/>
                <a:gd name="connsiteY40" fmla="*/ 40005 h 98784"/>
                <a:gd name="connsiteX41" fmla="*/ 46108 w 248609"/>
                <a:gd name="connsiteY41" fmla="*/ 39529 h 98784"/>
                <a:gd name="connsiteX42" fmla="*/ 40393 w 248609"/>
                <a:gd name="connsiteY42" fmla="*/ 38386 h 98784"/>
                <a:gd name="connsiteX43" fmla="*/ 29249 w 248609"/>
                <a:gd name="connsiteY43" fmla="*/ 34100 h 98784"/>
                <a:gd name="connsiteX44" fmla="*/ 20105 w 248609"/>
                <a:gd name="connsiteY44" fmla="*/ 28004 h 98784"/>
                <a:gd name="connsiteX45" fmla="*/ 4580 w 248609"/>
                <a:gd name="connsiteY45" fmla="*/ 9811 h 98784"/>
                <a:gd name="connsiteX46" fmla="*/ 388 w 248609"/>
                <a:gd name="connsiteY46" fmla="*/ 1619 h 98784"/>
                <a:gd name="connsiteX47" fmla="*/ 102 w 248609"/>
                <a:gd name="connsiteY47" fmla="*/ 1715 h 98784"/>
                <a:gd name="connsiteX48" fmla="*/ 102 w 248609"/>
                <a:gd name="connsiteY48" fmla="*/ 1715 h 98784"/>
                <a:gd name="connsiteX49" fmla="*/ 102 w 248609"/>
                <a:gd name="connsiteY49" fmla="*/ 1715 h 98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48609" h="98784">
                  <a:moveTo>
                    <a:pt x="102" y="1715"/>
                  </a:moveTo>
                  <a:cubicBezTo>
                    <a:pt x="102" y="1715"/>
                    <a:pt x="102" y="1715"/>
                    <a:pt x="102" y="1715"/>
                  </a:cubicBezTo>
                  <a:cubicBezTo>
                    <a:pt x="102" y="1715"/>
                    <a:pt x="7" y="1810"/>
                    <a:pt x="7" y="1810"/>
                  </a:cubicBezTo>
                  <a:cubicBezTo>
                    <a:pt x="-183" y="18383"/>
                    <a:pt x="3437" y="31814"/>
                    <a:pt x="10961" y="41624"/>
                  </a:cubicBezTo>
                  <a:cubicBezTo>
                    <a:pt x="14866" y="46958"/>
                    <a:pt x="20581" y="51340"/>
                    <a:pt x="27821" y="54769"/>
                  </a:cubicBezTo>
                  <a:cubicBezTo>
                    <a:pt x="34202" y="57722"/>
                    <a:pt x="41727" y="59055"/>
                    <a:pt x="50013" y="58769"/>
                  </a:cubicBezTo>
                  <a:cubicBezTo>
                    <a:pt x="51538" y="58674"/>
                    <a:pt x="53157" y="58579"/>
                    <a:pt x="54681" y="58388"/>
                  </a:cubicBezTo>
                  <a:cubicBezTo>
                    <a:pt x="61443" y="57626"/>
                    <a:pt x="68683" y="55531"/>
                    <a:pt x="76684" y="52007"/>
                  </a:cubicBezTo>
                  <a:cubicBezTo>
                    <a:pt x="83542" y="49054"/>
                    <a:pt x="90114" y="45244"/>
                    <a:pt x="97638" y="40196"/>
                  </a:cubicBezTo>
                  <a:cubicBezTo>
                    <a:pt x="103163" y="36576"/>
                    <a:pt x="108878" y="32099"/>
                    <a:pt x="115831" y="26003"/>
                  </a:cubicBezTo>
                  <a:cubicBezTo>
                    <a:pt x="119927" y="22289"/>
                    <a:pt x="123356" y="19050"/>
                    <a:pt x="126499" y="15621"/>
                  </a:cubicBezTo>
                  <a:cubicBezTo>
                    <a:pt x="127166" y="17717"/>
                    <a:pt x="128309" y="19812"/>
                    <a:pt x="129452" y="21908"/>
                  </a:cubicBezTo>
                  <a:lnTo>
                    <a:pt x="129928" y="22860"/>
                  </a:lnTo>
                  <a:lnTo>
                    <a:pt x="130500" y="23908"/>
                  </a:lnTo>
                  <a:lnTo>
                    <a:pt x="131833" y="26289"/>
                  </a:lnTo>
                  <a:cubicBezTo>
                    <a:pt x="137739" y="36957"/>
                    <a:pt x="144502" y="49054"/>
                    <a:pt x="152122" y="59912"/>
                  </a:cubicBezTo>
                  <a:cubicBezTo>
                    <a:pt x="158027" y="68390"/>
                    <a:pt x="164980" y="76010"/>
                    <a:pt x="172695" y="82582"/>
                  </a:cubicBezTo>
                  <a:cubicBezTo>
                    <a:pt x="181268" y="89726"/>
                    <a:pt x="190412" y="94774"/>
                    <a:pt x="199365" y="97060"/>
                  </a:cubicBezTo>
                  <a:cubicBezTo>
                    <a:pt x="203842" y="98298"/>
                    <a:pt x="208033" y="98870"/>
                    <a:pt x="211938" y="98774"/>
                  </a:cubicBezTo>
                  <a:lnTo>
                    <a:pt x="213081" y="98774"/>
                  </a:lnTo>
                  <a:cubicBezTo>
                    <a:pt x="216987" y="98584"/>
                    <a:pt x="220797" y="97822"/>
                    <a:pt x="225178" y="96393"/>
                  </a:cubicBezTo>
                  <a:cubicBezTo>
                    <a:pt x="232227" y="94107"/>
                    <a:pt x="238799" y="89345"/>
                    <a:pt x="244895" y="82106"/>
                  </a:cubicBezTo>
                  <a:cubicBezTo>
                    <a:pt x="246324" y="80391"/>
                    <a:pt x="247562" y="78581"/>
                    <a:pt x="248610" y="76772"/>
                  </a:cubicBezTo>
                  <a:cubicBezTo>
                    <a:pt x="247848" y="77153"/>
                    <a:pt x="247181" y="77724"/>
                    <a:pt x="246610" y="78296"/>
                  </a:cubicBezTo>
                  <a:lnTo>
                    <a:pt x="245657" y="79153"/>
                  </a:lnTo>
                  <a:cubicBezTo>
                    <a:pt x="241466" y="82677"/>
                    <a:pt x="237085" y="85058"/>
                    <a:pt x="232608" y="86297"/>
                  </a:cubicBezTo>
                  <a:cubicBezTo>
                    <a:pt x="229941" y="87058"/>
                    <a:pt x="227179" y="87440"/>
                    <a:pt x="224416" y="87630"/>
                  </a:cubicBezTo>
                  <a:cubicBezTo>
                    <a:pt x="221845" y="87725"/>
                    <a:pt x="219273" y="87630"/>
                    <a:pt x="216796" y="87154"/>
                  </a:cubicBezTo>
                  <a:cubicBezTo>
                    <a:pt x="211462" y="86297"/>
                    <a:pt x="205843" y="84392"/>
                    <a:pt x="200223" y="81534"/>
                  </a:cubicBezTo>
                  <a:cubicBezTo>
                    <a:pt x="194603" y="78581"/>
                    <a:pt x="189079" y="75057"/>
                    <a:pt x="183840" y="70866"/>
                  </a:cubicBezTo>
                  <a:cubicBezTo>
                    <a:pt x="178315" y="66485"/>
                    <a:pt x="172981" y="61627"/>
                    <a:pt x="167838" y="56293"/>
                  </a:cubicBezTo>
                  <a:cubicBezTo>
                    <a:pt x="158027" y="46196"/>
                    <a:pt x="148978" y="34862"/>
                    <a:pt x="140978" y="22765"/>
                  </a:cubicBezTo>
                  <a:cubicBezTo>
                    <a:pt x="137072" y="16859"/>
                    <a:pt x="133929" y="11621"/>
                    <a:pt x="131262" y="6668"/>
                  </a:cubicBezTo>
                  <a:cubicBezTo>
                    <a:pt x="130119" y="4477"/>
                    <a:pt x="128976" y="2286"/>
                    <a:pt x="127928" y="0"/>
                  </a:cubicBezTo>
                  <a:cubicBezTo>
                    <a:pt x="127166" y="572"/>
                    <a:pt x="126690" y="1143"/>
                    <a:pt x="126118" y="1715"/>
                  </a:cubicBezTo>
                  <a:cubicBezTo>
                    <a:pt x="122213" y="6001"/>
                    <a:pt x="118974" y="9144"/>
                    <a:pt x="115641" y="11811"/>
                  </a:cubicBezTo>
                  <a:cubicBezTo>
                    <a:pt x="108116" y="18098"/>
                    <a:pt x="99734" y="23717"/>
                    <a:pt x="90781" y="28480"/>
                  </a:cubicBezTo>
                  <a:cubicBezTo>
                    <a:pt x="85732" y="31147"/>
                    <a:pt x="81351" y="33147"/>
                    <a:pt x="77255" y="34766"/>
                  </a:cubicBezTo>
                  <a:cubicBezTo>
                    <a:pt x="73731" y="36195"/>
                    <a:pt x="69540" y="37719"/>
                    <a:pt x="65158" y="38672"/>
                  </a:cubicBezTo>
                  <a:cubicBezTo>
                    <a:pt x="61730" y="39433"/>
                    <a:pt x="58491" y="39815"/>
                    <a:pt x="55443" y="40005"/>
                  </a:cubicBezTo>
                  <a:cubicBezTo>
                    <a:pt x="54300" y="40100"/>
                    <a:pt x="53252" y="40100"/>
                    <a:pt x="52109" y="40005"/>
                  </a:cubicBezTo>
                  <a:cubicBezTo>
                    <a:pt x="50109" y="40005"/>
                    <a:pt x="48109" y="39815"/>
                    <a:pt x="46108" y="39529"/>
                  </a:cubicBezTo>
                  <a:cubicBezTo>
                    <a:pt x="44203" y="39243"/>
                    <a:pt x="42298" y="38862"/>
                    <a:pt x="40393" y="38386"/>
                  </a:cubicBezTo>
                  <a:cubicBezTo>
                    <a:pt x="36583" y="37433"/>
                    <a:pt x="32868" y="36004"/>
                    <a:pt x="29249" y="34100"/>
                  </a:cubicBezTo>
                  <a:cubicBezTo>
                    <a:pt x="25534" y="32004"/>
                    <a:pt x="22581" y="30099"/>
                    <a:pt x="20105" y="28004"/>
                  </a:cubicBezTo>
                  <a:cubicBezTo>
                    <a:pt x="13818" y="22860"/>
                    <a:pt x="8580" y="16764"/>
                    <a:pt x="4580" y="9811"/>
                  </a:cubicBezTo>
                  <a:cubicBezTo>
                    <a:pt x="3055" y="7144"/>
                    <a:pt x="1627" y="4382"/>
                    <a:pt x="388" y="1619"/>
                  </a:cubicBezTo>
                  <a:cubicBezTo>
                    <a:pt x="293" y="1810"/>
                    <a:pt x="102" y="1715"/>
                    <a:pt x="102" y="1715"/>
                  </a:cubicBezTo>
                  <a:lnTo>
                    <a:pt x="102" y="1715"/>
                  </a:lnTo>
                  <a:lnTo>
                    <a:pt x="102" y="1715"/>
                  </a:lnTo>
                  <a:close/>
                </a:path>
              </a:pathLst>
            </a:custGeom>
            <a:solidFill>
              <a:srgbClr val="BD685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33">
              <a:extLst>
                <a:ext uri="{FF2B5EF4-FFF2-40B4-BE49-F238E27FC236}">
                  <a16:creationId xmlns:a16="http://schemas.microsoft.com/office/drawing/2014/main" id="{158EE31B-9199-4064-A135-4D2164A744D8}"/>
                </a:ext>
              </a:extLst>
            </p:cNvPr>
            <p:cNvSpPr/>
            <p:nvPr/>
          </p:nvSpPr>
          <p:spPr>
            <a:xfrm rot="782819">
              <a:off x="7341132" y="3865385"/>
              <a:ext cx="241142" cy="169131"/>
            </a:xfrm>
            <a:custGeom>
              <a:avLst/>
              <a:gdLst>
                <a:gd name="connsiteX0" fmla="*/ 96869 w 96964"/>
                <a:gd name="connsiteY0" fmla="*/ 0 h 68008"/>
                <a:gd name="connsiteX1" fmla="*/ 96869 w 96964"/>
                <a:gd name="connsiteY1" fmla="*/ 0 h 68008"/>
                <a:gd name="connsiteX2" fmla="*/ 85058 w 96964"/>
                <a:gd name="connsiteY2" fmla="*/ 15050 h 68008"/>
                <a:gd name="connsiteX3" fmla="*/ 70771 w 96964"/>
                <a:gd name="connsiteY3" fmla="*/ 27337 h 68008"/>
                <a:gd name="connsiteX4" fmla="*/ 36004 w 96964"/>
                <a:gd name="connsiteY4" fmla="*/ 45815 h 68008"/>
                <a:gd name="connsiteX5" fmla="*/ 0 w 96964"/>
                <a:gd name="connsiteY5" fmla="*/ 56388 h 68008"/>
                <a:gd name="connsiteX6" fmla="*/ 667 w 96964"/>
                <a:gd name="connsiteY6" fmla="*/ 60008 h 68008"/>
                <a:gd name="connsiteX7" fmla="*/ 2191 w 96964"/>
                <a:gd name="connsiteY7" fmla="*/ 68008 h 68008"/>
                <a:gd name="connsiteX8" fmla="*/ 15050 w 96964"/>
                <a:gd name="connsiteY8" fmla="*/ 63055 h 68008"/>
                <a:gd name="connsiteX9" fmla="*/ 34861 w 96964"/>
                <a:gd name="connsiteY9" fmla="*/ 54769 h 68008"/>
                <a:gd name="connsiteX10" fmla="*/ 73914 w 96964"/>
                <a:gd name="connsiteY10" fmla="*/ 32290 h 68008"/>
                <a:gd name="connsiteX11" fmla="*/ 88773 w 96964"/>
                <a:gd name="connsiteY11" fmla="*/ 17431 h 68008"/>
                <a:gd name="connsiteX12" fmla="*/ 96964 w 96964"/>
                <a:gd name="connsiteY12" fmla="*/ 190 h 68008"/>
                <a:gd name="connsiteX13" fmla="*/ 96869 w 96964"/>
                <a:gd name="connsiteY13" fmla="*/ 0 h 68008"/>
                <a:gd name="connsiteX14" fmla="*/ 96869 w 96964"/>
                <a:gd name="connsiteY14" fmla="*/ 0 h 68008"/>
                <a:gd name="connsiteX15" fmla="*/ 96869 w 96964"/>
                <a:gd name="connsiteY15" fmla="*/ 0 h 68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6964" h="68008">
                  <a:moveTo>
                    <a:pt x="96869" y="0"/>
                  </a:moveTo>
                  <a:cubicBezTo>
                    <a:pt x="96774" y="0"/>
                    <a:pt x="96774" y="0"/>
                    <a:pt x="96869" y="0"/>
                  </a:cubicBezTo>
                  <a:cubicBezTo>
                    <a:pt x="92869" y="6096"/>
                    <a:pt x="89154" y="10858"/>
                    <a:pt x="85058" y="15050"/>
                  </a:cubicBezTo>
                  <a:cubicBezTo>
                    <a:pt x="80867" y="19336"/>
                    <a:pt x="76105" y="23432"/>
                    <a:pt x="70771" y="27337"/>
                  </a:cubicBezTo>
                  <a:cubicBezTo>
                    <a:pt x="60960" y="34480"/>
                    <a:pt x="49244" y="40767"/>
                    <a:pt x="36004" y="45815"/>
                  </a:cubicBezTo>
                  <a:cubicBezTo>
                    <a:pt x="24860" y="50101"/>
                    <a:pt x="12763" y="53721"/>
                    <a:pt x="0" y="56388"/>
                  </a:cubicBezTo>
                  <a:lnTo>
                    <a:pt x="667" y="60008"/>
                  </a:lnTo>
                  <a:cubicBezTo>
                    <a:pt x="1238" y="62675"/>
                    <a:pt x="1714" y="65342"/>
                    <a:pt x="2191" y="68008"/>
                  </a:cubicBezTo>
                  <a:lnTo>
                    <a:pt x="15050" y="63055"/>
                  </a:lnTo>
                  <a:cubicBezTo>
                    <a:pt x="21717" y="60388"/>
                    <a:pt x="28289" y="57721"/>
                    <a:pt x="34861" y="54769"/>
                  </a:cubicBezTo>
                  <a:cubicBezTo>
                    <a:pt x="51340" y="47434"/>
                    <a:pt x="63722" y="40291"/>
                    <a:pt x="73914" y="32290"/>
                  </a:cubicBezTo>
                  <a:cubicBezTo>
                    <a:pt x="79629" y="27908"/>
                    <a:pt x="84582" y="22955"/>
                    <a:pt x="88773" y="17431"/>
                  </a:cubicBezTo>
                  <a:cubicBezTo>
                    <a:pt x="92678" y="12192"/>
                    <a:pt x="95441" y="6382"/>
                    <a:pt x="96964" y="190"/>
                  </a:cubicBezTo>
                  <a:cubicBezTo>
                    <a:pt x="96964" y="190"/>
                    <a:pt x="96869" y="0"/>
                    <a:pt x="96869" y="0"/>
                  </a:cubicBezTo>
                  <a:lnTo>
                    <a:pt x="96869" y="0"/>
                  </a:lnTo>
                  <a:lnTo>
                    <a:pt x="96869" y="0"/>
                  </a:lnTo>
                  <a:close/>
                </a:path>
              </a:pathLst>
            </a:custGeom>
            <a:solidFill>
              <a:srgbClr val="BD685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34">
              <a:extLst>
                <a:ext uri="{FF2B5EF4-FFF2-40B4-BE49-F238E27FC236}">
                  <a16:creationId xmlns:a16="http://schemas.microsoft.com/office/drawing/2014/main" id="{A217C875-303A-4A25-ADF8-BD15D13DD9E9}"/>
                </a:ext>
              </a:extLst>
            </p:cNvPr>
            <p:cNvSpPr/>
            <p:nvPr/>
          </p:nvSpPr>
          <p:spPr>
            <a:xfrm rot="782819">
              <a:off x="7297925" y="3305200"/>
              <a:ext cx="123650" cy="322629"/>
            </a:xfrm>
            <a:custGeom>
              <a:avLst/>
              <a:gdLst>
                <a:gd name="connsiteX0" fmla="*/ 0 w 49720"/>
                <a:gd name="connsiteY0" fmla="*/ 0 h 129730"/>
                <a:gd name="connsiteX1" fmla="*/ 0 w 49720"/>
                <a:gd name="connsiteY1" fmla="*/ 0 h 129730"/>
                <a:gd name="connsiteX2" fmla="*/ 3143 w 49720"/>
                <a:gd name="connsiteY2" fmla="*/ 3715 h 129730"/>
                <a:gd name="connsiteX3" fmla="*/ 7239 w 49720"/>
                <a:gd name="connsiteY3" fmla="*/ 9144 h 129730"/>
                <a:gd name="connsiteX4" fmla="*/ 20193 w 49720"/>
                <a:gd name="connsiteY4" fmla="*/ 37338 h 129730"/>
                <a:gd name="connsiteX5" fmla="*/ 25051 w 49720"/>
                <a:gd name="connsiteY5" fmla="*/ 53531 h 129730"/>
                <a:gd name="connsiteX6" fmla="*/ 29433 w 49720"/>
                <a:gd name="connsiteY6" fmla="*/ 79058 h 129730"/>
                <a:gd name="connsiteX7" fmla="*/ 30956 w 49720"/>
                <a:gd name="connsiteY7" fmla="*/ 104013 h 129730"/>
                <a:gd name="connsiteX8" fmla="*/ 31147 w 49720"/>
                <a:gd name="connsiteY8" fmla="*/ 117729 h 129730"/>
                <a:gd name="connsiteX9" fmla="*/ 31242 w 49720"/>
                <a:gd name="connsiteY9" fmla="*/ 128588 h 129730"/>
                <a:gd name="connsiteX10" fmla="*/ 38005 w 49720"/>
                <a:gd name="connsiteY10" fmla="*/ 129064 h 129730"/>
                <a:gd name="connsiteX11" fmla="*/ 48006 w 49720"/>
                <a:gd name="connsiteY11" fmla="*/ 129540 h 129730"/>
                <a:gd name="connsiteX12" fmla="*/ 48863 w 49720"/>
                <a:gd name="connsiteY12" fmla="*/ 129635 h 129730"/>
                <a:gd name="connsiteX13" fmla="*/ 49721 w 49720"/>
                <a:gd name="connsiteY13" fmla="*/ 129731 h 129730"/>
                <a:gd name="connsiteX14" fmla="*/ 48768 w 49720"/>
                <a:gd name="connsiteY14" fmla="*/ 129159 h 129730"/>
                <a:gd name="connsiteX15" fmla="*/ 46958 w 49720"/>
                <a:gd name="connsiteY15" fmla="*/ 105823 h 129730"/>
                <a:gd name="connsiteX16" fmla="*/ 46863 w 49720"/>
                <a:gd name="connsiteY16" fmla="*/ 105061 h 129730"/>
                <a:gd name="connsiteX17" fmla="*/ 40291 w 49720"/>
                <a:gd name="connsiteY17" fmla="*/ 53150 h 129730"/>
                <a:gd name="connsiteX18" fmla="*/ 30766 w 49720"/>
                <a:gd name="connsiteY18" fmla="*/ 26860 h 129730"/>
                <a:gd name="connsiteX19" fmla="*/ 19050 w 49720"/>
                <a:gd name="connsiteY19" fmla="*/ 10001 h 129730"/>
                <a:gd name="connsiteX20" fmla="*/ 4667 w 49720"/>
                <a:gd name="connsiteY20" fmla="*/ 1048 h 129730"/>
                <a:gd name="connsiteX21" fmla="*/ 0 w 49720"/>
                <a:gd name="connsiteY21" fmla="*/ 0 h 129730"/>
                <a:gd name="connsiteX22" fmla="*/ 0 w 49720"/>
                <a:gd name="connsiteY22" fmla="*/ 0 h 129730"/>
                <a:gd name="connsiteX23" fmla="*/ 0 w 49720"/>
                <a:gd name="connsiteY23" fmla="*/ 0 h 129730"/>
                <a:gd name="connsiteX24" fmla="*/ 0 w 49720"/>
                <a:gd name="connsiteY24" fmla="*/ 0 h 12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9720" h="129730">
                  <a:moveTo>
                    <a:pt x="0" y="0"/>
                  </a:moveTo>
                  <a:lnTo>
                    <a:pt x="0" y="0"/>
                  </a:lnTo>
                  <a:cubicBezTo>
                    <a:pt x="1048" y="1333"/>
                    <a:pt x="2096" y="2477"/>
                    <a:pt x="3143" y="3715"/>
                  </a:cubicBezTo>
                  <a:cubicBezTo>
                    <a:pt x="4572" y="5429"/>
                    <a:pt x="6001" y="7239"/>
                    <a:pt x="7239" y="9144"/>
                  </a:cubicBezTo>
                  <a:cubicBezTo>
                    <a:pt x="13430" y="18574"/>
                    <a:pt x="17431" y="29146"/>
                    <a:pt x="20193" y="37338"/>
                  </a:cubicBezTo>
                  <a:cubicBezTo>
                    <a:pt x="21907" y="42481"/>
                    <a:pt x="23717" y="47911"/>
                    <a:pt x="25051" y="53531"/>
                  </a:cubicBezTo>
                  <a:cubicBezTo>
                    <a:pt x="27051" y="61722"/>
                    <a:pt x="28575" y="70294"/>
                    <a:pt x="29433" y="79058"/>
                  </a:cubicBezTo>
                  <a:cubicBezTo>
                    <a:pt x="30194" y="86868"/>
                    <a:pt x="30671" y="95060"/>
                    <a:pt x="30956" y="104013"/>
                  </a:cubicBezTo>
                  <a:cubicBezTo>
                    <a:pt x="31052" y="108585"/>
                    <a:pt x="31147" y="113157"/>
                    <a:pt x="31147" y="117729"/>
                  </a:cubicBezTo>
                  <a:cubicBezTo>
                    <a:pt x="31242" y="121348"/>
                    <a:pt x="31242" y="124968"/>
                    <a:pt x="31242" y="128588"/>
                  </a:cubicBezTo>
                  <a:lnTo>
                    <a:pt x="38005" y="129064"/>
                  </a:lnTo>
                  <a:cubicBezTo>
                    <a:pt x="41339" y="129159"/>
                    <a:pt x="44672" y="129350"/>
                    <a:pt x="48006" y="129540"/>
                  </a:cubicBezTo>
                  <a:lnTo>
                    <a:pt x="48863" y="129635"/>
                  </a:lnTo>
                  <a:lnTo>
                    <a:pt x="49721" y="129731"/>
                  </a:lnTo>
                  <a:lnTo>
                    <a:pt x="48768" y="129159"/>
                  </a:lnTo>
                  <a:cubicBezTo>
                    <a:pt x="48101" y="121634"/>
                    <a:pt x="47530" y="113633"/>
                    <a:pt x="46958" y="105823"/>
                  </a:cubicBezTo>
                  <a:lnTo>
                    <a:pt x="46863" y="105061"/>
                  </a:lnTo>
                  <a:cubicBezTo>
                    <a:pt x="45720" y="87821"/>
                    <a:pt x="44577" y="69914"/>
                    <a:pt x="40291" y="53150"/>
                  </a:cubicBezTo>
                  <a:cubicBezTo>
                    <a:pt x="37529" y="42863"/>
                    <a:pt x="34480" y="34290"/>
                    <a:pt x="30766" y="26860"/>
                  </a:cubicBezTo>
                  <a:cubicBezTo>
                    <a:pt x="27337" y="19812"/>
                    <a:pt x="23527" y="14288"/>
                    <a:pt x="19050" y="10001"/>
                  </a:cubicBezTo>
                  <a:cubicBezTo>
                    <a:pt x="14574" y="5620"/>
                    <a:pt x="9716" y="2572"/>
                    <a:pt x="4667" y="1048"/>
                  </a:cubicBezTo>
                  <a:cubicBezTo>
                    <a:pt x="3143" y="667"/>
                    <a:pt x="1524" y="286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D685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35">
              <a:extLst>
                <a:ext uri="{FF2B5EF4-FFF2-40B4-BE49-F238E27FC236}">
                  <a16:creationId xmlns:a16="http://schemas.microsoft.com/office/drawing/2014/main" id="{167067F6-5CA0-4AFA-8A66-497A80124941}"/>
                </a:ext>
              </a:extLst>
            </p:cNvPr>
            <p:cNvSpPr/>
            <p:nvPr/>
          </p:nvSpPr>
          <p:spPr>
            <a:xfrm rot="782819">
              <a:off x="6690827" y="3481609"/>
              <a:ext cx="130815" cy="261276"/>
            </a:xfrm>
            <a:custGeom>
              <a:avLst/>
              <a:gdLst>
                <a:gd name="connsiteX0" fmla="*/ 881 w 52601"/>
                <a:gd name="connsiteY0" fmla="*/ 0 h 105060"/>
                <a:gd name="connsiteX1" fmla="*/ 786 w 52601"/>
                <a:gd name="connsiteY1" fmla="*/ 190 h 105060"/>
                <a:gd name="connsiteX2" fmla="*/ 786 w 52601"/>
                <a:gd name="connsiteY2" fmla="*/ 19812 h 105060"/>
                <a:gd name="connsiteX3" fmla="*/ 10120 w 52601"/>
                <a:gd name="connsiteY3" fmla="*/ 46958 h 105060"/>
                <a:gd name="connsiteX4" fmla="*/ 25360 w 52601"/>
                <a:gd name="connsiteY4" fmla="*/ 72676 h 105060"/>
                <a:gd name="connsiteX5" fmla="*/ 33266 w 52601"/>
                <a:gd name="connsiteY5" fmla="*/ 84392 h 105060"/>
                <a:gd name="connsiteX6" fmla="*/ 35171 w 52601"/>
                <a:gd name="connsiteY6" fmla="*/ 87154 h 105060"/>
                <a:gd name="connsiteX7" fmla="*/ 46410 w 52601"/>
                <a:gd name="connsiteY7" fmla="*/ 105061 h 105060"/>
                <a:gd name="connsiteX8" fmla="*/ 48792 w 52601"/>
                <a:gd name="connsiteY8" fmla="*/ 101537 h 105060"/>
                <a:gd name="connsiteX9" fmla="*/ 52602 w 52601"/>
                <a:gd name="connsiteY9" fmla="*/ 94964 h 105060"/>
                <a:gd name="connsiteX10" fmla="*/ 45077 w 52601"/>
                <a:gd name="connsiteY10" fmla="*/ 86487 h 105060"/>
                <a:gd name="connsiteX11" fmla="*/ 37552 w 52601"/>
                <a:gd name="connsiteY11" fmla="*/ 78010 h 105060"/>
                <a:gd name="connsiteX12" fmla="*/ 18788 w 52601"/>
                <a:gd name="connsiteY12" fmla="*/ 51244 h 105060"/>
                <a:gd name="connsiteX13" fmla="*/ 6024 w 52601"/>
                <a:gd name="connsiteY13" fmla="*/ 22193 h 105060"/>
                <a:gd name="connsiteX14" fmla="*/ 2119 w 52601"/>
                <a:gd name="connsiteY14" fmla="*/ 6477 h 105060"/>
                <a:gd name="connsiteX15" fmla="*/ 1166 w 52601"/>
                <a:gd name="connsiteY15" fmla="*/ 0 h 105060"/>
                <a:gd name="connsiteX16" fmla="*/ 881 w 52601"/>
                <a:gd name="connsiteY16" fmla="*/ 0 h 105060"/>
                <a:gd name="connsiteX17" fmla="*/ 881 w 52601"/>
                <a:gd name="connsiteY17" fmla="*/ 0 h 105060"/>
                <a:gd name="connsiteX18" fmla="*/ 881 w 52601"/>
                <a:gd name="connsiteY18" fmla="*/ 0 h 105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2601" h="105060">
                  <a:moveTo>
                    <a:pt x="881" y="0"/>
                  </a:moveTo>
                  <a:cubicBezTo>
                    <a:pt x="881" y="0"/>
                    <a:pt x="786" y="95"/>
                    <a:pt x="786" y="190"/>
                  </a:cubicBezTo>
                  <a:cubicBezTo>
                    <a:pt x="-262" y="6191"/>
                    <a:pt x="-262" y="12763"/>
                    <a:pt x="786" y="19812"/>
                  </a:cubicBezTo>
                  <a:cubicBezTo>
                    <a:pt x="2119" y="28004"/>
                    <a:pt x="5072" y="36576"/>
                    <a:pt x="10120" y="46958"/>
                  </a:cubicBezTo>
                  <a:cubicBezTo>
                    <a:pt x="14692" y="56388"/>
                    <a:pt x="20407" y="65246"/>
                    <a:pt x="25360" y="72676"/>
                  </a:cubicBezTo>
                  <a:cubicBezTo>
                    <a:pt x="27932" y="76581"/>
                    <a:pt x="30599" y="80486"/>
                    <a:pt x="33266" y="84392"/>
                  </a:cubicBezTo>
                  <a:lnTo>
                    <a:pt x="35171" y="87154"/>
                  </a:lnTo>
                  <a:cubicBezTo>
                    <a:pt x="38124" y="91631"/>
                    <a:pt x="42601" y="98488"/>
                    <a:pt x="46410" y="105061"/>
                  </a:cubicBezTo>
                  <a:lnTo>
                    <a:pt x="48792" y="101537"/>
                  </a:lnTo>
                  <a:cubicBezTo>
                    <a:pt x="50125" y="99346"/>
                    <a:pt x="51363" y="97155"/>
                    <a:pt x="52602" y="94964"/>
                  </a:cubicBezTo>
                  <a:cubicBezTo>
                    <a:pt x="50030" y="92107"/>
                    <a:pt x="47458" y="89344"/>
                    <a:pt x="45077" y="86487"/>
                  </a:cubicBezTo>
                  <a:cubicBezTo>
                    <a:pt x="42505" y="83725"/>
                    <a:pt x="39933" y="80963"/>
                    <a:pt x="37552" y="78010"/>
                  </a:cubicBezTo>
                  <a:cubicBezTo>
                    <a:pt x="29932" y="68961"/>
                    <a:pt x="23836" y="60198"/>
                    <a:pt x="18788" y="51244"/>
                  </a:cubicBezTo>
                  <a:cubicBezTo>
                    <a:pt x="13073" y="41053"/>
                    <a:pt x="8882" y="31623"/>
                    <a:pt x="6024" y="22193"/>
                  </a:cubicBezTo>
                  <a:cubicBezTo>
                    <a:pt x="4310" y="16478"/>
                    <a:pt x="2976" y="11335"/>
                    <a:pt x="2119" y="6477"/>
                  </a:cubicBezTo>
                  <a:cubicBezTo>
                    <a:pt x="1738" y="4286"/>
                    <a:pt x="1357" y="2191"/>
                    <a:pt x="1166" y="0"/>
                  </a:cubicBezTo>
                  <a:cubicBezTo>
                    <a:pt x="976" y="95"/>
                    <a:pt x="881" y="0"/>
                    <a:pt x="881" y="0"/>
                  </a:cubicBezTo>
                  <a:lnTo>
                    <a:pt x="881" y="0"/>
                  </a:lnTo>
                  <a:lnTo>
                    <a:pt x="881" y="0"/>
                  </a:lnTo>
                  <a:close/>
                </a:path>
              </a:pathLst>
            </a:custGeom>
            <a:solidFill>
              <a:srgbClr val="BD685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36">
              <a:extLst>
                <a:ext uri="{FF2B5EF4-FFF2-40B4-BE49-F238E27FC236}">
                  <a16:creationId xmlns:a16="http://schemas.microsoft.com/office/drawing/2014/main" id="{78D8255B-08C6-49AB-AADE-4904D9D05747}"/>
                </a:ext>
              </a:extLst>
            </p:cNvPr>
            <p:cNvSpPr/>
            <p:nvPr/>
          </p:nvSpPr>
          <p:spPr>
            <a:xfrm rot="782819">
              <a:off x="6832313" y="3705989"/>
              <a:ext cx="33173" cy="32947"/>
            </a:xfrm>
            <a:custGeom>
              <a:avLst/>
              <a:gdLst>
                <a:gd name="connsiteX0" fmla="*/ 6479 w 13339"/>
                <a:gd name="connsiteY0" fmla="*/ 9 h 13248"/>
                <a:gd name="connsiteX1" fmla="*/ 2 w 13339"/>
                <a:gd name="connsiteY1" fmla="*/ 6772 h 13248"/>
                <a:gd name="connsiteX2" fmla="*/ 2193 w 13339"/>
                <a:gd name="connsiteY2" fmla="*/ 11439 h 13248"/>
                <a:gd name="connsiteX3" fmla="*/ 6860 w 13339"/>
                <a:gd name="connsiteY3" fmla="*/ 13249 h 13248"/>
                <a:gd name="connsiteX4" fmla="*/ 13337 w 13339"/>
                <a:gd name="connsiteY4" fmla="*/ 6486 h 13248"/>
                <a:gd name="connsiteX5" fmla="*/ 11146 w 13339"/>
                <a:gd name="connsiteY5" fmla="*/ 1819 h 13248"/>
                <a:gd name="connsiteX6" fmla="*/ 6479 w 13339"/>
                <a:gd name="connsiteY6" fmla="*/ 9 h 13248"/>
                <a:gd name="connsiteX7" fmla="*/ 6479 w 13339"/>
                <a:gd name="connsiteY7" fmla="*/ 9 h 13248"/>
                <a:gd name="connsiteX8" fmla="*/ 6479 w 13339"/>
                <a:gd name="connsiteY8" fmla="*/ 9 h 13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339" h="13248">
                  <a:moveTo>
                    <a:pt x="6479" y="9"/>
                  </a:moveTo>
                  <a:cubicBezTo>
                    <a:pt x="2860" y="199"/>
                    <a:pt x="-93" y="3247"/>
                    <a:pt x="2" y="6772"/>
                  </a:cubicBezTo>
                  <a:cubicBezTo>
                    <a:pt x="2" y="8486"/>
                    <a:pt x="859" y="10201"/>
                    <a:pt x="2193" y="11439"/>
                  </a:cubicBezTo>
                  <a:cubicBezTo>
                    <a:pt x="3526" y="12677"/>
                    <a:pt x="5146" y="13249"/>
                    <a:pt x="6860" y="13249"/>
                  </a:cubicBezTo>
                  <a:cubicBezTo>
                    <a:pt x="10480" y="13058"/>
                    <a:pt x="13432" y="10010"/>
                    <a:pt x="13337" y="6486"/>
                  </a:cubicBezTo>
                  <a:cubicBezTo>
                    <a:pt x="13337" y="4771"/>
                    <a:pt x="12480" y="3057"/>
                    <a:pt x="11146" y="1819"/>
                  </a:cubicBezTo>
                  <a:cubicBezTo>
                    <a:pt x="9813" y="580"/>
                    <a:pt x="8194" y="-86"/>
                    <a:pt x="6479" y="9"/>
                  </a:cubicBezTo>
                  <a:lnTo>
                    <a:pt x="6479" y="9"/>
                  </a:lnTo>
                  <a:lnTo>
                    <a:pt x="6479" y="9"/>
                  </a:lnTo>
                  <a:close/>
                </a:path>
              </a:pathLst>
            </a:custGeom>
            <a:solidFill>
              <a:srgbClr val="FED0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37">
              <a:extLst>
                <a:ext uri="{FF2B5EF4-FFF2-40B4-BE49-F238E27FC236}">
                  <a16:creationId xmlns:a16="http://schemas.microsoft.com/office/drawing/2014/main" id="{7ED8EF86-B8A5-4F85-ABB5-898B5C5578E6}"/>
                </a:ext>
              </a:extLst>
            </p:cNvPr>
            <p:cNvSpPr/>
            <p:nvPr/>
          </p:nvSpPr>
          <p:spPr>
            <a:xfrm rot="782819">
              <a:off x="6749198" y="3473032"/>
              <a:ext cx="119173" cy="218663"/>
            </a:xfrm>
            <a:custGeom>
              <a:avLst/>
              <a:gdLst>
                <a:gd name="connsiteX0" fmla="*/ 3719 w 47920"/>
                <a:gd name="connsiteY0" fmla="*/ 4 h 87925"/>
                <a:gd name="connsiteX1" fmla="*/ 3719 w 47920"/>
                <a:gd name="connsiteY1" fmla="*/ 4 h 87925"/>
                <a:gd name="connsiteX2" fmla="*/ 3719 w 47920"/>
                <a:gd name="connsiteY2" fmla="*/ 4 h 87925"/>
                <a:gd name="connsiteX3" fmla="*/ 4 w 47920"/>
                <a:gd name="connsiteY3" fmla="*/ 3814 h 87925"/>
                <a:gd name="connsiteX4" fmla="*/ 575 w 47920"/>
                <a:gd name="connsiteY4" fmla="*/ 13244 h 87925"/>
                <a:gd name="connsiteX5" fmla="*/ 1814 w 47920"/>
                <a:gd name="connsiteY5" fmla="*/ 22769 h 87925"/>
                <a:gd name="connsiteX6" fmla="*/ 2004 w 47920"/>
                <a:gd name="connsiteY6" fmla="*/ 24197 h 87925"/>
                <a:gd name="connsiteX7" fmla="*/ 3719 w 47920"/>
                <a:gd name="connsiteY7" fmla="*/ 34199 h 87925"/>
                <a:gd name="connsiteX8" fmla="*/ 5719 w 47920"/>
                <a:gd name="connsiteY8" fmla="*/ 41438 h 87925"/>
                <a:gd name="connsiteX9" fmla="*/ 6005 w 47920"/>
                <a:gd name="connsiteY9" fmla="*/ 42295 h 87925"/>
                <a:gd name="connsiteX10" fmla="*/ 6957 w 47920"/>
                <a:gd name="connsiteY10" fmla="*/ 45248 h 87925"/>
                <a:gd name="connsiteX11" fmla="*/ 15244 w 47920"/>
                <a:gd name="connsiteY11" fmla="*/ 66203 h 87925"/>
                <a:gd name="connsiteX12" fmla="*/ 21150 w 47920"/>
                <a:gd name="connsiteY12" fmla="*/ 75537 h 87925"/>
                <a:gd name="connsiteX13" fmla="*/ 29246 w 47920"/>
                <a:gd name="connsiteY13" fmla="*/ 84776 h 87925"/>
                <a:gd name="connsiteX14" fmla="*/ 37151 w 47920"/>
                <a:gd name="connsiteY14" fmla="*/ 87920 h 87925"/>
                <a:gd name="connsiteX15" fmla="*/ 44771 w 47920"/>
                <a:gd name="connsiteY15" fmla="*/ 84586 h 87925"/>
                <a:gd name="connsiteX16" fmla="*/ 47915 w 47920"/>
                <a:gd name="connsiteY16" fmla="*/ 76680 h 87925"/>
                <a:gd name="connsiteX17" fmla="*/ 44581 w 47920"/>
                <a:gd name="connsiteY17" fmla="*/ 69060 h 87925"/>
                <a:gd name="connsiteX18" fmla="*/ 40390 w 47920"/>
                <a:gd name="connsiteY18" fmla="*/ 64488 h 87925"/>
                <a:gd name="connsiteX19" fmla="*/ 39533 w 47920"/>
                <a:gd name="connsiteY19" fmla="*/ 63536 h 87925"/>
                <a:gd name="connsiteX20" fmla="*/ 34866 w 47920"/>
                <a:gd name="connsiteY20" fmla="*/ 58487 h 87925"/>
                <a:gd name="connsiteX21" fmla="*/ 33532 w 47920"/>
                <a:gd name="connsiteY21" fmla="*/ 57059 h 87925"/>
                <a:gd name="connsiteX22" fmla="*/ 25817 w 47920"/>
                <a:gd name="connsiteY22" fmla="*/ 47915 h 87925"/>
                <a:gd name="connsiteX23" fmla="*/ 18578 w 47920"/>
                <a:gd name="connsiteY23" fmla="*/ 37342 h 87925"/>
                <a:gd name="connsiteX24" fmla="*/ 13148 w 47920"/>
                <a:gd name="connsiteY24" fmla="*/ 26102 h 87925"/>
                <a:gd name="connsiteX25" fmla="*/ 12577 w 47920"/>
                <a:gd name="connsiteY25" fmla="*/ 24769 h 87925"/>
                <a:gd name="connsiteX26" fmla="*/ 8005 w 47920"/>
                <a:gd name="connsiteY26" fmla="*/ 8481 h 87925"/>
                <a:gd name="connsiteX27" fmla="*/ 7624 w 47920"/>
                <a:gd name="connsiteY27" fmla="*/ 3528 h 87925"/>
                <a:gd name="connsiteX28" fmla="*/ 3719 w 47920"/>
                <a:gd name="connsiteY28" fmla="*/ 4 h 87925"/>
                <a:gd name="connsiteX29" fmla="*/ 3719 w 47920"/>
                <a:gd name="connsiteY29" fmla="*/ 4 h 87925"/>
                <a:gd name="connsiteX30" fmla="*/ 3719 w 47920"/>
                <a:gd name="connsiteY30" fmla="*/ 4 h 87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7920" h="87925">
                  <a:moveTo>
                    <a:pt x="3719" y="4"/>
                  </a:moveTo>
                  <a:lnTo>
                    <a:pt x="3719" y="4"/>
                  </a:lnTo>
                  <a:lnTo>
                    <a:pt x="3719" y="4"/>
                  </a:lnTo>
                  <a:cubicBezTo>
                    <a:pt x="1623" y="99"/>
                    <a:pt x="-91" y="1814"/>
                    <a:pt x="4" y="3814"/>
                  </a:cubicBezTo>
                  <a:cubicBezTo>
                    <a:pt x="99" y="6957"/>
                    <a:pt x="290" y="10100"/>
                    <a:pt x="575" y="13244"/>
                  </a:cubicBezTo>
                  <a:cubicBezTo>
                    <a:pt x="861" y="16387"/>
                    <a:pt x="1337" y="19530"/>
                    <a:pt x="1814" y="22769"/>
                  </a:cubicBezTo>
                  <a:lnTo>
                    <a:pt x="2004" y="24197"/>
                  </a:lnTo>
                  <a:cubicBezTo>
                    <a:pt x="2480" y="27531"/>
                    <a:pt x="3052" y="30865"/>
                    <a:pt x="3719" y="34199"/>
                  </a:cubicBezTo>
                  <a:cubicBezTo>
                    <a:pt x="4290" y="36675"/>
                    <a:pt x="5052" y="39056"/>
                    <a:pt x="5719" y="41438"/>
                  </a:cubicBezTo>
                  <a:lnTo>
                    <a:pt x="6005" y="42295"/>
                  </a:lnTo>
                  <a:lnTo>
                    <a:pt x="6957" y="45248"/>
                  </a:lnTo>
                  <a:cubicBezTo>
                    <a:pt x="9339" y="52963"/>
                    <a:pt x="12005" y="59821"/>
                    <a:pt x="15244" y="66203"/>
                  </a:cubicBezTo>
                  <a:cubicBezTo>
                    <a:pt x="16768" y="69251"/>
                    <a:pt x="18768" y="72394"/>
                    <a:pt x="21150" y="75537"/>
                  </a:cubicBezTo>
                  <a:cubicBezTo>
                    <a:pt x="23150" y="78204"/>
                    <a:pt x="25912" y="81919"/>
                    <a:pt x="29246" y="84776"/>
                  </a:cubicBezTo>
                  <a:cubicBezTo>
                    <a:pt x="31818" y="86967"/>
                    <a:pt x="34389" y="88015"/>
                    <a:pt x="37151" y="87920"/>
                  </a:cubicBezTo>
                  <a:cubicBezTo>
                    <a:pt x="40009" y="87824"/>
                    <a:pt x="42771" y="86586"/>
                    <a:pt x="44771" y="84586"/>
                  </a:cubicBezTo>
                  <a:cubicBezTo>
                    <a:pt x="46867" y="82490"/>
                    <a:pt x="48010" y="79538"/>
                    <a:pt x="47915" y="76680"/>
                  </a:cubicBezTo>
                  <a:cubicBezTo>
                    <a:pt x="47819" y="73918"/>
                    <a:pt x="46772" y="71537"/>
                    <a:pt x="44581" y="69060"/>
                  </a:cubicBezTo>
                  <a:cubicBezTo>
                    <a:pt x="43248" y="67536"/>
                    <a:pt x="41819" y="66012"/>
                    <a:pt x="40390" y="64488"/>
                  </a:cubicBezTo>
                  <a:lnTo>
                    <a:pt x="39533" y="63536"/>
                  </a:lnTo>
                  <a:cubicBezTo>
                    <a:pt x="37914" y="61821"/>
                    <a:pt x="36389" y="60202"/>
                    <a:pt x="34866" y="58487"/>
                  </a:cubicBezTo>
                  <a:lnTo>
                    <a:pt x="33532" y="57059"/>
                  </a:lnTo>
                  <a:cubicBezTo>
                    <a:pt x="30960" y="54011"/>
                    <a:pt x="28293" y="51058"/>
                    <a:pt x="25817" y="47915"/>
                  </a:cubicBezTo>
                  <a:cubicBezTo>
                    <a:pt x="22959" y="44200"/>
                    <a:pt x="20673" y="40866"/>
                    <a:pt x="18578" y="37342"/>
                  </a:cubicBezTo>
                  <a:cubicBezTo>
                    <a:pt x="16387" y="33627"/>
                    <a:pt x="14673" y="29627"/>
                    <a:pt x="13148" y="26102"/>
                  </a:cubicBezTo>
                  <a:lnTo>
                    <a:pt x="12577" y="24769"/>
                  </a:lnTo>
                  <a:cubicBezTo>
                    <a:pt x="10482" y="19911"/>
                    <a:pt x="9053" y="14768"/>
                    <a:pt x="8005" y="8481"/>
                  </a:cubicBezTo>
                  <a:cubicBezTo>
                    <a:pt x="7814" y="6862"/>
                    <a:pt x="7719" y="5147"/>
                    <a:pt x="7624" y="3528"/>
                  </a:cubicBezTo>
                  <a:cubicBezTo>
                    <a:pt x="7434" y="1623"/>
                    <a:pt x="5719" y="-91"/>
                    <a:pt x="3719" y="4"/>
                  </a:cubicBezTo>
                  <a:lnTo>
                    <a:pt x="3719" y="4"/>
                  </a:lnTo>
                  <a:lnTo>
                    <a:pt x="3719" y="4"/>
                  </a:lnTo>
                  <a:close/>
                </a:path>
              </a:pathLst>
            </a:custGeom>
            <a:solidFill>
              <a:srgbClr val="FED0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38">
              <a:extLst>
                <a:ext uri="{FF2B5EF4-FFF2-40B4-BE49-F238E27FC236}">
                  <a16:creationId xmlns:a16="http://schemas.microsoft.com/office/drawing/2014/main" id="{2FB1CE05-B295-426F-9335-C2A0D69767FF}"/>
                </a:ext>
              </a:extLst>
            </p:cNvPr>
            <p:cNvSpPr/>
            <p:nvPr/>
          </p:nvSpPr>
          <p:spPr>
            <a:xfrm rot="782819">
              <a:off x="7076884" y="3301611"/>
              <a:ext cx="191187" cy="243985"/>
            </a:xfrm>
            <a:custGeom>
              <a:avLst/>
              <a:gdLst>
                <a:gd name="connsiteX0" fmla="*/ 72736 w 76877"/>
                <a:gd name="connsiteY0" fmla="*/ 0 h 98107"/>
                <a:gd name="connsiteX1" fmla="*/ 71021 w 76877"/>
                <a:gd name="connsiteY1" fmla="*/ 571 h 98107"/>
                <a:gd name="connsiteX2" fmla="*/ 70164 w 76877"/>
                <a:gd name="connsiteY2" fmla="*/ 1143 h 98107"/>
                <a:gd name="connsiteX3" fmla="*/ 50067 w 76877"/>
                <a:gd name="connsiteY3" fmla="*/ 15716 h 98107"/>
                <a:gd name="connsiteX4" fmla="*/ 29873 w 76877"/>
                <a:gd name="connsiteY4" fmla="*/ 35052 h 98107"/>
                <a:gd name="connsiteX5" fmla="*/ 12443 w 76877"/>
                <a:gd name="connsiteY5" fmla="*/ 58293 h 98107"/>
                <a:gd name="connsiteX6" fmla="*/ 346 w 76877"/>
                <a:gd name="connsiteY6" fmla="*/ 83439 h 98107"/>
                <a:gd name="connsiteX7" fmla="*/ 441 w 76877"/>
                <a:gd name="connsiteY7" fmla="*/ 89535 h 98107"/>
                <a:gd name="connsiteX8" fmla="*/ 6061 w 76877"/>
                <a:gd name="connsiteY8" fmla="*/ 96583 h 98107"/>
                <a:gd name="connsiteX9" fmla="*/ 12252 w 76877"/>
                <a:gd name="connsiteY9" fmla="*/ 98108 h 98107"/>
                <a:gd name="connsiteX10" fmla="*/ 15014 w 76877"/>
                <a:gd name="connsiteY10" fmla="*/ 97631 h 98107"/>
                <a:gd name="connsiteX11" fmla="*/ 22063 w 76877"/>
                <a:gd name="connsiteY11" fmla="*/ 92012 h 98107"/>
                <a:gd name="connsiteX12" fmla="*/ 25682 w 76877"/>
                <a:gd name="connsiteY12" fmla="*/ 84106 h 98107"/>
                <a:gd name="connsiteX13" fmla="*/ 38732 w 76877"/>
                <a:gd name="connsiteY13" fmla="*/ 56483 h 98107"/>
                <a:gd name="connsiteX14" fmla="*/ 49400 w 76877"/>
                <a:gd name="connsiteY14" fmla="*/ 38195 h 98107"/>
                <a:gd name="connsiteX15" fmla="*/ 53400 w 76877"/>
                <a:gd name="connsiteY15" fmla="*/ 32290 h 98107"/>
                <a:gd name="connsiteX16" fmla="*/ 54067 w 76877"/>
                <a:gd name="connsiteY16" fmla="*/ 31337 h 98107"/>
                <a:gd name="connsiteX17" fmla="*/ 55210 w 76877"/>
                <a:gd name="connsiteY17" fmla="*/ 29718 h 98107"/>
                <a:gd name="connsiteX18" fmla="*/ 56162 w 76877"/>
                <a:gd name="connsiteY18" fmla="*/ 28289 h 98107"/>
                <a:gd name="connsiteX19" fmla="*/ 60449 w 76877"/>
                <a:gd name="connsiteY19" fmla="*/ 22193 h 98107"/>
                <a:gd name="connsiteX20" fmla="*/ 72641 w 76877"/>
                <a:gd name="connsiteY20" fmla="*/ 9335 h 98107"/>
                <a:gd name="connsiteX21" fmla="*/ 75022 w 76877"/>
                <a:gd name="connsiteY21" fmla="*/ 7525 h 98107"/>
                <a:gd name="connsiteX22" fmla="*/ 76355 w 76877"/>
                <a:gd name="connsiteY22" fmla="*/ 2191 h 98107"/>
                <a:gd name="connsiteX23" fmla="*/ 72736 w 76877"/>
                <a:gd name="connsiteY23" fmla="*/ 0 h 98107"/>
                <a:gd name="connsiteX24" fmla="*/ 72736 w 76877"/>
                <a:gd name="connsiteY24" fmla="*/ 0 h 98107"/>
                <a:gd name="connsiteX25" fmla="*/ 72736 w 76877"/>
                <a:gd name="connsiteY25" fmla="*/ 0 h 98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6877" h="98107">
                  <a:moveTo>
                    <a:pt x="72736" y="0"/>
                  </a:moveTo>
                  <a:cubicBezTo>
                    <a:pt x="72164" y="0"/>
                    <a:pt x="71593" y="191"/>
                    <a:pt x="71021" y="571"/>
                  </a:cubicBezTo>
                  <a:lnTo>
                    <a:pt x="70164" y="1143"/>
                  </a:lnTo>
                  <a:cubicBezTo>
                    <a:pt x="63401" y="5906"/>
                    <a:pt x="56544" y="10668"/>
                    <a:pt x="50067" y="15716"/>
                  </a:cubicBezTo>
                  <a:cubicBezTo>
                    <a:pt x="41875" y="22003"/>
                    <a:pt x="35017" y="29337"/>
                    <a:pt x="29873" y="35052"/>
                  </a:cubicBezTo>
                  <a:cubicBezTo>
                    <a:pt x="23111" y="42672"/>
                    <a:pt x="17205" y="50483"/>
                    <a:pt x="12443" y="58293"/>
                  </a:cubicBezTo>
                  <a:cubicBezTo>
                    <a:pt x="7204" y="66675"/>
                    <a:pt x="3203" y="74962"/>
                    <a:pt x="346" y="83439"/>
                  </a:cubicBezTo>
                  <a:cubicBezTo>
                    <a:pt x="-130" y="85439"/>
                    <a:pt x="-130" y="87440"/>
                    <a:pt x="441" y="89535"/>
                  </a:cubicBezTo>
                  <a:cubicBezTo>
                    <a:pt x="1298" y="92488"/>
                    <a:pt x="3299" y="95060"/>
                    <a:pt x="6061" y="96583"/>
                  </a:cubicBezTo>
                  <a:cubicBezTo>
                    <a:pt x="7966" y="97631"/>
                    <a:pt x="10062" y="98108"/>
                    <a:pt x="12252" y="98108"/>
                  </a:cubicBezTo>
                  <a:cubicBezTo>
                    <a:pt x="13110" y="98108"/>
                    <a:pt x="14062" y="97917"/>
                    <a:pt x="15014" y="97631"/>
                  </a:cubicBezTo>
                  <a:cubicBezTo>
                    <a:pt x="17586" y="96869"/>
                    <a:pt x="20825" y="94869"/>
                    <a:pt x="22063" y="92012"/>
                  </a:cubicBezTo>
                  <a:lnTo>
                    <a:pt x="25682" y="84106"/>
                  </a:lnTo>
                  <a:cubicBezTo>
                    <a:pt x="29779" y="74962"/>
                    <a:pt x="34064" y="65532"/>
                    <a:pt x="38732" y="56483"/>
                  </a:cubicBezTo>
                  <a:cubicBezTo>
                    <a:pt x="41685" y="50864"/>
                    <a:pt x="45114" y="44863"/>
                    <a:pt x="49400" y="38195"/>
                  </a:cubicBezTo>
                  <a:cubicBezTo>
                    <a:pt x="50733" y="36195"/>
                    <a:pt x="52067" y="34290"/>
                    <a:pt x="53400" y="32290"/>
                  </a:cubicBezTo>
                  <a:lnTo>
                    <a:pt x="54067" y="31337"/>
                  </a:lnTo>
                  <a:lnTo>
                    <a:pt x="55210" y="29718"/>
                  </a:lnTo>
                  <a:lnTo>
                    <a:pt x="56162" y="28289"/>
                  </a:lnTo>
                  <a:cubicBezTo>
                    <a:pt x="57591" y="26194"/>
                    <a:pt x="59020" y="24194"/>
                    <a:pt x="60449" y="22193"/>
                  </a:cubicBezTo>
                  <a:cubicBezTo>
                    <a:pt x="64544" y="16954"/>
                    <a:pt x="68450" y="12764"/>
                    <a:pt x="72641" y="9335"/>
                  </a:cubicBezTo>
                  <a:lnTo>
                    <a:pt x="75022" y="7525"/>
                  </a:lnTo>
                  <a:cubicBezTo>
                    <a:pt x="76832" y="6191"/>
                    <a:pt x="77404" y="4000"/>
                    <a:pt x="76355" y="2191"/>
                  </a:cubicBezTo>
                  <a:cubicBezTo>
                    <a:pt x="75688" y="762"/>
                    <a:pt x="74165" y="0"/>
                    <a:pt x="72736" y="0"/>
                  </a:cubicBezTo>
                  <a:lnTo>
                    <a:pt x="72736" y="0"/>
                  </a:lnTo>
                  <a:lnTo>
                    <a:pt x="72736" y="0"/>
                  </a:lnTo>
                  <a:close/>
                </a:path>
              </a:pathLst>
            </a:custGeom>
            <a:solidFill>
              <a:srgbClr val="FED0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39">
              <a:extLst>
                <a:ext uri="{FF2B5EF4-FFF2-40B4-BE49-F238E27FC236}">
                  <a16:creationId xmlns:a16="http://schemas.microsoft.com/office/drawing/2014/main" id="{7A9721E2-E40A-4DB9-8D21-59C19248473E}"/>
                </a:ext>
              </a:extLst>
            </p:cNvPr>
            <p:cNvSpPr/>
            <p:nvPr/>
          </p:nvSpPr>
          <p:spPr>
            <a:xfrm rot="782819">
              <a:off x="6725035" y="3810446"/>
              <a:ext cx="51867" cy="181272"/>
            </a:xfrm>
            <a:custGeom>
              <a:avLst/>
              <a:gdLst>
                <a:gd name="connsiteX0" fmla="*/ 16859 w 20856"/>
                <a:gd name="connsiteY0" fmla="*/ 24 h 72890"/>
                <a:gd name="connsiteX1" fmla="*/ 13525 w 20856"/>
                <a:gd name="connsiteY1" fmla="*/ 2120 h 72890"/>
                <a:gd name="connsiteX2" fmla="*/ 6477 w 20856"/>
                <a:gd name="connsiteY2" fmla="*/ 17169 h 72890"/>
                <a:gd name="connsiteX3" fmla="*/ 1619 w 20856"/>
                <a:gd name="connsiteY3" fmla="*/ 33076 h 72890"/>
                <a:gd name="connsiteX4" fmla="*/ 476 w 20856"/>
                <a:gd name="connsiteY4" fmla="*/ 40601 h 72890"/>
                <a:gd name="connsiteX5" fmla="*/ 0 w 20856"/>
                <a:gd name="connsiteY5" fmla="*/ 49840 h 72890"/>
                <a:gd name="connsiteX6" fmla="*/ 3239 w 20856"/>
                <a:gd name="connsiteY6" fmla="*/ 66985 h 72890"/>
                <a:gd name="connsiteX7" fmla="*/ 7144 w 20856"/>
                <a:gd name="connsiteY7" fmla="*/ 71843 h 72890"/>
                <a:gd name="connsiteX8" fmla="*/ 11430 w 20856"/>
                <a:gd name="connsiteY8" fmla="*/ 72891 h 72890"/>
                <a:gd name="connsiteX9" fmla="*/ 13335 w 20856"/>
                <a:gd name="connsiteY9" fmla="*/ 72510 h 72890"/>
                <a:gd name="connsiteX10" fmla="*/ 18955 w 20856"/>
                <a:gd name="connsiteY10" fmla="*/ 62318 h 72890"/>
                <a:gd name="connsiteX11" fmla="*/ 18098 w 20856"/>
                <a:gd name="connsiteY11" fmla="*/ 59079 h 72890"/>
                <a:gd name="connsiteX12" fmla="*/ 14383 w 20856"/>
                <a:gd name="connsiteY12" fmla="*/ 43935 h 72890"/>
                <a:gd name="connsiteX13" fmla="*/ 13907 w 20856"/>
                <a:gd name="connsiteY13" fmla="*/ 27075 h 72890"/>
                <a:gd name="connsiteX14" fmla="*/ 17812 w 20856"/>
                <a:gd name="connsiteY14" fmla="*/ 11550 h 72890"/>
                <a:gd name="connsiteX15" fmla="*/ 20384 w 20856"/>
                <a:gd name="connsiteY15" fmla="*/ 5930 h 72890"/>
                <a:gd name="connsiteX16" fmla="*/ 18765 w 20856"/>
                <a:gd name="connsiteY16" fmla="*/ 501 h 72890"/>
                <a:gd name="connsiteX17" fmla="*/ 16859 w 20856"/>
                <a:gd name="connsiteY17" fmla="*/ 24 h 72890"/>
                <a:gd name="connsiteX18" fmla="*/ 16859 w 20856"/>
                <a:gd name="connsiteY18" fmla="*/ 24 h 72890"/>
                <a:gd name="connsiteX19" fmla="*/ 16859 w 20856"/>
                <a:gd name="connsiteY19" fmla="*/ 24 h 72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856" h="72890">
                  <a:moveTo>
                    <a:pt x="16859" y="24"/>
                  </a:moveTo>
                  <a:cubicBezTo>
                    <a:pt x="15430" y="120"/>
                    <a:pt x="14192" y="882"/>
                    <a:pt x="13525" y="2120"/>
                  </a:cubicBezTo>
                  <a:cubicBezTo>
                    <a:pt x="10383" y="8025"/>
                    <a:pt x="8097" y="12788"/>
                    <a:pt x="6477" y="17169"/>
                  </a:cubicBezTo>
                  <a:cubicBezTo>
                    <a:pt x="4477" y="22503"/>
                    <a:pt x="2857" y="27837"/>
                    <a:pt x="1619" y="33076"/>
                  </a:cubicBezTo>
                  <a:cubicBezTo>
                    <a:pt x="1048" y="35553"/>
                    <a:pt x="762" y="38124"/>
                    <a:pt x="476" y="40601"/>
                  </a:cubicBezTo>
                  <a:cubicBezTo>
                    <a:pt x="95" y="44316"/>
                    <a:pt x="0" y="47078"/>
                    <a:pt x="0" y="49840"/>
                  </a:cubicBezTo>
                  <a:cubicBezTo>
                    <a:pt x="0" y="55936"/>
                    <a:pt x="1143" y="61842"/>
                    <a:pt x="3239" y="66985"/>
                  </a:cubicBezTo>
                  <a:cubicBezTo>
                    <a:pt x="4096" y="69081"/>
                    <a:pt x="5049" y="70700"/>
                    <a:pt x="7144" y="71843"/>
                  </a:cubicBezTo>
                  <a:cubicBezTo>
                    <a:pt x="8477" y="72605"/>
                    <a:pt x="9906" y="72891"/>
                    <a:pt x="11430" y="72891"/>
                  </a:cubicBezTo>
                  <a:cubicBezTo>
                    <a:pt x="12002" y="72891"/>
                    <a:pt x="12668" y="72795"/>
                    <a:pt x="13335" y="72510"/>
                  </a:cubicBezTo>
                  <a:cubicBezTo>
                    <a:pt x="17622" y="71271"/>
                    <a:pt x="20098" y="66699"/>
                    <a:pt x="18955" y="62318"/>
                  </a:cubicBezTo>
                  <a:lnTo>
                    <a:pt x="18098" y="59079"/>
                  </a:lnTo>
                  <a:cubicBezTo>
                    <a:pt x="16764" y="54412"/>
                    <a:pt x="15240" y="49078"/>
                    <a:pt x="14383" y="43935"/>
                  </a:cubicBezTo>
                  <a:cubicBezTo>
                    <a:pt x="13621" y="38315"/>
                    <a:pt x="13525" y="32600"/>
                    <a:pt x="13907" y="27075"/>
                  </a:cubicBezTo>
                  <a:cubicBezTo>
                    <a:pt x="14574" y="22027"/>
                    <a:pt x="15907" y="16788"/>
                    <a:pt x="17812" y="11550"/>
                  </a:cubicBezTo>
                  <a:cubicBezTo>
                    <a:pt x="18574" y="9645"/>
                    <a:pt x="19431" y="7835"/>
                    <a:pt x="20384" y="5930"/>
                  </a:cubicBezTo>
                  <a:cubicBezTo>
                    <a:pt x="21431" y="4025"/>
                    <a:pt x="20669" y="1548"/>
                    <a:pt x="18765" y="501"/>
                  </a:cubicBezTo>
                  <a:cubicBezTo>
                    <a:pt x="18288" y="120"/>
                    <a:pt x="17622" y="-71"/>
                    <a:pt x="16859" y="24"/>
                  </a:cubicBezTo>
                  <a:lnTo>
                    <a:pt x="16859" y="24"/>
                  </a:lnTo>
                  <a:lnTo>
                    <a:pt x="16859" y="24"/>
                  </a:lnTo>
                  <a:close/>
                </a:path>
              </a:pathLst>
            </a:custGeom>
            <a:solidFill>
              <a:srgbClr val="FED0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40">
              <a:extLst>
                <a:ext uri="{FF2B5EF4-FFF2-40B4-BE49-F238E27FC236}">
                  <a16:creationId xmlns:a16="http://schemas.microsoft.com/office/drawing/2014/main" id="{6EA0DDD2-B180-4A26-A3A8-BC274F9EF017}"/>
                </a:ext>
              </a:extLst>
            </p:cNvPr>
            <p:cNvSpPr/>
            <p:nvPr/>
          </p:nvSpPr>
          <p:spPr>
            <a:xfrm rot="782819">
              <a:off x="7029419" y="4041862"/>
              <a:ext cx="148661" cy="167472"/>
            </a:xfrm>
            <a:custGeom>
              <a:avLst/>
              <a:gdLst>
                <a:gd name="connsiteX0" fmla="*/ 3096 w 59777"/>
                <a:gd name="connsiteY0" fmla="*/ 0 h 67341"/>
                <a:gd name="connsiteX1" fmla="*/ 1762 w 59777"/>
                <a:gd name="connsiteY1" fmla="*/ 381 h 67341"/>
                <a:gd name="connsiteX2" fmla="*/ 334 w 59777"/>
                <a:gd name="connsiteY2" fmla="*/ 4858 h 67341"/>
                <a:gd name="connsiteX3" fmla="*/ 18241 w 59777"/>
                <a:gd name="connsiteY3" fmla="*/ 37909 h 67341"/>
                <a:gd name="connsiteX4" fmla="*/ 30718 w 59777"/>
                <a:gd name="connsiteY4" fmla="*/ 53530 h 67341"/>
                <a:gd name="connsiteX5" fmla="*/ 46434 w 59777"/>
                <a:gd name="connsiteY5" fmla="*/ 66008 h 67341"/>
                <a:gd name="connsiteX6" fmla="*/ 51578 w 59777"/>
                <a:gd name="connsiteY6" fmla="*/ 67342 h 67341"/>
                <a:gd name="connsiteX7" fmla="*/ 58436 w 59777"/>
                <a:gd name="connsiteY7" fmla="*/ 63437 h 67341"/>
                <a:gd name="connsiteX8" fmla="*/ 59579 w 59777"/>
                <a:gd name="connsiteY8" fmla="*/ 56674 h 67341"/>
                <a:gd name="connsiteX9" fmla="*/ 55865 w 59777"/>
                <a:gd name="connsiteY9" fmla="*/ 51435 h 67341"/>
                <a:gd name="connsiteX10" fmla="*/ 44053 w 59777"/>
                <a:gd name="connsiteY10" fmla="*/ 43815 h 67341"/>
                <a:gd name="connsiteX11" fmla="*/ 33576 w 59777"/>
                <a:gd name="connsiteY11" fmla="*/ 35528 h 67341"/>
                <a:gd name="connsiteX12" fmla="*/ 13383 w 59777"/>
                <a:gd name="connsiteY12" fmla="*/ 14002 h 67341"/>
                <a:gd name="connsiteX13" fmla="*/ 6144 w 59777"/>
                <a:gd name="connsiteY13" fmla="*/ 1810 h 67341"/>
                <a:gd name="connsiteX14" fmla="*/ 3096 w 59777"/>
                <a:gd name="connsiteY14" fmla="*/ 0 h 67341"/>
                <a:gd name="connsiteX15" fmla="*/ 3096 w 59777"/>
                <a:gd name="connsiteY15" fmla="*/ 0 h 67341"/>
                <a:gd name="connsiteX16" fmla="*/ 3096 w 59777"/>
                <a:gd name="connsiteY16" fmla="*/ 0 h 6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777" h="67341">
                  <a:moveTo>
                    <a:pt x="3096" y="0"/>
                  </a:moveTo>
                  <a:cubicBezTo>
                    <a:pt x="2620" y="0"/>
                    <a:pt x="2143" y="191"/>
                    <a:pt x="1762" y="381"/>
                  </a:cubicBezTo>
                  <a:cubicBezTo>
                    <a:pt x="143" y="1238"/>
                    <a:pt x="-428" y="3238"/>
                    <a:pt x="334" y="4858"/>
                  </a:cubicBezTo>
                  <a:cubicBezTo>
                    <a:pt x="5382" y="15335"/>
                    <a:pt x="11192" y="27146"/>
                    <a:pt x="18241" y="37909"/>
                  </a:cubicBezTo>
                  <a:cubicBezTo>
                    <a:pt x="22432" y="44196"/>
                    <a:pt x="26432" y="49149"/>
                    <a:pt x="30718" y="53530"/>
                  </a:cubicBezTo>
                  <a:cubicBezTo>
                    <a:pt x="35766" y="58674"/>
                    <a:pt x="41100" y="62865"/>
                    <a:pt x="46434" y="66008"/>
                  </a:cubicBezTo>
                  <a:cubicBezTo>
                    <a:pt x="47959" y="66961"/>
                    <a:pt x="49768" y="67342"/>
                    <a:pt x="51578" y="67342"/>
                  </a:cubicBezTo>
                  <a:cubicBezTo>
                    <a:pt x="54436" y="67246"/>
                    <a:pt x="56912" y="65818"/>
                    <a:pt x="58436" y="63437"/>
                  </a:cubicBezTo>
                  <a:cubicBezTo>
                    <a:pt x="59674" y="61532"/>
                    <a:pt x="60056" y="59055"/>
                    <a:pt x="59579" y="56674"/>
                  </a:cubicBezTo>
                  <a:cubicBezTo>
                    <a:pt x="59103" y="54483"/>
                    <a:pt x="57769" y="52578"/>
                    <a:pt x="55865" y="51435"/>
                  </a:cubicBezTo>
                  <a:cubicBezTo>
                    <a:pt x="51864" y="48958"/>
                    <a:pt x="47863" y="46482"/>
                    <a:pt x="44053" y="43815"/>
                  </a:cubicBezTo>
                  <a:cubicBezTo>
                    <a:pt x="40434" y="41338"/>
                    <a:pt x="37195" y="38576"/>
                    <a:pt x="33576" y="35528"/>
                  </a:cubicBezTo>
                  <a:cubicBezTo>
                    <a:pt x="25861" y="28956"/>
                    <a:pt x="19098" y="21717"/>
                    <a:pt x="13383" y="14002"/>
                  </a:cubicBezTo>
                  <a:cubicBezTo>
                    <a:pt x="10811" y="10382"/>
                    <a:pt x="8430" y="6382"/>
                    <a:pt x="6144" y="1810"/>
                  </a:cubicBezTo>
                  <a:cubicBezTo>
                    <a:pt x="5572" y="667"/>
                    <a:pt x="4429" y="0"/>
                    <a:pt x="3096" y="0"/>
                  </a:cubicBezTo>
                  <a:lnTo>
                    <a:pt x="3096" y="0"/>
                  </a:lnTo>
                  <a:lnTo>
                    <a:pt x="3096" y="0"/>
                  </a:lnTo>
                  <a:close/>
                </a:path>
              </a:pathLst>
            </a:custGeom>
            <a:solidFill>
              <a:srgbClr val="FED0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42">
              <a:extLst>
                <a:ext uri="{FF2B5EF4-FFF2-40B4-BE49-F238E27FC236}">
                  <a16:creationId xmlns:a16="http://schemas.microsoft.com/office/drawing/2014/main" id="{56E619E5-5554-46D6-9480-BAA226ADF150}"/>
                </a:ext>
              </a:extLst>
            </p:cNvPr>
            <p:cNvSpPr/>
            <p:nvPr/>
          </p:nvSpPr>
          <p:spPr>
            <a:xfrm>
              <a:off x="5424718" y="2683948"/>
              <a:ext cx="1189858" cy="1271745"/>
            </a:xfrm>
            <a:custGeom>
              <a:avLst/>
              <a:gdLst>
                <a:gd name="connsiteX0" fmla="*/ 184698 w 449327"/>
                <a:gd name="connsiteY0" fmla="*/ 0 h 480250"/>
                <a:gd name="connsiteX1" fmla="*/ 190318 w 449327"/>
                <a:gd name="connsiteY1" fmla="*/ 381 h 480250"/>
                <a:gd name="connsiteX2" fmla="*/ 208891 w 449327"/>
                <a:gd name="connsiteY2" fmla="*/ 6382 h 480250"/>
                <a:gd name="connsiteX3" fmla="*/ 227656 w 449327"/>
                <a:gd name="connsiteY3" fmla="*/ 18288 h 480250"/>
                <a:gd name="connsiteX4" fmla="*/ 252992 w 449327"/>
                <a:gd name="connsiteY4" fmla="*/ 42101 h 480250"/>
                <a:gd name="connsiteX5" fmla="*/ 276805 w 449327"/>
                <a:gd name="connsiteY5" fmla="*/ 70961 h 480250"/>
                <a:gd name="connsiteX6" fmla="*/ 311571 w 449327"/>
                <a:gd name="connsiteY6" fmla="*/ 124778 h 480250"/>
                <a:gd name="connsiteX7" fmla="*/ 337098 w 449327"/>
                <a:gd name="connsiteY7" fmla="*/ 114395 h 480250"/>
                <a:gd name="connsiteX8" fmla="*/ 347099 w 449327"/>
                <a:gd name="connsiteY8" fmla="*/ 110871 h 480250"/>
                <a:gd name="connsiteX9" fmla="*/ 348433 w 449327"/>
                <a:gd name="connsiteY9" fmla="*/ 110395 h 480250"/>
                <a:gd name="connsiteX10" fmla="*/ 372436 w 449327"/>
                <a:gd name="connsiteY10" fmla="*/ 102584 h 480250"/>
                <a:gd name="connsiteX11" fmla="*/ 399868 w 449327"/>
                <a:gd name="connsiteY11" fmla="*/ 98393 h 480250"/>
                <a:gd name="connsiteX12" fmla="*/ 426252 w 449327"/>
                <a:gd name="connsiteY12" fmla="*/ 104680 h 480250"/>
                <a:gd name="connsiteX13" fmla="*/ 436920 w 449327"/>
                <a:gd name="connsiteY13" fmla="*/ 113538 h 480250"/>
                <a:gd name="connsiteX14" fmla="*/ 444921 w 449327"/>
                <a:gd name="connsiteY14" fmla="*/ 127064 h 480250"/>
                <a:gd name="connsiteX15" fmla="*/ 448826 w 449327"/>
                <a:gd name="connsiteY15" fmla="*/ 159639 h 480250"/>
                <a:gd name="connsiteX16" fmla="*/ 439111 w 449327"/>
                <a:gd name="connsiteY16" fmla="*/ 192215 h 480250"/>
                <a:gd name="connsiteX17" fmla="*/ 422442 w 449327"/>
                <a:gd name="connsiteY17" fmla="*/ 223361 h 480250"/>
                <a:gd name="connsiteX18" fmla="*/ 413679 w 449327"/>
                <a:gd name="connsiteY18" fmla="*/ 237649 h 480250"/>
                <a:gd name="connsiteX19" fmla="*/ 411488 w 449327"/>
                <a:gd name="connsiteY19" fmla="*/ 241078 h 480250"/>
                <a:gd name="connsiteX20" fmla="*/ 399106 w 449327"/>
                <a:gd name="connsiteY20" fmla="*/ 262795 h 480250"/>
                <a:gd name="connsiteX21" fmla="*/ 414631 w 449327"/>
                <a:gd name="connsiteY21" fmla="*/ 299561 h 480250"/>
                <a:gd name="connsiteX22" fmla="*/ 426919 w 449327"/>
                <a:gd name="connsiteY22" fmla="*/ 354044 h 480250"/>
                <a:gd name="connsiteX23" fmla="*/ 416060 w 449327"/>
                <a:gd name="connsiteY23" fmla="*/ 402812 h 480250"/>
                <a:gd name="connsiteX24" fmla="*/ 396724 w 449327"/>
                <a:gd name="connsiteY24" fmla="*/ 419195 h 480250"/>
                <a:gd name="connsiteX25" fmla="*/ 370721 w 449327"/>
                <a:gd name="connsiteY25" fmla="*/ 425006 h 480250"/>
                <a:gd name="connsiteX26" fmla="*/ 365197 w 449327"/>
                <a:gd name="connsiteY26" fmla="*/ 424815 h 480250"/>
                <a:gd name="connsiteX27" fmla="*/ 338908 w 449327"/>
                <a:gd name="connsiteY27" fmla="*/ 418338 h 480250"/>
                <a:gd name="connsiteX28" fmla="*/ 313571 w 449327"/>
                <a:gd name="connsiteY28" fmla="*/ 405384 h 480250"/>
                <a:gd name="connsiteX29" fmla="*/ 291283 w 449327"/>
                <a:gd name="connsiteY29" fmla="*/ 389477 h 480250"/>
                <a:gd name="connsiteX30" fmla="*/ 278138 w 449327"/>
                <a:gd name="connsiteY30" fmla="*/ 377762 h 480250"/>
                <a:gd name="connsiteX31" fmla="*/ 274995 w 449327"/>
                <a:gd name="connsiteY31" fmla="*/ 385286 h 480250"/>
                <a:gd name="connsiteX32" fmla="*/ 274423 w 449327"/>
                <a:gd name="connsiteY32" fmla="*/ 386429 h 480250"/>
                <a:gd name="connsiteX33" fmla="*/ 273757 w 449327"/>
                <a:gd name="connsiteY33" fmla="*/ 387668 h 480250"/>
                <a:gd name="connsiteX34" fmla="*/ 272518 w 449327"/>
                <a:gd name="connsiteY34" fmla="*/ 390525 h 480250"/>
                <a:gd name="connsiteX35" fmla="*/ 250230 w 449327"/>
                <a:gd name="connsiteY35" fmla="*/ 431292 h 480250"/>
                <a:gd name="connsiteX36" fmla="*/ 226989 w 449327"/>
                <a:gd name="connsiteY36" fmla="*/ 459105 h 480250"/>
                <a:gd name="connsiteX37" fmla="*/ 196223 w 449327"/>
                <a:gd name="connsiteY37" fmla="*/ 477584 h 480250"/>
                <a:gd name="connsiteX38" fmla="*/ 181459 w 449327"/>
                <a:gd name="connsiteY38" fmla="*/ 480250 h 480250"/>
                <a:gd name="connsiteX39" fmla="*/ 180126 w 449327"/>
                <a:gd name="connsiteY39" fmla="*/ 480250 h 480250"/>
                <a:gd name="connsiteX40" fmla="*/ 165743 w 449327"/>
                <a:gd name="connsiteY40" fmla="*/ 478060 h 480250"/>
                <a:gd name="connsiteX41" fmla="*/ 141740 w 449327"/>
                <a:gd name="connsiteY41" fmla="*/ 462248 h 480250"/>
                <a:gd name="connsiteX42" fmla="*/ 132977 w 449327"/>
                <a:gd name="connsiteY42" fmla="*/ 449675 h 480250"/>
                <a:gd name="connsiteX43" fmla="*/ 126119 w 449327"/>
                <a:gd name="connsiteY43" fmla="*/ 434054 h 480250"/>
                <a:gd name="connsiteX44" fmla="*/ 121642 w 449327"/>
                <a:gd name="connsiteY44" fmla="*/ 416624 h 480250"/>
                <a:gd name="connsiteX45" fmla="*/ 118404 w 449327"/>
                <a:gd name="connsiteY45" fmla="*/ 395859 h 480250"/>
                <a:gd name="connsiteX46" fmla="*/ 116213 w 449327"/>
                <a:gd name="connsiteY46" fmla="*/ 360998 h 480250"/>
                <a:gd name="connsiteX47" fmla="*/ 117070 w 449327"/>
                <a:gd name="connsiteY47" fmla="*/ 333470 h 480250"/>
                <a:gd name="connsiteX48" fmla="*/ 101926 w 449327"/>
                <a:gd name="connsiteY48" fmla="*/ 328327 h 480250"/>
                <a:gd name="connsiteX49" fmla="*/ 78113 w 449327"/>
                <a:gd name="connsiteY49" fmla="*/ 319564 h 480250"/>
                <a:gd name="connsiteX50" fmla="*/ 30869 w 449327"/>
                <a:gd name="connsiteY50" fmla="*/ 294989 h 480250"/>
                <a:gd name="connsiteX51" fmla="*/ 12581 w 449327"/>
                <a:gd name="connsiteY51" fmla="*/ 278130 h 480250"/>
                <a:gd name="connsiteX52" fmla="*/ 1627 w 449327"/>
                <a:gd name="connsiteY52" fmla="*/ 256699 h 480250"/>
                <a:gd name="connsiteX53" fmla="*/ 1246 w 449327"/>
                <a:gd name="connsiteY53" fmla="*/ 232410 h 480250"/>
                <a:gd name="connsiteX54" fmla="*/ 14105 w 449327"/>
                <a:gd name="connsiteY54" fmla="*/ 207264 h 480250"/>
                <a:gd name="connsiteX55" fmla="*/ 37537 w 449327"/>
                <a:gd name="connsiteY55" fmla="*/ 188405 h 480250"/>
                <a:gd name="connsiteX56" fmla="*/ 66112 w 449327"/>
                <a:gd name="connsiteY56" fmla="*/ 174879 h 480250"/>
                <a:gd name="connsiteX57" fmla="*/ 93734 w 449327"/>
                <a:gd name="connsiteY57" fmla="*/ 165544 h 480250"/>
                <a:gd name="connsiteX58" fmla="*/ 97068 w 449327"/>
                <a:gd name="connsiteY58" fmla="*/ 164497 h 480250"/>
                <a:gd name="connsiteX59" fmla="*/ 100783 w 449327"/>
                <a:gd name="connsiteY59" fmla="*/ 163354 h 480250"/>
                <a:gd name="connsiteX60" fmla="*/ 108212 w 449327"/>
                <a:gd name="connsiteY60" fmla="*/ 161068 h 480250"/>
                <a:gd name="connsiteX61" fmla="*/ 113832 w 449327"/>
                <a:gd name="connsiteY61" fmla="*/ 159449 h 480250"/>
                <a:gd name="connsiteX62" fmla="*/ 119356 w 449327"/>
                <a:gd name="connsiteY62" fmla="*/ 157829 h 480250"/>
                <a:gd name="connsiteX63" fmla="*/ 122785 w 449327"/>
                <a:gd name="connsiteY63" fmla="*/ 156877 h 480250"/>
                <a:gd name="connsiteX64" fmla="*/ 126119 w 449327"/>
                <a:gd name="connsiteY64" fmla="*/ 155924 h 480250"/>
                <a:gd name="connsiteX65" fmla="*/ 127072 w 449327"/>
                <a:gd name="connsiteY65" fmla="*/ 128302 h 480250"/>
                <a:gd name="connsiteX66" fmla="*/ 127072 w 449327"/>
                <a:gd name="connsiteY66" fmla="*/ 127349 h 480250"/>
                <a:gd name="connsiteX67" fmla="*/ 132310 w 449327"/>
                <a:gd name="connsiteY67" fmla="*/ 65627 h 480250"/>
                <a:gd name="connsiteX68" fmla="*/ 142312 w 449327"/>
                <a:gd name="connsiteY68" fmla="*/ 34100 h 480250"/>
                <a:gd name="connsiteX69" fmla="*/ 155266 w 449327"/>
                <a:gd name="connsiteY69" fmla="*/ 13621 h 480250"/>
                <a:gd name="connsiteX70" fmla="*/ 171839 w 449327"/>
                <a:gd name="connsiteY70" fmla="*/ 2286 h 480250"/>
                <a:gd name="connsiteX71" fmla="*/ 184698 w 449327"/>
                <a:gd name="connsiteY71" fmla="*/ 0 h 480250"/>
                <a:gd name="connsiteX72" fmla="*/ 184698 w 449327"/>
                <a:gd name="connsiteY72" fmla="*/ 0 h 480250"/>
                <a:gd name="connsiteX73" fmla="*/ 184698 w 449327"/>
                <a:gd name="connsiteY73" fmla="*/ 0 h 48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49327" h="480250">
                  <a:moveTo>
                    <a:pt x="184698" y="0"/>
                  </a:moveTo>
                  <a:cubicBezTo>
                    <a:pt x="186603" y="0"/>
                    <a:pt x="188413" y="191"/>
                    <a:pt x="190318" y="381"/>
                  </a:cubicBezTo>
                  <a:cubicBezTo>
                    <a:pt x="196318" y="1238"/>
                    <a:pt x="202414" y="3143"/>
                    <a:pt x="208891" y="6382"/>
                  </a:cubicBezTo>
                  <a:cubicBezTo>
                    <a:pt x="214987" y="9335"/>
                    <a:pt x="221179" y="13240"/>
                    <a:pt x="227656" y="18288"/>
                  </a:cubicBezTo>
                  <a:cubicBezTo>
                    <a:pt x="235657" y="24479"/>
                    <a:pt x="243467" y="31814"/>
                    <a:pt x="252992" y="42101"/>
                  </a:cubicBezTo>
                  <a:cubicBezTo>
                    <a:pt x="260136" y="49816"/>
                    <a:pt x="267946" y="59245"/>
                    <a:pt x="276805" y="70961"/>
                  </a:cubicBezTo>
                  <a:cubicBezTo>
                    <a:pt x="290044" y="88678"/>
                    <a:pt x="301760" y="106775"/>
                    <a:pt x="311571" y="124778"/>
                  </a:cubicBezTo>
                  <a:cubicBezTo>
                    <a:pt x="319762" y="120206"/>
                    <a:pt x="329383" y="116967"/>
                    <a:pt x="337098" y="114395"/>
                  </a:cubicBezTo>
                  <a:cubicBezTo>
                    <a:pt x="340432" y="113252"/>
                    <a:pt x="343765" y="112109"/>
                    <a:pt x="347099" y="110871"/>
                  </a:cubicBezTo>
                  <a:lnTo>
                    <a:pt x="348433" y="110395"/>
                  </a:lnTo>
                  <a:cubicBezTo>
                    <a:pt x="354052" y="108299"/>
                    <a:pt x="363482" y="104870"/>
                    <a:pt x="372436" y="102584"/>
                  </a:cubicBezTo>
                  <a:cubicBezTo>
                    <a:pt x="383389" y="99727"/>
                    <a:pt x="391867" y="98393"/>
                    <a:pt x="399868" y="98393"/>
                  </a:cubicBezTo>
                  <a:cubicBezTo>
                    <a:pt x="410440" y="98393"/>
                    <a:pt x="419108" y="100489"/>
                    <a:pt x="426252" y="104680"/>
                  </a:cubicBezTo>
                  <a:cubicBezTo>
                    <a:pt x="430062" y="106871"/>
                    <a:pt x="433491" y="109728"/>
                    <a:pt x="436920" y="113538"/>
                  </a:cubicBezTo>
                  <a:cubicBezTo>
                    <a:pt x="439968" y="116777"/>
                    <a:pt x="442540" y="121253"/>
                    <a:pt x="444921" y="127064"/>
                  </a:cubicBezTo>
                  <a:cubicBezTo>
                    <a:pt x="448826" y="136398"/>
                    <a:pt x="450160" y="147352"/>
                    <a:pt x="448826" y="159639"/>
                  </a:cubicBezTo>
                  <a:cubicBezTo>
                    <a:pt x="447683" y="169355"/>
                    <a:pt x="444635" y="179737"/>
                    <a:pt x="439111" y="192215"/>
                  </a:cubicBezTo>
                  <a:cubicBezTo>
                    <a:pt x="434253" y="203359"/>
                    <a:pt x="428252" y="213741"/>
                    <a:pt x="422442" y="223361"/>
                  </a:cubicBezTo>
                  <a:cubicBezTo>
                    <a:pt x="419584" y="228124"/>
                    <a:pt x="416632" y="232886"/>
                    <a:pt x="413679" y="237649"/>
                  </a:cubicBezTo>
                  <a:lnTo>
                    <a:pt x="411488" y="241078"/>
                  </a:lnTo>
                  <a:cubicBezTo>
                    <a:pt x="408154" y="246507"/>
                    <a:pt x="403201" y="254794"/>
                    <a:pt x="399106" y="262795"/>
                  </a:cubicBezTo>
                  <a:cubicBezTo>
                    <a:pt x="404916" y="274225"/>
                    <a:pt x="410155" y="286607"/>
                    <a:pt x="414631" y="299561"/>
                  </a:cubicBezTo>
                  <a:cubicBezTo>
                    <a:pt x="421870" y="320421"/>
                    <a:pt x="425776" y="337757"/>
                    <a:pt x="426919" y="354044"/>
                  </a:cubicBezTo>
                  <a:cubicBezTo>
                    <a:pt x="428252" y="374142"/>
                    <a:pt x="424537" y="390525"/>
                    <a:pt x="416060" y="402812"/>
                  </a:cubicBezTo>
                  <a:cubicBezTo>
                    <a:pt x="411583" y="409385"/>
                    <a:pt x="405106" y="414814"/>
                    <a:pt x="396724" y="419195"/>
                  </a:cubicBezTo>
                  <a:cubicBezTo>
                    <a:pt x="389295" y="423005"/>
                    <a:pt x="380532" y="425006"/>
                    <a:pt x="370721" y="425006"/>
                  </a:cubicBezTo>
                  <a:cubicBezTo>
                    <a:pt x="368816" y="425006"/>
                    <a:pt x="367006" y="424910"/>
                    <a:pt x="365197" y="424815"/>
                  </a:cubicBezTo>
                  <a:cubicBezTo>
                    <a:pt x="357100" y="424244"/>
                    <a:pt x="348528" y="422053"/>
                    <a:pt x="338908" y="418338"/>
                  </a:cubicBezTo>
                  <a:cubicBezTo>
                    <a:pt x="330716" y="415195"/>
                    <a:pt x="322620" y="411099"/>
                    <a:pt x="313571" y="405384"/>
                  </a:cubicBezTo>
                  <a:cubicBezTo>
                    <a:pt x="306904" y="401384"/>
                    <a:pt x="299855" y="396335"/>
                    <a:pt x="291283" y="389477"/>
                  </a:cubicBezTo>
                  <a:cubicBezTo>
                    <a:pt x="286234" y="385286"/>
                    <a:pt x="282139" y="381572"/>
                    <a:pt x="278138" y="377762"/>
                  </a:cubicBezTo>
                  <a:cubicBezTo>
                    <a:pt x="277471" y="380238"/>
                    <a:pt x="276233" y="382810"/>
                    <a:pt x="274995" y="385286"/>
                  </a:cubicBezTo>
                  <a:lnTo>
                    <a:pt x="274423" y="386429"/>
                  </a:lnTo>
                  <a:lnTo>
                    <a:pt x="273757" y="387668"/>
                  </a:lnTo>
                  <a:lnTo>
                    <a:pt x="272518" y="390525"/>
                  </a:lnTo>
                  <a:cubicBezTo>
                    <a:pt x="266041" y="403479"/>
                    <a:pt x="258707" y="418052"/>
                    <a:pt x="250230" y="431292"/>
                  </a:cubicBezTo>
                  <a:cubicBezTo>
                    <a:pt x="243658" y="441579"/>
                    <a:pt x="235847" y="450914"/>
                    <a:pt x="226989" y="459105"/>
                  </a:cubicBezTo>
                  <a:cubicBezTo>
                    <a:pt x="217273" y="467963"/>
                    <a:pt x="206605" y="474345"/>
                    <a:pt x="196223" y="477584"/>
                  </a:cubicBezTo>
                  <a:cubicBezTo>
                    <a:pt x="190984" y="479203"/>
                    <a:pt x="186127" y="480155"/>
                    <a:pt x="181459" y="480250"/>
                  </a:cubicBezTo>
                  <a:lnTo>
                    <a:pt x="180126" y="480250"/>
                  </a:lnTo>
                  <a:cubicBezTo>
                    <a:pt x="175554" y="480250"/>
                    <a:pt x="170982" y="479584"/>
                    <a:pt x="165743" y="478060"/>
                  </a:cubicBezTo>
                  <a:cubicBezTo>
                    <a:pt x="157361" y="475774"/>
                    <a:pt x="149265" y="470440"/>
                    <a:pt x="141740" y="462248"/>
                  </a:cubicBezTo>
                  <a:cubicBezTo>
                    <a:pt x="138121" y="458248"/>
                    <a:pt x="135454" y="453866"/>
                    <a:pt x="132977" y="449675"/>
                  </a:cubicBezTo>
                  <a:cubicBezTo>
                    <a:pt x="130215" y="445008"/>
                    <a:pt x="127929" y="439865"/>
                    <a:pt x="126119" y="434054"/>
                  </a:cubicBezTo>
                  <a:cubicBezTo>
                    <a:pt x="124119" y="428244"/>
                    <a:pt x="122785" y="422243"/>
                    <a:pt x="121642" y="416624"/>
                  </a:cubicBezTo>
                  <a:cubicBezTo>
                    <a:pt x="120404" y="410337"/>
                    <a:pt x="119356" y="403860"/>
                    <a:pt x="118404" y="395859"/>
                  </a:cubicBezTo>
                  <a:cubicBezTo>
                    <a:pt x="117070" y="384524"/>
                    <a:pt x="116308" y="373094"/>
                    <a:pt x="116213" y="360998"/>
                  </a:cubicBezTo>
                  <a:cubicBezTo>
                    <a:pt x="116023" y="352044"/>
                    <a:pt x="116308" y="342805"/>
                    <a:pt x="117070" y="333470"/>
                  </a:cubicBezTo>
                  <a:lnTo>
                    <a:pt x="101926" y="328327"/>
                  </a:lnTo>
                  <a:cubicBezTo>
                    <a:pt x="93925" y="325469"/>
                    <a:pt x="86019" y="322612"/>
                    <a:pt x="78113" y="319564"/>
                  </a:cubicBezTo>
                  <a:cubicBezTo>
                    <a:pt x="58301" y="311753"/>
                    <a:pt x="43252" y="303943"/>
                    <a:pt x="30869" y="294989"/>
                  </a:cubicBezTo>
                  <a:cubicBezTo>
                    <a:pt x="23916" y="290132"/>
                    <a:pt x="17820" y="284512"/>
                    <a:pt x="12581" y="278130"/>
                  </a:cubicBezTo>
                  <a:cubicBezTo>
                    <a:pt x="7342" y="271748"/>
                    <a:pt x="3723" y="264605"/>
                    <a:pt x="1627" y="256699"/>
                  </a:cubicBezTo>
                  <a:cubicBezTo>
                    <a:pt x="-373" y="249269"/>
                    <a:pt x="-563" y="240887"/>
                    <a:pt x="1246" y="232410"/>
                  </a:cubicBezTo>
                  <a:cubicBezTo>
                    <a:pt x="3247" y="223552"/>
                    <a:pt x="7628" y="214884"/>
                    <a:pt x="14105" y="207264"/>
                  </a:cubicBezTo>
                  <a:cubicBezTo>
                    <a:pt x="20106" y="200311"/>
                    <a:pt x="27821" y="194119"/>
                    <a:pt x="37537" y="188405"/>
                  </a:cubicBezTo>
                  <a:cubicBezTo>
                    <a:pt x="45633" y="183547"/>
                    <a:pt x="54967" y="179165"/>
                    <a:pt x="66112" y="174879"/>
                  </a:cubicBezTo>
                  <a:cubicBezTo>
                    <a:pt x="75637" y="171164"/>
                    <a:pt x="85066" y="168212"/>
                    <a:pt x="93734" y="165544"/>
                  </a:cubicBezTo>
                  <a:lnTo>
                    <a:pt x="97068" y="164497"/>
                  </a:lnTo>
                  <a:lnTo>
                    <a:pt x="100783" y="163354"/>
                  </a:lnTo>
                  <a:lnTo>
                    <a:pt x="108212" y="161068"/>
                  </a:lnTo>
                  <a:cubicBezTo>
                    <a:pt x="110022" y="160496"/>
                    <a:pt x="111927" y="159925"/>
                    <a:pt x="113832" y="159449"/>
                  </a:cubicBezTo>
                  <a:lnTo>
                    <a:pt x="119356" y="157829"/>
                  </a:lnTo>
                  <a:lnTo>
                    <a:pt x="122785" y="156877"/>
                  </a:lnTo>
                  <a:lnTo>
                    <a:pt x="126119" y="155924"/>
                  </a:lnTo>
                  <a:cubicBezTo>
                    <a:pt x="126500" y="146971"/>
                    <a:pt x="126786" y="137541"/>
                    <a:pt x="127072" y="128302"/>
                  </a:cubicBezTo>
                  <a:lnTo>
                    <a:pt x="127072" y="127349"/>
                  </a:lnTo>
                  <a:cubicBezTo>
                    <a:pt x="127548" y="106871"/>
                    <a:pt x="127929" y="85725"/>
                    <a:pt x="132310" y="65627"/>
                  </a:cubicBezTo>
                  <a:cubicBezTo>
                    <a:pt x="134977" y="53340"/>
                    <a:pt x="138311" y="43053"/>
                    <a:pt x="142312" y="34100"/>
                  </a:cubicBezTo>
                  <a:cubicBezTo>
                    <a:pt x="146026" y="25622"/>
                    <a:pt x="150217" y="18955"/>
                    <a:pt x="155266" y="13621"/>
                  </a:cubicBezTo>
                  <a:cubicBezTo>
                    <a:pt x="160314" y="8192"/>
                    <a:pt x="165934" y="4382"/>
                    <a:pt x="171839" y="2286"/>
                  </a:cubicBezTo>
                  <a:cubicBezTo>
                    <a:pt x="175744" y="762"/>
                    <a:pt x="180221" y="0"/>
                    <a:pt x="184698" y="0"/>
                  </a:cubicBezTo>
                  <a:lnTo>
                    <a:pt x="184698" y="0"/>
                  </a:lnTo>
                  <a:lnTo>
                    <a:pt x="184698" y="0"/>
                  </a:lnTo>
                  <a:close/>
                </a:path>
              </a:pathLst>
            </a:custGeom>
            <a:solidFill>
              <a:srgbClr val="A3D58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 43">
              <a:extLst>
                <a:ext uri="{FF2B5EF4-FFF2-40B4-BE49-F238E27FC236}">
                  <a16:creationId xmlns:a16="http://schemas.microsoft.com/office/drawing/2014/main" id="{33F1D481-216C-4919-8BC2-ADB6970C44CC}"/>
                </a:ext>
              </a:extLst>
            </p:cNvPr>
            <p:cNvSpPr/>
            <p:nvPr/>
          </p:nvSpPr>
          <p:spPr>
            <a:xfrm>
              <a:off x="6461405" y="3045648"/>
              <a:ext cx="152699" cy="333951"/>
            </a:xfrm>
            <a:custGeom>
              <a:avLst/>
              <a:gdLst>
                <a:gd name="connsiteX0" fmla="*/ 57150 w 57664"/>
                <a:gd name="connsiteY0" fmla="*/ 22955 h 126110"/>
                <a:gd name="connsiteX1" fmla="*/ 47530 w 57664"/>
                <a:gd name="connsiteY1" fmla="*/ 55435 h 126110"/>
                <a:gd name="connsiteX2" fmla="*/ 30861 w 57664"/>
                <a:gd name="connsiteY2" fmla="*/ 86582 h 126110"/>
                <a:gd name="connsiteX3" fmla="*/ 22098 w 57664"/>
                <a:gd name="connsiteY3" fmla="*/ 100870 h 126110"/>
                <a:gd name="connsiteX4" fmla="*/ 19907 w 57664"/>
                <a:gd name="connsiteY4" fmla="*/ 104299 h 126110"/>
                <a:gd name="connsiteX5" fmla="*/ 7525 w 57664"/>
                <a:gd name="connsiteY5" fmla="*/ 126111 h 126110"/>
                <a:gd name="connsiteX6" fmla="*/ 0 w 57664"/>
                <a:gd name="connsiteY6" fmla="*/ 114491 h 126110"/>
                <a:gd name="connsiteX7" fmla="*/ 8477 w 57664"/>
                <a:gd name="connsiteY7" fmla="*/ 104394 h 126110"/>
                <a:gd name="connsiteX8" fmla="*/ 16954 w 57664"/>
                <a:gd name="connsiteY8" fmla="*/ 94012 h 126110"/>
                <a:gd name="connsiteX9" fmla="*/ 37814 w 57664"/>
                <a:gd name="connsiteY9" fmla="*/ 61436 h 126110"/>
                <a:gd name="connsiteX10" fmla="*/ 51435 w 57664"/>
                <a:gd name="connsiteY10" fmla="*/ 26480 h 126110"/>
                <a:gd name="connsiteX11" fmla="*/ 55245 w 57664"/>
                <a:gd name="connsiteY11" fmla="*/ 7715 h 126110"/>
                <a:gd name="connsiteX12" fmla="*/ 56102 w 57664"/>
                <a:gd name="connsiteY12" fmla="*/ 0 h 126110"/>
                <a:gd name="connsiteX13" fmla="*/ 57150 w 57664"/>
                <a:gd name="connsiteY13" fmla="*/ 22955 h 126110"/>
                <a:gd name="connsiteX14" fmla="*/ 57150 w 57664"/>
                <a:gd name="connsiteY14" fmla="*/ 22955 h 126110"/>
                <a:gd name="connsiteX15" fmla="*/ 57150 w 57664"/>
                <a:gd name="connsiteY15" fmla="*/ 22955 h 12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664" h="126110">
                  <a:moveTo>
                    <a:pt x="57150" y="22955"/>
                  </a:moveTo>
                  <a:cubicBezTo>
                    <a:pt x="56007" y="32671"/>
                    <a:pt x="52959" y="43053"/>
                    <a:pt x="47530" y="55435"/>
                  </a:cubicBezTo>
                  <a:cubicBezTo>
                    <a:pt x="42672" y="66675"/>
                    <a:pt x="36385" y="77438"/>
                    <a:pt x="30861" y="86582"/>
                  </a:cubicBezTo>
                  <a:cubicBezTo>
                    <a:pt x="28003" y="91345"/>
                    <a:pt x="25051" y="96107"/>
                    <a:pt x="22098" y="100870"/>
                  </a:cubicBezTo>
                  <a:lnTo>
                    <a:pt x="19907" y="104299"/>
                  </a:lnTo>
                  <a:cubicBezTo>
                    <a:pt x="15811" y="111062"/>
                    <a:pt x="11430" y="118491"/>
                    <a:pt x="7525" y="126111"/>
                  </a:cubicBezTo>
                  <a:cubicBezTo>
                    <a:pt x="5048" y="122206"/>
                    <a:pt x="2476" y="118396"/>
                    <a:pt x="0" y="114491"/>
                  </a:cubicBezTo>
                  <a:cubicBezTo>
                    <a:pt x="2857" y="111157"/>
                    <a:pt x="5715" y="107823"/>
                    <a:pt x="8477" y="104394"/>
                  </a:cubicBezTo>
                  <a:cubicBezTo>
                    <a:pt x="11430" y="101060"/>
                    <a:pt x="14288" y="97536"/>
                    <a:pt x="16954" y="94012"/>
                  </a:cubicBezTo>
                  <a:cubicBezTo>
                    <a:pt x="24860" y="83820"/>
                    <a:pt x="32004" y="72962"/>
                    <a:pt x="37814" y="61436"/>
                  </a:cubicBezTo>
                  <a:cubicBezTo>
                    <a:pt x="43529" y="50292"/>
                    <a:pt x="48292" y="38576"/>
                    <a:pt x="51435" y="26480"/>
                  </a:cubicBezTo>
                  <a:cubicBezTo>
                    <a:pt x="53054" y="20288"/>
                    <a:pt x="54388" y="14002"/>
                    <a:pt x="55245" y="7715"/>
                  </a:cubicBezTo>
                  <a:cubicBezTo>
                    <a:pt x="55626" y="5143"/>
                    <a:pt x="55912" y="2572"/>
                    <a:pt x="56102" y="0"/>
                  </a:cubicBezTo>
                  <a:cubicBezTo>
                    <a:pt x="57721" y="6858"/>
                    <a:pt x="58102" y="14573"/>
                    <a:pt x="57150" y="22955"/>
                  </a:cubicBezTo>
                  <a:lnTo>
                    <a:pt x="57150" y="22955"/>
                  </a:lnTo>
                  <a:lnTo>
                    <a:pt x="57150" y="22955"/>
                  </a:lnTo>
                  <a:close/>
                </a:path>
              </a:pathLst>
            </a:custGeom>
            <a:solidFill>
              <a:srgbClr val="7AA06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 44">
              <a:extLst>
                <a:ext uri="{FF2B5EF4-FFF2-40B4-BE49-F238E27FC236}">
                  <a16:creationId xmlns:a16="http://schemas.microsoft.com/office/drawing/2014/main" id="{0F7E8B33-9130-4D34-9E48-E0222CCB257C}"/>
                </a:ext>
              </a:extLst>
            </p:cNvPr>
            <p:cNvSpPr/>
            <p:nvPr/>
          </p:nvSpPr>
          <p:spPr>
            <a:xfrm>
              <a:off x="5755160" y="2686472"/>
              <a:ext cx="138474" cy="411640"/>
            </a:xfrm>
            <a:custGeom>
              <a:avLst/>
              <a:gdLst>
                <a:gd name="connsiteX0" fmla="*/ 48577 w 52292"/>
                <a:gd name="connsiteY0" fmla="*/ 4191 h 155448"/>
                <a:gd name="connsiteX1" fmla="*/ 44006 w 52292"/>
                <a:gd name="connsiteY1" fmla="*/ 10859 h 155448"/>
                <a:gd name="connsiteX2" fmla="*/ 30099 w 52292"/>
                <a:gd name="connsiteY2" fmla="*/ 44863 h 155448"/>
                <a:gd name="connsiteX3" fmla="*/ 25051 w 52292"/>
                <a:gd name="connsiteY3" fmla="*/ 64294 h 155448"/>
                <a:gd name="connsiteX4" fmla="*/ 21146 w 52292"/>
                <a:gd name="connsiteY4" fmla="*/ 94774 h 155448"/>
                <a:gd name="connsiteX5" fmla="*/ 20669 w 52292"/>
                <a:gd name="connsiteY5" fmla="*/ 124301 h 155448"/>
                <a:gd name="connsiteX6" fmla="*/ 21050 w 52292"/>
                <a:gd name="connsiteY6" fmla="*/ 140494 h 155448"/>
                <a:gd name="connsiteX7" fmla="*/ 21527 w 52292"/>
                <a:gd name="connsiteY7" fmla="*/ 153353 h 155448"/>
                <a:gd name="connsiteX8" fmla="*/ 2000 w 52292"/>
                <a:gd name="connsiteY8" fmla="*/ 155162 h 155448"/>
                <a:gd name="connsiteX9" fmla="*/ 0 w 52292"/>
                <a:gd name="connsiteY9" fmla="*/ 155448 h 155448"/>
                <a:gd name="connsiteX10" fmla="*/ 1143 w 52292"/>
                <a:gd name="connsiteY10" fmla="*/ 155162 h 155448"/>
                <a:gd name="connsiteX11" fmla="*/ 2191 w 52292"/>
                <a:gd name="connsiteY11" fmla="*/ 125635 h 155448"/>
                <a:gd name="connsiteX12" fmla="*/ 7430 w 52292"/>
                <a:gd name="connsiteY12" fmla="*/ 64865 h 155448"/>
                <a:gd name="connsiteX13" fmla="*/ 17336 w 52292"/>
                <a:gd name="connsiteY13" fmla="*/ 33338 h 155448"/>
                <a:gd name="connsiteX14" fmla="*/ 30385 w 52292"/>
                <a:gd name="connsiteY14" fmla="*/ 12859 h 155448"/>
                <a:gd name="connsiteX15" fmla="*/ 46863 w 52292"/>
                <a:gd name="connsiteY15" fmla="*/ 1524 h 155448"/>
                <a:gd name="connsiteX16" fmla="*/ 52292 w 52292"/>
                <a:gd name="connsiteY16" fmla="*/ 0 h 155448"/>
                <a:gd name="connsiteX17" fmla="*/ 48577 w 52292"/>
                <a:gd name="connsiteY17" fmla="*/ 4191 h 155448"/>
                <a:gd name="connsiteX18" fmla="*/ 48577 w 52292"/>
                <a:gd name="connsiteY18" fmla="*/ 4191 h 155448"/>
                <a:gd name="connsiteX19" fmla="*/ 48577 w 52292"/>
                <a:gd name="connsiteY19" fmla="*/ 4191 h 155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2292" h="155448">
                  <a:moveTo>
                    <a:pt x="48577" y="4191"/>
                  </a:moveTo>
                  <a:cubicBezTo>
                    <a:pt x="46958" y="6382"/>
                    <a:pt x="45434" y="8573"/>
                    <a:pt x="44006" y="10859"/>
                  </a:cubicBezTo>
                  <a:cubicBezTo>
                    <a:pt x="37719" y="21431"/>
                    <a:pt x="33528" y="33147"/>
                    <a:pt x="30099" y="44863"/>
                  </a:cubicBezTo>
                  <a:cubicBezTo>
                    <a:pt x="28194" y="51245"/>
                    <a:pt x="26384" y="57722"/>
                    <a:pt x="25051" y="64294"/>
                  </a:cubicBezTo>
                  <a:cubicBezTo>
                    <a:pt x="23051" y="74390"/>
                    <a:pt x="21812" y="84582"/>
                    <a:pt x="21146" y="94774"/>
                  </a:cubicBezTo>
                  <a:cubicBezTo>
                    <a:pt x="20574" y="104585"/>
                    <a:pt x="20479" y="114491"/>
                    <a:pt x="20669" y="124301"/>
                  </a:cubicBezTo>
                  <a:cubicBezTo>
                    <a:pt x="20765" y="129731"/>
                    <a:pt x="20955" y="135065"/>
                    <a:pt x="21050" y="140494"/>
                  </a:cubicBezTo>
                  <a:cubicBezTo>
                    <a:pt x="21146" y="144780"/>
                    <a:pt x="21336" y="149066"/>
                    <a:pt x="21527" y="153353"/>
                  </a:cubicBezTo>
                  <a:cubicBezTo>
                    <a:pt x="15049" y="154019"/>
                    <a:pt x="8477" y="154496"/>
                    <a:pt x="2000" y="155162"/>
                  </a:cubicBezTo>
                  <a:cubicBezTo>
                    <a:pt x="1334" y="155258"/>
                    <a:pt x="667" y="155353"/>
                    <a:pt x="0" y="155448"/>
                  </a:cubicBezTo>
                  <a:lnTo>
                    <a:pt x="1143" y="155162"/>
                  </a:lnTo>
                  <a:cubicBezTo>
                    <a:pt x="1715" y="145447"/>
                    <a:pt x="2000" y="135350"/>
                    <a:pt x="2191" y="125635"/>
                  </a:cubicBezTo>
                  <a:cubicBezTo>
                    <a:pt x="2667" y="105156"/>
                    <a:pt x="3048" y="84773"/>
                    <a:pt x="7430" y="64865"/>
                  </a:cubicBezTo>
                  <a:cubicBezTo>
                    <a:pt x="10097" y="52673"/>
                    <a:pt x="13335" y="42386"/>
                    <a:pt x="17336" y="33338"/>
                  </a:cubicBezTo>
                  <a:cubicBezTo>
                    <a:pt x="21146" y="24765"/>
                    <a:pt x="25337" y="18098"/>
                    <a:pt x="30385" y="12859"/>
                  </a:cubicBezTo>
                  <a:cubicBezTo>
                    <a:pt x="35433" y="7430"/>
                    <a:pt x="41053" y="3620"/>
                    <a:pt x="46863" y="1524"/>
                  </a:cubicBezTo>
                  <a:cubicBezTo>
                    <a:pt x="48673" y="857"/>
                    <a:pt x="50483" y="381"/>
                    <a:pt x="52292" y="0"/>
                  </a:cubicBezTo>
                  <a:cubicBezTo>
                    <a:pt x="50959" y="1333"/>
                    <a:pt x="49721" y="2667"/>
                    <a:pt x="48577" y="4191"/>
                  </a:cubicBezTo>
                  <a:lnTo>
                    <a:pt x="48577" y="4191"/>
                  </a:lnTo>
                  <a:lnTo>
                    <a:pt x="48577" y="4191"/>
                  </a:lnTo>
                  <a:close/>
                </a:path>
              </a:pathLst>
            </a:custGeom>
            <a:solidFill>
              <a:srgbClr val="7AA06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 45">
              <a:extLst>
                <a:ext uri="{FF2B5EF4-FFF2-40B4-BE49-F238E27FC236}">
                  <a16:creationId xmlns:a16="http://schemas.microsoft.com/office/drawing/2014/main" id="{558248C3-A41B-4394-AED4-348409DEDCE4}"/>
                </a:ext>
              </a:extLst>
            </p:cNvPr>
            <p:cNvSpPr/>
            <p:nvPr/>
          </p:nvSpPr>
          <p:spPr>
            <a:xfrm>
              <a:off x="5430287" y="3367242"/>
              <a:ext cx="310494" cy="199764"/>
            </a:xfrm>
            <a:custGeom>
              <a:avLst/>
              <a:gdLst>
                <a:gd name="connsiteX0" fmla="*/ 571 w 117252"/>
                <a:gd name="connsiteY0" fmla="*/ 857 h 75437"/>
                <a:gd name="connsiteX1" fmla="*/ 14573 w 117252"/>
                <a:gd name="connsiteY1" fmla="*/ 17240 h 75437"/>
                <a:gd name="connsiteX2" fmla="*/ 32194 w 117252"/>
                <a:gd name="connsiteY2" fmla="*/ 31052 h 75437"/>
                <a:gd name="connsiteX3" fmla="*/ 74200 w 117252"/>
                <a:gd name="connsiteY3" fmla="*/ 51149 h 75437"/>
                <a:gd name="connsiteX4" fmla="*/ 117253 w 117252"/>
                <a:gd name="connsiteY4" fmla="*/ 61913 h 75437"/>
                <a:gd name="connsiteX5" fmla="*/ 115062 w 117252"/>
                <a:gd name="connsiteY5" fmla="*/ 75438 h 75437"/>
                <a:gd name="connsiteX6" fmla="*/ 99917 w 117252"/>
                <a:gd name="connsiteY6" fmla="*/ 70104 h 75437"/>
                <a:gd name="connsiteX7" fmla="*/ 76105 w 117252"/>
                <a:gd name="connsiteY7" fmla="*/ 61341 h 75437"/>
                <a:gd name="connsiteX8" fmla="*/ 28861 w 117252"/>
                <a:gd name="connsiteY8" fmla="*/ 36767 h 75437"/>
                <a:gd name="connsiteX9" fmla="*/ 10573 w 117252"/>
                <a:gd name="connsiteY9" fmla="*/ 19907 h 75437"/>
                <a:gd name="connsiteX10" fmla="*/ 0 w 117252"/>
                <a:gd name="connsiteY10" fmla="*/ 0 h 75437"/>
                <a:gd name="connsiteX11" fmla="*/ 571 w 117252"/>
                <a:gd name="connsiteY11" fmla="*/ 857 h 75437"/>
                <a:gd name="connsiteX12" fmla="*/ 571 w 117252"/>
                <a:gd name="connsiteY12" fmla="*/ 857 h 75437"/>
                <a:gd name="connsiteX13" fmla="*/ 571 w 117252"/>
                <a:gd name="connsiteY13" fmla="*/ 857 h 7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7252" h="75437">
                  <a:moveTo>
                    <a:pt x="571" y="857"/>
                  </a:moveTo>
                  <a:cubicBezTo>
                    <a:pt x="4667" y="6763"/>
                    <a:pt x="9335" y="12287"/>
                    <a:pt x="14573" y="17240"/>
                  </a:cubicBezTo>
                  <a:cubicBezTo>
                    <a:pt x="20003" y="22384"/>
                    <a:pt x="25908" y="26956"/>
                    <a:pt x="32194" y="31052"/>
                  </a:cubicBezTo>
                  <a:cubicBezTo>
                    <a:pt x="45148" y="39624"/>
                    <a:pt x="59436" y="46196"/>
                    <a:pt x="74200" y="51149"/>
                  </a:cubicBezTo>
                  <a:cubicBezTo>
                    <a:pt x="88202" y="55912"/>
                    <a:pt x="102680" y="59436"/>
                    <a:pt x="117253" y="61913"/>
                  </a:cubicBezTo>
                  <a:cubicBezTo>
                    <a:pt x="116491" y="66389"/>
                    <a:pt x="115729" y="70961"/>
                    <a:pt x="115062" y="75438"/>
                  </a:cubicBezTo>
                  <a:lnTo>
                    <a:pt x="99917" y="70104"/>
                  </a:lnTo>
                  <a:cubicBezTo>
                    <a:pt x="91916" y="67247"/>
                    <a:pt x="84011" y="64389"/>
                    <a:pt x="76105" y="61341"/>
                  </a:cubicBezTo>
                  <a:cubicBezTo>
                    <a:pt x="56293" y="53530"/>
                    <a:pt x="41243" y="45720"/>
                    <a:pt x="28861" y="36767"/>
                  </a:cubicBezTo>
                  <a:cubicBezTo>
                    <a:pt x="21812" y="31814"/>
                    <a:pt x="15716" y="26098"/>
                    <a:pt x="10573" y="19907"/>
                  </a:cubicBezTo>
                  <a:cubicBezTo>
                    <a:pt x="5715" y="14002"/>
                    <a:pt x="2191" y="7239"/>
                    <a:pt x="0" y="0"/>
                  </a:cubicBezTo>
                  <a:cubicBezTo>
                    <a:pt x="190" y="286"/>
                    <a:pt x="381" y="571"/>
                    <a:pt x="571" y="857"/>
                  </a:cubicBezTo>
                  <a:lnTo>
                    <a:pt x="571" y="857"/>
                  </a:lnTo>
                  <a:lnTo>
                    <a:pt x="571" y="857"/>
                  </a:lnTo>
                  <a:close/>
                </a:path>
              </a:pathLst>
            </a:custGeom>
            <a:solidFill>
              <a:srgbClr val="7AA06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 46">
              <a:extLst>
                <a:ext uri="{FF2B5EF4-FFF2-40B4-BE49-F238E27FC236}">
                  <a16:creationId xmlns:a16="http://schemas.microsoft.com/office/drawing/2014/main" id="{A482371D-9E0B-4880-B385-A4A45BD3FA8C}"/>
                </a:ext>
              </a:extLst>
            </p:cNvPr>
            <p:cNvSpPr/>
            <p:nvPr/>
          </p:nvSpPr>
          <p:spPr>
            <a:xfrm>
              <a:off x="5787445" y="3624769"/>
              <a:ext cx="767829" cy="330169"/>
            </a:xfrm>
            <a:custGeom>
              <a:avLst/>
              <a:gdLst>
                <a:gd name="connsiteX0" fmla="*/ 278987 w 289956"/>
                <a:gd name="connsiteY0" fmla="*/ 47339 h 124682"/>
                <a:gd name="connsiteX1" fmla="*/ 259747 w 289956"/>
                <a:gd name="connsiteY1" fmla="*/ 63627 h 124682"/>
                <a:gd name="connsiteX2" fmla="*/ 233839 w 289956"/>
                <a:gd name="connsiteY2" fmla="*/ 69342 h 124682"/>
                <a:gd name="connsiteX3" fmla="*/ 228314 w 289956"/>
                <a:gd name="connsiteY3" fmla="*/ 69152 h 124682"/>
                <a:gd name="connsiteX4" fmla="*/ 202121 w 289956"/>
                <a:gd name="connsiteY4" fmla="*/ 62770 h 124682"/>
                <a:gd name="connsiteX5" fmla="*/ 176784 w 289956"/>
                <a:gd name="connsiteY5" fmla="*/ 49816 h 124682"/>
                <a:gd name="connsiteX6" fmla="*/ 154591 w 289956"/>
                <a:gd name="connsiteY6" fmla="*/ 33909 h 124682"/>
                <a:gd name="connsiteX7" fmla="*/ 141446 w 289956"/>
                <a:gd name="connsiteY7" fmla="*/ 22193 h 124682"/>
                <a:gd name="connsiteX8" fmla="*/ 137446 w 289956"/>
                <a:gd name="connsiteY8" fmla="*/ 30956 h 124682"/>
                <a:gd name="connsiteX9" fmla="*/ 136779 w 289956"/>
                <a:gd name="connsiteY9" fmla="*/ 32195 h 124682"/>
                <a:gd name="connsiteX10" fmla="*/ 135350 w 289956"/>
                <a:gd name="connsiteY10" fmla="*/ 35052 h 124682"/>
                <a:gd name="connsiteX11" fmla="*/ 113062 w 289956"/>
                <a:gd name="connsiteY11" fmla="*/ 75724 h 124682"/>
                <a:gd name="connsiteX12" fmla="*/ 89916 w 289956"/>
                <a:gd name="connsiteY12" fmla="*/ 103537 h 124682"/>
                <a:gd name="connsiteX13" fmla="*/ 59150 w 289956"/>
                <a:gd name="connsiteY13" fmla="*/ 122015 h 124682"/>
                <a:gd name="connsiteX14" fmla="*/ 44386 w 289956"/>
                <a:gd name="connsiteY14" fmla="*/ 124682 h 124682"/>
                <a:gd name="connsiteX15" fmla="*/ 43053 w 289956"/>
                <a:gd name="connsiteY15" fmla="*/ 124682 h 124682"/>
                <a:gd name="connsiteX16" fmla="*/ 28670 w 289956"/>
                <a:gd name="connsiteY16" fmla="*/ 122587 h 124682"/>
                <a:gd name="connsiteX17" fmla="*/ 4667 w 289956"/>
                <a:gd name="connsiteY17" fmla="*/ 106775 h 124682"/>
                <a:gd name="connsiteX18" fmla="*/ 0 w 289956"/>
                <a:gd name="connsiteY18" fmla="*/ 100775 h 124682"/>
                <a:gd name="connsiteX19" fmla="*/ 3334 w 289956"/>
                <a:gd name="connsiteY19" fmla="*/ 103632 h 124682"/>
                <a:gd name="connsiteX20" fmla="*/ 19240 w 289956"/>
                <a:gd name="connsiteY20" fmla="*/ 111443 h 124682"/>
                <a:gd name="connsiteX21" fmla="*/ 38100 w 289956"/>
                <a:gd name="connsiteY21" fmla="*/ 111633 h 124682"/>
                <a:gd name="connsiteX22" fmla="*/ 57436 w 289956"/>
                <a:gd name="connsiteY22" fmla="*/ 104204 h 124682"/>
                <a:gd name="connsiteX23" fmla="*/ 76390 w 289956"/>
                <a:gd name="connsiteY23" fmla="*/ 90773 h 124682"/>
                <a:gd name="connsiteX24" fmla="*/ 94583 w 289956"/>
                <a:gd name="connsiteY24" fmla="*/ 72771 h 124682"/>
                <a:gd name="connsiteX25" fmla="*/ 124682 w 289956"/>
                <a:gd name="connsiteY25" fmla="*/ 31718 h 124682"/>
                <a:gd name="connsiteX26" fmla="*/ 135350 w 289956"/>
                <a:gd name="connsiteY26" fmla="*/ 12192 h 124682"/>
                <a:gd name="connsiteX27" fmla="*/ 138970 w 289956"/>
                <a:gd name="connsiteY27" fmla="*/ 4191 h 124682"/>
                <a:gd name="connsiteX28" fmla="*/ 141542 w 289956"/>
                <a:gd name="connsiteY28" fmla="*/ 6953 h 124682"/>
                <a:gd name="connsiteX29" fmla="*/ 153734 w 289956"/>
                <a:gd name="connsiteY29" fmla="*/ 17717 h 124682"/>
                <a:gd name="connsiteX30" fmla="*/ 184023 w 289956"/>
                <a:gd name="connsiteY30" fmla="*/ 36195 h 124682"/>
                <a:gd name="connsiteX31" fmla="*/ 200311 w 289956"/>
                <a:gd name="connsiteY31" fmla="*/ 42958 h 124682"/>
                <a:gd name="connsiteX32" fmla="*/ 214884 w 289956"/>
                <a:gd name="connsiteY32" fmla="*/ 47054 h 124682"/>
                <a:gd name="connsiteX33" fmla="*/ 230410 w 289956"/>
                <a:gd name="connsiteY33" fmla="*/ 47911 h 124682"/>
                <a:gd name="connsiteX34" fmla="*/ 237458 w 289956"/>
                <a:gd name="connsiteY34" fmla="*/ 47054 h 124682"/>
                <a:gd name="connsiteX35" fmla="*/ 244221 w 289956"/>
                <a:gd name="connsiteY35" fmla="*/ 45434 h 124682"/>
                <a:gd name="connsiteX36" fmla="*/ 257175 w 289956"/>
                <a:gd name="connsiteY36" fmla="*/ 39815 h 124682"/>
                <a:gd name="connsiteX37" fmla="*/ 267748 w 289956"/>
                <a:gd name="connsiteY37" fmla="*/ 32195 h 124682"/>
                <a:gd name="connsiteX38" fmla="*/ 285179 w 289956"/>
                <a:gd name="connsiteY38" fmla="*/ 9906 h 124682"/>
                <a:gd name="connsiteX39" fmla="*/ 289751 w 289956"/>
                <a:gd name="connsiteY39" fmla="*/ 0 h 124682"/>
                <a:gd name="connsiteX40" fmla="*/ 278987 w 289956"/>
                <a:gd name="connsiteY40" fmla="*/ 47339 h 124682"/>
                <a:gd name="connsiteX41" fmla="*/ 278987 w 289956"/>
                <a:gd name="connsiteY41" fmla="*/ 47339 h 124682"/>
                <a:gd name="connsiteX42" fmla="*/ 278987 w 289956"/>
                <a:gd name="connsiteY42" fmla="*/ 47339 h 124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89956" h="124682">
                  <a:moveTo>
                    <a:pt x="278987" y="47339"/>
                  </a:moveTo>
                  <a:cubicBezTo>
                    <a:pt x="274606" y="53816"/>
                    <a:pt x="268034" y="59341"/>
                    <a:pt x="259747" y="63627"/>
                  </a:cubicBezTo>
                  <a:cubicBezTo>
                    <a:pt x="252317" y="67437"/>
                    <a:pt x="243650" y="69342"/>
                    <a:pt x="233839" y="69342"/>
                  </a:cubicBezTo>
                  <a:cubicBezTo>
                    <a:pt x="232029" y="69342"/>
                    <a:pt x="230124" y="69247"/>
                    <a:pt x="228314" y="69152"/>
                  </a:cubicBezTo>
                  <a:cubicBezTo>
                    <a:pt x="220504" y="68580"/>
                    <a:pt x="211931" y="66484"/>
                    <a:pt x="202121" y="62770"/>
                  </a:cubicBezTo>
                  <a:cubicBezTo>
                    <a:pt x="194024" y="59627"/>
                    <a:pt x="186023" y="55531"/>
                    <a:pt x="176784" y="49816"/>
                  </a:cubicBezTo>
                  <a:cubicBezTo>
                    <a:pt x="170021" y="45720"/>
                    <a:pt x="162973" y="40672"/>
                    <a:pt x="154591" y="33909"/>
                  </a:cubicBezTo>
                  <a:cubicBezTo>
                    <a:pt x="149161" y="29432"/>
                    <a:pt x="145066" y="25718"/>
                    <a:pt x="141446" y="22193"/>
                  </a:cubicBezTo>
                  <a:cubicBezTo>
                    <a:pt x="140398" y="25051"/>
                    <a:pt x="138874" y="28004"/>
                    <a:pt x="137446" y="30956"/>
                  </a:cubicBezTo>
                  <a:lnTo>
                    <a:pt x="136779" y="32195"/>
                  </a:lnTo>
                  <a:lnTo>
                    <a:pt x="135350" y="35052"/>
                  </a:lnTo>
                  <a:cubicBezTo>
                    <a:pt x="128873" y="48006"/>
                    <a:pt x="121539" y="62579"/>
                    <a:pt x="113062" y="75724"/>
                  </a:cubicBezTo>
                  <a:cubicBezTo>
                    <a:pt x="106489" y="86011"/>
                    <a:pt x="98679" y="95345"/>
                    <a:pt x="89916" y="103537"/>
                  </a:cubicBezTo>
                  <a:cubicBezTo>
                    <a:pt x="80296" y="112395"/>
                    <a:pt x="69628" y="118777"/>
                    <a:pt x="59150" y="122015"/>
                  </a:cubicBezTo>
                  <a:cubicBezTo>
                    <a:pt x="53911" y="123634"/>
                    <a:pt x="49149" y="124492"/>
                    <a:pt x="44386" y="124682"/>
                  </a:cubicBezTo>
                  <a:lnTo>
                    <a:pt x="43053" y="124682"/>
                  </a:lnTo>
                  <a:cubicBezTo>
                    <a:pt x="38386" y="124682"/>
                    <a:pt x="33909" y="124016"/>
                    <a:pt x="28670" y="122587"/>
                  </a:cubicBezTo>
                  <a:cubicBezTo>
                    <a:pt x="20288" y="120205"/>
                    <a:pt x="12287" y="114967"/>
                    <a:pt x="4667" y="106775"/>
                  </a:cubicBezTo>
                  <a:cubicBezTo>
                    <a:pt x="2953" y="104870"/>
                    <a:pt x="1333" y="102775"/>
                    <a:pt x="0" y="100775"/>
                  </a:cubicBezTo>
                  <a:cubicBezTo>
                    <a:pt x="1048" y="101727"/>
                    <a:pt x="2191" y="102680"/>
                    <a:pt x="3334" y="103632"/>
                  </a:cubicBezTo>
                  <a:cubicBezTo>
                    <a:pt x="8096" y="107252"/>
                    <a:pt x="13430" y="110109"/>
                    <a:pt x="19240" y="111443"/>
                  </a:cubicBezTo>
                  <a:cubicBezTo>
                    <a:pt x="25432" y="112871"/>
                    <a:pt x="31813" y="112967"/>
                    <a:pt x="38100" y="111633"/>
                  </a:cubicBezTo>
                  <a:cubicBezTo>
                    <a:pt x="44863" y="110204"/>
                    <a:pt x="51435" y="107537"/>
                    <a:pt x="57436" y="104204"/>
                  </a:cubicBezTo>
                  <a:cubicBezTo>
                    <a:pt x="64198" y="100394"/>
                    <a:pt x="70485" y="95822"/>
                    <a:pt x="76390" y="90773"/>
                  </a:cubicBezTo>
                  <a:cubicBezTo>
                    <a:pt x="82868" y="85249"/>
                    <a:pt x="88868" y="79153"/>
                    <a:pt x="94583" y="72771"/>
                  </a:cubicBezTo>
                  <a:cubicBezTo>
                    <a:pt x="105823" y="60103"/>
                    <a:pt x="115919" y="46292"/>
                    <a:pt x="124682" y="31718"/>
                  </a:cubicBezTo>
                  <a:cubicBezTo>
                    <a:pt x="128492" y="25336"/>
                    <a:pt x="132112" y="18859"/>
                    <a:pt x="135350" y="12192"/>
                  </a:cubicBezTo>
                  <a:cubicBezTo>
                    <a:pt x="136589" y="9525"/>
                    <a:pt x="137827" y="6858"/>
                    <a:pt x="138970" y="4191"/>
                  </a:cubicBezTo>
                  <a:cubicBezTo>
                    <a:pt x="139827" y="5144"/>
                    <a:pt x="140684" y="6001"/>
                    <a:pt x="141542" y="6953"/>
                  </a:cubicBezTo>
                  <a:cubicBezTo>
                    <a:pt x="145352" y="10763"/>
                    <a:pt x="149447" y="14383"/>
                    <a:pt x="153734" y="17717"/>
                  </a:cubicBezTo>
                  <a:cubicBezTo>
                    <a:pt x="163163" y="24955"/>
                    <a:pt x="173355" y="31052"/>
                    <a:pt x="184023" y="36195"/>
                  </a:cubicBezTo>
                  <a:cubicBezTo>
                    <a:pt x="189357" y="38767"/>
                    <a:pt x="194786" y="41053"/>
                    <a:pt x="200311" y="42958"/>
                  </a:cubicBezTo>
                  <a:cubicBezTo>
                    <a:pt x="205073" y="44672"/>
                    <a:pt x="209931" y="46196"/>
                    <a:pt x="214884" y="47054"/>
                  </a:cubicBezTo>
                  <a:cubicBezTo>
                    <a:pt x="220028" y="47911"/>
                    <a:pt x="225171" y="48292"/>
                    <a:pt x="230410" y="47911"/>
                  </a:cubicBezTo>
                  <a:cubicBezTo>
                    <a:pt x="232791" y="47720"/>
                    <a:pt x="235172" y="47530"/>
                    <a:pt x="237458" y="47054"/>
                  </a:cubicBezTo>
                  <a:cubicBezTo>
                    <a:pt x="239744" y="46577"/>
                    <a:pt x="241935" y="46101"/>
                    <a:pt x="244221" y="45434"/>
                  </a:cubicBezTo>
                  <a:cubicBezTo>
                    <a:pt x="248793" y="44101"/>
                    <a:pt x="253175" y="42196"/>
                    <a:pt x="257175" y="39815"/>
                  </a:cubicBezTo>
                  <a:cubicBezTo>
                    <a:pt x="260890" y="37529"/>
                    <a:pt x="264509" y="35052"/>
                    <a:pt x="267748" y="32195"/>
                  </a:cubicBezTo>
                  <a:cubicBezTo>
                    <a:pt x="274796" y="25908"/>
                    <a:pt x="280797" y="18288"/>
                    <a:pt x="285179" y="9906"/>
                  </a:cubicBezTo>
                  <a:cubicBezTo>
                    <a:pt x="286893" y="6668"/>
                    <a:pt x="288417" y="3334"/>
                    <a:pt x="289751" y="0"/>
                  </a:cubicBezTo>
                  <a:cubicBezTo>
                    <a:pt x="290894" y="19336"/>
                    <a:pt x="287274" y="35338"/>
                    <a:pt x="278987" y="47339"/>
                  </a:cubicBezTo>
                  <a:lnTo>
                    <a:pt x="278987" y="47339"/>
                  </a:lnTo>
                  <a:lnTo>
                    <a:pt x="278987" y="47339"/>
                  </a:lnTo>
                  <a:close/>
                </a:path>
              </a:pathLst>
            </a:custGeom>
            <a:solidFill>
              <a:srgbClr val="7AA06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 47">
              <a:extLst>
                <a:ext uri="{FF2B5EF4-FFF2-40B4-BE49-F238E27FC236}">
                  <a16:creationId xmlns:a16="http://schemas.microsoft.com/office/drawing/2014/main" id="{84DFC3B7-28BF-450D-9D7D-81A793F5D01B}"/>
                </a:ext>
              </a:extLst>
            </p:cNvPr>
            <p:cNvSpPr/>
            <p:nvPr/>
          </p:nvSpPr>
          <p:spPr>
            <a:xfrm>
              <a:off x="6533544" y="3641921"/>
              <a:ext cx="25223" cy="25223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  <a:gd name="connsiteX3" fmla="*/ 0 w 9525"/>
                <a:gd name="connsiteY3" fmla="*/ 0 h 9525"/>
                <a:gd name="connsiteX4" fmla="*/ 0 w 9525"/>
                <a:gd name="connsiteY4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A22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 48">
              <a:extLst>
                <a:ext uri="{FF2B5EF4-FFF2-40B4-BE49-F238E27FC236}">
                  <a16:creationId xmlns:a16="http://schemas.microsoft.com/office/drawing/2014/main" id="{02999EA1-FE38-475E-8478-A7C76FE7190F}"/>
                </a:ext>
              </a:extLst>
            </p:cNvPr>
            <p:cNvSpPr/>
            <p:nvPr/>
          </p:nvSpPr>
          <p:spPr>
            <a:xfrm>
              <a:off x="5940902" y="2733639"/>
              <a:ext cx="250496" cy="297651"/>
            </a:xfrm>
            <a:custGeom>
              <a:avLst/>
              <a:gdLst>
                <a:gd name="connsiteX0" fmla="*/ 6344 w 94595"/>
                <a:gd name="connsiteY0" fmla="*/ 762 h 112402"/>
                <a:gd name="connsiteX1" fmla="*/ 31871 w 94595"/>
                <a:gd name="connsiteY1" fmla="*/ 17526 h 112402"/>
                <a:gd name="connsiteX2" fmla="*/ 56636 w 94595"/>
                <a:gd name="connsiteY2" fmla="*/ 39338 h 112402"/>
                <a:gd name="connsiteX3" fmla="*/ 78448 w 94595"/>
                <a:gd name="connsiteY3" fmla="*/ 65818 h 112402"/>
                <a:gd name="connsiteX4" fmla="*/ 94069 w 94595"/>
                <a:gd name="connsiteY4" fmla="*/ 94869 h 112402"/>
                <a:gd name="connsiteX5" fmla="*/ 94259 w 94595"/>
                <a:gd name="connsiteY5" fmla="*/ 101918 h 112402"/>
                <a:gd name="connsiteX6" fmla="*/ 88068 w 94595"/>
                <a:gd name="connsiteY6" fmla="*/ 110395 h 112402"/>
                <a:gd name="connsiteX7" fmla="*/ 77686 w 94595"/>
                <a:gd name="connsiteY7" fmla="*/ 112014 h 112402"/>
                <a:gd name="connsiteX8" fmla="*/ 69209 w 94595"/>
                <a:gd name="connsiteY8" fmla="*/ 105823 h 112402"/>
                <a:gd name="connsiteX9" fmla="*/ 47777 w 94595"/>
                <a:gd name="connsiteY9" fmla="*/ 64580 h 112402"/>
                <a:gd name="connsiteX10" fmla="*/ 34252 w 94595"/>
                <a:gd name="connsiteY10" fmla="*/ 43434 h 112402"/>
                <a:gd name="connsiteX11" fmla="*/ 26918 w 94595"/>
                <a:gd name="connsiteY11" fmla="*/ 33623 h 112402"/>
                <a:gd name="connsiteX12" fmla="*/ 20345 w 94595"/>
                <a:gd name="connsiteY12" fmla="*/ 24956 h 112402"/>
                <a:gd name="connsiteX13" fmla="*/ 5296 w 94595"/>
                <a:gd name="connsiteY13" fmla="*/ 10382 h 112402"/>
                <a:gd name="connsiteX14" fmla="*/ 2343 w 94595"/>
                <a:gd name="connsiteY14" fmla="*/ 8382 h 112402"/>
                <a:gd name="connsiteX15" fmla="*/ 533 w 94595"/>
                <a:gd name="connsiteY15" fmla="*/ 2381 h 112402"/>
                <a:gd name="connsiteX16" fmla="*/ 4534 w 94595"/>
                <a:gd name="connsiteY16" fmla="*/ 0 h 112402"/>
                <a:gd name="connsiteX17" fmla="*/ 6344 w 94595"/>
                <a:gd name="connsiteY17" fmla="*/ 762 h 112402"/>
                <a:gd name="connsiteX18" fmla="*/ 6344 w 94595"/>
                <a:gd name="connsiteY18" fmla="*/ 762 h 112402"/>
                <a:gd name="connsiteX19" fmla="*/ 6344 w 94595"/>
                <a:gd name="connsiteY19" fmla="*/ 762 h 11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4595" h="112402">
                  <a:moveTo>
                    <a:pt x="6344" y="762"/>
                  </a:moveTo>
                  <a:cubicBezTo>
                    <a:pt x="14916" y="6191"/>
                    <a:pt x="23584" y="11716"/>
                    <a:pt x="31871" y="17526"/>
                  </a:cubicBezTo>
                  <a:cubicBezTo>
                    <a:pt x="40919" y="23908"/>
                    <a:pt x="48920" y="31337"/>
                    <a:pt x="56636" y="39338"/>
                  </a:cubicBezTo>
                  <a:cubicBezTo>
                    <a:pt x="64541" y="47530"/>
                    <a:pt x="71971" y="56483"/>
                    <a:pt x="78448" y="65818"/>
                  </a:cubicBezTo>
                  <a:cubicBezTo>
                    <a:pt x="84734" y="74962"/>
                    <a:pt x="89973" y="84582"/>
                    <a:pt x="94069" y="94869"/>
                  </a:cubicBezTo>
                  <a:cubicBezTo>
                    <a:pt x="94736" y="97250"/>
                    <a:pt x="94736" y="99536"/>
                    <a:pt x="94259" y="101918"/>
                  </a:cubicBezTo>
                  <a:cubicBezTo>
                    <a:pt x="93402" y="105442"/>
                    <a:pt x="91211" y="108490"/>
                    <a:pt x="88068" y="110395"/>
                  </a:cubicBezTo>
                  <a:cubicBezTo>
                    <a:pt x="85020" y="112300"/>
                    <a:pt x="81210" y="112871"/>
                    <a:pt x="77686" y="112014"/>
                  </a:cubicBezTo>
                  <a:cubicBezTo>
                    <a:pt x="74352" y="111252"/>
                    <a:pt x="70733" y="108966"/>
                    <a:pt x="69209" y="105823"/>
                  </a:cubicBezTo>
                  <a:cubicBezTo>
                    <a:pt x="62160" y="92012"/>
                    <a:pt x="55493" y="78105"/>
                    <a:pt x="47777" y="64580"/>
                  </a:cubicBezTo>
                  <a:cubicBezTo>
                    <a:pt x="43586" y="57340"/>
                    <a:pt x="39110" y="50387"/>
                    <a:pt x="34252" y="43434"/>
                  </a:cubicBezTo>
                  <a:cubicBezTo>
                    <a:pt x="31871" y="40100"/>
                    <a:pt x="29394" y="36862"/>
                    <a:pt x="26918" y="33623"/>
                  </a:cubicBezTo>
                  <a:cubicBezTo>
                    <a:pt x="24727" y="30766"/>
                    <a:pt x="22536" y="27813"/>
                    <a:pt x="20345" y="24956"/>
                  </a:cubicBezTo>
                  <a:cubicBezTo>
                    <a:pt x="15869" y="19622"/>
                    <a:pt x="10820" y="14573"/>
                    <a:pt x="5296" y="10382"/>
                  </a:cubicBezTo>
                  <a:cubicBezTo>
                    <a:pt x="4343" y="9716"/>
                    <a:pt x="3296" y="9049"/>
                    <a:pt x="2343" y="8382"/>
                  </a:cubicBezTo>
                  <a:cubicBezTo>
                    <a:pt x="343" y="7049"/>
                    <a:pt x="-705" y="4667"/>
                    <a:pt x="533" y="2381"/>
                  </a:cubicBezTo>
                  <a:cubicBezTo>
                    <a:pt x="1295" y="952"/>
                    <a:pt x="2915" y="0"/>
                    <a:pt x="4534" y="0"/>
                  </a:cubicBezTo>
                  <a:cubicBezTo>
                    <a:pt x="5010" y="190"/>
                    <a:pt x="5677" y="381"/>
                    <a:pt x="6344" y="762"/>
                  </a:cubicBezTo>
                  <a:lnTo>
                    <a:pt x="6344" y="762"/>
                  </a:lnTo>
                  <a:lnTo>
                    <a:pt x="6344" y="762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 49">
              <a:extLst>
                <a:ext uri="{FF2B5EF4-FFF2-40B4-BE49-F238E27FC236}">
                  <a16:creationId xmlns:a16="http://schemas.microsoft.com/office/drawing/2014/main" id="{DC57B807-788C-461C-AB19-958764F7B42E}"/>
                </a:ext>
              </a:extLst>
            </p:cNvPr>
            <p:cNvSpPr/>
            <p:nvPr/>
          </p:nvSpPr>
          <p:spPr>
            <a:xfrm>
              <a:off x="6408941" y="3023920"/>
              <a:ext cx="139483" cy="278510"/>
            </a:xfrm>
            <a:custGeom>
              <a:avLst/>
              <a:gdLst>
                <a:gd name="connsiteX0" fmla="*/ 52673 w 52673"/>
                <a:gd name="connsiteY0" fmla="*/ 4014 h 105174"/>
                <a:gd name="connsiteX1" fmla="*/ 52483 w 52673"/>
                <a:gd name="connsiteY1" fmla="*/ 15253 h 105174"/>
                <a:gd name="connsiteX2" fmla="*/ 51435 w 52673"/>
                <a:gd name="connsiteY2" fmla="*/ 28207 h 105174"/>
                <a:gd name="connsiteX3" fmla="*/ 49911 w 52673"/>
                <a:gd name="connsiteY3" fmla="*/ 40018 h 105174"/>
                <a:gd name="connsiteX4" fmla="*/ 46673 w 52673"/>
                <a:gd name="connsiteY4" fmla="*/ 53258 h 105174"/>
                <a:gd name="connsiteX5" fmla="*/ 37909 w 52673"/>
                <a:gd name="connsiteY5" fmla="*/ 78404 h 105174"/>
                <a:gd name="connsiteX6" fmla="*/ 31337 w 52673"/>
                <a:gd name="connsiteY6" fmla="*/ 89739 h 105174"/>
                <a:gd name="connsiteX7" fmla="*/ 22193 w 52673"/>
                <a:gd name="connsiteY7" fmla="*/ 101073 h 105174"/>
                <a:gd name="connsiteX8" fmla="*/ 13049 w 52673"/>
                <a:gd name="connsiteY8" fmla="*/ 105169 h 105174"/>
                <a:gd name="connsiteX9" fmla="*/ 4096 w 52673"/>
                <a:gd name="connsiteY9" fmla="*/ 101740 h 105174"/>
                <a:gd name="connsiteX10" fmla="*/ 0 w 52673"/>
                <a:gd name="connsiteY10" fmla="*/ 92691 h 105174"/>
                <a:gd name="connsiteX11" fmla="*/ 3429 w 52673"/>
                <a:gd name="connsiteY11" fmla="*/ 83738 h 105174"/>
                <a:gd name="connsiteX12" fmla="*/ 14478 w 52673"/>
                <a:gd name="connsiteY12" fmla="*/ 70784 h 105174"/>
                <a:gd name="connsiteX13" fmla="*/ 24860 w 52673"/>
                <a:gd name="connsiteY13" fmla="*/ 57449 h 105174"/>
                <a:gd name="connsiteX14" fmla="*/ 32671 w 52673"/>
                <a:gd name="connsiteY14" fmla="*/ 44876 h 105174"/>
                <a:gd name="connsiteX15" fmla="*/ 39243 w 52673"/>
                <a:gd name="connsiteY15" fmla="*/ 29731 h 105174"/>
                <a:gd name="connsiteX16" fmla="*/ 43815 w 52673"/>
                <a:gd name="connsiteY16" fmla="*/ 10205 h 105174"/>
                <a:gd name="connsiteX17" fmla="*/ 44006 w 52673"/>
                <a:gd name="connsiteY17" fmla="*/ 4299 h 105174"/>
                <a:gd name="connsiteX18" fmla="*/ 48197 w 52673"/>
                <a:gd name="connsiteY18" fmla="*/ 13 h 105174"/>
                <a:gd name="connsiteX19" fmla="*/ 48292 w 52673"/>
                <a:gd name="connsiteY19" fmla="*/ 13 h 105174"/>
                <a:gd name="connsiteX20" fmla="*/ 52673 w 52673"/>
                <a:gd name="connsiteY20" fmla="*/ 4014 h 105174"/>
                <a:gd name="connsiteX21" fmla="*/ 52673 w 52673"/>
                <a:gd name="connsiteY21" fmla="*/ 4014 h 105174"/>
                <a:gd name="connsiteX22" fmla="*/ 52673 w 52673"/>
                <a:gd name="connsiteY22" fmla="*/ 4014 h 105174"/>
                <a:gd name="connsiteX23" fmla="*/ 44006 w 52673"/>
                <a:gd name="connsiteY23" fmla="*/ 10110 h 105174"/>
                <a:gd name="connsiteX24" fmla="*/ 43910 w 52673"/>
                <a:gd name="connsiteY24" fmla="*/ 11157 h 105174"/>
                <a:gd name="connsiteX25" fmla="*/ 44006 w 52673"/>
                <a:gd name="connsiteY25" fmla="*/ 10110 h 105174"/>
                <a:gd name="connsiteX26" fmla="*/ 44006 w 52673"/>
                <a:gd name="connsiteY26" fmla="*/ 10110 h 105174"/>
                <a:gd name="connsiteX27" fmla="*/ 44006 w 52673"/>
                <a:gd name="connsiteY27" fmla="*/ 10110 h 105174"/>
                <a:gd name="connsiteX28" fmla="*/ 24860 w 52673"/>
                <a:gd name="connsiteY28" fmla="*/ 57639 h 105174"/>
                <a:gd name="connsiteX29" fmla="*/ 23908 w 52673"/>
                <a:gd name="connsiteY29" fmla="*/ 58973 h 105174"/>
                <a:gd name="connsiteX30" fmla="*/ 24860 w 52673"/>
                <a:gd name="connsiteY30" fmla="*/ 57639 h 105174"/>
                <a:gd name="connsiteX31" fmla="*/ 24860 w 52673"/>
                <a:gd name="connsiteY31" fmla="*/ 57639 h 105174"/>
                <a:gd name="connsiteX32" fmla="*/ 24860 w 52673"/>
                <a:gd name="connsiteY32" fmla="*/ 57639 h 105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2673" h="105174">
                  <a:moveTo>
                    <a:pt x="52673" y="4014"/>
                  </a:moveTo>
                  <a:cubicBezTo>
                    <a:pt x="52673" y="7728"/>
                    <a:pt x="52673" y="11443"/>
                    <a:pt x="52483" y="15253"/>
                  </a:cubicBezTo>
                  <a:cubicBezTo>
                    <a:pt x="52292" y="19539"/>
                    <a:pt x="51816" y="23921"/>
                    <a:pt x="51435" y="28207"/>
                  </a:cubicBezTo>
                  <a:cubicBezTo>
                    <a:pt x="51054" y="32208"/>
                    <a:pt x="50578" y="36113"/>
                    <a:pt x="49911" y="40018"/>
                  </a:cubicBezTo>
                  <a:cubicBezTo>
                    <a:pt x="49054" y="44495"/>
                    <a:pt x="47816" y="48876"/>
                    <a:pt x="46673" y="53258"/>
                  </a:cubicBezTo>
                  <a:cubicBezTo>
                    <a:pt x="44482" y="61830"/>
                    <a:pt x="41624" y="70308"/>
                    <a:pt x="37909" y="78404"/>
                  </a:cubicBezTo>
                  <a:cubicBezTo>
                    <a:pt x="36100" y="82404"/>
                    <a:pt x="33909" y="86119"/>
                    <a:pt x="31337" y="89739"/>
                  </a:cubicBezTo>
                  <a:cubicBezTo>
                    <a:pt x="28575" y="93739"/>
                    <a:pt x="25813" y="97740"/>
                    <a:pt x="22193" y="101073"/>
                  </a:cubicBezTo>
                  <a:cubicBezTo>
                    <a:pt x="19622" y="103455"/>
                    <a:pt x="16669" y="105074"/>
                    <a:pt x="13049" y="105169"/>
                  </a:cubicBezTo>
                  <a:cubicBezTo>
                    <a:pt x="9716" y="105264"/>
                    <a:pt x="6477" y="104026"/>
                    <a:pt x="4096" y="101740"/>
                  </a:cubicBezTo>
                  <a:cubicBezTo>
                    <a:pt x="1619" y="99359"/>
                    <a:pt x="95" y="96120"/>
                    <a:pt x="0" y="92691"/>
                  </a:cubicBezTo>
                  <a:cubicBezTo>
                    <a:pt x="0" y="89167"/>
                    <a:pt x="1333" y="86310"/>
                    <a:pt x="3429" y="83738"/>
                  </a:cubicBezTo>
                  <a:cubicBezTo>
                    <a:pt x="7049" y="79356"/>
                    <a:pt x="10858" y="75165"/>
                    <a:pt x="14478" y="70784"/>
                  </a:cubicBezTo>
                  <a:cubicBezTo>
                    <a:pt x="18002" y="66402"/>
                    <a:pt x="21527" y="62021"/>
                    <a:pt x="24860" y="57449"/>
                  </a:cubicBezTo>
                  <a:cubicBezTo>
                    <a:pt x="27623" y="53353"/>
                    <a:pt x="30290" y="49257"/>
                    <a:pt x="32671" y="44876"/>
                  </a:cubicBezTo>
                  <a:cubicBezTo>
                    <a:pt x="35243" y="40018"/>
                    <a:pt x="37243" y="34875"/>
                    <a:pt x="39243" y="29731"/>
                  </a:cubicBezTo>
                  <a:cubicBezTo>
                    <a:pt x="41624" y="23349"/>
                    <a:pt x="42958" y="16872"/>
                    <a:pt x="43815" y="10205"/>
                  </a:cubicBezTo>
                  <a:cubicBezTo>
                    <a:pt x="44006" y="8300"/>
                    <a:pt x="44006" y="6300"/>
                    <a:pt x="44006" y="4299"/>
                  </a:cubicBezTo>
                  <a:cubicBezTo>
                    <a:pt x="44006" y="2013"/>
                    <a:pt x="45815" y="13"/>
                    <a:pt x="48197" y="13"/>
                  </a:cubicBezTo>
                  <a:cubicBezTo>
                    <a:pt x="48197" y="13"/>
                    <a:pt x="48292" y="13"/>
                    <a:pt x="48292" y="13"/>
                  </a:cubicBezTo>
                  <a:cubicBezTo>
                    <a:pt x="50768" y="-177"/>
                    <a:pt x="52673" y="1728"/>
                    <a:pt x="52673" y="4014"/>
                  </a:cubicBezTo>
                  <a:lnTo>
                    <a:pt x="52673" y="4014"/>
                  </a:lnTo>
                  <a:lnTo>
                    <a:pt x="52673" y="4014"/>
                  </a:lnTo>
                  <a:close/>
                  <a:moveTo>
                    <a:pt x="44006" y="10110"/>
                  </a:moveTo>
                  <a:cubicBezTo>
                    <a:pt x="44006" y="10491"/>
                    <a:pt x="43910" y="10776"/>
                    <a:pt x="43910" y="11157"/>
                  </a:cubicBezTo>
                  <a:cubicBezTo>
                    <a:pt x="43910" y="10776"/>
                    <a:pt x="43910" y="10491"/>
                    <a:pt x="44006" y="10110"/>
                  </a:cubicBezTo>
                  <a:lnTo>
                    <a:pt x="44006" y="10110"/>
                  </a:lnTo>
                  <a:lnTo>
                    <a:pt x="44006" y="10110"/>
                  </a:lnTo>
                  <a:close/>
                  <a:moveTo>
                    <a:pt x="24860" y="57639"/>
                  </a:moveTo>
                  <a:cubicBezTo>
                    <a:pt x="24575" y="58116"/>
                    <a:pt x="24289" y="58497"/>
                    <a:pt x="23908" y="58973"/>
                  </a:cubicBezTo>
                  <a:cubicBezTo>
                    <a:pt x="24194" y="58497"/>
                    <a:pt x="24575" y="58020"/>
                    <a:pt x="24860" y="57639"/>
                  </a:cubicBezTo>
                  <a:lnTo>
                    <a:pt x="24860" y="57639"/>
                  </a:lnTo>
                  <a:lnTo>
                    <a:pt x="24860" y="57639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 50">
              <a:extLst>
                <a:ext uri="{FF2B5EF4-FFF2-40B4-BE49-F238E27FC236}">
                  <a16:creationId xmlns:a16="http://schemas.microsoft.com/office/drawing/2014/main" id="{91C1AE18-072F-4D45-940D-5DF7FF2B4BAA}"/>
                </a:ext>
              </a:extLst>
            </p:cNvPr>
            <p:cNvSpPr/>
            <p:nvPr/>
          </p:nvSpPr>
          <p:spPr>
            <a:xfrm>
              <a:off x="6377156" y="3307210"/>
              <a:ext cx="40619" cy="40608"/>
            </a:xfrm>
            <a:custGeom>
              <a:avLst/>
              <a:gdLst>
                <a:gd name="connsiteX0" fmla="*/ 15337 w 15339"/>
                <a:gd name="connsiteY0" fmla="*/ 7525 h 15335"/>
                <a:gd name="connsiteX1" fmla="*/ 7812 w 15339"/>
                <a:gd name="connsiteY1" fmla="*/ 15335 h 15335"/>
                <a:gd name="connsiteX2" fmla="*/ 2 w 15339"/>
                <a:gd name="connsiteY2" fmla="*/ 7811 h 15335"/>
                <a:gd name="connsiteX3" fmla="*/ 7527 w 15339"/>
                <a:gd name="connsiteY3" fmla="*/ 0 h 15335"/>
                <a:gd name="connsiteX4" fmla="*/ 15337 w 15339"/>
                <a:gd name="connsiteY4" fmla="*/ 7525 h 15335"/>
                <a:gd name="connsiteX5" fmla="*/ 15337 w 15339"/>
                <a:gd name="connsiteY5" fmla="*/ 7525 h 15335"/>
                <a:gd name="connsiteX6" fmla="*/ 15337 w 15339"/>
                <a:gd name="connsiteY6" fmla="*/ 7525 h 15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39" h="15335">
                  <a:moveTo>
                    <a:pt x="15337" y="7525"/>
                  </a:moveTo>
                  <a:cubicBezTo>
                    <a:pt x="15432" y="11621"/>
                    <a:pt x="12003" y="15335"/>
                    <a:pt x="7812" y="15335"/>
                  </a:cubicBezTo>
                  <a:cubicBezTo>
                    <a:pt x="3621" y="15335"/>
                    <a:pt x="97" y="12097"/>
                    <a:pt x="2" y="7811"/>
                  </a:cubicBezTo>
                  <a:cubicBezTo>
                    <a:pt x="-93" y="3715"/>
                    <a:pt x="3336" y="0"/>
                    <a:pt x="7527" y="0"/>
                  </a:cubicBezTo>
                  <a:cubicBezTo>
                    <a:pt x="11718" y="0"/>
                    <a:pt x="15242" y="3334"/>
                    <a:pt x="15337" y="7525"/>
                  </a:cubicBezTo>
                  <a:lnTo>
                    <a:pt x="15337" y="7525"/>
                  </a:lnTo>
                  <a:lnTo>
                    <a:pt x="15337" y="7525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 51">
              <a:extLst>
                <a:ext uri="{FF2B5EF4-FFF2-40B4-BE49-F238E27FC236}">
                  <a16:creationId xmlns:a16="http://schemas.microsoft.com/office/drawing/2014/main" id="{996ACC8A-09FC-4AAE-AA0F-A6F25DE4E464}"/>
                </a:ext>
              </a:extLst>
            </p:cNvPr>
            <p:cNvSpPr/>
            <p:nvPr/>
          </p:nvSpPr>
          <p:spPr>
            <a:xfrm>
              <a:off x="6440281" y="3458782"/>
              <a:ext cx="70701" cy="226195"/>
            </a:xfrm>
            <a:custGeom>
              <a:avLst/>
              <a:gdLst>
                <a:gd name="connsiteX0" fmla="*/ 8454 w 26699"/>
                <a:gd name="connsiteY0" fmla="*/ 2103 h 85418"/>
                <a:gd name="connsiteX1" fmla="*/ 17503 w 26699"/>
                <a:gd name="connsiteY1" fmla="*/ 19534 h 85418"/>
                <a:gd name="connsiteX2" fmla="*/ 23980 w 26699"/>
                <a:gd name="connsiteY2" fmla="*/ 38108 h 85418"/>
                <a:gd name="connsiteX3" fmla="*/ 25789 w 26699"/>
                <a:gd name="connsiteY3" fmla="*/ 48014 h 85418"/>
                <a:gd name="connsiteX4" fmla="*/ 26647 w 26699"/>
                <a:gd name="connsiteY4" fmla="*/ 57825 h 85418"/>
                <a:gd name="connsiteX5" fmla="*/ 23789 w 26699"/>
                <a:gd name="connsiteY5" fmla="*/ 78113 h 85418"/>
                <a:gd name="connsiteX6" fmla="*/ 19503 w 26699"/>
                <a:gd name="connsiteY6" fmla="*/ 84018 h 85418"/>
                <a:gd name="connsiteX7" fmla="*/ 12264 w 26699"/>
                <a:gd name="connsiteY7" fmla="*/ 85161 h 85418"/>
                <a:gd name="connsiteX8" fmla="*/ 5215 w 26699"/>
                <a:gd name="connsiteY8" fmla="*/ 73636 h 85418"/>
                <a:gd name="connsiteX9" fmla="*/ 9787 w 26699"/>
                <a:gd name="connsiteY9" fmla="*/ 51633 h 85418"/>
                <a:gd name="connsiteX10" fmla="*/ 9406 w 26699"/>
                <a:gd name="connsiteY10" fmla="*/ 31631 h 85418"/>
                <a:gd name="connsiteX11" fmla="*/ 3977 w 26699"/>
                <a:gd name="connsiteY11" fmla="*/ 13438 h 85418"/>
                <a:gd name="connsiteX12" fmla="*/ 643 w 26699"/>
                <a:gd name="connsiteY12" fmla="*/ 6961 h 85418"/>
                <a:gd name="connsiteX13" fmla="*/ 2167 w 26699"/>
                <a:gd name="connsiteY13" fmla="*/ 675 h 85418"/>
                <a:gd name="connsiteX14" fmla="*/ 4549 w 26699"/>
                <a:gd name="connsiteY14" fmla="*/ 8 h 85418"/>
                <a:gd name="connsiteX15" fmla="*/ 8454 w 26699"/>
                <a:gd name="connsiteY15" fmla="*/ 2103 h 85418"/>
                <a:gd name="connsiteX16" fmla="*/ 8454 w 26699"/>
                <a:gd name="connsiteY16" fmla="*/ 2103 h 85418"/>
                <a:gd name="connsiteX17" fmla="*/ 8454 w 26699"/>
                <a:gd name="connsiteY17" fmla="*/ 2103 h 85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699" h="85418">
                  <a:moveTo>
                    <a:pt x="8454" y="2103"/>
                  </a:moveTo>
                  <a:cubicBezTo>
                    <a:pt x="11787" y="7723"/>
                    <a:pt x="14931" y="13533"/>
                    <a:pt x="17503" y="19534"/>
                  </a:cubicBezTo>
                  <a:cubicBezTo>
                    <a:pt x="20074" y="25535"/>
                    <a:pt x="22265" y="31726"/>
                    <a:pt x="23980" y="38108"/>
                  </a:cubicBezTo>
                  <a:cubicBezTo>
                    <a:pt x="24932" y="41346"/>
                    <a:pt x="25313" y="44680"/>
                    <a:pt x="25789" y="48014"/>
                  </a:cubicBezTo>
                  <a:cubicBezTo>
                    <a:pt x="26266" y="51252"/>
                    <a:pt x="26456" y="54491"/>
                    <a:pt x="26647" y="57825"/>
                  </a:cubicBezTo>
                  <a:cubicBezTo>
                    <a:pt x="26932" y="64587"/>
                    <a:pt x="26075" y="71731"/>
                    <a:pt x="23789" y="78113"/>
                  </a:cubicBezTo>
                  <a:cubicBezTo>
                    <a:pt x="22932" y="80589"/>
                    <a:pt x="21884" y="82590"/>
                    <a:pt x="19503" y="84018"/>
                  </a:cubicBezTo>
                  <a:cubicBezTo>
                    <a:pt x="17312" y="85352"/>
                    <a:pt x="14740" y="85733"/>
                    <a:pt x="12264" y="85161"/>
                  </a:cubicBezTo>
                  <a:cubicBezTo>
                    <a:pt x="7215" y="83923"/>
                    <a:pt x="4072" y="78780"/>
                    <a:pt x="5215" y="73636"/>
                  </a:cubicBezTo>
                  <a:cubicBezTo>
                    <a:pt x="6930" y="66302"/>
                    <a:pt x="8835" y="59063"/>
                    <a:pt x="9787" y="51633"/>
                  </a:cubicBezTo>
                  <a:cubicBezTo>
                    <a:pt x="10359" y="44966"/>
                    <a:pt x="10263" y="38203"/>
                    <a:pt x="9406" y="31631"/>
                  </a:cubicBezTo>
                  <a:cubicBezTo>
                    <a:pt x="8263" y="25344"/>
                    <a:pt x="6454" y="19248"/>
                    <a:pt x="3977" y="13438"/>
                  </a:cubicBezTo>
                  <a:cubicBezTo>
                    <a:pt x="2929" y="11247"/>
                    <a:pt x="1786" y="9057"/>
                    <a:pt x="643" y="6961"/>
                  </a:cubicBezTo>
                  <a:cubicBezTo>
                    <a:pt x="-595" y="4770"/>
                    <a:pt x="-23" y="2103"/>
                    <a:pt x="2167" y="675"/>
                  </a:cubicBezTo>
                  <a:cubicBezTo>
                    <a:pt x="2929" y="198"/>
                    <a:pt x="3691" y="8"/>
                    <a:pt x="4549" y="8"/>
                  </a:cubicBezTo>
                  <a:cubicBezTo>
                    <a:pt x="6073" y="-87"/>
                    <a:pt x="7597" y="675"/>
                    <a:pt x="8454" y="2103"/>
                  </a:cubicBezTo>
                  <a:lnTo>
                    <a:pt x="8454" y="2103"/>
                  </a:lnTo>
                  <a:lnTo>
                    <a:pt x="8454" y="2103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 52">
              <a:extLst>
                <a:ext uri="{FF2B5EF4-FFF2-40B4-BE49-F238E27FC236}">
                  <a16:creationId xmlns:a16="http://schemas.microsoft.com/office/drawing/2014/main" id="{A0059E24-8382-450A-A68E-01EEE6DF3B4A}"/>
                </a:ext>
              </a:extLst>
            </p:cNvPr>
            <p:cNvSpPr/>
            <p:nvPr/>
          </p:nvSpPr>
          <p:spPr>
            <a:xfrm>
              <a:off x="5899221" y="3659226"/>
              <a:ext cx="178709" cy="215859"/>
            </a:xfrm>
            <a:custGeom>
              <a:avLst/>
              <a:gdLst>
                <a:gd name="connsiteX0" fmla="*/ 65327 w 67486"/>
                <a:gd name="connsiteY0" fmla="*/ 228 h 81515"/>
                <a:gd name="connsiteX1" fmla="*/ 67137 w 67486"/>
                <a:gd name="connsiteY1" fmla="*/ 5276 h 81515"/>
                <a:gd name="connsiteX2" fmla="*/ 47611 w 67486"/>
                <a:gd name="connsiteY2" fmla="*/ 45186 h 81515"/>
                <a:gd name="connsiteX3" fmla="*/ 33704 w 67486"/>
                <a:gd name="connsiteY3" fmla="*/ 64236 h 81515"/>
                <a:gd name="connsiteX4" fmla="*/ 15797 w 67486"/>
                <a:gd name="connsiteY4" fmla="*/ 79762 h 81515"/>
                <a:gd name="connsiteX5" fmla="*/ 1796 w 67486"/>
                <a:gd name="connsiteY5" fmla="*/ 77380 h 81515"/>
                <a:gd name="connsiteX6" fmla="*/ 4177 w 67486"/>
                <a:gd name="connsiteY6" fmla="*/ 63379 h 81515"/>
                <a:gd name="connsiteX7" fmla="*/ 17798 w 67486"/>
                <a:gd name="connsiteY7" fmla="*/ 53758 h 81515"/>
                <a:gd name="connsiteX8" fmla="*/ 29704 w 67486"/>
                <a:gd name="connsiteY8" fmla="*/ 43471 h 81515"/>
                <a:gd name="connsiteX9" fmla="*/ 53040 w 67486"/>
                <a:gd name="connsiteY9" fmla="*/ 16039 h 81515"/>
                <a:gd name="connsiteX10" fmla="*/ 52373 w 67486"/>
                <a:gd name="connsiteY10" fmla="*/ 16992 h 81515"/>
                <a:gd name="connsiteX11" fmla="*/ 60279 w 67486"/>
                <a:gd name="connsiteY11" fmla="*/ 2228 h 81515"/>
                <a:gd name="connsiteX12" fmla="*/ 63708 w 67486"/>
                <a:gd name="connsiteY12" fmla="*/ 37 h 81515"/>
                <a:gd name="connsiteX13" fmla="*/ 65327 w 67486"/>
                <a:gd name="connsiteY13" fmla="*/ 228 h 81515"/>
                <a:gd name="connsiteX14" fmla="*/ 65327 w 67486"/>
                <a:gd name="connsiteY14" fmla="*/ 228 h 81515"/>
                <a:gd name="connsiteX15" fmla="*/ 65327 w 67486"/>
                <a:gd name="connsiteY15" fmla="*/ 228 h 8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486" h="81515">
                  <a:moveTo>
                    <a:pt x="65327" y="228"/>
                  </a:moveTo>
                  <a:cubicBezTo>
                    <a:pt x="67232" y="1085"/>
                    <a:pt x="67994" y="3371"/>
                    <a:pt x="67137" y="5276"/>
                  </a:cubicBezTo>
                  <a:cubicBezTo>
                    <a:pt x="61232" y="18802"/>
                    <a:pt x="55326" y="32422"/>
                    <a:pt x="47611" y="45186"/>
                  </a:cubicBezTo>
                  <a:cubicBezTo>
                    <a:pt x="43515" y="51949"/>
                    <a:pt x="39038" y="58330"/>
                    <a:pt x="33704" y="64236"/>
                  </a:cubicBezTo>
                  <a:cubicBezTo>
                    <a:pt x="28370" y="70046"/>
                    <a:pt x="22370" y="75475"/>
                    <a:pt x="15797" y="79762"/>
                  </a:cubicBezTo>
                  <a:cubicBezTo>
                    <a:pt x="11225" y="82714"/>
                    <a:pt x="5034" y="81952"/>
                    <a:pt x="1796" y="77380"/>
                  </a:cubicBezTo>
                  <a:cubicBezTo>
                    <a:pt x="-1252" y="72999"/>
                    <a:pt x="-395" y="66427"/>
                    <a:pt x="4177" y="63379"/>
                  </a:cubicBezTo>
                  <a:cubicBezTo>
                    <a:pt x="8844" y="60331"/>
                    <a:pt x="13416" y="57092"/>
                    <a:pt x="17798" y="53758"/>
                  </a:cubicBezTo>
                  <a:cubicBezTo>
                    <a:pt x="21989" y="50520"/>
                    <a:pt x="25894" y="46996"/>
                    <a:pt x="29704" y="43471"/>
                  </a:cubicBezTo>
                  <a:cubicBezTo>
                    <a:pt x="38562" y="35185"/>
                    <a:pt x="46468" y="26136"/>
                    <a:pt x="53040" y="16039"/>
                  </a:cubicBezTo>
                  <a:cubicBezTo>
                    <a:pt x="52850" y="16325"/>
                    <a:pt x="52659" y="16706"/>
                    <a:pt x="52373" y="16992"/>
                  </a:cubicBezTo>
                  <a:cubicBezTo>
                    <a:pt x="55421" y="12229"/>
                    <a:pt x="57993" y="7372"/>
                    <a:pt x="60279" y="2228"/>
                  </a:cubicBezTo>
                  <a:cubicBezTo>
                    <a:pt x="60851" y="895"/>
                    <a:pt x="62279" y="37"/>
                    <a:pt x="63708" y="37"/>
                  </a:cubicBezTo>
                  <a:cubicBezTo>
                    <a:pt x="64280" y="-58"/>
                    <a:pt x="64756" y="37"/>
                    <a:pt x="65327" y="228"/>
                  </a:cubicBezTo>
                  <a:lnTo>
                    <a:pt x="65327" y="228"/>
                  </a:lnTo>
                  <a:lnTo>
                    <a:pt x="65327" y="228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 54">
              <a:extLst>
                <a:ext uri="{FF2B5EF4-FFF2-40B4-BE49-F238E27FC236}">
                  <a16:creationId xmlns:a16="http://schemas.microsoft.com/office/drawing/2014/main" id="{60B7DF34-BC05-47C2-AB76-34F9276190DC}"/>
                </a:ext>
              </a:extLst>
            </p:cNvPr>
            <p:cNvSpPr/>
            <p:nvPr/>
          </p:nvSpPr>
          <p:spPr>
            <a:xfrm>
              <a:off x="4966310" y="2517172"/>
              <a:ext cx="527127" cy="573929"/>
            </a:xfrm>
            <a:custGeom>
              <a:avLst/>
              <a:gdLst>
                <a:gd name="connsiteX0" fmla="*/ 101481 w 274376"/>
                <a:gd name="connsiteY0" fmla="*/ 95 h 298737"/>
                <a:gd name="connsiteX1" fmla="*/ 105005 w 274376"/>
                <a:gd name="connsiteY1" fmla="*/ 0 h 298737"/>
                <a:gd name="connsiteX2" fmla="*/ 116911 w 274376"/>
                <a:gd name="connsiteY2" fmla="*/ 2762 h 298737"/>
                <a:gd name="connsiteX3" fmla="*/ 129294 w 274376"/>
                <a:gd name="connsiteY3" fmla="*/ 9144 h 298737"/>
                <a:gd name="connsiteX4" fmla="*/ 146344 w 274376"/>
                <a:gd name="connsiteY4" fmla="*/ 22574 h 298737"/>
                <a:gd name="connsiteX5" fmla="*/ 162727 w 274376"/>
                <a:gd name="connsiteY5" fmla="*/ 39148 h 298737"/>
                <a:gd name="connsiteX6" fmla="*/ 187206 w 274376"/>
                <a:gd name="connsiteY6" fmla="*/ 70675 h 298737"/>
                <a:gd name="connsiteX7" fmla="*/ 202351 w 274376"/>
                <a:gd name="connsiteY7" fmla="*/ 62865 h 298737"/>
                <a:gd name="connsiteX8" fmla="*/ 208351 w 274376"/>
                <a:gd name="connsiteY8" fmla="*/ 60198 h 298737"/>
                <a:gd name="connsiteX9" fmla="*/ 209209 w 274376"/>
                <a:gd name="connsiteY9" fmla="*/ 59817 h 298737"/>
                <a:gd name="connsiteX10" fmla="*/ 223686 w 274376"/>
                <a:gd name="connsiteY10" fmla="*/ 53626 h 298737"/>
                <a:gd name="connsiteX11" fmla="*/ 240546 w 274376"/>
                <a:gd name="connsiteY11" fmla="*/ 49530 h 298737"/>
                <a:gd name="connsiteX12" fmla="*/ 257310 w 274376"/>
                <a:gd name="connsiteY12" fmla="*/ 52006 h 298737"/>
                <a:gd name="connsiteX13" fmla="*/ 264453 w 274376"/>
                <a:gd name="connsiteY13" fmla="*/ 56864 h 298737"/>
                <a:gd name="connsiteX14" fmla="*/ 270169 w 274376"/>
                <a:gd name="connsiteY14" fmla="*/ 64865 h 298737"/>
                <a:gd name="connsiteX15" fmla="*/ 274360 w 274376"/>
                <a:gd name="connsiteY15" fmla="*/ 84868 h 298737"/>
                <a:gd name="connsiteX16" fmla="*/ 270073 w 274376"/>
                <a:gd name="connsiteY16" fmla="*/ 105632 h 298737"/>
                <a:gd name="connsiteX17" fmla="*/ 261406 w 274376"/>
                <a:gd name="connsiteY17" fmla="*/ 125825 h 298737"/>
                <a:gd name="connsiteX18" fmla="*/ 258357 w 274376"/>
                <a:gd name="connsiteY18" fmla="*/ 132017 h 298737"/>
                <a:gd name="connsiteX19" fmla="*/ 256834 w 274376"/>
                <a:gd name="connsiteY19" fmla="*/ 135160 h 298737"/>
                <a:gd name="connsiteX20" fmla="*/ 255691 w 274376"/>
                <a:gd name="connsiteY20" fmla="*/ 137446 h 298737"/>
                <a:gd name="connsiteX21" fmla="*/ 255214 w 274376"/>
                <a:gd name="connsiteY21" fmla="*/ 138493 h 298737"/>
                <a:gd name="connsiteX22" fmla="*/ 254928 w 274376"/>
                <a:gd name="connsiteY22" fmla="*/ 139160 h 298737"/>
                <a:gd name="connsiteX23" fmla="*/ 249214 w 274376"/>
                <a:gd name="connsiteY23" fmla="*/ 151638 h 298737"/>
                <a:gd name="connsiteX24" fmla="*/ 260834 w 274376"/>
                <a:gd name="connsiteY24" fmla="*/ 173546 h 298737"/>
                <a:gd name="connsiteX25" fmla="*/ 271407 w 274376"/>
                <a:gd name="connsiteY25" fmla="*/ 206788 h 298737"/>
                <a:gd name="connsiteX26" fmla="*/ 267216 w 274376"/>
                <a:gd name="connsiteY26" fmla="*/ 237649 h 298737"/>
                <a:gd name="connsiteX27" fmla="*/ 256072 w 274376"/>
                <a:gd name="connsiteY27" fmla="*/ 248888 h 298737"/>
                <a:gd name="connsiteX28" fmla="*/ 240260 w 274376"/>
                <a:gd name="connsiteY28" fmla="*/ 253937 h 298737"/>
                <a:gd name="connsiteX29" fmla="*/ 236831 w 274376"/>
                <a:gd name="connsiteY29" fmla="*/ 254127 h 298737"/>
                <a:gd name="connsiteX30" fmla="*/ 220067 w 274376"/>
                <a:gd name="connsiteY30" fmla="*/ 251460 h 298737"/>
                <a:gd name="connsiteX31" fmla="*/ 203684 w 274376"/>
                <a:gd name="connsiteY31" fmla="*/ 244792 h 298737"/>
                <a:gd name="connsiteX32" fmla="*/ 188920 w 274376"/>
                <a:gd name="connsiteY32" fmla="*/ 236125 h 298737"/>
                <a:gd name="connsiteX33" fmla="*/ 180157 w 274376"/>
                <a:gd name="connsiteY33" fmla="*/ 229552 h 298737"/>
                <a:gd name="connsiteX34" fmla="*/ 178824 w 274376"/>
                <a:gd name="connsiteY34" fmla="*/ 234315 h 298737"/>
                <a:gd name="connsiteX35" fmla="*/ 178538 w 274376"/>
                <a:gd name="connsiteY35" fmla="*/ 235077 h 298737"/>
                <a:gd name="connsiteX36" fmla="*/ 178252 w 274376"/>
                <a:gd name="connsiteY36" fmla="*/ 235934 h 298737"/>
                <a:gd name="connsiteX37" fmla="*/ 177490 w 274376"/>
                <a:gd name="connsiteY37" fmla="*/ 237839 h 298737"/>
                <a:gd name="connsiteX38" fmla="*/ 165870 w 274376"/>
                <a:gd name="connsiteY38" fmla="*/ 264319 h 298737"/>
                <a:gd name="connsiteX39" fmla="*/ 153011 w 274376"/>
                <a:gd name="connsiteY39" fmla="*/ 282892 h 298737"/>
                <a:gd name="connsiteX40" fmla="*/ 134818 w 274376"/>
                <a:gd name="connsiteY40" fmla="*/ 296037 h 298737"/>
                <a:gd name="connsiteX41" fmla="*/ 125770 w 274376"/>
                <a:gd name="connsiteY41" fmla="*/ 298513 h 298737"/>
                <a:gd name="connsiteX42" fmla="*/ 125007 w 274376"/>
                <a:gd name="connsiteY42" fmla="*/ 298609 h 298737"/>
                <a:gd name="connsiteX43" fmla="*/ 115864 w 274376"/>
                <a:gd name="connsiteY43" fmla="*/ 298037 h 298737"/>
                <a:gd name="connsiteX44" fmla="*/ 100052 w 274376"/>
                <a:gd name="connsiteY44" fmla="*/ 289465 h 298737"/>
                <a:gd name="connsiteX45" fmla="*/ 93956 w 274376"/>
                <a:gd name="connsiteY45" fmla="*/ 282130 h 298737"/>
                <a:gd name="connsiteX46" fmla="*/ 88813 w 274376"/>
                <a:gd name="connsiteY46" fmla="*/ 272796 h 298737"/>
                <a:gd name="connsiteX47" fmla="*/ 85098 w 274376"/>
                <a:gd name="connsiteY47" fmla="*/ 262223 h 298737"/>
                <a:gd name="connsiteX48" fmla="*/ 81859 w 274376"/>
                <a:gd name="connsiteY48" fmla="*/ 249460 h 298737"/>
                <a:gd name="connsiteX49" fmla="*/ 78621 w 274376"/>
                <a:gd name="connsiteY49" fmla="*/ 227933 h 298737"/>
                <a:gd name="connsiteX50" fmla="*/ 77668 w 274376"/>
                <a:gd name="connsiteY50" fmla="*/ 210788 h 298737"/>
                <a:gd name="connsiteX51" fmla="*/ 68143 w 274376"/>
                <a:gd name="connsiteY51" fmla="*/ 208502 h 298737"/>
                <a:gd name="connsiteX52" fmla="*/ 52903 w 274376"/>
                <a:gd name="connsiteY52" fmla="*/ 204311 h 298737"/>
                <a:gd name="connsiteX53" fmla="*/ 22233 w 274376"/>
                <a:gd name="connsiteY53" fmla="*/ 191643 h 298737"/>
                <a:gd name="connsiteX54" fmla="*/ 9850 w 274376"/>
                <a:gd name="connsiteY54" fmla="*/ 182213 h 298737"/>
                <a:gd name="connsiteX55" fmla="*/ 1849 w 274376"/>
                <a:gd name="connsiteY55" fmla="*/ 169450 h 298737"/>
                <a:gd name="connsiteX56" fmla="*/ 230 w 274376"/>
                <a:gd name="connsiteY56" fmla="*/ 154305 h 298737"/>
                <a:gd name="connsiteX57" fmla="*/ 6898 w 274376"/>
                <a:gd name="connsiteY57" fmla="*/ 138017 h 298737"/>
                <a:gd name="connsiteX58" fmla="*/ 20423 w 274376"/>
                <a:gd name="connsiteY58" fmla="*/ 125063 h 298737"/>
                <a:gd name="connsiteX59" fmla="*/ 37473 w 274376"/>
                <a:gd name="connsiteY59" fmla="*/ 115062 h 298737"/>
                <a:gd name="connsiteX60" fmla="*/ 54142 w 274376"/>
                <a:gd name="connsiteY60" fmla="*/ 107728 h 298737"/>
                <a:gd name="connsiteX61" fmla="*/ 56142 w 274376"/>
                <a:gd name="connsiteY61" fmla="*/ 106871 h 298737"/>
                <a:gd name="connsiteX62" fmla="*/ 58428 w 274376"/>
                <a:gd name="connsiteY62" fmla="*/ 105918 h 298737"/>
                <a:gd name="connsiteX63" fmla="*/ 62905 w 274376"/>
                <a:gd name="connsiteY63" fmla="*/ 104108 h 298737"/>
                <a:gd name="connsiteX64" fmla="*/ 66334 w 274376"/>
                <a:gd name="connsiteY64" fmla="*/ 102775 h 298737"/>
                <a:gd name="connsiteX65" fmla="*/ 69667 w 274376"/>
                <a:gd name="connsiteY65" fmla="*/ 101537 h 298737"/>
                <a:gd name="connsiteX66" fmla="*/ 71763 w 274376"/>
                <a:gd name="connsiteY66" fmla="*/ 100775 h 298737"/>
                <a:gd name="connsiteX67" fmla="*/ 73763 w 274376"/>
                <a:gd name="connsiteY67" fmla="*/ 100013 h 298737"/>
                <a:gd name="connsiteX68" fmla="*/ 72906 w 274376"/>
                <a:gd name="connsiteY68" fmla="*/ 84296 h 298737"/>
                <a:gd name="connsiteX69" fmla="*/ 72906 w 274376"/>
                <a:gd name="connsiteY69" fmla="*/ 83534 h 298737"/>
                <a:gd name="connsiteX70" fmla="*/ 72811 w 274376"/>
                <a:gd name="connsiteY70" fmla="*/ 82867 h 298737"/>
                <a:gd name="connsiteX71" fmla="*/ 72715 w 274376"/>
                <a:gd name="connsiteY71" fmla="*/ 82296 h 298737"/>
                <a:gd name="connsiteX72" fmla="*/ 72620 w 274376"/>
                <a:gd name="connsiteY72" fmla="*/ 43720 h 298737"/>
                <a:gd name="connsiteX73" fmla="*/ 77097 w 274376"/>
                <a:gd name="connsiteY73" fmla="*/ 23622 h 298737"/>
                <a:gd name="connsiteX74" fmla="*/ 84050 w 274376"/>
                <a:gd name="connsiteY74" fmla="*/ 10192 h 298737"/>
                <a:gd name="connsiteX75" fmla="*/ 93766 w 274376"/>
                <a:gd name="connsiteY75" fmla="*/ 2286 h 298737"/>
                <a:gd name="connsiteX76" fmla="*/ 101481 w 274376"/>
                <a:gd name="connsiteY76" fmla="*/ 95 h 298737"/>
                <a:gd name="connsiteX77" fmla="*/ 101481 w 274376"/>
                <a:gd name="connsiteY77" fmla="*/ 95 h 298737"/>
                <a:gd name="connsiteX78" fmla="*/ 101481 w 274376"/>
                <a:gd name="connsiteY78" fmla="*/ 95 h 29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274376" h="298737">
                  <a:moveTo>
                    <a:pt x="101481" y="95"/>
                  </a:moveTo>
                  <a:cubicBezTo>
                    <a:pt x="102624" y="0"/>
                    <a:pt x="103767" y="0"/>
                    <a:pt x="105005" y="0"/>
                  </a:cubicBezTo>
                  <a:cubicBezTo>
                    <a:pt x="108815" y="190"/>
                    <a:pt x="112625" y="1143"/>
                    <a:pt x="116911" y="2762"/>
                  </a:cubicBezTo>
                  <a:cubicBezTo>
                    <a:pt x="120912" y="4286"/>
                    <a:pt x="124912" y="6382"/>
                    <a:pt x="129294" y="9144"/>
                  </a:cubicBezTo>
                  <a:cubicBezTo>
                    <a:pt x="134628" y="12573"/>
                    <a:pt x="139867" y="16764"/>
                    <a:pt x="146344" y="22574"/>
                  </a:cubicBezTo>
                  <a:cubicBezTo>
                    <a:pt x="151201" y="27051"/>
                    <a:pt x="156535" y="32480"/>
                    <a:pt x="162727" y="39148"/>
                  </a:cubicBezTo>
                  <a:cubicBezTo>
                    <a:pt x="171966" y="49530"/>
                    <a:pt x="180157" y="60103"/>
                    <a:pt x="187206" y="70675"/>
                  </a:cubicBezTo>
                  <a:cubicBezTo>
                    <a:pt x="192064" y="67246"/>
                    <a:pt x="198255" y="64579"/>
                    <a:pt x="202351" y="62865"/>
                  </a:cubicBezTo>
                  <a:cubicBezTo>
                    <a:pt x="204351" y="62008"/>
                    <a:pt x="206351" y="61055"/>
                    <a:pt x="208351" y="60198"/>
                  </a:cubicBezTo>
                  <a:lnTo>
                    <a:pt x="209209" y="59817"/>
                  </a:lnTo>
                  <a:cubicBezTo>
                    <a:pt x="212352" y="58388"/>
                    <a:pt x="218162" y="55626"/>
                    <a:pt x="223686" y="53626"/>
                  </a:cubicBezTo>
                  <a:cubicBezTo>
                    <a:pt x="230354" y="51244"/>
                    <a:pt x="235498" y="49911"/>
                    <a:pt x="240546" y="49530"/>
                  </a:cubicBezTo>
                  <a:cubicBezTo>
                    <a:pt x="247118" y="48958"/>
                    <a:pt x="252643" y="49816"/>
                    <a:pt x="257310" y="52006"/>
                  </a:cubicBezTo>
                  <a:cubicBezTo>
                    <a:pt x="259786" y="53150"/>
                    <a:pt x="262072" y="54673"/>
                    <a:pt x="264453" y="56864"/>
                  </a:cubicBezTo>
                  <a:cubicBezTo>
                    <a:pt x="266549" y="58769"/>
                    <a:pt x="268359" y="61341"/>
                    <a:pt x="270169" y="64865"/>
                  </a:cubicBezTo>
                  <a:cubicBezTo>
                    <a:pt x="273121" y="70485"/>
                    <a:pt x="274550" y="77248"/>
                    <a:pt x="274360" y="84868"/>
                  </a:cubicBezTo>
                  <a:cubicBezTo>
                    <a:pt x="274169" y="91059"/>
                    <a:pt x="272836" y="97631"/>
                    <a:pt x="270073" y="105632"/>
                  </a:cubicBezTo>
                  <a:cubicBezTo>
                    <a:pt x="267692" y="112871"/>
                    <a:pt x="264549" y="119634"/>
                    <a:pt x="261406" y="125825"/>
                  </a:cubicBezTo>
                  <a:lnTo>
                    <a:pt x="258357" y="132017"/>
                  </a:lnTo>
                  <a:lnTo>
                    <a:pt x="256834" y="135160"/>
                  </a:lnTo>
                  <a:lnTo>
                    <a:pt x="255691" y="137446"/>
                  </a:lnTo>
                  <a:lnTo>
                    <a:pt x="255214" y="138493"/>
                  </a:lnTo>
                  <a:lnTo>
                    <a:pt x="254928" y="139160"/>
                  </a:lnTo>
                  <a:cubicBezTo>
                    <a:pt x="253309" y="142589"/>
                    <a:pt x="251023" y="147256"/>
                    <a:pt x="249214" y="151638"/>
                  </a:cubicBezTo>
                  <a:cubicBezTo>
                    <a:pt x="253309" y="158020"/>
                    <a:pt x="257215" y="165449"/>
                    <a:pt x="260834" y="173546"/>
                  </a:cubicBezTo>
                  <a:cubicBezTo>
                    <a:pt x="266454" y="186023"/>
                    <a:pt x="269788" y="196501"/>
                    <a:pt x="271407" y="206788"/>
                  </a:cubicBezTo>
                  <a:cubicBezTo>
                    <a:pt x="273312" y="219170"/>
                    <a:pt x="271883" y="229552"/>
                    <a:pt x="267216" y="237649"/>
                  </a:cubicBezTo>
                  <a:cubicBezTo>
                    <a:pt x="264739" y="242030"/>
                    <a:pt x="261024" y="245745"/>
                    <a:pt x="256072" y="248888"/>
                  </a:cubicBezTo>
                  <a:cubicBezTo>
                    <a:pt x="251690" y="251746"/>
                    <a:pt x="246356" y="253460"/>
                    <a:pt x="240260" y="253937"/>
                  </a:cubicBezTo>
                  <a:cubicBezTo>
                    <a:pt x="239117" y="254032"/>
                    <a:pt x="237974" y="254127"/>
                    <a:pt x="236831" y="254127"/>
                  </a:cubicBezTo>
                  <a:cubicBezTo>
                    <a:pt x="231688" y="254127"/>
                    <a:pt x="226258" y="253270"/>
                    <a:pt x="220067" y="251460"/>
                  </a:cubicBezTo>
                  <a:cubicBezTo>
                    <a:pt x="214733" y="249936"/>
                    <a:pt x="209590" y="247840"/>
                    <a:pt x="203684" y="244792"/>
                  </a:cubicBezTo>
                  <a:cubicBezTo>
                    <a:pt x="199303" y="242602"/>
                    <a:pt x="194540" y="239935"/>
                    <a:pt x="188920" y="236125"/>
                  </a:cubicBezTo>
                  <a:cubicBezTo>
                    <a:pt x="185491" y="233743"/>
                    <a:pt x="182729" y="231648"/>
                    <a:pt x="180157" y="229552"/>
                  </a:cubicBezTo>
                  <a:cubicBezTo>
                    <a:pt x="180062" y="231076"/>
                    <a:pt x="179395" y="232886"/>
                    <a:pt x="178824" y="234315"/>
                  </a:cubicBezTo>
                  <a:lnTo>
                    <a:pt x="178538" y="235077"/>
                  </a:lnTo>
                  <a:lnTo>
                    <a:pt x="178252" y="235934"/>
                  </a:lnTo>
                  <a:lnTo>
                    <a:pt x="177490" y="237839"/>
                  </a:lnTo>
                  <a:cubicBezTo>
                    <a:pt x="174157" y="246221"/>
                    <a:pt x="170442" y="255746"/>
                    <a:pt x="165870" y="264319"/>
                  </a:cubicBezTo>
                  <a:cubicBezTo>
                    <a:pt x="162346" y="271177"/>
                    <a:pt x="157964" y="277368"/>
                    <a:pt x="153011" y="282892"/>
                  </a:cubicBezTo>
                  <a:cubicBezTo>
                    <a:pt x="147391" y="288988"/>
                    <a:pt x="141105" y="293465"/>
                    <a:pt x="134818" y="296037"/>
                  </a:cubicBezTo>
                  <a:cubicBezTo>
                    <a:pt x="131580" y="297371"/>
                    <a:pt x="128627" y="298228"/>
                    <a:pt x="125770" y="298513"/>
                  </a:cubicBezTo>
                  <a:lnTo>
                    <a:pt x="125007" y="298609"/>
                  </a:lnTo>
                  <a:cubicBezTo>
                    <a:pt x="122150" y="298894"/>
                    <a:pt x="119293" y="298704"/>
                    <a:pt x="115864" y="298037"/>
                  </a:cubicBezTo>
                  <a:cubicBezTo>
                    <a:pt x="110530" y="297085"/>
                    <a:pt x="105196" y="294227"/>
                    <a:pt x="100052" y="289465"/>
                  </a:cubicBezTo>
                  <a:cubicBezTo>
                    <a:pt x="97480" y="287084"/>
                    <a:pt x="95480" y="284417"/>
                    <a:pt x="93956" y="282130"/>
                  </a:cubicBezTo>
                  <a:cubicBezTo>
                    <a:pt x="92051" y="279463"/>
                    <a:pt x="90336" y="276415"/>
                    <a:pt x="88813" y="272796"/>
                  </a:cubicBezTo>
                  <a:cubicBezTo>
                    <a:pt x="87193" y="269367"/>
                    <a:pt x="86146" y="265747"/>
                    <a:pt x="85098" y="262223"/>
                  </a:cubicBezTo>
                  <a:cubicBezTo>
                    <a:pt x="83955" y="258223"/>
                    <a:pt x="82907" y="254222"/>
                    <a:pt x="81859" y="249460"/>
                  </a:cubicBezTo>
                  <a:cubicBezTo>
                    <a:pt x="80335" y="242221"/>
                    <a:pt x="79288" y="235172"/>
                    <a:pt x="78621" y="227933"/>
                  </a:cubicBezTo>
                  <a:cubicBezTo>
                    <a:pt x="78049" y="222218"/>
                    <a:pt x="77764" y="216503"/>
                    <a:pt x="77668" y="210788"/>
                  </a:cubicBezTo>
                  <a:lnTo>
                    <a:pt x="68143" y="208502"/>
                  </a:lnTo>
                  <a:cubicBezTo>
                    <a:pt x="63000" y="207169"/>
                    <a:pt x="57952" y="205835"/>
                    <a:pt x="52903" y="204311"/>
                  </a:cubicBezTo>
                  <a:cubicBezTo>
                    <a:pt x="40140" y="200501"/>
                    <a:pt x="30424" y="196501"/>
                    <a:pt x="22233" y="191643"/>
                  </a:cubicBezTo>
                  <a:cubicBezTo>
                    <a:pt x="17661" y="189071"/>
                    <a:pt x="13565" y="185833"/>
                    <a:pt x="9850" y="182213"/>
                  </a:cubicBezTo>
                  <a:cubicBezTo>
                    <a:pt x="6326" y="178594"/>
                    <a:pt x="3564" y="174212"/>
                    <a:pt x="1849" y="169450"/>
                  </a:cubicBezTo>
                  <a:cubicBezTo>
                    <a:pt x="135" y="164973"/>
                    <a:pt x="-341" y="159734"/>
                    <a:pt x="230" y="154305"/>
                  </a:cubicBezTo>
                  <a:cubicBezTo>
                    <a:pt x="992" y="148685"/>
                    <a:pt x="3278" y="142970"/>
                    <a:pt x="6898" y="138017"/>
                  </a:cubicBezTo>
                  <a:cubicBezTo>
                    <a:pt x="10327" y="133350"/>
                    <a:pt x="14708" y="129064"/>
                    <a:pt x="20423" y="125063"/>
                  </a:cubicBezTo>
                  <a:cubicBezTo>
                    <a:pt x="25186" y="121634"/>
                    <a:pt x="30710" y="118396"/>
                    <a:pt x="37473" y="115062"/>
                  </a:cubicBezTo>
                  <a:cubicBezTo>
                    <a:pt x="43569" y="112014"/>
                    <a:pt x="49570" y="109538"/>
                    <a:pt x="54142" y="107728"/>
                  </a:cubicBezTo>
                  <a:lnTo>
                    <a:pt x="56142" y="106871"/>
                  </a:lnTo>
                  <a:lnTo>
                    <a:pt x="58428" y="105918"/>
                  </a:lnTo>
                  <a:lnTo>
                    <a:pt x="62905" y="104108"/>
                  </a:lnTo>
                  <a:cubicBezTo>
                    <a:pt x="64048" y="103632"/>
                    <a:pt x="65190" y="103156"/>
                    <a:pt x="66334" y="102775"/>
                  </a:cubicBezTo>
                  <a:lnTo>
                    <a:pt x="69667" y="101537"/>
                  </a:lnTo>
                  <a:lnTo>
                    <a:pt x="71763" y="100775"/>
                  </a:lnTo>
                  <a:lnTo>
                    <a:pt x="73763" y="100013"/>
                  </a:lnTo>
                  <a:cubicBezTo>
                    <a:pt x="73477" y="94964"/>
                    <a:pt x="73192" y="89630"/>
                    <a:pt x="72906" y="84296"/>
                  </a:cubicBezTo>
                  <a:lnTo>
                    <a:pt x="72906" y="83534"/>
                  </a:lnTo>
                  <a:lnTo>
                    <a:pt x="72811" y="82867"/>
                  </a:lnTo>
                  <a:lnTo>
                    <a:pt x="72715" y="82296"/>
                  </a:lnTo>
                  <a:cubicBezTo>
                    <a:pt x="71858" y="69247"/>
                    <a:pt x="71096" y="56197"/>
                    <a:pt x="72620" y="43720"/>
                  </a:cubicBezTo>
                  <a:cubicBezTo>
                    <a:pt x="73668" y="35909"/>
                    <a:pt x="75097" y="29337"/>
                    <a:pt x="77097" y="23622"/>
                  </a:cubicBezTo>
                  <a:cubicBezTo>
                    <a:pt x="78907" y="18193"/>
                    <a:pt x="81193" y="13811"/>
                    <a:pt x="84050" y="10192"/>
                  </a:cubicBezTo>
                  <a:cubicBezTo>
                    <a:pt x="86907" y="6572"/>
                    <a:pt x="90241" y="3905"/>
                    <a:pt x="93766" y="2286"/>
                  </a:cubicBezTo>
                  <a:cubicBezTo>
                    <a:pt x="95956" y="1048"/>
                    <a:pt x="98623" y="286"/>
                    <a:pt x="101481" y="95"/>
                  </a:cubicBezTo>
                  <a:lnTo>
                    <a:pt x="101481" y="95"/>
                  </a:lnTo>
                  <a:lnTo>
                    <a:pt x="101481" y="95"/>
                  </a:lnTo>
                  <a:close/>
                </a:path>
              </a:pathLst>
            </a:custGeom>
            <a:solidFill>
              <a:srgbClr val="D2394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 55">
              <a:extLst>
                <a:ext uri="{FF2B5EF4-FFF2-40B4-BE49-F238E27FC236}">
                  <a16:creationId xmlns:a16="http://schemas.microsoft.com/office/drawing/2014/main" id="{7F258E55-99A3-4C73-9177-F7DF27F98DEB}"/>
                </a:ext>
              </a:extLst>
            </p:cNvPr>
            <p:cNvSpPr/>
            <p:nvPr/>
          </p:nvSpPr>
          <p:spPr>
            <a:xfrm>
              <a:off x="5477850" y="2924696"/>
              <a:ext cx="18299" cy="18299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  <a:gd name="connsiteX3" fmla="*/ 0 w 9525"/>
                <a:gd name="connsiteY3" fmla="*/ 0 h 9525"/>
                <a:gd name="connsiteX4" fmla="*/ 0 w 9525"/>
                <a:gd name="connsiteY4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A22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 56">
              <a:extLst>
                <a:ext uri="{FF2B5EF4-FFF2-40B4-BE49-F238E27FC236}">
                  <a16:creationId xmlns:a16="http://schemas.microsoft.com/office/drawing/2014/main" id="{039B6157-FAAB-477A-A8E3-37656D40E83B}"/>
                </a:ext>
              </a:extLst>
            </p:cNvPr>
            <p:cNvSpPr/>
            <p:nvPr/>
          </p:nvSpPr>
          <p:spPr>
            <a:xfrm>
              <a:off x="5152123" y="2915912"/>
              <a:ext cx="336342" cy="175554"/>
            </a:xfrm>
            <a:custGeom>
              <a:avLst/>
              <a:gdLst>
                <a:gd name="connsiteX0" fmla="*/ 174308 w 175070"/>
                <a:gd name="connsiteY0" fmla="*/ 0 h 91378"/>
                <a:gd name="connsiteX1" fmla="*/ 174308 w 175070"/>
                <a:gd name="connsiteY1" fmla="*/ 0 h 91378"/>
                <a:gd name="connsiteX2" fmla="*/ 174308 w 175070"/>
                <a:gd name="connsiteY2" fmla="*/ 0 h 91378"/>
                <a:gd name="connsiteX3" fmla="*/ 170212 w 175070"/>
                <a:gd name="connsiteY3" fmla="*/ 30194 h 91378"/>
                <a:gd name="connsiteX4" fmla="*/ 159068 w 175070"/>
                <a:gd name="connsiteY4" fmla="*/ 41338 h 91378"/>
                <a:gd name="connsiteX5" fmla="*/ 143256 w 175070"/>
                <a:gd name="connsiteY5" fmla="*/ 46387 h 91378"/>
                <a:gd name="connsiteX6" fmla="*/ 139827 w 175070"/>
                <a:gd name="connsiteY6" fmla="*/ 46577 h 91378"/>
                <a:gd name="connsiteX7" fmla="*/ 123158 w 175070"/>
                <a:gd name="connsiteY7" fmla="*/ 44006 h 91378"/>
                <a:gd name="connsiteX8" fmla="*/ 106775 w 175070"/>
                <a:gd name="connsiteY8" fmla="*/ 37338 h 91378"/>
                <a:gd name="connsiteX9" fmla="*/ 92107 w 175070"/>
                <a:gd name="connsiteY9" fmla="*/ 28670 h 91378"/>
                <a:gd name="connsiteX10" fmla="*/ 83344 w 175070"/>
                <a:gd name="connsiteY10" fmla="*/ 22098 h 91378"/>
                <a:gd name="connsiteX11" fmla="*/ 81820 w 175070"/>
                <a:gd name="connsiteY11" fmla="*/ 26956 h 91378"/>
                <a:gd name="connsiteX12" fmla="*/ 81534 w 175070"/>
                <a:gd name="connsiteY12" fmla="*/ 27718 h 91378"/>
                <a:gd name="connsiteX13" fmla="*/ 81248 w 175070"/>
                <a:gd name="connsiteY13" fmla="*/ 28575 h 91378"/>
                <a:gd name="connsiteX14" fmla="*/ 80486 w 175070"/>
                <a:gd name="connsiteY14" fmla="*/ 30480 h 91378"/>
                <a:gd name="connsiteX15" fmla="*/ 68866 w 175070"/>
                <a:gd name="connsiteY15" fmla="*/ 56959 h 91378"/>
                <a:gd name="connsiteX16" fmla="*/ 56007 w 175070"/>
                <a:gd name="connsiteY16" fmla="*/ 75533 h 91378"/>
                <a:gd name="connsiteX17" fmla="*/ 37910 w 175070"/>
                <a:gd name="connsiteY17" fmla="*/ 88678 h 91378"/>
                <a:gd name="connsiteX18" fmla="*/ 28861 w 175070"/>
                <a:gd name="connsiteY18" fmla="*/ 91154 h 91378"/>
                <a:gd name="connsiteX19" fmla="*/ 28099 w 175070"/>
                <a:gd name="connsiteY19" fmla="*/ 91250 h 91378"/>
                <a:gd name="connsiteX20" fmla="*/ 19050 w 175070"/>
                <a:gd name="connsiteY20" fmla="*/ 90678 h 91378"/>
                <a:gd name="connsiteX21" fmla="*/ 3239 w 175070"/>
                <a:gd name="connsiteY21" fmla="*/ 82106 h 91378"/>
                <a:gd name="connsiteX22" fmla="*/ 0 w 175070"/>
                <a:gd name="connsiteY22" fmla="*/ 78581 h 91378"/>
                <a:gd name="connsiteX23" fmla="*/ 1619 w 175070"/>
                <a:gd name="connsiteY23" fmla="*/ 79438 h 91378"/>
                <a:gd name="connsiteX24" fmla="*/ 2381 w 175070"/>
                <a:gd name="connsiteY24" fmla="*/ 79915 h 91378"/>
                <a:gd name="connsiteX25" fmla="*/ 12668 w 175070"/>
                <a:gd name="connsiteY25" fmla="*/ 83915 h 91378"/>
                <a:gd name="connsiteX26" fmla="*/ 18764 w 175070"/>
                <a:gd name="connsiteY26" fmla="*/ 84106 h 91378"/>
                <a:gd name="connsiteX27" fmla="*/ 24289 w 175070"/>
                <a:gd name="connsiteY27" fmla="*/ 83058 h 91378"/>
                <a:gd name="connsiteX28" fmla="*/ 35909 w 175070"/>
                <a:gd name="connsiteY28" fmla="*/ 77438 h 91378"/>
                <a:gd name="connsiteX29" fmla="*/ 46863 w 175070"/>
                <a:gd name="connsiteY29" fmla="*/ 68104 h 91378"/>
                <a:gd name="connsiteX30" fmla="*/ 57150 w 175070"/>
                <a:gd name="connsiteY30" fmla="*/ 56007 h 91378"/>
                <a:gd name="connsiteX31" fmla="*/ 73628 w 175070"/>
                <a:gd name="connsiteY31" fmla="*/ 28956 h 91378"/>
                <a:gd name="connsiteX32" fmla="*/ 79153 w 175070"/>
                <a:gd name="connsiteY32" fmla="*/ 16288 h 91378"/>
                <a:gd name="connsiteX33" fmla="*/ 80963 w 175070"/>
                <a:gd name="connsiteY33" fmla="*/ 11144 h 91378"/>
                <a:gd name="connsiteX34" fmla="*/ 82391 w 175070"/>
                <a:gd name="connsiteY34" fmla="*/ 12287 h 91378"/>
                <a:gd name="connsiteX35" fmla="*/ 90964 w 175070"/>
                <a:gd name="connsiteY35" fmla="*/ 18669 h 91378"/>
                <a:gd name="connsiteX36" fmla="*/ 110681 w 175070"/>
                <a:gd name="connsiteY36" fmla="*/ 28480 h 91378"/>
                <a:gd name="connsiteX37" fmla="*/ 121158 w 175070"/>
                <a:gd name="connsiteY37" fmla="*/ 31813 h 91378"/>
                <a:gd name="connsiteX38" fmla="*/ 130397 w 175070"/>
                <a:gd name="connsiteY38" fmla="*/ 33528 h 91378"/>
                <a:gd name="connsiteX39" fmla="*/ 137636 w 175070"/>
                <a:gd name="connsiteY39" fmla="*/ 33528 h 91378"/>
                <a:gd name="connsiteX40" fmla="*/ 140113 w 175070"/>
                <a:gd name="connsiteY40" fmla="*/ 33242 h 91378"/>
                <a:gd name="connsiteX41" fmla="*/ 144399 w 175070"/>
                <a:gd name="connsiteY41" fmla="*/ 32385 h 91378"/>
                <a:gd name="connsiteX42" fmla="*/ 148495 w 175070"/>
                <a:gd name="connsiteY42" fmla="*/ 31052 h 91378"/>
                <a:gd name="connsiteX43" fmla="*/ 156210 w 175070"/>
                <a:gd name="connsiteY43" fmla="*/ 26861 h 91378"/>
                <a:gd name="connsiteX44" fmla="*/ 162306 w 175070"/>
                <a:gd name="connsiteY44" fmla="*/ 21527 h 91378"/>
                <a:gd name="connsiteX45" fmla="*/ 171926 w 175070"/>
                <a:gd name="connsiteY45" fmla="*/ 6763 h 91378"/>
                <a:gd name="connsiteX46" fmla="*/ 174212 w 175070"/>
                <a:gd name="connsiteY46" fmla="*/ 381 h 91378"/>
                <a:gd name="connsiteX47" fmla="*/ 174308 w 175070"/>
                <a:gd name="connsiteY47" fmla="*/ 0 h 91378"/>
                <a:gd name="connsiteX48" fmla="*/ 174308 w 175070"/>
                <a:gd name="connsiteY48" fmla="*/ 0 h 91378"/>
                <a:gd name="connsiteX49" fmla="*/ 174308 w 175070"/>
                <a:gd name="connsiteY49" fmla="*/ 0 h 91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75070" h="91378">
                  <a:moveTo>
                    <a:pt x="174308" y="0"/>
                  </a:moveTo>
                  <a:lnTo>
                    <a:pt x="174308" y="0"/>
                  </a:lnTo>
                  <a:cubicBezTo>
                    <a:pt x="174308" y="0"/>
                    <a:pt x="174403" y="0"/>
                    <a:pt x="174308" y="0"/>
                  </a:cubicBezTo>
                  <a:cubicBezTo>
                    <a:pt x="176117" y="12192"/>
                    <a:pt x="174689" y="22288"/>
                    <a:pt x="170212" y="30194"/>
                  </a:cubicBezTo>
                  <a:cubicBezTo>
                    <a:pt x="167831" y="34481"/>
                    <a:pt x="164116" y="38195"/>
                    <a:pt x="159068" y="41338"/>
                  </a:cubicBezTo>
                  <a:cubicBezTo>
                    <a:pt x="154686" y="44101"/>
                    <a:pt x="149352" y="45815"/>
                    <a:pt x="143256" y="46387"/>
                  </a:cubicBezTo>
                  <a:cubicBezTo>
                    <a:pt x="142113" y="46482"/>
                    <a:pt x="140970" y="46577"/>
                    <a:pt x="139827" y="46577"/>
                  </a:cubicBezTo>
                  <a:cubicBezTo>
                    <a:pt x="134779" y="46673"/>
                    <a:pt x="129350" y="45815"/>
                    <a:pt x="123158" y="44006"/>
                  </a:cubicBezTo>
                  <a:cubicBezTo>
                    <a:pt x="117920" y="42482"/>
                    <a:pt x="112681" y="40386"/>
                    <a:pt x="106775" y="37338"/>
                  </a:cubicBezTo>
                  <a:cubicBezTo>
                    <a:pt x="102394" y="35242"/>
                    <a:pt x="97727" y="32480"/>
                    <a:pt x="92107" y="28670"/>
                  </a:cubicBezTo>
                  <a:cubicBezTo>
                    <a:pt x="88773" y="26384"/>
                    <a:pt x="86011" y="24289"/>
                    <a:pt x="83344" y="22098"/>
                  </a:cubicBezTo>
                  <a:cubicBezTo>
                    <a:pt x="83058" y="23622"/>
                    <a:pt x="82391" y="25337"/>
                    <a:pt x="81820" y="26956"/>
                  </a:cubicBezTo>
                  <a:lnTo>
                    <a:pt x="81534" y="27718"/>
                  </a:lnTo>
                  <a:lnTo>
                    <a:pt x="81248" y="28575"/>
                  </a:lnTo>
                  <a:lnTo>
                    <a:pt x="80486" y="30480"/>
                  </a:lnTo>
                  <a:cubicBezTo>
                    <a:pt x="77153" y="38862"/>
                    <a:pt x="73438" y="48387"/>
                    <a:pt x="68866" y="56959"/>
                  </a:cubicBezTo>
                  <a:cubicBezTo>
                    <a:pt x="65342" y="63722"/>
                    <a:pt x="60960" y="69913"/>
                    <a:pt x="56007" y="75533"/>
                  </a:cubicBezTo>
                  <a:cubicBezTo>
                    <a:pt x="50483" y="81534"/>
                    <a:pt x="44196" y="86106"/>
                    <a:pt x="37910" y="88678"/>
                  </a:cubicBezTo>
                  <a:cubicBezTo>
                    <a:pt x="34766" y="90011"/>
                    <a:pt x="31814" y="90773"/>
                    <a:pt x="28861" y="91154"/>
                  </a:cubicBezTo>
                  <a:lnTo>
                    <a:pt x="28099" y="91250"/>
                  </a:lnTo>
                  <a:cubicBezTo>
                    <a:pt x="25241" y="91535"/>
                    <a:pt x="22384" y="91345"/>
                    <a:pt x="19050" y="90678"/>
                  </a:cubicBezTo>
                  <a:cubicBezTo>
                    <a:pt x="13716" y="89725"/>
                    <a:pt x="8382" y="86773"/>
                    <a:pt x="3239" y="82106"/>
                  </a:cubicBezTo>
                  <a:cubicBezTo>
                    <a:pt x="2000" y="80963"/>
                    <a:pt x="953" y="79820"/>
                    <a:pt x="0" y="78581"/>
                  </a:cubicBezTo>
                  <a:cubicBezTo>
                    <a:pt x="572" y="78772"/>
                    <a:pt x="1143" y="79153"/>
                    <a:pt x="1619" y="79438"/>
                  </a:cubicBezTo>
                  <a:lnTo>
                    <a:pt x="2381" y="79915"/>
                  </a:lnTo>
                  <a:cubicBezTo>
                    <a:pt x="5715" y="82106"/>
                    <a:pt x="9239" y="83439"/>
                    <a:pt x="12668" y="83915"/>
                  </a:cubicBezTo>
                  <a:cubicBezTo>
                    <a:pt x="14669" y="84201"/>
                    <a:pt x="16764" y="84296"/>
                    <a:pt x="18764" y="84106"/>
                  </a:cubicBezTo>
                  <a:cubicBezTo>
                    <a:pt x="20669" y="83915"/>
                    <a:pt x="22479" y="83629"/>
                    <a:pt x="24289" y="83058"/>
                  </a:cubicBezTo>
                  <a:cubicBezTo>
                    <a:pt x="28099" y="81915"/>
                    <a:pt x="32004" y="80010"/>
                    <a:pt x="35909" y="77438"/>
                  </a:cubicBezTo>
                  <a:cubicBezTo>
                    <a:pt x="39719" y="74771"/>
                    <a:pt x="43434" y="71628"/>
                    <a:pt x="46863" y="68104"/>
                  </a:cubicBezTo>
                  <a:cubicBezTo>
                    <a:pt x="50483" y="64389"/>
                    <a:pt x="53912" y="60293"/>
                    <a:pt x="57150" y="56007"/>
                  </a:cubicBezTo>
                  <a:cubicBezTo>
                    <a:pt x="63341" y="47625"/>
                    <a:pt x="68866" y="38576"/>
                    <a:pt x="73628" y="28956"/>
                  </a:cubicBezTo>
                  <a:cubicBezTo>
                    <a:pt x="75914" y="24289"/>
                    <a:pt x="77724" y="20098"/>
                    <a:pt x="79153" y="16288"/>
                  </a:cubicBezTo>
                  <a:cubicBezTo>
                    <a:pt x="79820" y="14573"/>
                    <a:pt x="80391" y="12859"/>
                    <a:pt x="80963" y="11144"/>
                  </a:cubicBezTo>
                  <a:cubicBezTo>
                    <a:pt x="81534" y="11525"/>
                    <a:pt x="82010" y="11906"/>
                    <a:pt x="82391" y="12287"/>
                  </a:cubicBezTo>
                  <a:cubicBezTo>
                    <a:pt x="85630" y="15050"/>
                    <a:pt x="88297" y="17050"/>
                    <a:pt x="90964" y="18669"/>
                  </a:cubicBezTo>
                  <a:cubicBezTo>
                    <a:pt x="97060" y="22574"/>
                    <a:pt x="103727" y="25813"/>
                    <a:pt x="110681" y="28480"/>
                  </a:cubicBezTo>
                  <a:cubicBezTo>
                    <a:pt x="114586" y="29908"/>
                    <a:pt x="118015" y="31052"/>
                    <a:pt x="121158" y="31813"/>
                  </a:cubicBezTo>
                  <a:cubicBezTo>
                    <a:pt x="123825" y="32480"/>
                    <a:pt x="127064" y="33242"/>
                    <a:pt x="130397" y="33528"/>
                  </a:cubicBezTo>
                  <a:cubicBezTo>
                    <a:pt x="132969" y="33719"/>
                    <a:pt x="135350" y="33719"/>
                    <a:pt x="137636" y="33528"/>
                  </a:cubicBezTo>
                  <a:cubicBezTo>
                    <a:pt x="138494" y="33433"/>
                    <a:pt x="139256" y="33338"/>
                    <a:pt x="140113" y="33242"/>
                  </a:cubicBezTo>
                  <a:cubicBezTo>
                    <a:pt x="141542" y="33052"/>
                    <a:pt x="142970" y="32766"/>
                    <a:pt x="144399" y="32385"/>
                  </a:cubicBezTo>
                  <a:cubicBezTo>
                    <a:pt x="145733" y="32004"/>
                    <a:pt x="147066" y="31528"/>
                    <a:pt x="148495" y="31052"/>
                  </a:cubicBezTo>
                  <a:cubicBezTo>
                    <a:pt x="151162" y="30004"/>
                    <a:pt x="153829" y="28575"/>
                    <a:pt x="156210" y="26861"/>
                  </a:cubicBezTo>
                  <a:cubicBezTo>
                    <a:pt x="158687" y="25051"/>
                    <a:pt x="160687" y="23336"/>
                    <a:pt x="162306" y="21527"/>
                  </a:cubicBezTo>
                  <a:cubicBezTo>
                    <a:pt x="166402" y="17145"/>
                    <a:pt x="169640" y="12192"/>
                    <a:pt x="171926" y="6763"/>
                  </a:cubicBezTo>
                  <a:cubicBezTo>
                    <a:pt x="172784" y="4667"/>
                    <a:pt x="173546" y="2572"/>
                    <a:pt x="174212" y="381"/>
                  </a:cubicBezTo>
                  <a:cubicBezTo>
                    <a:pt x="174212" y="0"/>
                    <a:pt x="174308" y="0"/>
                    <a:pt x="174308" y="0"/>
                  </a:cubicBezTo>
                  <a:lnTo>
                    <a:pt x="174308" y="0"/>
                  </a:lnTo>
                  <a:lnTo>
                    <a:pt x="174308" y="0"/>
                  </a:lnTo>
                  <a:close/>
                </a:path>
              </a:pathLst>
            </a:custGeom>
            <a:solidFill>
              <a:srgbClr val="C034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 57">
              <a:extLst>
                <a:ext uri="{FF2B5EF4-FFF2-40B4-BE49-F238E27FC236}">
                  <a16:creationId xmlns:a16="http://schemas.microsoft.com/office/drawing/2014/main" id="{CCAF5B17-E056-43B1-A12C-CCCDF4AC8CC9}"/>
                </a:ext>
              </a:extLst>
            </p:cNvPr>
            <p:cNvSpPr/>
            <p:nvPr/>
          </p:nvSpPr>
          <p:spPr>
            <a:xfrm>
              <a:off x="4970045" y="2844179"/>
              <a:ext cx="146394" cy="77954"/>
            </a:xfrm>
            <a:custGeom>
              <a:avLst/>
              <a:gdLst>
                <a:gd name="connsiteX0" fmla="*/ 95 w 76200"/>
                <a:gd name="connsiteY0" fmla="*/ 0 h 40576"/>
                <a:gd name="connsiteX1" fmla="*/ 95 w 76200"/>
                <a:gd name="connsiteY1" fmla="*/ 0 h 40576"/>
                <a:gd name="connsiteX2" fmla="*/ 10096 w 76200"/>
                <a:gd name="connsiteY2" fmla="*/ 9811 h 40576"/>
                <a:gd name="connsiteX3" fmla="*/ 21717 w 76200"/>
                <a:gd name="connsiteY3" fmla="*/ 17431 h 40576"/>
                <a:gd name="connsiteX4" fmla="*/ 48863 w 76200"/>
                <a:gd name="connsiteY4" fmla="*/ 27622 h 40576"/>
                <a:gd name="connsiteX5" fmla="*/ 76200 w 76200"/>
                <a:gd name="connsiteY5" fmla="*/ 31909 h 40576"/>
                <a:gd name="connsiteX6" fmla="*/ 76105 w 76200"/>
                <a:gd name="connsiteY6" fmla="*/ 34576 h 40576"/>
                <a:gd name="connsiteX7" fmla="*/ 75724 w 76200"/>
                <a:gd name="connsiteY7" fmla="*/ 40576 h 40576"/>
                <a:gd name="connsiteX8" fmla="*/ 65818 w 76200"/>
                <a:gd name="connsiteY8" fmla="*/ 38195 h 40576"/>
                <a:gd name="connsiteX9" fmla="*/ 50578 w 76200"/>
                <a:gd name="connsiteY9" fmla="*/ 34004 h 40576"/>
                <a:gd name="connsiteX10" fmla="*/ 19907 w 76200"/>
                <a:gd name="connsiteY10" fmla="*/ 21336 h 40576"/>
                <a:gd name="connsiteX11" fmla="*/ 7620 w 76200"/>
                <a:gd name="connsiteY11" fmla="*/ 11906 h 40576"/>
                <a:gd name="connsiteX12" fmla="*/ 0 w 76200"/>
                <a:gd name="connsiteY12" fmla="*/ 95 h 40576"/>
                <a:gd name="connsiteX13" fmla="*/ 95 w 76200"/>
                <a:gd name="connsiteY13" fmla="*/ 0 h 40576"/>
                <a:gd name="connsiteX14" fmla="*/ 95 w 76200"/>
                <a:gd name="connsiteY14" fmla="*/ 0 h 40576"/>
                <a:gd name="connsiteX15" fmla="*/ 95 w 76200"/>
                <a:gd name="connsiteY15" fmla="*/ 0 h 4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6200" h="40576">
                  <a:moveTo>
                    <a:pt x="95" y="0"/>
                  </a:moveTo>
                  <a:cubicBezTo>
                    <a:pt x="95" y="0"/>
                    <a:pt x="191" y="0"/>
                    <a:pt x="95" y="0"/>
                  </a:cubicBezTo>
                  <a:cubicBezTo>
                    <a:pt x="3620" y="4096"/>
                    <a:pt x="6763" y="7144"/>
                    <a:pt x="10096" y="9811"/>
                  </a:cubicBezTo>
                  <a:cubicBezTo>
                    <a:pt x="13525" y="12573"/>
                    <a:pt x="17431" y="15145"/>
                    <a:pt x="21717" y="17431"/>
                  </a:cubicBezTo>
                  <a:cubicBezTo>
                    <a:pt x="29623" y="21717"/>
                    <a:pt x="38767" y="25146"/>
                    <a:pt x="48863" y="27622"/>
                  </a:cubicBezTo>
                  <a:cubicBezTo>
                    <a:pt x="57436" y="29718"/>
                    <a:pt x="66675" y="31147"/>
                    <a:pt x="76200" y="31909"/>
                  </a:cubicBezTo>
                  <a:lnTo>
                    <a:pt x="76105" y="34576"/>
                  </a:lnTo>
                  <a:cubicBezTo>
                    <a:pt x="76010" y="36576"/>
                    <a:pt x="75819" y="38576"/>
                    <a:pt x="75724" y="40576"/>
                  </a:cubicBezTo>
                  <a:lnTo>
                    <a:pt x="65818" y="38195"/>
                  </a:lnTo>
                  <a:cubicBezTo>
                    <a:pt x="60674" y="36862"/>
                    <a:pt x="55626" y="35528"/>
                    <a:pt x="50578" y="34004"/>
                  </a:cubicBezTo>
                  <a:cubicBezTo>
                    <a:pt x="37814" y="30194"/>
                    <a:pt x="28099" y="26194"/>
                    <a:pt x="19907" y="21336"/>
                  </a:cubicBezTo>
                  <a:cubicBezTo>
                    <a:pt x="15335" y="18669"/>
                    <a:pt x="11240" y="15526"/>
                    <a:pt x="7620" y="11906"/>
                  </a:cubicBezTo>
                  <a:cubicBezTo>
                    <a:pt x="4286" y="8477"/>
                    <a:pt x="1715" y="4477"/>
                    <a:pt x="0" y="95"/>
                  </a:cubicBezTo>
                  <a:cubicBezTo>
                    <a:pt x="0" y="191"/>
                    <a:pt x="95" y="0"/>
                    <a:pt x="95" y="0"/>
                  </a:cubicBezTo>
                  <a:lnTo>
                    <a:pt x="95" y="0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C034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 58">
              <a:extLst>
                <a:ext uri="{FF2B5EF4-FFF2-40B4-BE49-F238E27FC236}">
                  <a16:creationId xmlns:a16="http://schemas.microsoft.com/office/drawing/2014/main" id="{34235C19-4288-44DF-AA94-FB1843C44922}"/>
                </a:ext>
              </a:extLst>
            </p:cNvPr>
            <p:cNvSpPr/>
            <p:nvPr/>
          </p:nvSpPr>
          <p:spPr>
            <a:xfrm>
              <a:off x="5103888" y="2519368"/>
              <a:ext cx="48233" cy="191227"/>
            </a:xfrm>
            <a:custGeom>
              <a:avLst/>
              <a:gdLst>
                <a:gd name="connsiteX0" fmla="*/ 25107 w 25106"/>
                <a:gd name="connsiteY0" fmla="*/ 0 h 99536"/>
                <a:gd name="connsiteX1" fmla="*/ 25107 w 25106"/>
                <a:gd name="connsiteY1" fmla="*/ 0 h 99536"/>
                <a:gd name="connsiteX2" fmla="*/ 23202 w 25106"/>
                <a:gd name="connsiteY2" fmla="*/ 3048 h 99536"/>
                <a:gd name="connsiteX3" fmla="*/ 20725 w 25106"/>
                <a:gd name="connsiteY3" fmla="*/ 7429 h 99536"/>
                <a:gd name="connsiteX4" fmla="*/ 13963 w 25106"/>
                <a:gd name="connsiteY4" fmla="*/ 29242 h 99536"/>
                <a:gd name="connsiteX5" fmla="*/ 11963 w 25106"/>
                <a:gd name="connsiteY5" fmla="*/ 41529 h 99536"/>
                <a:gd name="connsiteX6" fmla="*/ 11200 w 25106"/>
                <a:gd name="connsiteY6" fmla="*/ 60579 h 99536"/>
                <a:gd name="connsiteX7" fmla="*/ 12439 w 25106"/>
                <a:gd name="connsiteY7" fmla="*/ 78962 h 99536"/>
                <a:gd name="connsiteX8" fmla="*/ 13582 w 25106"/>
                <a:gd name="connsiteY8" fmla="*/ 88963 h 99536"/>
                <a:gd name="connsiteX9" fmla="*/ 14534 w 25106"/>
                <a:gd name="connsiteY9" fmla="*/ 96869 h 99536"/>
                <a:gd name="connsiteX10" fmla="*/ 9676 w 25106"/>
                <a:gd name="connsiteY10" fmla="*/ 97917 h 99536"/>
                <a:gd name="connsiteX11" fmla="*/ 2438 w 25106"/>
                <a:gd name="connsiteY11" fmla="*/ 99250 h 99536"/>
                <a:gd name="connsiteX12" fmla="*/ 1866 w 25106"/>
                <a:gd name="connsiteY12" fmla="*/ 99346 h 99536"/>
                <a:gd name="connsiteX13" fmla="*/ 1294 w 25106"/>
                <a:gd name="connsiteY13" fmla="*/ 99536 h 99536"/>
                <a:gd name="connsiteX14" fmla="*/ 1961 w 25106"/>
                <a:gd name="connsiteY14" fmla="*/ 99060 h 99536"/>
                <a:gd name="connsiteX15" fmla="*/ 1009 w 25106"/>
                <a:gd name="connsiteY15" fmla="*/ 81820 h 99536"/>
                <a:gd name="connsiteX16" fmla="*/ 1009 w 25106"/>
                <a:gd name="connsiteY16" fmla="*/ 81248 h 99536"/>
                <a:gd name="connsiteX17" fmla="*/ 913 w 25106"/>
                <a:gd name="connsiteY17" fmla="*/ 42672 h 99536"/>
                <a:gd name="connsiteX18" fmla="*/ 5390 w 25106"/>
                <a:gd name="connsiteY18" fmla="*/ 22574 h 99536"/>
                <a:gd name="connsiteX19" fmla="*/ 12343 w 25106"/>
                <a:gd name="connsiteY19" fmla="*/ 9144 h 99536"/>
                <a:gd name="connsiteX20" fmla="*/ 21964 w 25106"/>
                <a:gd name="connsiteY20" fmla="*/ 1238 h 99536"/>
                <a:gd name="connsiteX21" fmla="*/ 25107 w 25106"/>
                <a:gd name="connsiteY21" fmla="*/ 0 h 99536"/>
                <a:gd name="connsiteX22" fmla="*/ 25107 w 25106"/>
                <a:gd name="connsiteY22" fmla="*/ 0 h 99536"/>
                <a:gd name="connsiteX23" fmla="*/ 25107 w 25106"/>
                <a:gd name="connsiteY23" fmla="*/ 0 h 99536"/>
                <a:gd name="connsiteX24" fmla="*/ 25107 w 25106"/>
                <a:gd name="connsiteY24" fmla="*/ 0 h 99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5106" h="99536">
                  <a:moveTo>
                    <a:pt x="25107" y="0"/>
                  </a:moveTo>
                  <a:lnTo>
                    <a:pt x="25107" y="0"/>
                  </a:lnTo>
                  <a:cubicBezTo>
                    <a:pt x="24440" y="1048"/>
                    <a:pt x="23773" y="2000"/>
                    <a:pt x="23202" y="3048"/>
                  </a:cubicBezTo>
                  <a:cubicBezTo>
                    <a:pt x="22345" y="4477"/>
                    <a:pt x="21488" y="5905"/>
                    <a:pt x="20725" y="7429"/>
                  </a:cubicBezTo>
                  <a:cubicBezTo>
                    <a:pt x="17106" y="14954"/>
                    <a:pt x="15201" y="23050"/>
                    <a:pt x="13963" y="29242"/>
                  </a:cubicBezTo>
                  <a:cubicBezTo>
                    <a:pt x="13201" y="33147"/>
                    <a:pt x="12439" y="37338"/>
                    <a:pt x="11963" y="41529"/>
                  </a:cubicBezTo>
                  <a:cubicBezTo>
                    <a:pt x="11296" y="47720"/>
                    <a:pt x="11010" y="54102"/>
                    <a:pt x="11200" y="60579"/>
                  </a:cubicBezTo>
                  <a:cubicBezTo>
                    <a:pt x="11391" y="66389"/>
                    <a:pt x="11772" y="72390"/>
                    <a:pt x="12439" y="78962"/>
                  </a:cubicBezTo>
                  <a:cubicBezTo>
                    <a:pt x="12820" y="82296"/>
                    <a:pt x="13201" y="85630"/>
                    <a:pt x="13582" y="88963"/>
                  </a:cubicBezTo>
                  <a:cubicBezTo>
                    <a:pt x="13867" y="91630"/>
                    <a:pt x="14153" y="94297"/>
                    <a:pt x="14534" y="96869"/>
                  </a:cubicBezTo>
                  <a:lnTo>
                    <a:pt x="9676" y="97917"/>
                  </a:lnTo>
                  <a:cubicBezTo>
                    <a:pt x="7295" y="98298"/>
                    <a:pt x="4819" y="98774"/>
                    <a:pt x="2438" y="99250"/>
                  </a:cubicBezTo>
                  <a:lnTo>
                    <a:pt x="1866" y="99346"/>
                  </a:lnTo>
                  <a:lnTo>
                    <a:pt x="1294" y="99536"/>
                  </a:lnTo>
                  <a:lnTo>
                    <a:pt x="1961" y="99060"/>
                  </a:lnTo>
                  <a:cubicBezTo>
                    <a:pt x="1771" y="93440"/>
                    <a:pt x="1390" y="87535"/>
                    <a:pt x="1009" y="81820"/>
                  </a:cubicBezTo>
                  <a:lnTo>
                    <a:pt x="1009" y="81248"/>
                  </a:lnTo>
                  <a:cubicBezTo>
                    <a:pt x="151" y="68485"/>
                    <a:pt x="-706" y="55340"/>
                    <a:pt x="913" y="42672"/>
                  </a:cubicBezTo>
                  <a:cubicBezTo>
                    <a:pt x="1961" y="34957"/>
                    <a:pt x="3390" y="28384"/>
                    <a:pt x="5390" y="22574"/>
                  </a:cubicBezTo>
                  <a:cubicBezTo>
                    <a:pt x="7200" y="17145"/>
                    <a:pt x="9486" y="12763"/>
                    <a:pt x="12343" y="9144"/>
                  </a:cubicBezTo>
                  <a:cubicBezTo>
                    <a:pt x="15201" y="5525"/>
                    <a:pt x="18439" y="2858"/>
                    <a:pt x="21964" y="1238"/>
                  </a:cubicBezTo>
                  <a:cubicBezTo>
                    <a:pt x="22916" y="762"/>
                    <a:pt x="23964" y="286"/>
                    <a:pt x="25107" y="0"/>
                  </a:cubicBezTo>
                  <a:cubicBezTo>
                    <a:pt x="25107" y="0"/>
                    <a:pt x="25107" y="0"/>
                    <a:pt x="25107" y="0"/>
                  </a:cubicBezTo>
                  <a:lnTo>
                    <a:pt x="25107" y="0"/>
                  </a:lnTo>
                  <a:lnTo>
                    <a:pt x="25107" y="0"/>
                  </a:lnTo>
                  <a:close/>
                </a:path>
              </a:pathLst>
            </a:custGeom>
            <a:solidFill>
              <a:srgbClr val="C034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 59">
              <a:extLst>
                <a:ext uri="{FF2B5EF4-FFF2-40B4-BE49-F238E27FC236}">
                  <a16:creationId xmlns:a16="http://schemas.microsoft.com/office/drawing/2014/main" id="{652205F4-46BD-4068-A597-E3E6387B577E}"/>
                </a:ext>
              </a:extLst>
            </p:cNvPr>
            <p:cNvSpPr/>
            <p:nvPr/>
          </p:nvSpPr>
          <p:spPr>
            <a:xfrm>
              <a:off x="5433565" y="2652587"/>
              <a:ext cx="59167" cy="156092"/>
            </a:xfrm>
            <a:custGeom>
              <a:avLst/>
              <a:gdLst>
                <a:gd name="connsiteX0" fmla="*/ 28861 w 30797"/>
                <a:gd name="connsiteY0" fmla="*/ 0 h 81248"/>
                <a:gd name="connsiteX1" fmla="*/ 28956 w 30797"/>
                <a:gd name="connsiteY1" fmla="*/ 95 h 81248"/>
                <a:gd name="connsiteX2" fmla="*/ 30766 w 30797"/>
                <a:gd name="connsiteY2" fmla="*/ 14478 h 81248"/>
                <a:gd name="connsiteX3" fmla="*/ 26479 w 30797"/>
                <a:gd name="connsiteY3" fmla="*/ 35242 h 81248"/>
                <a:gd name="connsiteX4" fmla="*/ 17812 w 30797"/>
                <a:gd name="connsiteY4" fmla="*/ 55436 h 81248"/>
                <a:gd name="connsiteX5" fmla="*/ 13145 w 30797"/>
                <a:gd name="connsiteY5" fmla="*/ 64770 h 81248"/>
                <a:gd name="connsiteX6" fmla="*/ 12002 w 30797"/>
                <a:gd name="connsiteY6" fmla="*/ 67056 h 81248"/>
                <a:gd name="connsiteX7" fmla="*/ 5525 w 30797"/>
                <a:gd name="connsiteY7" fmla="*/ 81248 h 81248"/>
                <a:gd name="connsiteX8" fmla="*/ 3429 w 30797"/>
                <a:gd name="connsiteY8" fmla="*/ 78867 h 81248"/>
                <a:gd name="connsiteX9" fmla="*/ 0 w 30797"/>
                <a:gd name="connsiteY9" fmla="*/ 74486 h 81248"/>
                <a:gd name="connsiteX10" fmla="*/ 4763 w 30797"/>
                <a:gd name="connsiteY10" fmla="*/ 67628 h 81248"/>
                <a:gd name="connsiteX11" fmla="*/ 9525 w 30797"/>
                <a:gd name="connsiteY11" fmla="*/ 60770 h 81248"/>
                <a:gd name="connsiteX12" fmla="*/ 20669 w 30797"/>
                <a:gd name="connsiteY12" fmla="*/ 39433 h 81248"/>
                <a:gd name="connsiteX13" fmla="*/ 27242 w 30797"/>
                <a:gd name="connsiteY13" fmla="*/ 16954 h 81248"/>
                <a:gd name="connsiteX14" fmla="*/ 28575 w 30797"/>
                <a:gd name="connsiteY14" fmla="*/ 5144 h 81248"/>
                <a:gd name="connsiteX15" fmla="*/ 28670 w 30797"/>
                <a:gd name="connsiteY15" fmla="*/ 286 h 81248"/>
                <a:gd name="connsiteX16" fmla="*/ 28861 w 30797"/>
                <a:gd name="connsiteY16" fmla="*/ 0 h 81248"/>
                <a:gd name="connsiteX17" fmla="*/ 28861 w 30797"/>
                <a:gd name="connsiteY17" fmla="*/ 0 h 81248"/>
                <a:gd name="connsiteX18" fmla="*/ 28861 w 30797"/>
                <a:gd name="connsiteY18" fmla="*/ 0 h 8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797" h="81248">
                  <a:moveTo>
                    <a:pt x="28861" y="0"/>
                  </a:moveTo>
                  <a:cubicBezTo>
                    <a:pt x="28861" y="0"/>
                    <a:pt x="28956" y="95"/>
                    <a:pt x="28956" y="95"/>
                  </a:cubicBezTo>
                  <a:cubicBezTo>
                    <a:pt x="30290" y="4382"/>
                    <a:pt x="30956" y="9239"/>
                    <a:pt x="30766" y="14478"/>
                  </a:cubicBezTo>
                  <a:cubicBezTo>
                    <a:pt x="30575" y="20574"/>
                    <a:pt x="29242" y="27146"/>
                    <a:pt x="26479" y="35242"/>
                  </a:cubicBezTo>
                  <a:cubicBezTo>
                    <a:pt x="24003" y="42577"/>
                    <a:pt x="20765" y="49530"/>
                    <a:pt x="17812" y="55436"/>
                  </a:cubicBezTo>
                  <a:cubicBezTo>
                    <a:pt x="16288" y="58579"/>
                    <a:pt x="14764" y="61627"/>
                    <a:pt x="13145" y="64770"/>
                  </a:cubicBezTo>
                  <a:lnTo>
                    <a:pt x="12002" y="67056"/>
                  </a:lnTo>
                  <a:cubicBezTo>
                    <a:pt x="10287" y="70675"/>
                    <a:pt x="7620" y="76009"/>
                    <a:pt x="5525" y="81248"/>
                  </a:cubicBezTo>
                  <a:lnTo>
                    <a:pt x="3429" y="78867"/>
                  </a:lnTo>
                  <a:cubicBezTo>
                    <a:pt x="2286" y="77438"/>
                    <a:pt x="1143" y="75914"/>
                    <a:pt x="0" y="74486"/>
                  </a:cubicBezTo>
                  <a:cubicBezTo>
                    <a:pt x="1619" y="72104"/>
                    <a:pt x="3238" y="69913"/>
                    <a:pt x="4763" y="67628"/>
                  </a:cubicBezTo>
                  <a:cubicBezTo>
                    <a:pt x="6382" y="65342"/>
                    <a:pt x="8001" y="63055"/>
                    <a:pt x="9525" y="60770"/>
                  </a:cubicBezTo>
                  <a:cubicBezTo>
                    <a:pt x="14192" y="53435"/>
                    <a:pt x="17907" y="46482"/>
                    <a:pt x="20669" y="39433"/>
                  </a:cubicBezTo>
                  <a:cubicBezTo>
                    <a:pt x="23908" y="31433"/>
                    <a:pt x="26003" y="24098"/>
                    <a:pt x="27242" y="16954"/>
                  </a:cubicBezTo>
                  <a:cubicBezTo>
                    <a:pt x="28004" y="12668"/>
                    <a:pt x="28384" y="8763"/>
                    <a:pt x="28575" y="5144"/>
                  </a:cubicBezTo>
                  <a:cubicBezTo>
                    <a:pt x="28670" y="3524"/>
                    <a:pt x="28670" y="1905"/>
                    <a:pt x="28670" y="286"/>
                  </a:cubicBezTo>
                  <a:cubicBezTo>
                    <a:pt x="28766" y="191"/>
                    <a:pt x="28861" y="0"/>
                    <a:pt x="28861" y="0"/>
                  </a:cubicBezTo>
                  <a:lnTo>
                    <a:pt x="28861" y="0"/>
                  </a:lnTo>
                  <a:lnTo>
                    <a:pt x="28861" y="0"/>
                  </a:lnTo>
                  <a:close/>
                </a:path>
              </a:pathLst>
            </a:custGeom>
            <a:solidFill>
              <a:srgbClr val="C0343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 60">
              <a:extLst>
                <a:ext uri="{FF2B5EF4-FFF2-40B4-BE49-F238E27FC236}">
                  <a16:creationId xmlns:a16="http://schemas.microsoft.com/office/drawing/2014/main" id="{FC62B780-0CAF-4CDD-BC68-E158BAF4DFD4}"/>
                </a:ext>
              </a:extLst>
            </p:cNvPr>
            <p:cNvSpPr/>
            <p:nvPr/>
          </p:nvSpPr>
          <p:spPr>
            <a:xfrm>
              <a:off x="5394926" y="2779008"/>
              <a:ext cx="18903" cy="18714"/>
            </a:xfrm>
            <a:custGeom>
              <a:avLst/>
              <a:gdLst>
                <a:gd name="connsiteX0" fmla="*/ 4396 w 9839"/>
                <a:gd name="connsiteY0" fmla="*/ 13 h 9741"/>
                <a:gd name="connsiteX1" fmla="*/ 9825 w 9839"/>
                <a:gd name="connsiteY1" fmla="*/ 4395 h 9741"/>
                <a:gd name="connsiteX2" fmla="*/ 8682 w 9839"/>
                <a:gd name="connsiteY2" fmla="*/ 8014 h 9741"/>
                <a:gd name="connsiteX3" fmla="*/ 5444 w 9839"/>
                <a:gd name="connsiteY3" fmla="*/ 9729 h 9741"/>
                <a:gd name="connsiteX4" fmla="*/ 14 w 9839"/>
                <a:gd name="connsiteY4" fmla="*/ 5347 h 9741"/>
                <a:gd name="connsiteX5" fmla="*/ 1157 w 9839"/>
                <a:gd name="connsiteY5" fmla="*/ 1728 h 9741"/>
                <a:gd name="connsiteX6" fmla="*/ 4396 w 9839"/>
                <a:gd name="connsiteY6" fmla="*/ 13 h 9741"/>
                <a:gd name="connsiteX7" fmla="*/ 4396 w 9839"/>
                <a:gd name="connsiteY7" fmla="*/ 13 h 9741"/>
                <a:gd name="connsiteX8" fmla="*/ 4396 w 9839"/>
                <a:gd name="connsiteY8" fmla="*/ 13 h 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39" h="9741">
                  <a:moveTo>
                    <a:pt x="4396" y="13"/>
                  </a:moveTo>
                  <a:cubicBezTo>
                    <a:pt x="7063" y="-177"/>
                    <a:pt x="9539" y="1728"/>
                    <a:pt x="9825" y="4395"/>
                  </a:cubicBezTo>
                  <a:cubicBezTo>
                    <a:pt x="9920" y="5633"/>
                    <a:pt x="9539" y="6966"/>
                    <a:pt x="8682" y="8014"/>
                  </a:cubicBezTo>
                  <a:cubicBezTo>
                    <a:pt x="7825" y="9062"/>
                    <a:pt x="6682" y="9633"/>
                    <a:pt x="5444" y="9729"/>
                  </a:cubicBezTo>
                  <a:cubicBezTo>
                    <a:pt x="2777" y="9919"/>
                    <a:pt x="300" y="8014"/>
                    <a:pt x="14" y="5347"/>
                  </a:cubicBezTo>
                  <a:cubicBezTo>
                    <a:pt x="-81" y="4109"/>
                    <a:pt x="300" y="2775"/>
                    <a:pt x="1157" y="1728"/>
                  </a:cubicBezTo>
                  <a:cubicBezTo>
                    <a:pt x="1919" y="775"/>
                    <a:pt x="3062" y="204"/>
                    <a:pt x="4396" y="13"/>
                  </a:cubicBezTo>
                  <a:lnTo>
                    <a:pt x="4396" y="13"/>
                  </a:lnTo>
                  <a:lnTo>
                    <a:pt x="4396" y="13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 61">
              <a:extLst>
                <a:ext uri="{FF2B5EF4-FFF2-40B4-BE49-F238E27FC236}">
                  <a16:creationId xmlns:a16="http://schemas.microsoft.com/office/drawing/2014/main" id="{3750F176-1DFD-410A-B032-F08B6A951EC4}"/>
                </a:ext>
              </a:extLst>
            </p:cNvPr>
            <p:cNvSpPr/>
            <p:nvPr/>
          </p:nvSpPr>
          <p:spPr>
            <a:xfrm>
              <a:off x="5406964" y="2645805"/>
              <a:ext cx="55103" cy="129820"/>
            </a:xfrm>
            <a:custGeom>
              <a:avLst/>
              <a:gdLst>
                <a:gd name="connsiteX0" fmla="*/ 25087 w 28682"/>
                <a:gd name="connsiteY0" fmla="*/ 6 h 67573"/>
                <a:gd name="connsiteX1" fmla="*/ 25087 w 28682"/>
                <a:gd name="connsiteY1" fmla="*/ 6 h 67573"/>
                <a:gd name="connsiteX2" fmla="*/ 25087 w 28682"/>
                <a:gd name="connsiteY2" fmla="*/ 6 h 67573"/>
                <a:gd name="connsiteX3" fmla="*/ 28134 w 28682"/>
                <a:gd name="connsiteY3" fmla="*/ 2482 h 67573"/>
                <a:gd name="connsiteX4" fmla="*/ 28611 w 28682"/>
                <a:gd name="connsiteY4" fmla="*/ 9436 h 67573"/>
                <a:gd name="connsiteX5" fmla="*/ 28611 w 28682"/>
                <a:gd name="connsiteY5" fmla="*/ 16484 h 67573"/>
                <a:gd name="connsiteX6" fmla="*/ 28611 w 28682"/>
                <a:gd name="connsiteY6" fmla="*/ 17532 h 67573"/>
                <a:gd name="connsiteX7" fmla="*/ 28325 w 28682"/>
                <a:gd name="connsiteY7" fmla="*/ 24961 h 67573"/>
                <a:gd name="connsiteX8" fmla="*/ 27563 w 28682"/>
                <a:gd name="connsiteY8" fmla="*/ 30486 h 67573"/>
                <a:gd name="connsiteX9" fmla="*/ 27468 w 28682"/>
                <a:gd name="connsiteY9" fmla="*/ 31153 h 67573"/>
                <a:gd name="connsiteX10" fmla="*/ 27087 w 28682"/>
                <a:gd name="connsiteY10" fmla="*/ 33439 h 67573"/>
                <a:gd name="connsiteX11" fmla="*/ 22991 w 28682"/>
                <a:gd name="connsiteY11" fmla="*/ 49536 h 67573"/>
                <a:gd name="connsiteX12" fmla="*/ 19562 w 28682"/>
                <a:gd name="connsiteY12" fmla="*/ 56965 h 67573"/>
                <a:gd name="connsiteX13" fmla="*/ 14514 w 28682"/>
                <a:gd name="connsiteY13" fmla="*/ 64490 h 67573"/>
                <a:gd name="connsiteX14" fmla="*/ 8989 w 28682"/>
                <a:gd name="connsiteY14" fmla="*/ 67538 h 67573"/>
                <a:gd name="connsiteX15" fmla="*/ 3084 w 28682"/>
                <a:gd name="connsiteY15" fmla="*/ 65824 h 67573"/>
                <a:gd name="connsiteX16" fmla="*/ 36 w 28682"/>
                <a:gd name="connsiteY16" fmla="*/ 60299 h 67573"/>
                <a:gd name="connsiteX17" fmla="*/ 1750 w 28682"/>
                <a:gd name="connsiteY17" fmla="*/ 54489 h 67573"/>
                <a:gd name="connsiteX18" fmla="*/ 4417 w 28682"/>
                <a:gd name="connsiteY18" fmla="*/ 50774 h 67573"/>
                <a:gd name="connsiteX19" fmla="*/ 4989 w 28682"/>
                <a:gd name="connsiteY19" fmla="*/ 50012 h 67573"/>
                <a:gd name="connsiteX20" fmla="*/ 7942 w 28682"/>
                <a:gd name="connsiteY20" fmla="*/ 45821 h 67573"/>
                <a:gd name="connsiteX21" fmla="*/ 8704 w 28682"/>
                <a:gd name="connsiteY21" fmla="*/ 44678 h 67573"/>
                <a:gd name="connsiteX22" fmla="*/ 13466 w 28682"/>
                <a:gd name="connsiteY22" fmla="*/ 37249 h 67573"/>
                <a:gd name="connsiteX23" fmla="*/ 17752 w 28682"/>
                <a:gd name="connsiteY23" fmla="*/ 28867 h 67573"/>
                <a:gd name="connsiteX24" fmla="*/ 20705 w 28682"/>
                <a:gd name="connsiteY24" fmla="*/ 20104 h 67573"/>
                <a:gd name="connsiteX25" fmla="*/ 20991 w 28682"/>
                <a:gd name="connsiteY25" fmla="*/ 19056 h 67573"/>
                <a:gd name="connsiteX26" fmla="*/ 22800 w 28682"/>
                <a:gd name="connsiteY26" fmla="*/ 6673 h 67573"/>
                <a:gd name="connsiteX27" fmla="*/ 22610 w 28682"/>
                <a:gd name="connsiteY27" fmla="*/ 2959 h 67573"/>
                <a:gd name="connsiteX28" fmla="*/ 25087 w 28682"/>
                <a:gd name="connsiteY28" fmla="*/ 6 h 67573"/>
                <a:gd name="connsiteX29" fmla="*/ 25087 w 28682"/>
                <a:gd name="connsiteY29" fmla="*/ 6 h 67573"/>
                <a:gd name="connsiteX30" fmla="*/ 25087 w 28682"/>
                <a:gd name="connsiteY30" fmla="*/ 6 h 6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8682" h="67573">
                  <a:moveTo>
                    <a:pt x="25087" y="6"/>
                  </a:moveTo>
                  <a:cubicBezTo>
                    <a:pt x="25087" y="6"/>
                    <a:pt x="25087" y="6"/>
                    <a:pt x="25087" y="6"/>
                  </a:cubicBezTo>
                  <a:lnTo>
                    <a:pt x="25087" y="6"/>
                  </a:lnTo>
                  <a:cubicBezTo>
                    <a:pt x="26610" y="-89"/>
                    <a:pt x="28039" y="958"/>
                    <a:pt x="28134" y="2482"/>
                  </a:cubicBezTo>
                  <a:cubicBezTo>
                    <a:pt x="28325" y="4769"/>
                    <a:pt x="28516" y="7150"/>
                    <a:pt x="28611" y="9436"/>
                  </a:cubicBezTo>
                  <a:cubicBezTo>
                    <a:pt x="28706" y="11817"/>
                    <a:pt x="28706" y="14103"/>
                    <a:pt x="28611" y="16484"/>
                  </a:cubicBezTo>
                  <a:lnTo>
                    <a:pt x="28611" y="17532"/>
                  </a:lnTo>
                  <a:cubicBezTo>
                    <a:pt x="28611" y="20008"/>
                    <a:pt x="28516" y="22485"/>
                    <a:pt x="28325" y="24961"/>
                  </a:cubicBezTo>
                  <a:cubicBezTo>
                    <a:pt x="28134" y="26771"/>
                    <a:pt x="27849" y="28676"/>
                    <a:pt x="27563" y="30486"/>
                  </a:cubicBezTo>
                  <a:lnTo>
                    <a:pt x="27468" y="31153"/>
                  </a:lnTo>
                  <a:lnTo>
                    <a:pt x="27087" y="33439"/>
                  </a:lnTo>
                  <a:cubicBezTo>
                    <a:pt x="26134" y="39249"/>
                    <a:pt x="24801" y="44583"/>
                    <a:pt x="22991" y="49536"/>
                  </a:cubicBezTo>
                  <a:cubicBezTo>
                    <a:pt x="22134" y="51917"/>
                    <a:pt x="20991" y="54394"/>
                    <a:pt x="19562" y="56965"/>
                  </a:cubicBezTo>
                  <a:cubicBezTo>
                    <a:pt x="18324" y="59156"/>
                    <a:pt x="16704" y="62109"/>
                    <a:pt x="14514" y="64490"/>
                  </a:cubicBezTo>
                  <a:cubicBezTo>
                    <a:pt x="12895" y="66300"/>
                    <a:pt x="11085" y="67348"/>
                    <a:pt x="8989" y="67538"/>
                  </a:cubicBezTo>
                  <a:cubicBezTo>
                    <a:pt x="6894" y="67729"/>
                    <a:pt x="4798" y="67157"/>
                    <a:pt x="3084" y="65824"/>
                  </a:cubicBezTo>
                  <a:cubicBezTo>
                    <a:pt x="1369" y="64490"/>
                    <a:pt x="226" y="62490"/>
                    <a:pt x="36" y="60299"/>
                  </a:cubicBezTo>
                  <a:cubicBezTo>
                    <a:pt x="-155" y="58299"/>
                    <a:pt x="417" y="56394"/>
                    <a:pt x="1750" y="54489"/>
                  </a:cubicBezTo>
                  <a:cubicBezTo>
                    <a:pt x="2608" y="53251"/>
                    <a:pt x="3465" y="52012"/>
                    <a:pt x="4417" y="50774"/>
                  </a:cubicBezTo>
                  <a:lnTo>
                    <a:pt x="4989" y="50012"/>
                  </a:lnTo>
                  <a:cubicBezTo>
                    <a:pt x="5941" y="48583"/>
                    <a:pt x="6989" y="47250"/>
                    <a:pt x="7942" y="45821"/>
                  </a:cubicBezTo>
                  <a:lnTo>
                    <a:pt x="8704" y="44678"/>
                  </a:lnTo>
                  <a:cubicBezTo>
                    <a:pt x="10323" y="42202"/>
                    <a:pt x="11942" y="39820"/>
                    <a:pt x="13466" y="37249"/>
                  </a:cubicBezTo>
                  <a:cubicBezTo>
                    <a:pt x="15180" y="34296"/>
                    <a:pt x="16514" y="31629"/>
                    <a:pt x="17752" y="28867"/>
                  </a:cubicBezTo>
                  <a:cubicBezTo>
                    <a:pt x="18991" y="25914"/>
                    <a:pt x="19848" y="22866"/>
                    <a:pt x="20705" y="20104"/>
                  </a:cubicBezTo>
                  <a:lnTo>
                    <a:pt x="20991" y="19056"/>
                  </a:lnTo>
                  <a:cubicBezTo>
                    <a:pt x="22038" y="15341"/>
                    <a:pt x="22610" y="11436"/>
                    <a:pt x="22800" y="6673"/>
                  </a:cubicBezTo>
                  <a:cubicBezTo>
                    <a:pt x="22800" y="5435"/>
                    <a:pt x="22705" y="4197"/>
                    <a:pt x="22610" y="2959"/>
                  </a:cubicBezTo>
                  <a:cubicBezTo>
                    <a:pt x="22515" y="1530"/>
                    <a:pt x="23562" y="197"/>
                    <a:pt x="25087" y="6"/>
                  </a:cubicBezTo>
                  <a:lnTo>
                    <a:pt x="25087" y="6"/>
                  </a:lnTo>
                  <a:lnTo>
                    <a:pt x="25087" y="6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 62">
              <a:extLst>
                <a:ext uri="{FF2B5EF4-FFF2-40B4-BE49-F238E27FC236}">
                  <a16:creationId xmlns:a16="http://schemas.microsoft.com/office/drawing/2014/main" id="{EBA7AD82-7155-428A-B0A0-0A5AD551BA32}"/>
                </a:ext>
              </a:extLst>
            </p:cNvPr>
            <p:cNvSpPr/>
            <p:nvPr/>
          </p:nvSpPr>
          <p:spPr>
            <a:xfrm>
              <a:off x="5175129" y="2538399"/>
              <a:ext cx="123457" cy="126888"/>
            </a:xfrm>
            <a:custGeom>
              <a:avLst/>
              <a:gdLst>
                <a:gd name="connsiteX0" fmla="*/ 2789 w 64261"/>
                <a:gd name="connsiteY0" fmla="*/ 0 h 66047"/>
                <a:gd name="connsiteX1" fmla="*/ 4123 w 64261"/>
                <a:gd name="connsiteY1" fmla="*/ 286 h 66047"/>
                <a:gd name="connsiteX2" fmla="*/ 4789 w 64261"/>
                <a:gd name="connsiteY2" fmla="*/ 667 h 66047"/>
                <a:gd name="connsiteX3" fmla="*/ 20887 w 64261"/>
                <a:gd name="connsiteY3" fmla="*/ 9334 h 66047"/>
                <a:gd name="connsiteX4" fmla="*/ 37460 w 64261"/>
                <a:gd name="connsiteY4" fmla="*/ 21526 h 66047"/>
                <a:gd name="connsiteX5" fmla="*/ 52414 w 64261"/>
                <a:gd name="connsiteY5" fmla="*/ 36862 h 66047"/>
                <a:gd name="connsiteX6" fmla="*/ 63654 w 64261"/>
                <a:gd name="connsiteY6" fmla="*/ 54102 h 66047"/>
                <a:gd name="connsiteX7" fmla="*/ 64130 w 64261"/>
                <a:gd name="connsiteY7" fmla="*/ 58579 h 66047"/>
                <a:gd name="connsiteX8" fmla="*/ 60701 w 64261"/>
                <a:gd name="connsiteY8" fmla="*/ 64294 h 66047"/>
                <a:gd name="connsiteX9" fmla="*/ 56320 w 64261"/>
                <a:gd name="connsiteY9" fmla="*/ 66008 h 66047"/>
                <a:gd name="connsiteX10" fmla="*/ 54224 w 64261"/>
                <a:gd name="connsiteY10" fmla="*/ 65913 h 66047"/>
                <a:gd name="connsiteX11" fmla="*/ 48509 w 64261"/>
                <a:gd name="connsiteY11" fmla="*/ 62484 h 66047"/>
                <a:gd name="connsiteX12" fmla="*/ 45175 w 64261"/>
                <a:gd name="connsiteY12" fmla="*/ 57055 h 66047"/>
                <a:gd name="connsiteX13" fmla="*/ 32983 w 64261"/>
                <a:gd name="connsiteY13" fmla="*/ 38100 h 66047"/>
                <a:gd name="connsiteX14" fmla="*/ 23458 w 64261"/>
                <a:gd name="connsiteY14" fmla="*/ 25717 h 66047"/>
                <a:gd name="connsiteX15" fmla="*/ 19934 w 64261"/>
                <a:gd name="connsiteY15" fmla="*/ 21812 h 66047"/>
                <a:gd name="connsiteX16" fmla="*/ 19363 w 64261"/>
                <a:gd name="connsiteY16" fmla="*/ 21145 h 66047"/>
                <a:gd name="connsiteX17" fmla="*/ 18315 w 64261"/>
                <a:gd name="connsiteY17" fmla="*/ 20002 h 66047"/>
                <a:gd name="connsiteX18" fmla="*/ 17458 w 64261"/>
                <a:gd name="connsiteY18" fmla="*/ 19050 h 66047"/>
                <a:gd name="connsiteX19" fmla="*/ 13743 w 64261"/>
                <a:gd name="connsiteY19" fmla="*/ 14954 h 66047"/>
                <a:gd name="connsiteX20" fmla="*/ 3646 w 64261"/>
                <a:gd name="connsiteY20" fmla="*/ 6763 h 66047"/>
                <a:gd name="connsiteX21" fmla="*/ 1741 w 64261"/>
                <a:gd name="connsiteY21" fmla="*/ 5715 h 66047"/>
                <a:gd name="connsiteX22" fmla="*/ 217 w 64261"/>
                <a:gd name="connsiteY22" fmla="*/ 1905 h 66047"/>
                <a:gd name="connsiteX23" fmla="*/ 2789 w 64261"/>
                <a:gd name="connsiteY23" fmla="*/ 0 h 66047"/>
                <a:gd name="connsiteX24" fmla="*/ 2789 w 64261"/>
                <a:gd name="connsiteY24" fmla="*/ 0 h 66047"/>
                <a:gd name="connsiteX25" fmla="*/ 2789 w 64261"/>
                <a:gd name="connsiteY25" fmla="*/ 0 h 6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4261" h="66047">
                  <a:moveTo>
                    <a:pt x="2789" y="0"/>
                  </a:moveTo>
                  <a:cubicBezTo>
                    <a:pt x="3265" y="0"/>
                    <a:pt x="3646" y="95"/>
                    <a:pt x="4123" y="286"/>
                  </a:cubicBezTo>
                  <a:lnTo>
                    <a:pt x="4789" y="667"/>
                  </a:lnTo>
                  <a:cubicBezTo>
                    <a:pt x="10219" y="3524"/>
                    <a:pt x="15648" y="6286"/>
                    <a:pt x="20887" y="9334"/>
                  </a:cubicBezTo>
                  <a:cubicBezTo>
                    <a:pt x="27459" y="13144"/>
                    <a:pt x="33174" y="17812"/>
                    <a:pt x="37460" y="21526"/>
                  </a:cubicBezTo>
                  <a:cubicBezTo>
                    <a:pt x="43080" y="26479"/>
                    <a:pt x="48128" y="31623"/>
                    <a:pt x="52414" y="36862"/>
                  </a:cubicBezTo>
                  <a:cubicBezTo>
                    <a:pt x="57082" y="42481"/>
                    <a:pt x="60701" y="48101"/>
                    <a:pt x="63654" y="54102"/>
                  </a:cubicBezTo>
                  <a:cubicBezTo>
                    <a:pt x="64225" y="55531"/>
                    <a:pt x="64416" y="56959"/>
                    <a:pt x="64130" y="58579"/>
                  </a:cubicBezTo>
                  <a:cubicBezTo>
                    <a:pt x="63749" y="60865"/>
                    <a:pt x="62511" y="62865"/>
                    <a:pt x="60701" y="64294"/>
                  </a:cubicBezTo>
                  <a:cubicBezTo>
                    <a:pt x="59463" y="65246"/>
                    <a:pt x="57939" y="65818"/>
                    <a:pt x="56320" y="66008"/>
                  </a:cubicBezTo>
                  <a:cubicBezTo>
                    <a:pt x="55653" y="66103"/>
                    <a:pt x="54986" y="66008"/>
                    <a:pt x="54224" y="65913"/>
                  </a:cubicBezTo>
                  <a:cubicBezTo>
                    <a:pt x="52224" y="65627"/>
                    <a:pt x="49747" y="64484"/>
                    <a:pt x="48509" y="62484"/>
                  </a:cubicBezTo>
                  <a:lnTo>
                    <a:pt x="45175" y="57055"/>
                  </a:lnTo>
                  <a:cubicBezTo>
                    <a:pt x="41270" y="50768"/>
                    <a:pt x="37270" y="44291"/>
                    <a:pt x="32983" y="38100"/>
                  </a:cubicBezTo>
                  <a:cubicBezTo>
                    <a:pt x="30316" y="34290"/>
                    <a:pt x="27173" y="30289"/>
                    <a:pt x="23458" y="25717"/>
                  </a:cubicBezTo>
                  <a:cubicBezTo>
                    <a:pt x="22315" y="24384"/>
                    <a:pt x="21172" y="23050"/>
                    <a:pt x="19934" y="21812"/>
                  </a:cubicBezTo>
                  <a:lnTo>
                    <a:pt x="19363" y="21145"/>
                  </a:lnTo>
                  <a:lnTo>
                    <a:pt x="18315" y="20002"/>
                  </a:lnTo>
                  <a:lnTo>
                    <a:pt x="17458" y="19050"/>
                  </a:lnTo>
                  <a:cubicBezTo>
                    <a:pt x="16219" y="17716"/>
                    <a:pt x="14981" y="16288"/>
                    <a:pt x="13743" y="14954"/>
                  </a:cubicBezTo>
                  <a:cubicBezTo>
                    <a:pt x="10314" y="11525"/>
                    <a:pt x="6980" y="8763"/>
                    <a:pt x="3646" y="6763"/>
                  </a:cubicBezTo>
                  <a:lnTo>
                    <a:pt x="1741" y="5715"/>
                  </a:lnTo>
                  <a:cubicBezTo>
                    <a:pt x="217" y="4858"/>
                    <a:pt x="-354" y="3334"/>
                    <a:pt x="217" y="1905"/>
                  </a:cubicBezTo>
                  <a:cubicBezTo>
                    <a:pt x="694" y="857"/>
                    <a:pt x="1741" y="95"/>
                    <a:pt x="2789" y="0"/>
                  </a:cubicBezTo>
                  <a:lnTo>
                    <a:pt x="2789" y="0"/>
                  </a:lnTo>
                  <a:lnTo>
                    <a:pt x="2789" y="0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 63">
              <a:extLst>
                <a:ext uri="{FF2B5EF4-FFF2-40B4-BE49-F238E27FC236}">
                  <a16:creationId xmlns:a16="http://schemas.microsoft.com/office/drawing/2014/main" id="{5BD8A95D-E4D5-4385-856B-86C270955600}"/>
                </a:ext>
              </a:extLst>
            </p:cNvPr>
            <p:cNvSpPr/>
            <p:nvPr/>
          </p:nvSpPr>
          <p:spPr>
            <a:xfrm>
              <a:off x="5429012" y="2845072"/>
              <a:ext cx="38414" cy="101400"/>
            </a:xfrm>
            <a:custGeom>
              <a:avLst/>
              <a:gdLst>
                <a:gd name="connsiteX0" fmla="*/ 2656 w 19995"/>
                <a:gd name="connsiteY0" fmla="*/ 12 h 52780"/>
                <a:gd name="connsiteX1" fmla="*/ 5323 w 19995"/>
                <a:gd name="connsiteY1" fmla="*/ 1250 h 52780"/>
                <a:gd name="connsiteX2" fmla="*/ 11896 w 19995"/>
                <a:gd name="connsiteY2" fmla="*/ 11537 h 52780"/>
                <a:gd name="connsiteX3" fmla="*/ 16944 w 19995"/>
                <a:gd name="connsiteY3" fmla="*/ 22682 h 52780"/>
                <a:gd name="connsiteX4" fmla="*/ 18468 w 19995"/>
                <a:gd name="connsiteY4" fmla="*/ 28111 h 52780"/>
                <a:gd name="connsiteX5" fmla="*/ 19706 w 19995"/>
                <a:gd name="connsiteY5" fmla="*/ 34778 h 52780"/>
                <a:gd name="connsiteX6" fmla="*/ 18944 w 19995"/>
                <a:gd name="connsiteY6" fmla="*/ 47637 h 52780"/>
                <a:gd name="connsiteX7" fmla="*/ 16563 w 19995"/>
                <a:gd name="connsiteY7" fmla="*/ 51637 h 52780"/>
                <a:gd name="connsiteX8" fmla="*/ 13515 w 19995"/>
                <a:gd name="connsiteY8" fmla="*/ 52780 h 52780"/>
                <a:gd name="connsiteX9" fmla="*/ 12086 w 19995"/>
                <a:gd name="connsiteY9" fmla="*/ 52685 h 52780"/>
                <a:gd name="connsiteX10" fmla="*/ 7038 w 19995"/>
                <a:gd name="connsiteY10" fmla="*/ 45827 h 52780"/>
                <a:gd name="connsiteX11" fmla="*/ 7419 w 19995"/>
                <a:gd name="connsiteY11" fmla="*/ 43351 h 52780"/>
                <a:gd name="connsiteX12" fmla="*/ 8752 w 19995"/>
                <a:gd name="connsiteY12" fmla="*/ 31921 h 52780"/>
                <a:gd name="connsiteX13" fmla="*/ 7419 w 19995"/>
                <a:gd name="connsiteY13" fmla="*/ 19538 h 52780"/>
                <a:gd name="connsiteX14" fmla="*/ 3037 w 19995"/>
                <a:gd name="connsiteY14" fmla="*/ 8584 h 52780"/>
                <a:gd name="connsiteX15" fmla="*/ 561 w 19995"/>
                <a:gd name="connsiteY15" fmla="*/ 4775 h 52780"/>
                <a:gd name="connsiteX16" fmla="*/ 1228 w 19995"/>
                <a:gd name="connsiteY16" fmla="*/ 679 h 52780"/>
                <a:gd name="connsiteX17" fmla="*/ 2656 w 19995"/>
                <a:gd name="connsiteY17" fmla="*/ 12 h 52780"/>
                <a:gd name="connsiteX18" fmla="*/ 2656 w 19995"/>
                <a:gd name="connsiteY18" fmla="*/ 12 h 52780"/>
                <a:gd name="connsiteX19" fmla="*/ 2656 w 19995"/>
                <a:gd name="connsiteY19" fmla="*/ 12 h 5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95" h="52780">
                  <a:moveTo>
                    <a:pt x="2656" y="12"/>
                  </a:moveTo>
                  <a:cubicBezTo>
                    <a:pt x="3704" y="-83"/>
                    <a:pt x="4752" y="393"/>
                    <a:pt x="5323" y="1250"/>
                  </a:cubicBezTo>
                  <a:cubicBezTo>
                    <a:pt x="8181" y="5251"/>
                    <a:pt x="10276" y="8584"/>
                    <a:pt x="11896" y="11537"/>
                  </a:cubicBezTo>
                  <a:cubicBezTo>
                    <a:pt x="13896" y="15252"/>
                    <a:pt x="15515" y="18967"/>
                    <a:pt x="16944" y="22682"/>
                  </a:cubicBezTo>
                  <a:cubicBezTo>
                    <a:pt x="17611" y="24396"/>
                    <a:pt x="18087" y="26301"/>
                    <a:pt x="18468" y="28111"/>
                  </a:cubicBezTo>
                  <a:cubicBezTo>
                    <a:pt x="19039" y="30778"/>
                    <a:pt x="19420" y="32778"/>
                    <a:pt x="19706" y="34778"/>
                  </a:cubicBezTo>
                  <a:cubicBezTo>
                    <a:pt x="20278" y="39255"/>
                    <a:pt x="19992" y="43637"/>
                    <a:pt x="18944" y="47637"/>
                  </a:cubicBezTo>
                  <a:cubicBezTo>
                    <a:pt x="18563" y="49256"/>
                    <a:pt x="17992" y="50590"/>
                    <a:pt x="16563" y="51637"/>
                  </a:cubicBezTo>
                  <a:cubicBezTo>
                    <a:pt x="15706" y="52304"/>
                    <a:pt x="14658" y="52685"/>
                    <a:pt x="13515" y="52780"/>
                  </a:cubicBezTo>
                  <a:cubicBezTo>
                    <a:pt x="13039" y="52780"/>
                    <a:pt x="12562" y="52780"/>
                    <a:pt x="12086" y="52685"/>
                  </a:cubicBezTo>
                  <a:cubicBezTo>
                    <a:pt x="8848" y="52209"/>
                    <a:pt x="6562" y="49066"/>
                    <a:pt x="7038" y="45827"/>
                  </a:cubicBezTo>
                  <a:lnTo>
                    <a:pt x="7419" y="43351"/>
                  </a:lnTo>
                  <a:cubicBezTo>
                    <a:pt x="7990" y="39826"/>
                    <a:pt x="8562" y="35826"/>
                    <a:pt x="8752" y="31921"/>
                  </a:cubicBezTo>
                  <a:cubicBezTo>
                    <a:pt x="8752" y="27730"/>
                    <a:pt x="8371" y="23539"/>
                    <a:pt x="7419" y="19538"/>
                  </a:cubicBezTo>
                  <a:cubicBezTo>
                    <a:pt x="6466" y="15919"/>
                    <a:pt x="4942" y="12204"/>
                    <a:pt x="3037" y="8584"/>
                  </a:cubicBezTo>
                  <a:cubicBezTo>
                    <a:pt x="2275" y="7251"/>
                    <a:pt x="1513" y="6013"/>
                    <a:pt x="561" y="4775"/>
                  </a:cubicBezTo>
                  <a:cubicBezTo>
                    <a:pt x="-392" y="3441"/>
                    <a:pt x="-106" y="1631"/>
                    <a:pt x="1228" y="679"/>
                  </a:cubicBezTo>
                  <a:cubicBezTo>
                    <a:pt x="1609" y="203"/>
                    <a:pt x="2085" y="12"/>
                    <a:pt x="2656" y="12"/>
                  </a:cubicBezTo>
                  <a:lnTo>
                    <a:pt x="2656" y="12"/>
                  </a:lnTo>
                  <a:lnTo>
                    <a:pt x="2656" y="12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 64">
              <a:extLst>
                <a:ext uri="{FF2B5EF4-FFF2-40B4-BE49-F238E27FC236}">
                  <a16:creationId xmlns:a16="http://schemas.microsoft.com/office/drawing/2014/main" id="{ED4FFC54-8B3F-4A09-81BF-2BB1286FB728}"/>
                </a:ext>
              </a:extLst>
            </p:cNvPr>
            <p:cNvSpPr/>
            <p:nvPr/>
          </p:nvSpPr>
          <p:spPr>
            <a:xfrm>
              <a:off x="5200172" y="2950499"/>
              <a:ext cx="73754" cy="103444"/>
            </a:xfrm>
            <a:custGeom>
              <a:avLst/>
              <a:gdLst>
                <a:gd name="connsiteX0" fmla="*/ 35760 w 38390"/>
                <a:gd name="connsiteY0" fmla="*/ 0 h 53844"/>
                <a:gd name="connsiteX1" fmla="*/ 36807 w 38390"/>
                <a:gd name="connsiteY1" fmla="*/ 191 h 53844"/>
                <a:gd name="connsiteX2" fmla="*/ 38236 w 38390"/>
                <a:gd name="connsiteY2" fmla="*/ 3334 h 53844"/>
                <a:gd name="connsiteX3" fmla="*/ 28330 w 38390"/>
                <a:gd name="connsiteY3" fmla="*/ 29146 h 53844"/>
                <a:gd name="connsiteX4" fmla="*/ 20710 w 38390"/>
                <a:gd name="connsiteY4" fmla="*/ 41720 h 53844"/>
                <a:gd name="connsiteX5" fmla="*/ 10423 w 38390"/>
                <a:gd name="connsiteY5" fmla="*/ 52388 h 53844"/>
                <a:gd name="connsiteX6" fmla="*/ 6804 w 38390"/>
                <a:gd name="connsiteY6" fmla="*/ 53816 h 53844"/>
                <a:gd name="connsiteX7" fmla="*/ 1470 w 38390"/>
                <a:gd name="connsiteY7" fmla="*/ 51625 h 53844"/>
                <a:gd name="connsiteX8" fmla="*/ 41 w 38390"/>
                <a:gd name="connsiteY8" fmla="*/ 46768 h 53844"/>
                <a:gd name="connsiteX9" fmla="*/ 2232 w 38390"/>
                <a:gd name="connsiteY9" fmla="*/ 42577 h 53844"/>
                <a:gd name="connsiteX10" fmla="*/ 10137 w 38390"/>
                <a:gd name="connsiteY10" fmla="*/ 35814 h 53844"/>
                <a:gd name="connsiteX11" fmla="*/ 16995 w 38390"/>
                <a:gd name="connsiteY11" fmla="*/ 28766 h 53844"/>
                <a:gd name="connsiteX12" fmla="*/ 29664 w 38390"/>
                <a:gd name="connsiteY12" fmla="*/ 11144 h 53844"/>
                <a:gd name="connsiteX13" fmla="*/ 33759 w 38390"/>
                <a:gd name="connsiteY13" fmla="*/ 1524 h 53844"/>
                <a:gd name="connsiteX14" fmla="*/ 35760 w 38390"/>
                <a:gd name="connsiteY14" fmla="*/ 0 h 53844"/>
                <a:gd name="connsiteX15" fmla="*/ 35760 w 38390"/>
                <a:gd name="connsiteY15" fmla="*/ 0 h 53844"/>
                <a:gd name="connsiteX16" fmla="*/ 35760 w 38390"/>
                <a:gd name="connsiteY16" fmla="*/ 0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390" h="53844">
                  <a:moveTo>
                    <a:pt x="35760" y="0"/>
                  </a:moveTo>
                  <a:cubicBezTo>
                    <a:pt x="36045" y="0"/>
                    <a:pt x="36426" y="0"/>
                    <a:pt x="36807" y="191"/>
                  </a:cubicBezTo>
                  <a:cubicBezTo>
                    <a:pt x="38046" y="667"/>
                    <a:pt x="38712" y="2000"/>
                    <a:pt x="38236" y="3334"/>
                  </a:cubicBezTo>
                  <a:cubicBezTo>
                    <a:pt x="35569" y="11430"/>
                    <a:pt x="32426" y="20669"/>
                    <a:pt x="28330" y="29146"/>
                  </a:cubicBezTo>
                  <a:cubicBezTo>
                    <a:pt x="25854" y="34195"/>
                    <a:pt x="23472" y="38195"/>
                    <a:pt x="20710" y="41720"/>
                  </a:cubicBezTo>
                  <a:cubicBezTo>
                    <a:pt x="17472" y="45911"/>
                    <a:pt x="14043" y="49530"/>
                    <a:pt x="10423" y="52388"/>
                  </a:cubicBezTo>
                  <a:cubicBezTo>
                    <a:pt x="9375" y="53245"/>
                    <a:pt x="8137" y="53721"/>
                    <a:pt x="6804" y="53816"/>
                  </a:cubicBezTo>
                  <a:cubicBezTo>
                    <a:pt x="4708" y="54007"/>
                    <a:pt x="2803" y="53245"/>
                    <a:pt x="1470" y="51625"/>
                  </a:cubicBezTo>
                  <a:cubicBezTo>
                    <a:pt x="327" y="50292"/>
                    <a:pt x="-150" y="48578"/>
                    <a:pt x="41" y="46768"/>
                  </a:cubicBezTo>
                  <a:cubicBezTo>
                    <a:pt x="231" y="45053"/>
                    <a:pt x="993" y="43625"/>
                    <a:pt x="2232" y="42577"/>
                  </a:cubicBezTo>
                  <a:cubicBezTo>
                    <a:pt x="4994" y="40386"/>
                    <a:pt x="7566" y="38195"/>
                    <a:pt x="10137" y="35814"/>
                  </a:cubicBezTo>
                  <a:cubicBezTo>
                    <a:pt x="12519" y="33623"/>
                    <a:pt x="14709" y="31337"/>
                    <a:pt x="16995" y="28766"/>
                  </a:cubicBezTo>
                  <a:cubicBezTo>
                    <a:pt x="22044" y="23241"/>
                    <a:pt x="26330" y="17240"/>
                    <a:pt x="29664" y="11144"/>
                  </a:cubicBezTo>
                  <a:cubicBezTo>
                    <a:pt x="31188" y="8192"/>
                    <a:pt x="32521" y="5048"/>
                    <a:pt x="33759" y="1524"/>
                  </a:cubicBezTo>
                  <a:cubicBezTo>
                    <a:pt x="33950" y="667"/>
                    <a:pt x="34807" y="95"/>
                    <a:pt x="35760" y="0"/>
                  </a:cubicBezTo>
                  <a:lnTo>
                    <a:pt x="35760" y="0"/>
                  </a:lnTo>
                  <a:lnTo>
                    <a:pt x="35760" y="0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 68">
              <a:extLst>
                <a:ext uri="{FF2B5EF4-FFF2-40B4-BE49-F238E27FC236}">
                  <a16:creationId xmlns:a16="http://schemas.microsoft.com/office/drawing/2014/main" id="{6E42F4E4-1201-4FD9-BDFD-BE1A27285312}"/>
                </a:ext>
              </a:extLst>
            </p:cNvPr>
            <p:cNvSpPr/>
            <p:nvPr/>
          </p:nvSpPr>
          <p:spPr>
            <a:xfrm>
              <a:off x="6162399" y="4277918"/>
              <a:ext cx="392979" cy="417942"/>
            </a:xfrm>
            <a:custGeom>
              <a:avLst/>
              <a:gdLst>
                <a:gd name="connsiteX0" fmla="*/ 391612 w 392979"/>
                <a:gd name="connsiteY0" fmla="*/ 198248 h 417942"/>
                <a:gd name="connsiteX1" fmla="*/ 379827 w 392979"/>
                <a:gd name="connsiteY1" fmla="*/ 176643 h 417942"/>
                <a:gd name="connsiteX2" fmla="*/ 359064 w 392979"/>
                <a:gd name="connsiteY2" fmla="*/ 160791 h 417942"/>
                <a:gd name="connsiteX3" fmla="*/ 333952 w 392979"/>
                <a:gd name="connsiteY3" fmla="*/ 149567 h 417942"/>
                <a:gd name="connsiteX4" fmla="*/ 309682 w 392979"/>
                <a:gd name="connsiteY4" fmla="*/ 141992 h 417942"/>
                <a:gd name="connsiteX5" fmla="*/ 306736 w 392979"/>
                <a:gd name="connsiteY5" fmla="*/ 141150 h 417942"/>
                <a:gd name="connsiteX6" fmla="*/ 303509 w 392979"/>
                <a:gd name="connsiteY6" fmla="*/ 140168 h 417942"/>
                <a:gd name="connsiteX7" fmla="*/ 297056 w 392979"/>
                <a:gd name="connsiteY7" fmla="*/ 138344 h 417942"/>
                <a:gd name="connsiteX8" fmla="*/ 292146 w 392979"/>
                <a:gd name="connsiteY8" fmla="*/ 136941 h 417942"/>
                <a:gd name="connsiteX9" fmla="*/ 287376 w 392979"/>
                <a:gd name="connsiteY9" fmla="*/ 135679 h 417942"/>
                <a:gd name="connsiteX10" fmla="*/ 284430 w 392979"/>
                <a:gd name="connsiteY10" fmla="*/ 134977 h 417942"/>
                <a:gd name="connsiteX11" fmla="*/ 281484 w 392979"/>
                <a:gd name="connsiteY11" fmla="*/ 134276 h 417942"/>
                <a:gd name="connsiteX12" fmla="*/ 280362 w 392979"/>
                <a:gd name="connsiteY12" fmla="*/ 112390 h 417942"/>
                <a:gd name="connsiteX13" fmla="*/ 280362 w 392979"/>
                <a:gd name="connsiteY13" fmla="*/ 111268 h 417942"/>
                <a:gd name="connsiteX14" fmla="*/ 280362 w 392979"/>
                <a:gd name="connsiteY14" fmla="*/ 110426 h 417942"/>
                <a:gd name="connsiteX15" fmla="*/ 280362 w 392979"/>
                <a:gd name="connsiteY15" fmla="*/ 109585 h 417942"/>
                <a:gd name="connsiteX16" fmla="*/ 274469 w 392979"/>
                <a:gd name="connsiteY16" fmla="*/ 55994 h 417942"/>
                <a:gd name="connsiteX17" fmla="*/ 265070 w 392979"/>
                <a:gd name="connsiteY17" fmla="*/ 28777 h 417942"/>
                <a:gd name="connsiteX18" fmla="*/ 253426 w 392979"/>
                <a:gd name="connsiteY18" fmla="*/ 11241 h 417942"/>
                <a:gd name="connsiteX19" fmla="*/ 238695 w 392979"/>
                <a:gd name="connsiteY19" fmla="*/ 1701 h 417942"/>
                <a:gd name="connsiteX20" fmla="*/ 227051 w 392979"/>
                <a:gd name="connsiteY20" fmla="*/ 18 h 417942"/>
                <a:gd name="connsiteX21" fmla="*/ 222141 w 392979"/>
                <a:gd name="connsiteY21" fmla="*/ 439 h 417942"/>
                <a:gd name="connsiteX22" fmla="*/ 206148 w 392979"/>
                <a:gd name="connsiteY22" fmla="*/ 6050 h 417942"/>
                <a:gd name="connsiteX23" fmla="*/ 190015 w 392979"/>
                <a:gd name="connsiteY23" fmla="*/ 16853 h 417942"/>
                <a:gd name="connsiteX24" fmla="*/ 168410 w 392979"/>
                <a:gd name="connsiteY24" fmla="*/ 38177 h 417942"/>
                <a:gd name="connsiteX25" fmla="*/ 148348 w 392979"/>
                <a:gd name="connsiteY25" fmla="*/ 63710 h 417942"/>
                <a:gd name="connsiteX26" fmla="*/ 119308 w 392979"/>
                <a:gd name="connsiteY26" fmla="*/ 111268 h 417942"/>
                <a:gd name="connsiteX27" fmla="*/ 97142 w 392979"/>
                <a:gd name="connsiteY27" fmla="*/ 102710 h 417942"/>
                <a:gd name="connsiteX28" fmla="*/ 88304 w 392979"/>
                <a:gd name="connsiteY28" fmla="*/ 99905 h 417942"/>
                <a:gd name="connsiteX29" fmla="*/ 87182 w 392979"/>
                <a:gd name="connsiteY29" fmla="*/ 99484 h 417942"/>
                <a:gd name="connsiteX30" fmla="*/ 66138 w 392979"/>
                <a:gd name="connsiteY30" fmla="*/ 93171 h 417942"/>
                <a:gd name="connsiteX31" fmla="*/ 42148 w 392979"/>
                <a:gd name="connsiteY31" fmla="*/ 90084 h 417942"/>
                <a:gd name="connsiteX32" fmla="*/ 19281 w 392979"/>
                <a:gd name="connsiteY32" fmla="*/ 96117 h 417942"/>
                <a:gd name="connsiteX33" fmla="*/ 10022 w 392979"/>
                <a:gd name="connsiteY33" fmla="*/ 104113 h 417942"/>
                <a:gd name="connsiteX34" fmla="*/ 3428 w 392979"/>
                <a:gd name="connsiteY34" fmla="*/ 116038 h 417942"/>
                <a:gd name="connsiteX35" fmla="*/ 623 w 392979"/>
                <a:gd name="connsiteY35" fmla="*/ 144517 h 417942"/>
                <a:gd name="connsiteX36" fmla="*/ 9741 w 392979"/>
                <a:gd name="connsiteY36" fmla="*/ 172715 h 417942"/>
                <a:gd name="connsiteX37" fmla="*/ 24893 w 392979"/>
                <a:gd name="connsiteY37" fmla="*/ 199370 h 417942"/>
                <a:gd name="connsiteX38" fmla="*/ 30084 w 392979"/>
                <a:gd name="connsiteY38" fmla="*/ 207507 h 417942"/>
                <a:gd name="connsiteX39" fmla="*/ 32749 w 392979"/>
                <a:gd name="connsiteY39" fmla="*/ 211576 h 417942"/>
                <a:gd name="connsiteX40" fmla="*/ 34713 w 392979"/>
                <a:gd name="connsiteY40" fmla="*/ 214522 h 417942"/>
                <a:gd name="connsiteX41" fmla="*/ 35555 w 392979"/>
                <a:gd name="connsiteY41" fmla="*/ 215925 h 417942"/>
                <a:gd name="connsiteX42" fmla="*/ 36116 w 392979"/>
                <a:gd name="connsiteY42" fmla="*/ 216766 h 417942"/>
                <a:gd name="connsiteX43" fmla="*/ 45936 w 392979"/>
                <a:gd name="connsiteY43" fmla="*/ 233180 h 417942"/>
                <a:gd name="connsiteX44" fmla="*/ 33170 w 392979"/>
                <a:gd name="connsiteY44" fmla="*/ 265307 h 417942"/>
                <a:gd name="connsiteX45" fmla="*/ 23630 w 392979"/>
                <a:gd name="connsiteY45" fmla="*/ 313006 h 417942"/>
                <a:gd name="connsiteX46" fmla="*/ 34152 w 392979"/>
                <a:gd name="connsiteY46" fmla="*/ 355233 h 417942"/>
                <a:gd name="connsiteX47" fmla="*/ 35415 w 392979"/>
                <a:gd name="connsiteY47" fmla="*/ 356636 h 417942"/>
                <a:gd name="connsiteX48" fmla="*/ 40044 w 392979"/>
                <a:gd name="connsiteY48" fmla="*/ 361546 h 417942"/>
                <a:gd name="connsiteX49" fmla="*/ 43692 w 392979"/>
                <a:gd name="connsiteY49" fmla="*/ 364352 h 417942"/>
                <a:gd name="connsiteX50" fmla="*/ 49163 w 392979"/>
                <a:gd name="connsiteY50" fmla="*/ 367719 h 417942"/>
                <a:gd name="connsiteX51" fmla="*/ 51408 w 392979"/>
                <a:gd name="connsiteY51" fmla="*/ 369122 h 417942"/>
                <a:gd name="connsiteX52" fmla="*/ 74135 w 392979"/>
                <a:gd name="connsiteY52" fmla="*/ 373751 h 417942"/>
                <a:gd name="connsiteX53" fmla="*/ 78905 w 392979"/>
                <a:gd name="connsiteY53" fmla="*/ 373471 h 417942"/>
                <a:gd name="connsiteX54" fmla="*/ 101632 w 392979"/>
                <a:gd name="connsiteY54" fmla="*/ 367298 h 417942"/>
                <a:gd name="connsiteX55" fmla="*/ 123377 w 392979"/>
                <a:gd name="connsiteY55" fmla="*/ 355514 h 417942"/>
                <a:gd name="connsiteX56" fmla="*/ 142456 w 392979"/>
                <a:gd name="connsiteY56" fmla="*/ 341204 h 417942"/>
                <a:gd name="connsiteX57" fmla="*/ 153539 w 392979"/>
                <a:gd name="connsiteY57" fmla="*/ 330822 h 417942"/>
                <a:gd name="connsiteX58" fmla="*/ 154100 w 392979"/>
                <a:gd name="connsiteY58" fmla="*/ 332085 h 417942"/>
                <a:gd name="connsiteX59" fmla="*/ 156345 w 392979"/>
                <a:gd name="connsiteY59" fmla="*/ 337135 h 417942"/>
                <a:gd name="connsiteX60" fmla="*/ 156906 w 392979"/>
                <a:gd name="connsiteY60" fmla="*/ 338118 h 417942"/>
                <a:gd name="connsiteX61" fmla="*/ 157467 w 392979"/>
                <a:gd name="connsiteY61" fmla="*/ 339240 h 417942"/>
                <a:gd name="connsiteX62" fmla="*/ 158730 w 392979"/>
                <a:gd name="connsiteY62" fmla="*/ 341765 h 417942"/>
                <a:gd name="connsiteX63" fmla="*/ 178932 w 392979"/>
                <a:gd name="connsiteY63" fmla="*/ 376697 h 417942"/>
                <a:gd name="connsiteX64" fmla="*/ 199695 w 392979"/>
                <a:gd name="connsiteY64" fmla="*/ 400406 h 417942"/>
                <a:gd name="connsiteX65" fmla="*/ 226911 w 392979"/>
                <a:gd name="connsiteY65" fmla="*/ 415838 h 417942"/>
                <a:gd name="connsiteX66" fmla="*/ 239958 w 392979"/>
                <a:gd name="connsiteY66" fmla="*/ 417943 h 417942"/>
                <a:gd name="connsiteX67" fmla="*/ 241080 w 392979"/>
                <a:gd name="connsiteY67" fmla="*/ 417943 h 417942"/>
                <a:gd name="connsiteX68" fmla="*/ 253566 w 392979"/>
                <a:gd name="connsiteY68" fmla="*/ 415698 h 417942"/>
                <a:gd name="connsiteX69" fmla="*/ 274189 w 392979"/>
                <a:gd name="connsiteY69" fmla="*/ 401388 h 417942"/>
                <a:gd name="connsiteX70" fmla="*/ 281484 w 392979"/>
                <a:gd name="connsiteY70" fmla="*/ 390306 h 417942"/>
                <a:gd name="connsiteX71" fmla="*/ 287095 w 392979"/>
                <a:gd name="connsiteY71" fmla="*/ 376557 h 417942"/>
                <a:gd name="connsiteX72" fmla="*/ 290603 w 392979"/>
                <a:gd name="connsiteY72" fmla="*/ 361406 h 417942"/>
                <a:gd name="connsiteX73" fmla="*/ 292988 w 392979"/>
                <a:gd name="connsiteY73" fmla="*/ 343168 h 417942"/>
                <a:gd name="connsiteX74" fmla="*/ 294110 w 392979"/>
                <a:gd name="connsiteY74" fmla="*/ 312725 h 417942"/>
                <a:gd name="connsiteX75" fmla="*/ 292847 w 392979"/>
                <a:gd name="connsiteY75" fmla="*/ 288876 h 417942"/>
                <a:gd name="connsiteX76" fmla="*/ 305754 w 392979"/>
                <a:gd name="connsiteY76" fmla="*/ 284246 h 417942"/>
                <a:gd name="connsiteX77" fmla="*/ 326236 w 392979"/>
                <a:gd name="connsiteY77" fmla="*/ 276109 h 417942"/>
                <a:gd name="connsiteX78" fmla="*/ 366780 w 392979"/>
                <a:gd name="connsiteY78" fmla="*/ 253803 h 417942"/>
                <a:gd name="connsiteX79" fmla="*/ 382493 w 392979"/>
                <a:gd name="connsiteY79" fmla="*/ 238792 h 417942"/>
                <a:gd name="connsiteX80" fmla="*/ 391612 w 392979"/>
                <a:gd name="connsiteY80" fmla="*/ 219853 h 417942"/>
                <a:gd name="connsiteX81" fmla="*/ 391612 w 392979"/>
                <a:gd name="connsiteY81" fmla="*/ 198248 h 41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392979" h="417942">
                  <a:moveTo>
                    <a:pt x="391612" y="198248"/>
                  </a:moveTo>
                  <a:cubicBezTo>
                    <a:pt x="389648" y="190532"/>
                    <a:pt x="385579" y="183097"/>
                    <a:pt x="379827" y="176643"/>
                  </a:cubicBezTo>
                  <a:cubicBezTo>
                    <a:pt x="374356" y="170751"/>
                    <a:pt x="367622" y="165560"/>
                    <a:pt x="359064" y="160791"/>
                  </a:cubicBezTo>
                  <a:cubicBezTo>
                    <a:pt x="351910" y="156722"/>
                    <a:pt x="343773" y="153075"/>
                    <a:pt x="333952" y="149567"/>
                  </a:cubicBezTo>
                  <a:cubicBezTo>
                    <a:pt x="325114" y="146341"/>
                    <a:pt x="316416" y="143815"/>
                    <a:pt x="309682" y="141992"/>
                  </a:cubicBezTo>
                  <a:lnTo>
                    <a:pt x="306736" y="141150"/>
                  </a:lnTo>
                  <a:lnTo>
                    <a:pt x="303509" y="140168"/>
                  </a:lnTo>
                  <a:lnTo>
                    <a:pt x="297056" y="138344"/>
                  </a:lnTo>
                  <a:cubicBezTo>
                    <a:pt x="295373" y="137923"/>
                    <a:pt x="293829" y="137362"/>
                    <a:pt x="292146" y="136941"/>
                  </a:cubicBezTo>
                  <a:lnTo>
                    <a:pt x="287376" y="135679"/>
                  </a:lnTo>
                  <a:lnTo>
                    <a:pt x="284430" y="134977"/>
                  </a:lnTo>
                  <a:lnTo>
                    <a:pt x="281484" y="134276"/>
                  </a:lnTo>
                  <a:cubicBezTo>
                    <a:pt x="281063" y="127261"/>
                    <a:pt x="280642" y="119826"/>
                    <a:pt x="280362" y="112390"/>
                  </a:cubicBezTo>
                  <a:lnTo>
                    <a:pt x="280362" y="111268"/>
                  </a:lnTo>
                  <a:lnTo>
                    <a:pt x="280362" y="110426"/>
                  </a:lnTo>
                  <a:lnTo>
                    <a:pt x="280362" y="109585"/>
                  </a:lnTo>
                  <a:cubicBezTo>
                    <a:pt x="279520" y="91347"/>
                    <a:pt x="278678" y="73109"/>
                    <a:pt x="274469" y="55994"/>
                  </a:cubicBezTo>
                  <a:cubicBezTo>
                    <a:pt x="271804" y="45332"/>
                    <a:pt x="268717" y="36493"/>
                    <a:pt x="265070" y="28777"/>
                  </a:cubicBezTo>
                  <a:cubicBezTo>
                    <a:pt x="261703" y="21482"/>
                    <a:pt x="257915" y="15730"/>
                    <a:pt x="253426" y="11241"/>
                  </a:cubicBezTo>
                  <a:cubicBezTo>
                    <a:pt x="248796" y="6611"/>
                    <a:pt x="243886" y="3385"/>
                    <a:pt x="238695" y="1701"/>
                  </a:cubicBezTo>
                  <a:cubicBezTo>
                    <a:pt x="234907" y="579"/>
                    <a:pt x="230979" y="-123"/>
                    <a:pt x="227051" y="18"/>
                  </a:cubicBezTo>
                  <a:cubicBezTo>
                    <a:pt x="225368" y="18"/>
                    <a:pt x="223825" y="158"/>
                    <a:pt x="222141" y="439"/>
                  </a:cubicBezTo>
                  <a:cubicBezTo>
                    <a:pt x="216950" y="1280"/>
                    <a:pt x="211619" y="3104"/>
                    <a:pt x="206148" y="6050"/>
                  </a:cubicBezTo>
                  <a:cubicBezTo>
                    <a:pt x="200957" y="8716"/>
                    <a:pt x="195626" y="12223"/>
                    <a:pt x="190015" y="16853"/>
                  </a:cubicBezTo>
                  <a:cubicBezTo>
                    <a:pt x="183140" y="22464"/>
                    <a:pt x="176547" y="29058"/>
                    <a:pt x="168410" y="38177"/>
                  </a:cubicBezTo>
                  <a:cubicBezTo>
                    <a:pt x="162377" y="45051"/>
                    <a:pt x="155784" y="53468"/>
                    <a:pt x="148348" y="63710"/>
                  </a:cubicBezTo>
                  <a:cubicBezTo>
                    <a:pt x="137125" y="79562"/>
                    <a:pt x="127305" y="95556"/>
                    <a:pt x="119308" y="111268"/>
                  </a:cubicBezTo>
                  <a:cubicBezTo>
                    <a:pt x="112013" y="107200"/>
                    <a:pt x="103035" y="104534"/>
                    <a:pt x="97142" y="102710"/>
                  </a:cubicBezTo>
                  <a:cubicBezTo>
                    <a:pt x="94196" y="101869"/>
                    <a:pt x="91250" y="100887"/>
                    <a:pt x="88304" y="99905"/>
                  </a:cubicBezTo>
                  <a:lnTo>
                    <a:pt x="87182" y="99484"/>
                  </a:lnTo>
                  <a:cubicBezTo>
                    <a:pt x="82692" y="97940"/>
                    <a:pt x="74135" y="94994"/>
                    <a:pt x="66138" y="93171"/>
                  </a:cubicBezTo>
                  <a:cubicBezTo>
                    <a:pt x="56598" y="90926"/>
                    <a:pt x="49163" y="89944"/>
                    <a:pt x="42148" y="90084"/>
                  </a:cubicBezTo>
                  <a:cubicBezTo>
                    <a:pt x="32889" y="90365"/>
                    <a:pt x="25454" y="92329"/>
                    <a:pt x="19281" y="96117"/>
                  </a:cubicBezTo>
                  <a:cubicBezTo>
                    <a:pt x="15914" y="98081"/>
                    <a:pt x="13108" y="100606"/>
                    <a:pt x="10022" y="104113"/>
                  </a:cubicBezTo>
                  <a:cubicBezTo>
                    <a:pt x="7497" y="107059"/>
                    <a:pt x="5392" y="110847"/>
                    <a:pt x="3428" y="116038"/>
                  </a:cubicBezTo>
                  <a:cubicBezTo>
                    <a:pt x="202" y="124315"/>
                    <a:pt x="-780" y="133855"/>
                    <a:pt x="623" y="144517"/>
                  </a:cubicBezTo>
                  <a:cubicBezTo>
                    <a:pt x="1885" y="153075"/>
                    <a:pt x="4691" y="162053"/>
                    <a:pt x="9741" y="172715"/>
                  </a:cubicBezTo>
                  <a:cubicBezTo>
                    <a:pt x="14090" y="182255"/>
                    <a:pt x="19562" y="191234"/>
                    <a:pt x="24893" y="199370"/>
                  </a:cubicBezTo>
                  <a:lnTo>
                    <a:pt x="30084" y="207507"/>
                  </a:lnTo>
                  <a:lnTo>
                    <a:pt x="32749" y="211576"/>
                  </a:lnTo>
                  <a:lnTo>
                    <a:pt x="34713" y="214522"/>
                  </a:lnTo>
                  <a:lnTo>
                    <a:pt x="35555" y="215925"/>
                  </a:lnTo>
                  <a:lnTo>
                    <a:pt x="36116" y="216766"/>
                  </a:lnTo>
                  <a:cubicBezTo>
                    <a:pt x="38922" y="221256"/>
                    <a:pt x="42710" y="227288"/>
                    <a:pt x="45936" y="233180"/>
                  </a:cubicBezTo>
                  <a:cubicBezTo>
                    <a:pt x="41307" y="242720"/>
                    <a:pt x="36958" y="253522"/>
                    <a:pt x="33170" y="265307"/>
                  </a:cubicBezTo>
                  <a:cubicBezTo>
                    <a:pt x="27278" y="283404"/>
                    <a:pt x="24332" y="298556"/>
                    <a:pt x="23630" y="313006"/>
                  </a:cubicBezTo>
                  <a:cubicBezTo>
                    <a:pt x="22929" y="330402"/>
                    <a:pt x="26436" y="344711"/>
                    <a:pt x="34152" y="355233"/>
                  </a:cubicBezTo>
                  <a:cubicBezTo>
                    <a:pt x="34573" y="355794"/>
                    <a:pt x="35134" y="356075"/>
                    <a:pt x="35415" y="356636"/>
                  </a:cubicBezTo>
                  <a:cubicBezTo>
                    <a:pt x="36817" y="358319"/>
                    <a:pt x="38361" y="360003"/>
                    <a:pt x="40044" y="361546"/>
                  </a:cubicBezTo>
                  <a:cubicBezTo>
                    <a:pt x="41166" y="362528"/>
                    <a:pt x="42429" y="363510"/>
                    <a:pt x="43692" y="364352"/>
                  </a:cubicBezTo>
                  <a:cubicBezTo>
                    <a:pt x="45375" y="365614"/>
                    <a:pt x="47199" y="366737"/>
                    <a:pt x="49163" y="367719"/>
                  </a:cubicBezTo>
                  <a:cubicBezTo>
                    <a:pt x="50005" y="368140"/>
                    <a:pt x="50566" y="368701"/>
                    <a:pt x="51408" y="369122"/>
                  </a:cubicBezTo>
                  <a:cubicBezTo>
                    <a:pt x="58001" y="372348"/>
                    <a:pt x="65577" y="373892"/>
                    <a:pt x="74135" y="373751"/>
                  </a:cubicBezTo>
                  <a:cubicBezTo>
                    <a:pt x="75818" y="373751"/>
                    <a:pt x="77361" y="373611"/>
                    <a:pt x="78905" y="373471"/>
                  </a:cubicBezTo>
                  <a:cubicBezTo>
                    <a:pt x="86059" y="372769"/>
                    <a:pt x="93495" y="370665"/>
                    <a:pt x="101632" y="367298"/>
                  </a:cubicBezTo>
                  <a:cubicBezTo>
                    <a:pt x="108786" y="364352"/>
                    <a:pt x="115661" y="360704"/>
                    <a:pt x="123377" y="355514"/>
                  </a:cubicBezTo>
                  <a:cubicBezTo>
                    <a:pt x="129129" y="351866"/>
                    <a:pt x="135301" y="347377"/>
                    <a:pt x="142456" y="341204"/>
                  </a:cubicBezTo>
                  <a:cubicBezTo>
                    <a:pt x="146805" y="337416"/>
                    <a:pt x="150312" y="334189"/>
                    <a:pt x="153539" y="330822"/>
                  </a:cubicBezTo>
                  <a:cubicBezTo>
                    <a:pt x="153679" y="331243"/>
                    <a:pt x="153820" y="331664"/>
                    <a:pt x="154100" y="332085"/>
                  </a:cubicBezTo>
                  <a:cubicBezTo>
                    <a:pt x="154661" y="333769"/>
                    <a:pt x="155503" y="335592"/>
                    <a:pt x="156345" y="337135"/>
                  </a:cubicBezTo>
                  <a:lnTo>
                    <a:pt x="156906" y="338118"/>
                  </a:lnTo>
                  <a:lnTo>
                    <a:pt x="157467" y="339240"/>
                  </a:lnTo>
                  <a:lnTo>
                    <a:pt x="158730" y="341765"/>
                  </a:lnTo>
                  <a:cubicBezTo>
                    <a:pt x="164622" y="352848"/>
                    <a:pt x="171356" y="365474"/>
                    <a:pt x="178932" y="376697"/>
                  </a:cubicBezTo>
                  <a:cubicBezTo>
                    <a:pt x="184964" y="385536"/>
                    <a:pt x="191838" y="393532"/>
                    <a:pt x="199695" y="400406"/>
                  </a:cubicBezTo>
                  <a:cubicBezTo>
                    <a:pt x="208393" y="407982"/>
                    <a:pt x="217792" y="413313"/>
                    <a:pt x="226911" y="415838"/>
                  </a:cubicBezTo>
                  <a:cubicBezTo>
                    <a:pt x="231540" y="417241"/>
                    <a:pt x="235749" y="417943"/>
                    <a:pt x="239958" y="417943"/>
                  </a:cubicBezTo>
                  <a:lnTo>
                    <a:pt x="241080" y="417943"/>
                  </a:lnTo>
                  <a:cubicBezTo>
                    <a:pt x="245008" y="417802"/>
                    <a:pt x="249077" y="417101"/>
                    <a:pt x="253566" y="415698"/>
                  </a:cubicBezTo>
                  <a:cubicBezTo>
                    <a:pt x="260861" y="413453"/>
                    <a:pt x="267735" y="408684"/>
                    <a:pt x="274189" y="401388"/>
                  </a:cubicBezTo>
                  <a:cubicBezTo>
                    <a:pt x="277415" y="397601"/>
                    <a:pt x="279660" y="393672"/>
                    <a:pt x="281484" y="390306"/>
                  </a:cubicBezTo>
                  <a:cubicBezTo>
                    <a:pt x="283728" y="386377"/>
                    <a:pt x="285552" y="381888"/>
                    <a:pt x="287095" y="376557"/>
                  </a:cubicBezTo>
                  <a:cubicBezTo>
                    <a:pt x="288779" y="371507"/>
                    <a:pt x="289761" y="366316"/>
                    <a:pt x="290603" y="361406"/>
                  </a:cubicBezTo>
                  <a:cubicBezTo>
                    <a:pt x="291585" y="355654"/>
                    <a:pt x="292286" y="350042"/>
                    <a:pt x="292988" y="343168"/>
                  </a:cubicBezTo>
                  <a:cubicBezTo>
                    <a:pt x="293970" y="332927"/>
                    <a:pt x="294250" y="322966"/>
                    <a:pt x="294110" y="312725"/>
                  </a:cubicBezTo>
                  <a:cubicBezTo>
                    <a:pt x="293970" y="304728"/>
                    <a:pt x="293549" y="296732"/>
                    <a:pt x="292847" y="288876"/>
                  </a:cubicBezTo>
                  <a:lnTo>
                    <a:pt x="305754" y="284246"/>
                  </a:lnTo>
                  <a:cubicBezTo>
                    <a:pt x="312628" y="281580"/>
                    <a:pt x="319503" y="278915"/>
                    <a:pt x="326236" y="276109"/>
                  </a:cubicBezTo>
                  <a:cubicBezTo>
                    <a:pt x="343352" y="268814"/>
                    <a:pt x="356259" y="261800"/>
                    <a:pt x="366780" y="253803"/>
                  </a:cubicBezTo>
                  <a:cubicBezTo>
                    <a:pt x="372673" y="249454"/>
                    <a:pt x="378004" y="244404"/>
                    <a:pt x="382493" y="238792"/>
                  </a:cubicBezTo>
                  <a:cubicBezTo>
                    <a:pt x="386842" y="233180"/>
                    <a:pt x="389928" y="226727"/>
                    <a:pt x="391612" y="219853"/>
                  </a:cubicBezTo>
                  <a:cubicBezTo>
                    <a:pt x="393436" y="212979"/>
                    <a:pt x="393436" y="205683"/>
                    <a:pt x="391612" y="198248"/>
                  </a:cubicBezTo>
                  <a:close/>
                </a:path>
              </a:pathLst>
            </a:custGeom>
            <a:solidFill>
              <a:srgbClr val="EBF5D0"/>
            </a:solidFill>
            <a:ln w="139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 69">
              <a:extLst>
                <a:ext uri="{FF2B5EF4-FFF2-40B4-BE49-F238E27FC236}">
                  <a16:creationId xmlns:a16="http://schemas.microsoft.com/office/drawing/2014/main" id="{F71B5B5E-DDBD-4586-A667-BC16B525CAEA}"/>
                </a:ext>
              </a:extLst>
            </p:cNvPr>
            <p:cNvSpPr/>
            <p:nvPr/>
          </p:nvSpPr>
          <p:spPr>
            <a:xfrm>
              <a:off x="4864514" y="3342623"/>
              <a:ext cx="287607" cy="276676"/>
            </a:xfrm>
            <a:custGeom>
              <a:avLst/>
              <a:gdLst>
                <a:gd name="connsiteX0" fmla="*/ 39605 w 174097"/>
                <a:gd name="connsiteY0" fmla="*/ 1841 h 167480"/>
                <a:gd name="connsiteX1" fmla="*/ 50178 w 174097"/>
                <a:gd name="connsiteY1" fmla="*/ 126 h 167480"/>
                <a:gd name="connsiteX2" fmla="*/ 61227 w 174097"/>
                <a:gd name="connsiteY2" fmla="*/ 3079 h 167480"/>
                <a:gd name="connsiteX3" fmla="*/ 71799 w 174097"/>
                <a:gd name="connsiteY3" fmla="*/ 8794 h 167480"/>
                <a:gd name="connsiteX4" fmla="*/ 80848 w 174097"/>
                <a:gd name="connsiteY4" fmla="*/ 15176 h 167480"/>
                <a:gd name="connsiteX5" fmla="*/ 81991 w 174097"/>
                <a:gd name="connsiteY5" fmla="*/ 16033 h 167480"/>
                <a:gd name="connsiteX6" fmla="*/ 83229 w 174097"/>
                <a:gd name="connsiteY6" fmla="*/ 16890 h 167480"/>
                <a:gd name="connsiteX7" fmla="*/ 85611 w 174097"/>
                <a:gd name="connsiteY7" fmla="*/ 18700 h 167480"/>
                <a:gd name="connsiteX8" fmla="*/ 87230 w 174097"/>
                <a:gd name="connsiteY8" fmla="*/ 20033 h 167480"/>
                <a:gd name="connsiteX9" fmla="*/ 88944 w 174097"/>
                <a:gd name="connsiteY9" fmla="*/ 21367 h 167480"/>
                <a:gd name="connsiteX10" fmla="*/ 89992 w 174097"/>
                <a:gd name="connsiteY10" fmla="*/ 22224 h 167480"/>
                <a:gd name="connsiteX11" fmla="*/ 91040 w 174097"/>
                <a:gd name="connsiteY11" fmla="*/ 23081 h 167480"/>
                <a:gd name="connsiteX12" fmla="*/ 98946 w 174097"/>
                <a:gd name="connsiteY12" fmla="*/ 17652 h 167480"/>
                <a:gd name="connsiteX13" fmla="*/ 99327 w 174097"/>
                <a:gd name="connsiteY13" fmla="*/ 17366 h 167480"/>
                <a:gd name="connsiteX14" fmla="*/ 99612 w 174097"/>
                <a:gd name="connsiteY14" fmla="*/ 17176 h 167480"/>
                <a:gd name="connsiteX15" fmla="*/ 99898 w 174097"/>
                <a:gd name="connsiteY15" fmla="*/ 16985 h 167480"/>
                <a:gd name="connsiteX16" fmla="*/ 119996 w 174097"/>
                <a:gd name="connsiteY16" fmla="*/ 4793 h 167480"/>
                <a:gd name="connsiteX17" fmla="*/ 131902 w 174097"/>
                <a:gd name="connsiteY17" fmla="*/ 793 h 167480"/>
                <a:gd name="connsiteX18" fmla="*/ 141141 w 174097"/>
                <a:gd name="connsiteY18" fmla="*/ 126 h 167480"/>
                <a:gd name="connsiteX19" fmla="*/ 148285 w 174097"/>
                <a:gd name="connsiteY19" fmla="*/ 2698 h 167480"/>
                <a:gd name="connsiteX20" fmla="*/ 152000 w 174097"/>
                <a:gd name="connsiteY20" fmla="*/ 6222 h 167480"/>
                <a:gd name="connsiteX21" fmla="*/ 153143 w 174097"/>
                <a:gd name="connsiteY21" fmla="*/ 8032 h 167480"/>
                <a:gd name="connsiteX22" fmla="*/ 155429 w 174097"/>
                <a:gd name="connsiteY22" fmla="*/ 15080 h 167480"/>
                <a:gd name="connsiteX23" fmla="*/ 156000 w 174097"/>
                <a:gd name="connsiteY23" fmla="*/ 23558 h 167480"/>
                <a:gd name="connsiteX24" fmla="*/ 154381 w 174097"/>
                <a:gd name="connsiteY24" fmla="*/ 36702 h 167480"/>
                <a:gd name="connsiteX25" fmla="*/ 150857 w 174097"/>
                <a:gd name="connsiteY25" fmla="*/ 50418 h 167480"/>
                <a:gd name="connsiteX26" fmla="*/ 142094 w 174097"/>
                <a:gd name="connsiteY26" fmla="*/ 73183 h 167480"/>
                <a:gd name="connsiteX27" fmla="*/ 150952 w 174097"/>
                <a:gd name="connsiteY27" fmla="*/ 78612 h 167480"/>
                <a:gd name="connsiteX28" fmla="*/ 154286 w 174097"/>
                <a:gd name="connsiteY28" fmla="*/ 80898 h 167480"/>
                <a:gd name="connsiteX29" fmla="*/ 154762 w 174097"/>
                <a:gd name="connsiteY29" fmla="*/ 81184 h 167480"/>
                <a:gd name="connsiteX30" fmla="*/ 162573 w 174097"/>
                <a:gd name="connsiteY30" fmla="*/ 86804 h 167480"/>
                <a:gd name="connsiteX31" fmla="*/ 170002 w 174097"/>
                <a:gd name="connsiteY31" fmla="*/ 94328 h 167480"/>
                <a:gd name="connsiteX32" fmla="*/ 174003 w 174097"/>
                <a:gd name="connsiteY32" fmla="*/ 103853 h 167480"/>
                <a:gd name="connsiteX33" fmla="*/ 173717 w 174097"/>
                <a:gd name="connsiteY33" fmla="*/ 109092 h 167480"/>
                <a:gd name="connsiteX34" fmla="*/ 171336 w 174097"/>
                <a:gd name="connsiteY34" fmla="*/ 114617 h 167480"/>
                <a:gd name="connsiteX35" fmla="*/ 162192 w 174097"/>
                <a:gd name="connsiteY35" fmla="*/ 123094 h 167480"/>
                <a:gd name="connsiteX36" fmla="*/ 150000 w 174097"/>
                <a:gd name="connsiteY36" fmla="*/ 127380 h 167480"/>
                <a:gd name="connsiteX37" fmla="*/ 136665 w 174097"/>
                <a:gd name="connsiteY37" fmla="*/ 129190 h 167480"/>
                <a:gd name="connsiteX38" fmla="*/ 132474 w 174097"/>
                <a:gd name="connsiteY38" fmla="*/ 129571 h 167480"/>
                <a:gd name="connsiteX39" fmla="*/ 130378 w 174097"/>
                <a:gd name="connsiteY39" fmla="*/ 129761 h 167480"/>
                <a:gd name="connsiteX40" fmla="*/ 128854 w 174097"/>
                <a:gd name="connsiteY40" fmla="*/ 129857 h 167480"/>
                <a:gd name="connsiteX41" fmla="*/ 128187 w 174097"/>
                <a:gd name="connsiteY41" fmla="*/ 129952 h 167480"/>
                <a:gd name="connsiteX42" fmla="*/ 127711 w 174097"/>
                <a:gd name="connsiteY42" fmla="*/ 129952 h 167480"/>
                <a:gd name="connsiteX43" fmla="*/ 119424 w 174097"/>
                <a:gd name="connsiteY43" fmla="*/ 130904 h 167480"/>
                <a:gd name="connsiteX44" fmla="*/ 111614 w 174097"/>
                <a:gd name="connsiteY44" fmla="*/ 143858 h 167480"/>
                <a:gd name="connsiteX45" fmla="*/ 97612 w 174097"/>
                <a:gd name="connsiteY45" fmla="*/ 159860 h 167480"/>
                <a:gd name="connsiteX46" fmla="*/ 80181 w 174097"/>
                <a:gd name="connsiteY46" fmla="*/ 167480 h 167480"/>
                <a:gd name="connsiteX47" fmla="*/ 79324 w 174097"/>
                <a:gd name="connsiteY47" fmla="*/ 167385 h 167480"/>
                <a:gd name="connsiteX48" fmla="*/ 76371 w 174097"/>
                <a:gd name="connsiteY48" fmla="*/ 167099 h 167480"/>
                <a:gd name="connsiteX49" fmla="*/ 74466 w 174097"/>
                <a:gd name="connsiteY49" fmla="*/ 166623 h 167480"/>
                <a:gd name="connsiteX50" fmla="*/ 71799 w 174097"/>
                <a:gd name="connsiteY50" fmla="*/ 165671 h 167480"/>
                <a:gd name="connsiteX51" fmla="*/ 70752 w 174097"/>
                <a:gd name="connsiteY51" fmla="*/ 165290 h 167480"/>
                <a:gd name="connsiteX52" fmla="*/ 63132 w 174097"/>
                <a:gd name="connsiteY52" fmla="*/ 158622 h 167480"/>
                <a:gd name="connsiteX53" fmla="*/ 61989 w 174097"/>
                <a:gd name="connsiteY53" fmla="*/ 156908 h 167480"/>
                <a:gd name="connsiteX54" fmla="*/ 58083 w 174097"/>
                <a:gd name="connsiteY54" fmla="*/ 147383 h 167480"/>
                <a:gd name="connsiteX55" fmla="*/ 56369 w 174097"/>
                <a:gd name="connsiteY55" fmla="*/ 136715 h 167480"/>
                <a:gd name="connsiteX56" fmla="*/ 56274 w 174097"/>
                <a:gd name="connsiteY56" fmla="*/ 126332 h 167480"/>
                <a:gd name="connsiteX57" fmla="*/ 56940 w 174097"/>
                <a:gd name="connsiteY57" fmla="*/ 119760 h 167480"/>
                <a:gd name="connsiteX58" fmla="*/ 56369 w 174097"/>
                <a:gd name="connsiteY58" fmla="*/ 119951 h 167480"/>
                <a:gd name="connsiteX59" fmla="*/ 53988 w 174097"/>
                <a:gd name="connsiteY59" fmla="*/ 120522 h 167480"/>
                <a:gd name="connsiteX60" fmla="*/ 53511 w 174097"/>
                <a:gd name="connsiteY60" fmla="*/ 120617 h 167480"/>
                <a:gd name="connsiteX61" fmla="*/ 52940 w 174097"/>
                <a:gd name="connsiteY61" fmla="*/ 120713 h 167480"/>
                <a:gd name="connsiteX62" fmla="*/ 51702 w 174097"/>
                <a:gd name="connsiteY62" fmla="*/ 120903 h 167480"/>
                <a:gd name="connsiteX63" fmla="*/ 34271 w 174097"/>
                <a:gd name="connsiteY63" fmla="*/ 123189 h 167480"/>
                <a:gd name="connsiteX64" fmla="*/ 20555 w 174097"/>
                <a:gd name="connsiteY64" fmla="*/ 122332 h 167480"/>
                <a:gd name="connsiteX65" fmla="*/ 7982 w 174097"/>
                <a:gd name="connsiteY65" fmla="*/ 116998 h 167480"/>
                <a:gd name="connsiteX66" fmla="*/ 3886 w 174097"/>
                <a:gd name="connsiteY66" fmla="*/ 112807 h 167480"/>
                <a:gd name="connsiteX67" fmla="*/ 3600 w 174097"/>
                <a:gd name="connsiteY67" fmla="*/ 112426 h 167480"/>
                <a:gd name="connsiteX68" fmla="*/ 1029 w 174097"/>
                <a:gd name="connsiteY68" fmla="*/ 107473 h 167480"/>
                <a:gd name="connsiteX69" fmla="*/ 457 w 174097"/>
                <a:gd name="connsiteY69" fmla="*/ 96519 h 167480"/>
                <a:gd name="connsiteX70" fmla="*/ 2362 w 174097"/>
                <a:gd name="connsiteY70" fmla="*/ 90995 h 167480"/>
                <a:gd name="connsiteX71" fmla="*/ 5601 w 174097"/>
                <a:gd name="connsiteY71" fmla="*/ 85375 h 167480"/>
                <a:gd name="connsiteX72" fmla="*/ 9887 w 174097"/>
                <a:gd name="connsiteY72" fmla="*/ 80136 h 167480"/>
                <a:gd name="connsiteX73" fmla="*/ 15507 w 174097"/>
                <a:gd name="connsiteY73" fmla="*/ 74421 h 167480"/>
                <a:gd name="connsiteX74" fmla="*/ 25698 w 174097"/>
                <a:gd name="connsiteY74" fmla="*/ 65944 h 167480"/>
                <a:gd name="connsiteX75" fmla="*/ 34366 w 174097"/>
                <a:gd name="connsiteY75" fmla="*/ 60038 h 167480"/>
                <a:gd name="connsiteX76" fmla="*/ 32556 w 174097"/>
                <a:gd name="connsiteY76" fmla="*/ 54323 h 167480"/>
                <a:gd name="connsiteX77" fmla="*/ 29889 w 174097"/>
                <a:gd name="connsiteY77" fmla="*/ 45084 h 167480"/>
                <a:gd name="connsiteX78" fmla="*/ 26841 w 174097"/>
                <a:gd name="connsiteY78" fmla="*/ 25082 h 167480"/>
                <a:gd name="connsiteX79" fmla="*/ 27984 w 174097"/>
                <a:gd name="connsiteY79" fmla="*/ 15557 h 167480"/>
                <a:gd name="connsiteX80" fmla="*/ 32175 w 174097"/>
                <a:gd name="connsiteY80" fmla="*/ 7365 h 167480"/>
                <a:gd name="connsiteX81" fmla="*/ 39605 w 174097"/>
                <a:gd name="connsiteY81" fmla="*/ 1841 h 16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74097" h="167480">
                  <a:moveTo>
                    <a:pt x="39605" y="1841"/>
                  </a:moveTo>
                  <a:cubicBezTo>
                    <a:pt x="42748" y="412"/>
                    <a:pt x="46463" y="-160"/>
                    <a:pt x="50178" y="126"/>
                  </a:cubicBezTo>
                  <a:cubicBezTo>
                    <a:pt x="53702" y="412"/>
                    <a:pt x="57321" y="1364"/>
                    <a:pt x="61227" y="3079"/>
                  </a:cubicBezTo>
                  <a:cubicBezTo>
                    <a:pt x="64560" y="4508"/>
                    <a:pt x="67989" y="6317"/>
                    <a:pt x="71799" y="8794"/>
                  </a:cubicBezTo>
                  <a:cubicBezTo>
                    <a:pt x="75324" y="10985"/>
                    <a:pt x="78467" y="13366"/>
                    <a:pt x="80848" y="15176"/>
                  </a:cubicBezTo>
                  <a:lnTo>
                    <a:pt x="81991" y="16033"/>
                  </a:lnTo>
                  <a:lnTo>
                    <a:pt x="83229" y="16890"/>
                  </a:lnTo>
                  <a:lnTo>
                    <a:pt x="85611" y="18700"/>
                  </a:lnTo>
                  <a:cubicBezTo>
                    <a:pt x="86087" y="19081"/>
                    <a:pt x="86658" y="19557"/>
                    <a:pt x="87230" y="20033"/>
                  </a:cubicBezTo>
                  <a:lnTo>
                    <a:pt x="88944" y="21367"/>
                  </a:lnTo>
                  <a:lnTo>
                    <a:pt x="89992" y="22224"/>
                  </a:lnTo>
                  <a:lnTo>
                    <a:pt x="91040" y="23081"/>
                  </a:lnTo>
                  <a:cubicBezTo>
                    <a:pt x="93612" y="21367"/>
                    <a:pt x="96279" y="19462"/>
                    <a:pt x="98946" y="17652"/>
                  </a:cubicBezTo>
                  <a:lnTo>
                    <a:pt x="99327" y="17366"/>
                  </a:lnTo>
                  <a:lnTo>
                    <a:pt x="99612" y="17176"/>
                  </a:lnTo>
                  <a:lnTo>
                    <a:pt x="99898" y="16985"/>
                  </a:lnTo>
                  <a:cubicBezTo>
                    <a:pt x="106470" y="12413"/>
                    <a:pt x="112947" y="7841"/>
                    <a:pt x="119996" y="4793"/>
                  </a:cubicBezTo>
                  <a:cubicBezTo>
                    <a:pt x="124377" y="2888"/>
                    <a:pt x="128283" y="1555"/>
                    <a:pt x="131902" y="793"/>
                  </a:cubicBezTo>
                  <a:cubicBezTo>
                    <a:pt x="135331" y="31"/>
                    <a:pt x="138284" y="-160"/>
                    <a:pt x="141141" y="126"/>
                  </a:cubicBezTo>
                  <a:cubicBezTo>
                    <a:pt x="143999" y="507"/>
                    <a:pt x="146380" y="1364"/>
                    <a:pt x="148285" y="2698"/>
                  </a:cubicBezTo>
                  <a:cubicBezTo>
                    <a:pt x="149714" y="3650"/>
                    <a:pt x="150952" y="4889"/>
                    <a:pt x="152000" y="6222"/>
                  </a:cubicBezTo>
                  <a:cubicBezTo>
                    <a:pt x="152381" y="6794"/>
                    <a:pt x="152762" y="7365"/>
                    <a:pt x="153143" y="8032"/>
                  </a:cubicBezTo>
                  <a:cubicBezTo>
                    <a:pt x="154191" y="10032"/>
                    <a:pt x="154953" y="12413"/>
                    <a:pt x="155429" y="15080"/>
                  </a:cubicBezTo>
                  <a:cubicBezTo>
                    <a:pt x="155905" y="17652"/>
                    <a:pt x="156096" y="20414"/>
                    <a:pt x="156000" y="23558"/>
                  </a:cubicBezTo>
                  <a:cubicBezTo>
                    <a:pt x="155905" y="27463"/>
                    <a:pt x="155334" y="31463"/>
                    <a:pt x="154381" y="36702"/>
                  </a:cubicBezTo>
                  <a:cubicBezTo>
                    <a:pt x="153619" y="40703"/>
                    <a:pt x="152476" y="45179"/>
                    <a:pt x="150857" y="50418"/>
                  </a:cubicBezTo>
                  <a:cubicBezTo>
                    <a:pt x="148380" y="58514"/>
                    <a:pt x="145428" y="66134"/>
                    <a:pt x="142094" y="73183"/>
                  </a:cubicBezTo>
                  <a:cubicBezTo>
                    <a:pt x="145428" y="74612"/>
                    <a:pt x="148761" y="76993"/>
                    <a:pt x="150952" y="78612"/>
                  </a:cubicBezTo>
                  <a:cubicBezTo>
                    <a:pt x="152095" y="79374"/>
                    <a:pt x="153143" y="80136"/>
                    <a:pt x="154286" y="80898"/>
                  </a:cubicBezTo>
                  <a:lnTo>
                    <a:pt x="154762" y="81184"/>
                  </a:lnTo>
                  <a:cubicBezTo>
                    <a:pt x="156477" y="82327"/>
                    <a:pt x="159810" y="84518"/>
                    <a:pt x="162573" y="86804"/>
                  </a:cubicBezTo>
                  <a:cubicBezTo>
                    <a:pt x="165906" y="89471"/>
                    <a:pt x="168192" y="91852"/>
                    <a:pt x="170002" y="94328"/>
                  </a:cubicBezTo>
                  <a:cubicBezTo>
                    <a:pt x="172383" y="97567"/>
                    <a:pt x="173622" y="100710"/>
                    <a:pt x="174003" y="103853"/>
                  </a:cubicBezTo>
                  <a:cubicBezTo>
                    <a:pt x="174193" y="105473"/>
                    <a:pt x="174098" y="107187"/>
                    <a:pt x="173717" y="109092"/>
                  </a:cubicBezTo>
                  <a:cubicBezTo>
                    <a:pt x="173336" y="110807"/>
                    <a:pt x="172574" y="112521"/>
                    <a:pt x="171336" y="114617"/>
                  </a:cubicBezTo>
                  <a:cubicBezTo>
                    <a:pt x="169335" y="117950"/>
                    <a:pt x="166287" y="120808"/>
                    <a:pt x="162192" y="123094"/>
                  </a:cubicBezTo>
                  <a:cubicBezTo>
                    <a:pt x="158858" y="124999"/>
                    <a:pt x="155048" y="126332"/>
                    <a:pt x="150000" y="127380"/>
                  </a:cubicBezTo>
                  <a:cubicBezTo>
                    <a:pt x="145523" y="128428"/>
                    <a:pt x="140951" y="128904"/>
                    <a:pt x="136665" y="129190"/>
                  </a:cubicBezTo>
                  <a:lnTo>
                    <a:pt x="132474" y="129571"/>
                  </a:lnTo>
                  <a:lnTo>
                    <a:pt x="130378" y="129761"/>
                  </a:lnTo>
                  <a:lnTo>
                    <a:pt x="128854" y="129857"/>
                  </a:lnTo>
                  <a:lnTo>
                    <a:pt x="128187" y="129952"/>
                  </a:lnTo>
                  <a:lnTo>
                    <a:pt x="127711" y="129952"/>
                  </a:lnTo>
                  <a:cubicBezTo>
                    <a:pt x="125425" y="130142"/>
                    <a:pt x="122282" y="130428"/>
                    <a:pt x="119424" y="130904"/>
                  </a:cubicBezTo>
                  <a:cubicBezTo>
                    <a:pt x="117329" y="135095"/>
                    <a:pt x="114757" y="139477"/>
                    <a:pt x="111614" y="143858"/>
                  </a:cubicBezTo>
                  <a:cubicBezTo>
                    <a:pt x="106851" y="150716"/>
                    <a:pt x="102470" y="155765"/>
                    <a:pt x="97612" y="159860"/>
                  </a:cubicBezTo>
                  <a:cubicBezTo>
                    <a:pt x="91707" y="164718"/>
                    <a:pt x="85896" y="167290"/>
                    <a:pt x="80181" y="167480"/>
                  </a:cubicBezTo>
                  <a:cubicBezTo>
                    <a:pt x="79896" y="167480"/>
                    <a:pt x="79610" y="167385"/>
                    <a:pt x="79324" y="167385"/>
                  </a:cubicBezTo>
                  <a:cubicBezTo>
                    <a:pt x="78372" y="167385"/>
                    <a:pt x="77419" y="167290"/>
                    <a:pt x="76371" y="167099"/>
                  </a:cubicBezTo>
                  <a:cubicBezTo>
                    <a:pt x="75705" y="167004"/>
                    <a:pt x="75133" y="166814"/>
                    <a:pt x="74466" y="166623"/>
                  </a:cubicBezTo>
                  <a:cubicBezTo>
                    <a:pt x="73609" y="166337"/>
                    <a:pt x="72752" y="166052"/>
                    <a:pt x="71799" y="165671"/>
                  </a:cubicBezTo>
                  <a:cubicBezTo>
                    <a:pt x="71418" y="165480"/>
                    <a:pt x="71133" y="165480"/>
                    <a:pt x="70752" y="165290"/>
                  </a:cubicBezTo>
                  <a:cubicBezTo>
                    <a:pt x="67894" y="163861"/>
                    <a:pt x="65322" y="161670"/>
                    <a:pt x="63132" y="158622"/>
                  </a:cubicBezTo>
                  <a:cubicBezTo>
                    <a:pt x="62751" y="158051"/>
                    <a:pt x="62370" y="157479"/>
                    <a:pt x="61989" y="156908"/>
                  </a:cubicBezTo>
                  <a:cubicBezTo>
                    <a:pt x="60369" y="154241"/>
                    <a:pt x="59036" y="151097"/>
                    <a:pt x="58083" y="147383"/>
                  </a:cubicBezTo>
                  <a:cubicBezTo>
                    <a:pt x="57226" y="144144"/>
                    <a:pt x="56655" y="140715"/>
                    <a:pt x="56369" y="136715"/>
                  </a:cubicBezTo>
                  <a:cubicBezTo>
                    <a:pt x="56083" y="133762"/>
                    <a:pt x="56083" y="130428"/>
                    <a:pt x="56274" y="126332"/>
                  </a:cubicBezTo>
                  <a:cubicBezTo>
                    <a:pt x="56464" y="123856"/>
                    <a:pt x="56655" y="121760"/>
                    <a:pt x="56940" y="119760"/>
                  </a:cubicBezTo>
                  <a:cubicBezTo>
                    <a:pt x="56750" y="119855"/>
                    <a:pt x="56559" y="119855"/>
                    <a:pt x="56369" y="119951"/>
                  </a:cubicBezTo>
                  <a:cubicBezTo>
                    <a:pt x="55607" y="120236"/>
                    <a:pt x="54750" y="120427"/>
                    <a:pt x="53988" y="120522"/>
                  </a:cubicBezTo>
                  <a:lnTo>
                    <a:pt x="53511" y="120617"/>
                  </a:lnTo>
                  <a:lnTo>
                    <a:pt x="52940" y="120713"/>
                  </a:lnTo>
                  <a:lnTo>
                    <a:pt x="51702" y="120903"/>
                  </a:lnTo>
                  <a:cubicBezTo>
                    <a:pt x="46272" y="121856"/>
                    <a:pt x="40176" y="122808"/>
                    <a:pt x="34271" y="123189"/>
                  </a:cubicBezTo>
                  <a:cubicBezTo>
                    <a:pt x="29604" y="123475"/>
                    <a:pt x="24936" y="123189"/>
                    <a:pt x="20555" y="122332"/>
                  </a:cubicBezTo>
                  <a:cubicBezTo>
                    <a:pt x="15602" y="121284"/>
                    <a:pt x="11316" y="119474"/>
                    <a:pt x="7982" y="116998"/>
                  </a:cubicBezTo>
                  <a:cubicBezTo>
                    <a:pt x="6363" y="115474"/>
                    <a:pt x="4934" y="114140"/>
                    <a:pt x="3886" y="112807"/>
                  </a:cubicBezTo>
                  <a:lnTo>
                    <a:pt x="3600" y="112426"/>
                  </a:lnTo>
                  <a:cubicBezTo>
                    <a:pt x="2553" y="110997"/>
                    <a:pt x="1791" y="109473"/>
                    <a:pt x="1029" y="107473"/>
                  </a:cubicBezTo>
                  <a:cubicBezTo>
                    <a:pt x="-114" y="104330"/>
                    <a:pt x="-305" y="100710"/>
                    <a:pt x="457" y="96519"/>
                  </a:cubicBezTo>
                  <a:cubicBezTo>
                    <a:pt x="933" y="94424"/>
                    <a:pt x="1695" y="92519"/>
                    <a:pt x="2362" y="90995"/>
                  </a:cubicBezTo>
                  <a:cubicBezTo>
                    <a:pt x="3124" y="89185"/>
                    <a:pt x="4172" y="87280"/>
                    <a:pt x="5601" y="85375"/>
                  </a:cubicBezTo>
                  <a:cubicBezTo>
                    <a:pt x="6934" y="83470"/>
                    <a:pt x="8458" y="81755"/>
                    <a:pt x="9887" y="80136"/>
                  </a:cubicBezTo>
                  <a:cubicBezTo>
                    <a:pt x="11601" y="78231"/>
                    <a:pt x="13411" y="76517"/>
                    <a:pt x="15507" y="74421"/>
                  </a:cubicBezTo>
                  <a:cubicBezTo>
                    <a:pt x="18840" y="71373"/>
                    <a:pt x="22174" y="68611"/>
                    <a:pt x="25698" y="65944"/>
                  </a:cubicBezTo>
                  <a:cubicBezTo>
                    <a:pt x="28461" y="63848"/>
                    <a:pt x="31413" y="61848"/>
                    <a:pt x="34366" y="60038"/>
                  </a:cubicBezTo>
                  <a:lnTo>
                    <a:pt x="32556" y="54323"/>
                  </a:lnTo>
                  <a:cubicBezTo>
                    <a:pt x="31604" y="51180"/>
                    <a:pt x="30747" y="48132"/>
                    <a:pt x="29889" y="45084"/>
                  </a:cubicBezTo>
                  <a:cubicBezTo>
                    <a:pt x="27889" y="37274"/>
                    <a:pt x="26841" y="30892"/>
                    <a:pt x="26841" y="25082"/>
                  </a:cubicBezTo>
                  <a:cubicBezTo>
                    <a:pt x="26937" y="21843"/>
                    <a:pt x="27222" y="18700"/>
                    <a:pt x="27984" y="15557"/>
                  </a:cubicBezTo>
                  <a:cubicBezTo>
                    <a:pt x="28746" y="12509"/>
                    <a:pt x="30175" y="9746"/>
                    <a:pt x="32175" y="7365"/>
                  </a:cubicBezTo>
                  <a:cubicBezTo>
                    <a:pt x="33985" y="5079"/>
                    <a:pt x="36557" y="3174"/>
                    <a:pt x="39605" y="1841"/>
                  </a:cubicBezTo>
                  <a:close/>
                </a:path>
              </a:pathLst>
            </a:custGeom>
            <a:solidFill>
              <a:srgbClr val="EBF5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 70">
              <a:extLst>
                <a:ext uri="{FF2B5EF4-FFF2-40B4-BE49-F238E27FC236}">
                  <a16:creationId xmlns:a16="http://schemas.microsoft.com/office/drawing/2014/main" id="{8A9166A7-77F0-415B-A5DF-5636BDB04178}"/>
                </a:ext>
              </a:extLst>
            </p:cNvPr>
            <p:cNvSpPr/>
            <p:nvPr/>
          </p:nvSpPr>
          <p:spPr>
            <a:xfrm>
              <a:off x="6970530" y="2877368"/>
              <a:ext cx="257556" cy="247767"/>
            </a:xfrm>
            <a:custGeom>
              <a:avLst/>
              <a:gdLst>
                <a:gd name="connsiteX0" fmla="*/ 39605 w 174097"/>
                <a:gd name="connsiteY0" fmla="*/ 1841 h 167480"/>
                <a:gd name="connsiteX1" fmla="*/ 50178 w 174097"/>
                <a:gd name="connsiteY1" fmla="*/ 126 h 167480"/>
                <a:gd name="connsiteX2" fmla="*/ 61227 w 174097"/>
                <a:gd name="connsiteY2" fmla="*/ 3079 h 167480"/>
                <a:gd name="connsiteX3" fmla="*/ 71799 w 174097"/>
                <a:gd name="connsiteY3" fmla="*/ 8794 h 167480"/>
                <a:gd name="connsiteX4" fmla="*/ 80848 w 174097"/>
                <a:gd name="connsiteY4" fmla="*/ 15176 h 167480"/>
                <a:gd name="connsiteX5" fmla="*/ 81991 w 174097"/>
                <a:gd name="connsiteY5" fmla="*/ 16033 h 167480"/>
                <a:gd name="connsiteX6" fmla="*/ 83229 w 174097"/>
                <a:gd name="connsiteY6" fmla="*/ 16890 h 167480"/>
                <a:gd name="connsiteX7" fmla="*/ 85611 w 174097"/>
                <a:gd name="connsiteY7" fmla="*/ 18700 h 167480"/>
                <a:gd name="connsiteX8" fmla="*/ 87230 w 174097"/>
                <a:gd name="connsiteY8" fmla="*/ 20033 h 167480"/>
                <a:gd name="connsiteX9" fmla="*/ 88944 w 174097"/>
                <a:gd name="connsiteY9" fmla="*/ 21367 h 167480"/>
                <a:gd name="connsiteX10" fmla="*/ 89992 w 174097"/>
                <a:gd name="connsiteY10" fmla="*/ 22224 h 167480"/>
                <a:gd name="connsiteX11" fmla="*/ 91040 w 174097"/>
                <a:gd name="connsiteY11" fmla="*/ 23081 h 167480"/>
                <a:gd name="connsiteX12" fmla="*/ 98946 w 174097"/>
                <a:gd name="connsiteY12" fmla="*/ 17652 h 167480"/>
                <a:gd name="connsiteX13" fmla="*/ 99327 w 174097"/>
                <a:gd name="connsiteY13" fmla="*/ 17366 h 167480"/>
                <a:gd name="connsiteX14" fmla="*/ 99612 w 174097"/>
                <a:gd name="connsiteY14" fmla="*/ 17176 h 167480"/>
                <a:gd name="connsiteX15" fmla="*/ 99898 w 174097"/>
                <a:gd name="connsiteY15" fmla="*/ 16985 h 167480"/>
                <a:gd name="connsiteX16" fmla="*/ 119996 w 174097"/>
                <a:gd name="connsiteY16" fmla="*/ 4793 h 167480"/>
                <a:gd name="connsiteX17" fmla="*/ 131902 w 174097"/>
                <a:gd name="connsiteY17" fmla="*/ 793 h 167480"/>
                <a:gd name="connsiteX18" fmla="*/ 141141 w 174097"/>
                <a:gd name="connsiteY18" fmla="*/ 126 h 167480"/>
                <a:gd name="connsiteX19" fmla="*/ 148285 w 174097"/>
                <a:gd name="connsiteY19" fmla="*/ 2698 h 167480"/>
                <a:gd name="connsiteX20" fmla="*/ 152000 w 174097"/>
                <a:gd name="connsiteY20" fmla="*/ 6222 h 167480"/>
                <a:gd name="connsiteX21" fmla="*/ 153143 w 174097"/>
                <a:gd name="connsiteY21" fmla="*/ 8032 h 167480"/>
                <a:gd name="connsiteX22" fmla="*/ 155429 w 174097"/>
                <a:gd name="connsiteY22" fmla="*/ 15080 h 167480"/>
                <a:gd name="connsiteX23" fmla="*/ 156000 w 174097"/>
                <a:gd name="connsiteY23" fmla="*/ 23558 h 167480"/>
                <a:gd name="connsiteX24" fmla="*/ 154381 w 174097"/>
                <a:gd name="connsiteY24" fmla="*/ 36702 h 167480"/>
                <a:gd name="connsiteX25" fmla="*/ 150857 w 174097"/>
                <a:gd name="connsiteY25" fmla="*/ 50418 h 167480"/>
                <a:gd name="connsiteX26" fmla="*/ 142094 w 174097"/>
                <a:gd name="connsiteY26" fmla="*/ 73183 h 167480"/>
                <a:gd name="connsiteX27" fmla="*/ 150952 w 174097"/>
                <a:gd name="connsiteY27" fmla="*/ 78612 h 167480"/>
                <a:gd name="connsiteX28" fmla="*/ 154286 w 174097"/>
                <a:gd name="connsiteY28" fmla="*/ 80898 h 167480"/>
                <a:gd name="connsiteX29" fmla="*/ 154762 w 174097"/>
                <a:gd name="connsiteY29" fmla="*/ 81184 h 167480"/>
                <a:gd name="connsiteX30" fmla="*/ 162573 w 174097"/>
                <a:gd name="connsiteY30" fmla="*/ 86804 h 167480"/>
                <a:gd name="connsiteX31" fmla="*/ 170002 w 174097"/>
                <a:gd name="connsiteY31" fmla="*/ 94328 h 167480"/>
                <a:gd name="connsiteX32" fmla="*/ 174003 w 174097"/>
                <a:gd name="connsiteY32" fmla="*/ 103853 h 167480"/>
                <a:gd name="connsiteX33" fmla="*/ 173717 w 174097"/>
                <a:gd name="connsiteY33" fmla="*/ 109092 h 167480"/>
                <a:gd name="connsiteX34" fmla="*/ 171336 w 174097"/>
                <a:gd name="connsiteY34" fmla="*/ 114617 h 167480"/>
                <a:gd name="connsiteX35" fmla="*/ 162192 w 174097"/>
                <a:gd name="connsiteY35" fmla="*/ 123094 h 167480"/>
                <a:gd name="connsiteX36" fmla="*/ 150000 w 174097"/>
                <a:gd name="connsiteY36" fmla="*/ 127380 h 167480"/>
                <a:gd name="connsiteX37" fmla="*/ 136665 w 174097"/>
                <a:gd name="connsiteY37" fmla="*/ 129190 h 167480"/>
                <a:gd name="connsiteX38" fmla="*/ 132474 w 174097"/>
                <a:gd name="connsiteY38" fmla="*/ 129571 h 167480"/>
                <a:gd name="connsiteX39" fmla="*/ 130378 w 174097"/>
                <a:gd name="connsiteY39" fmla="*/ 129761 h 167480"/>
                <a:gd name="connsiteX40" fmla="*/ 128854 w 174097"/>
                <a:gd name="connsiteY40" fmla="*/ 129857 h 167480"/>
                <a:gd name="connsiteX41" fmla="*/ 128187 w 174097"/>
                <a:gd name="connsiteY41" fmla="*/ 129952 h 167480"/>
                <a:gd name="connsiteX42" fmla="*/ 127711 w 174097"/>
                <a:gd name="connsiteY42" fmla="*/ 129952 h 167480"/>
                <a:gd name="connsiteX43" fmla="*/ 119424 w 174097"/>
                <a:gd name="connsiteY43" fmla="*/ 130904 h 167480"/>
                <a:gd name="connsiteX44" fmla="*/ 111614 w 174097"/>
                <a:gd name="connsiteY44" fmla="*/ 143858 h 167480"/>
                <a:gd name="connsiteX45" fmla="*/ 97612 w 174097"/>
                <a:gd name="connsiteY45" fmla="*/ 159860 h 167480"/>
                <a:gd name="connsiteX46" fmla="*/ 80181 w 174097"/>
                <a:gd name="connsiteY46" fmla="*/ 167480 h 167480"/>
                <a:gd name="connsiteX47" fmla="*/ 79324 w 174097"/>
                <a:gd name="connsiteY47" fmla="*/ 167385 h 167480"/>
                <a:gd name="connsiteX48" fmla="*/ 76371 w 174097"/>
                <a:gd name="connsiteY48" fmla="*/ 167099 h 167480"/>
                <a:gd name="connsiteX49" fmla="*/ 74466 w 174097"/>
                <a:gd name="connsiteY49" fmla="*/ 166623 h 167480"/>
                <a:gd name="connsiteX50" fmla="*/ 71799 w 174097"/>
                <a:gd name="connsiteY50" fmla="*/ 165671 h 167480"/>
                <a:gd name="connsiteX51" fmla="*/ 70752 w 174097"/>
                <a:gd name="connsiteY51" fmla="*/ 165290 h 167480"/>
                <a:gd name="connsiteX52" fmla="*/ 63132 w 174097"/>
                <a:gd name="connsiteY52" fmla="*/ 158622 h 167480"/>
                <a:gd name="connsiteX53" fmla="*/ 61989 w 174097"/>
                <a:gd name="connsiteY53" fmla="*/ 156908 h 167480"/>
                <a:gd name="connsiteX54" fmla="*/ 58083 w 174097"/>
                <a:gd name="connsiteY54" fmla="*/ 147383 h 167480"/>
                <a:gd name="connsiteX55" fmla="*/ 56369 w 174097"/>
                <a:gd name="connsiteY55" fmla="*/ 136715 h 167480"/>
                <a:gd name="connsiteX56" fmla="*/ 56274 w 174097"/>
                <a:gd name="connsiteY56" fmla="*/ 126332 h 167480"/>
                <a:gd name="connsiteX57" fmla="*/ 56940 w 174097"/>
                <a:gd name="connsiteY57" fmla="*/ 119760 h 167480"/>
                <a:gd name="connsiteX58" fmla="*/ 56369 w 174097"/>
                <a:gd name="connsiteY58" fmla="*/ 119951 h 167480"/>
                <a:gd name="connsiteX59" fmla="*/ 53988 w 174097"/>
                <a:gd name="connsiteY59" fmla="*/ 120522 h 167480"/>
                <a:gd name="connsiteX60" fmla="*/ 53511 w 174097"/>
                <a:gd name="connsiteY60" fmla="*/ 120617 h 167480"/>
                <a:gd name="connsiteX61" fmla="*/ 52940 w 174097"/>
                <a:gd name="connsiteY61" fmla="*/ 120713 h 167480"/>
                <a:gd name="connsiteX62" fmla="*/ 51702 w 174097"/>
                <a:gd name="connsiteY62" fmla="*/ 120903 h 167480"/>
                <a:gd name="connsiteX63" fmla="*/ 34271 w 174097"/>
                <a:gd name="connsiteY63" fmla="*/ 123189 h 167480"/>
                <a:gd name="connsiteX64" fmla="*/ 20555 w 174097"/>
                <a:gd name="connsiteY64" fmla="*/ 122332 h 167480"/>
                <a:gd name="connsiteX65" fmla="*/ 7982 w 174097"/>
                <a:gd name="connsiteY65" fmla="*/ 116998 h 167480"/>
                <a:gd name="connsiteX66" fmla="*/ 3886 w 174097"/>
                <a:gd name="connsiteY66" fmla="*/ 112807 h 167480"/>
                <a:gd name="connsiteX67" fmla="*/ 3600 w 174097"/>
                <a:gd name="connsiteY67" fmla="*/ 112426 h 167480"/>
                <a:gd name="connsiteX68" fmla="*/ 1029 w 174097"/>
                <a:gd name="connsiteY68" fmla="*/ 107473 h 167480"/>
                <a:gd name="connsiteX69" fmla="*/ 457 w 174097"/>
                <a:gd name="connsiteY69" fmla="*/ 96519 h 167480"/>
                <a:gd name="connsiteX70" fmla="*/ 2362 w 174097"/>
                <a:gd name="connsiteY70" fmla="*/ 90995 h 167480"/>
                <a:gd name="connsiteX71" fmla="*/ 5601 w 174097"/>
                <a:gd name="connsiteY71" fmla="*/ 85375 h 167480"/>
                <a:gd name="connsiteX72" fmla="*/ 9887 w 174097"/>
                <a:gd name="connsiteY72" fmla="*/ 80136 h 167480"/>
                <a:gd name="connsiteX73" fmla="*/ 15507 w 174097"/>
                <a:gd name="connsiteY73" fmla="*/ 74421 h 167480"/>
                <a:gd name="connsiteX74" fmla="*/ 25698 w 174097"/>
                <a:gd name="connsiteY74" fmla="*/ 65944 h 167480"/>
                <a:gd name="connsiteX75" fmla="*/ 34366 w 174097"/>
                <a:gd name="connsiteY75" fmla="*/ 60038 h 167480"/>
                <a:gd name="connsiteX76" fmla="*/ 32556 w 174097"/>
                <a:gd name="connsiteY76" fmla="*/ 54323 h 167480"/>
                <a:gd name="connsiteX77" fmla="*/ 29889 w 174097"/>
                <a:gd name="connsiteY77" fmla="*/ 45084 h 167480"/>
                <a:gd name="connsiteX78" fmla="*/ 26841 w 174097"/>
                <a:gd name="connsiteY78" fmla="*/ 25082 h 167480"/>
                <a:gd name="connsiteX79" fmla="*/ 27984 w 174097"/>
                <a:gd name="connsiteY79" fmla="*/ 15557 h 167480"/>
                <a:gd name="connsiteX80" fmla="*/ 32175 w 174097"/>
                <a:gd name="connsiteY80" fmla="*/ 7365 h 167480"/>
                <a:gd name="connsiteX81" fmla="*/ 39605 w 174097"/>
                <a:gd name="connsiteY81" fmla="*/ 1841 h 16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74097" h="167480">
                  <a:moveTo>
                    <a:pt x="39605" y="1841"/>
                  </a:moveTo>
                  <a:cubicBezTo>
                    <a:pt x="42748" y="412"/>
                    <a:pt x="46463" y="-160"/>
                    <a:pt x="50178" y="126"/>
                  </a:cubicBezTo>
                  <a:cubicBezTo>
                    <a:pt x="53702" y="412"/>
                    <a:pt x="57321" y="1364"/>
                    <a:pt x="61227" y="3079"/>
                  </a:cubicBezTo>
                  <a:cubicBezTo>
                    <a:pt x="64560" y="4508"/>
                    <a:pt x="67989" y="6317"/>
                    <a:pt x="71799" y="8794"/>
                  </a:cubicBezTo>
                  <a:cubicBezTo>
                    <a:pt x="75324" y="10985"/>
                    <a:pt x="78467" y="13366"/>
                    <a:pt x="80848" y="15176"/>
                  </a:cubicBezTo>
                  <a:lnTo>
                    <a:pt x="81991" y="16033"/>
                  </a:lnTo>
                  <a:lnTo>
                    <a:pt x="83229" y="16890"/>
                  </a:lnTo>
                  <a:lnTo>
                    <a:pt x="85611" y="18700"/>
                  </a:lnTo>
                  <a:cubicBezTo>
                    <a:pt x="86087" y="19081"/>
                    <a:pt x="86658" y="19557"/>
                    <a:pt x="87230" y="20033"/>
                  </a:cubicBezTo>
                  <a:lnTo>
                    <a:pt x="88944" y="21367"/>
                  </a:lnTo>
                  <a:lnTo>
                    <a:pt x="89992" y="22224"/>
                  </a:lnTo>
                  <a:lnTo>
                    <a:pt x="91040" y="23081"/>
                  </a:lnTo>
                  <a:cubicBezTo>
                    <a:pt x="93612" y="21367"/>
                    <a:pt x="96279" y="19462"/>
                    <a:pt x="98946" y="17652"/>
                  </a:cubicBezTo>
                  <a:lnTo>
                    <a:pt x="99327" y="17366"/>
                  </a:lnTo>
                  <a:lnTo>
                    <a:pt x="99612" y="17176"/>
                  </a:lnTo>
                  <a:lnTo>
                    <a:pt x="99898" y="16985"/>
                  </a:lnTo>
                  <a:cubicBezTo>
                    <a:pt x="106470" y="12413"/>
                    <a:pt x="112947" y="7841"/>
                    <a:pt x="119996" y="4793"/>
                  </a:cubicBezTo>
                  <a:cubicBezTo>
                    <a:pt x="124377" y="2888"/>
                    <a:pt x="128283" y="1555"/>
                    <a:pt x="131902" y="793"/>
                  </a:cubicBezTo>
                  <a:cubicBezTo>
                    <a:pt x="135331" y="31"/>
                    <a:pt x="138284" y="-160"/>
                    <a:pt x="141141" y="126"/>
                  </a:cubicBezTo>
                  <a:cubicBezTo>
                    <a:pt x="143999" y="507"/>
                    <a:pt x="146380" y="1364"/>
                    <a:pt x="148285" y="2698"/>
                  </a:cubicBezTo>
                  <a:cubicBezTo>
                    <a:pt x="149714" y="3650"/>
                    <a:pt x="150952" y="4889"/>
                    <a:pt x="152000" y="6222"/>
                  </a:cubicBezTo>
                  <a:cubicBezTo>
                    <a:pt x="152381" y="6794"/>
                    <a:pt x="152762" y="7365"/>
                    <a:pt x="153143" y="8032"/>
                  </a:cubicBezTo>
                  <a:cubicBezTo>
                    <a:pt x="154191" y="10032"/>
                    <a:pt x="154953" y="12413"/>
                    <a:pt x="155429" y="15080"/>
                  </a:cubicBezTo>
                  <a:cubicBezTo>
                    <a:pt x="155905" y="17652"/>
                    <a:pt x="156096" y="20414"/>
                    <a:pt x="156000" y="23558"/>
                  </a:cubicBezTo>
                  <a:cubicBezTo>
                    <a:pt x="155905" y="27463"/>
                    <a:pt x="155334" y="31463"/>
                    <a:pt x="154381" y="36702"/>
                  </a:cubicBezTo>
                  <a:cubicBezTo>
                    <a:pt x="153619" y="40703"/>
                    <a:pt x="152476" y="45179"/>
                    <a:pt x="150857" y="50418"/>
                  </a:cubicBezTo>
                  <a:cubicBezTo>
                    <a:pt x="148380" y="58514"/>
                    <a:pt x="145428" y="66134"/>
                    <a:pt x="142094" y="73183"/>
                  </a:cubicBezTo>
                  <a:cubicBezTo>
                    <a:pt x="145428" y="74612"/>
                    <a:pt x="148761" y="76993"/>
                    <a:pt x="150952" y="78612"/>
                  </a:cubicBezTo>
                  <a:cubicBezTo>
                    <a:pt x="152095" y="79374"/>
                    <a:pt x="153143" y="80136"/>
                    <a:pt x="154286" y="80898"/>
                  </a:cubicBezTo>
                  <a:lnTo>
                    <a:pt x="154762" y="81184"/>
                  </a:lnTo>
                  <a:cubicBezTo>
                    <a:pt x="156477" y="82327"/>
                    <a:pt x="159810" y="84518"/>
                    <a:pt x="162573" y="86804"/>
                  </a:cubicBezTo>
                  <a:cubicBezTo>
                    <a:pt x="165906" y="89471"/>
                    <a:pt x="168192" y="91852"/>
                    <a:pt x="170002" y="94328"/>
                  </a:cubicBezTo>
                  <a:cubicBezTo>
                    <a:pt x="172383" y="97567"/>
                    <a:pt x="173622" y="100710"/>
                    <a:pt x="174003" y="103853"/>
                  </a:cubicBezTo>
                  <a:cubicBezTo>
                    <a:pt x="174193" y="105473"/>
                    <a:pt x="174098" y="107187"/>
                    <a:pt x="173717" y="109092"/>
                  </a:cubicBezTo>
                  <a:cubicBezTo>
                    <a:pt x="173336" y="110807"/>
                    <a:pt x="172574" y="112521"/>
                    <a:pt x="171336" y="114617"/>
                  </a:cubicBezTo>
                  <a:cubicBezTo>
                    <a:pt x="169335" y="117950"/>
                    <a:pt x="166287" y="120808"/>
                    <a:pt x="162192" y="123094"/>
                  </a:cubicBezTo>
                  <a:cubicBezTo>
                    <a:pt x="158858" y="124999"/>
                    <a:pt x="155048" y="126332"/>
                    <a:pt x="150000" y="127380"/>
                  </a:cubicBezTo>
                  <a:cubicBezTo>
                    <a:pt x="145523" y="128428"/>
                    <a:pt x="140951" y="128904"/>
                    <a:pt x="136665" y="129190"/>
                  </a:cubicBezTo>
                  <a:lnTo>
                    <a:pt x="132474" y="129571"/>
                  </a:lnTo>
                  <a:lnTo>
                    <a:pt x="130378" y="129761"/>
                  </a:lnTo>
                  <a:lnTo>
                    <a:pt x="128854" y="129857"/>
                  </a:lnTo>
                  <a:lnTo>
                    <a:pt x="128187" y="129952"/>
                  </a:lnTo>
                  <a:lnTo>
                    <a:pt x="127711" y="129952"/>
                  </a:lnTo>
                  <a:cubicBezTo>
                    <a:pt x="125425" y="130142"/>
                    <a:pt x="122282" y="130428"/>
                    <a:pt x="119424" y="130904"/>
                  </a:cubicBezTo>
                  <a:cubicBezTo>
                    <a:pt x="117329" y="135095"/>
                    <a:pt x="114757" y="139477"/>
                    <a:pt x="111614" y="143858"/>
                  </a:cubicBezTo>
                  <a:cubicBezTo>
                    <a:pt x="106851" y="150716"/>
                    <a:pt x="102470" y="155765"/>
                    <a:pt x="97612" y="159860"/>
                  </a:cubicBezTo>
                  <a:cubicBezTo>
                    <a:pt x="91707" y="164718"/>
                    <a:pt x="85896" y="167290"/>
                    <a:pt x="80181" y="167480"/>
                  </a:cubicBezTo>
                  <a:cubicBezTo>
                    <a:pt x="79896" y="167480"/>
                    <a:pt x="79610" y="167385"/>
                    <a:pt x="79324" y="167385"/>
                  </a:cubicBezTo>
                  <a:cubicBezTo>
                    <a:pt x="78372" y="167385"/>
                    <a:pt x="77419" y="167290"/>
                    <a:pt x="76371" y="167099"/>
                  </a:cubicBezTo>
                  <a:cubicBezTo>
                    <a:pt x="75705" y="167004"/>
                    <a:pt x="75133" y="166814"/>
                    <a:pt x="74466" y="166623"/>
                  </a:cubicBezTo>
                  <a:cubicBezTo>
                    <a:pt x="73609" y="166337"/>
                    <a:pt x="72752" y="166052"/>
                    <a:pt x="71799" y="165671"/>
                  </a:cubicBezTo>
                  <a:cubicBezTo>
                    <a:pt x="71418" y="165480"/>
                    <a:pt x="71133" y="165480"/>
                    <a:pt x="70752" y="165290"/>
                  </a:cubicBezTo>
                  <a:cubicBezTo>
                    <a:pt x="67894" y="163861"/>
                    <a:pt x="65322" y="161670"/>
                    <a:pt x="63132" y="158622"/>
                  </a:cubicBezTo>
                  <a:cubicBezTo>
                    <a:pt x="62751" y="158051"/>
                    <a:pt x="62370" y="157479"/>
                    <a:pt x="61989" y="156908"/>
                  </a:cubicBezTo>
                  <a:cubicBezTo>
                    <a:pt x="60369" y="154241"/>
                    <a:pt x="59036" y="151097"/>
                    <a:pt x="58083" y="147383"/>
                  </a:cubicBezTo>
                  <a:cubicBezTo>
                    <a:pt x="57226" y="144144"/>
                    <a:pt x="56655" y="140715"/>
                    <a:pt x="56369" y="136715"/>
                  </a:cubicBezTo>
                  <a:cubicBezTo>
                    <a:pt x="56083" y="133762"/>
                    <a:pt x="56083" y="130428"/>
                    <a:pt x="56274" y="126332"/>
                  </a:cubicBezTo>
                  <a:cubicBezTo>
                    <a:pt x="56464" y="123856"/>
                    <a:pt x="56655" y="121760"/>
                    <a:pt x="56940" y="119760"/>
                  </a:cubicBezTo>
                  <a:cubicBezTo>
                    <a:pt x="56750" y="119855"/>
                    <a:pt x="56559" y="119855"/>
                    <a:pt x="56369" y="119951"/>
                  </a:cubicBezTo>
                  <a:cubicBezTo>
                    <a:pt x="55607" y="120236"/>
                    <a:pt x="54750" y="120427"/>
                    <a:pt x="53988" y="120522"/>
                  </a:cubicBezTo>
                  <a:lnTo>
                    <a:pt x="53511" y="120617"/>
                  </a:lnTo>
                  <a:lnTo>
                    <a:pt x="52940" y="120713"/>
                  </a:lnTo>
                  <a:lnTo>
                    <a:pt x="51702" y="120903"/>
                  </a:lnTo>
                  <a:cubicBezTo>
                    <a:pt x="46272" y="121856"/>
                    <a:pt x="40176" y="122808"/>
                    <a:pt x="34271" y="123189"/>
                  </a:cubicBezTo>
                  <a:cubicBezTo>
                    <a:pt x="29604" y="123475"/>
                    <a:pt x="24936" y="123189"/>
                    <a:pt x="20555" y="122332"/>
                  </a:cubicBezTo>
                  <a:cubicBezTo>
                    <a:pt x="15602" y="121284"/>
                    <a:pt x="11316" y="119474"/>
                    <a:pt x="7982" y="116998"/>
                  </a:cubicBezTo>
                  <a:cubicBezTo>
                    <a:pt x="6363" y="115474"/>
                    <a:pt x="4934" y="114140"/>
                    <a:pt x="3886" y="112807"/>
                  </a:cubicBezTo>
                  <a:lnTo>
                    <a:pt x="3600" y="112426"/>
                  </a:lnTo>
                  <a:cubicBezTo>
                    <a:pt x="2553" y="110997"/>
                    <a:pt x="1791" y="109473"/>
                    <a:pt x="1029" y="107473"/>
                  </a:cubicBezTo>
                  <a:cubicBezTo>
                    <a:pt x="-114" y="104330"/>
                    <a:pt x="-305" y="100710"/>
                    <a:pt x="457" y="96519"/>
                  </a:cubicBezTo>
                  <a:cubicBezTo>
                    <a:pt x="933" y="94424"/>
                    <a:pt x="1695" y="92519"/>
                    <a:pt x="2362" y="90995"/>
                  </a:cubicBezTo>
                  <a:cubicBezTo>
                    <a:pt x="3124" y="89185"/>
                    <a:pt x="4172" y="87280"/>
                    <a:pt x="5601" y="85375"/>
                  </a:cubicBezTo>
                  <a:cubicBezTo>
                    <a:pt x="6934" y="83470"/>
                    <a:pt x="8458" y="81755"/>
                    <a:pt x="9887" y="80136"/>
                  </a:cubicBezTo>
                  <a:cubicBezTo>
                    <a:pt x="11601" y="78231"/>
                    <a:pt x="13411" y="76517"/>
                    <a:pt x="15507" y="74421"/>
                  </a:cubicBezTo>
                  <a:cubicBezTo>
                    <a:pt x="18840" y="71373"/>
                    <a:pt x="22174" y="68611"/>
                    <a:pt x="25698" y="65944"/>
                  </a:cubicBezTo>
                  <a:cubicBezTo>
                    <a:pt x="28461" y="63848"/>
                    <a:pt x="31413" y="61848"/>
                    <a:pt x="34366" y="60038"/>
                  </a:cubicBezTo>
                  <a:lnTo>
                    <a:pt x="32556" y="54323"/>
                  </a:lnTo>
                  <a:cubicBezTo>
                    <a:pt x="31604" y="51180"/>
                    <a:pt x="30747" y="48132"/>
                    <a:pt x="29889" y="45084"/>
                  </a:cubicBezTo>
                  <a:cubicBezTo>
                    <a:pt x="27889" y="37274"/>
                    <a:pt x="26841" y="30892"/>
                    <a:pt x="26841" y="25082"/>
                  </a:cubicBezTo>
                  <a:cubicBezTo>
                    <a:pt x="26937" y="21843"/>
                    <a:pt x="27222" y="18700"/>
                    <a:pt x="27984" y="15557"/>
                  </a:cubicBezTo>
                  <a:cubicBezTo>
                    <a:pt x="28746" y="12509"/>
                    <a:pt x="30175" y="9746"/>
                    <a:pt x="32175" y="7365"/>
                  </a:cubicBezTo>
                  <a:cubicBezTo>
                    <a:pt x="33985" y="5079"/>
                    <a:pt x="36557" y="3174"/>
                    <a:pt x="39605" y="1841"/>
                  </a:cubicBezTo>
                  <a:close/>
                </a:path>
              </a:pathLst>
            </a:custGeom>
            <a:solidFill>
              <a:srgbClr val="EBF5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 71">
              <a:extLst>
                <a:ext uri="{FF2B5EF4-FFF2-40B4-BE49-F238E27FC236}">
                  <a16:creationId xmlns:a16="http://schemas.microsoft.com/office/drawing/2014/main" id="{422DB84D-5331-4DDF-81D8-25ED5E051729}"/>
                </a:ext>
              </a:extLst>
            </p:cNvPr>
            <p:cNvSpPr/>
            <p:nvPr/>
          </p:nvSpPr>
          <p:spPr>
            <a:xfrm>
              <a:off x="5706342" y="2108909"/>
              <a:ext cx="174097" cy="167480"/>
            </a:xfrm>
            <a:custGeom>
              <a:avLst/>
              <a:gdLst>
                <a:gd name="connsiteX0" fmla="*/ 39605 w 174097"/>
                <a:gd name="connsiteY0" fmla="*/ 1841 h 167480"/>
                <a:gd name="connsiteX1" fmla="*/ 50178 w 174097"/>
                <a:gd name="connsiteY1" fmla="*/ 126 h 167480"/>
                <a:gd name="connsiteX2" fmla="*/ 61227 w 174097"/>
                <a:gd name="connsiteY2" fmla="*/ 3079 h 167480"/>
                <a:gd name="connsiteX3" fmla="*/ 71799 w 174097"/>
                <a:gd name="connsiteY3" fmla="*/ 8794 h 167480"/>
                <a:gd name="connsiteX4" fmla="*/ 80848 w 174097"/>
                <a:gd name="connsiteY4" fmla="*/ 15176 h 167480"/>
                <a:gd name="connsiteX5" fmla="*/ 81991 w 174097"/>
                <a:gd name="connsiteY5" fmla="*/ 16033 h 167480"/>
                <a:gd name="connsiteX6" fmla="*/ 83229 w 174097"/>
                <a:gd name="connsiteY6" fmla="*/ 16890 h 167480"/>
                <a:gd name="connsiteX7" fmla="*/ 85611 w 174097"/>
                <a:gd name="connsiteY7" fmla="*/ 18700 h 167480"/>
                <a:gd name="connsiteX8" fmla="*/ 87230 w 174097"/>
                <a:gd name="connsiteY8" fmla="*/ 20033 h 167480"/>
                <a:gd name="connsiteX9" fmla="*/ 88944 w 174097"/>
                <a:gd name="connsiteY9" fmla="*/ 21367 h 167480"/>
                <a:gd name="connsiteX10" fmla="*/ 89992 w 174097"/>
                <a:gd name="connsiteY10" fmla="*/ 22224 h 167480"/>
                <a:gd name="connsiteX11" fmla="*/ 91040 w 174097"/>
                <a:gd name="connsiteY11" fmla="*/ 23081 h 167480"/>
                <a:gd name="connsiteX12" fmla="*/ 98946 w 174097"/>
                <a:gd name="connsiteY12" fmla="*/ 17652 h 167480"/>
                <a:gd name="connsiteX13" fmla="*/ 99327 w 174097"/>
                <a:gd name="connsiteY13" fmla="*/ 17366 h 167480"/>
                <a:gd name="connsiteX14" fmla="*/ 99612 w 174097"/>
                <a:gd name="connsiteY14" fmla="*/ 17176 h 167480"/>
                <a:gd name="connsiteX15" fmla="*/ 99898 w 174097"/>
                <a:gd name="connsiteY15" fmla="*/ 16985 h 167480"/>
                <a:gd name="connsiteX16" fmla="*/ 119996 w 174097"/>
                <a:gd name="connsiteY16" fmla="*/ 4793 h 167480"/>
                <a:gd name="connsiteX17" fmla="*/ 131902 w 174097"/>
                <a:gd name="connsiteY17" fmla="*/ 793 h 167480"/>
                <a:gd name="connsiteX18" fmla="*/ 141141 w 174097"/>
                <a:gd name="connsiteY18" fmla="*/ 126 h 167480"/>
                <a:gd name="connsiteX19" fmla="*/ 148285 w 174097"/>
                <a:gd name="connsiteY19" fmla="*/ 2698 h 167480"/>
                <a:gd name="connsiteX20" fmla="*/ 152000 w 174097"/>
                <a:gd name="connsiteY20" fmla="*/ 6222 h 167480"/>
                <a:gd name="connsiteX21" fmla="*/ 153143 w 174097"/>
                <a:gd name="connsiteY21" fmla="*/ 8032 h 167480"/>
                <a:gd name="connsiteX22" fmla="*/ 155429 w 174097"/>
                <a:gd name="connsiteY22" fmla="*/ 15080 h 167480"/>
                <a:gd name="connsiteX23" fmla="*/ 156000 w 174097"/>
                <a:gd name="connsiteY23" fmla="*/ 23558 h 167480"/>
                <a:gd name="connsiteX24" fmla="*/ 154381 w 174097"/>
                <a:gd name="connsiteY24" fmla="*/ 36702 h 167480"/>
                <a:gd name="connsiteX25" fmla="*/ 150857 w 174097"/>
                <a:gd name="connsiteY25" fmla="*/ 50418 h 167480"/>
                <a:gd name="connsiteX26" fmla="*/ 142094 w 174097"/>
                <a:gd name="connsiteY26" fmla="*/ 73183 h 167480"/>
                <a:gd name="connsiteX27" fmla="*/ 150952 w 174097"/>
                <a:gd name="connsiteY27" fmla="*/ 78612 h 167480"/>
                <a:gd name="connsiteX28" fmla="*/ 154286 w 174097"/>
                <a:gd name="connsiteY28" fmla="*/ 80898 h 167480"/>
                <a:gd name="connsiteX29" fmla="*/ 154762 w 174097"/>
                <a:gd name="connsiteY29" fmla="*/ 81184 h 167480"/>
                <a:gd name="connsiteX30" fmla="*/ 162573 w 174097"/>
                <a:gd name="connsiteY30" fmla="*/ 86804 h 167480"/>
                <a:gd name="connsiteX31" fmla="*/ 170002 w 174097"/>
                <a:gd name="connsiteY31" fmla="*/ 94328 h 167480"/>
                <a:gd name="connsiteX32" fmla="*/ 174003 w 174097"/>
                <a:gd name="connsiteY32" fmla="*/ 103853 h 167480"/>
                <a:gd name="connsiteX33" fmla="*/ 173717 w 174097"/>
                <a:gd name="connsiteY33" fmla="*/ 109092 h 167480"/>
                <a:gd name="connsiteX34" fmla="*/ 171336 w 174097"/>
                <a:gd name="connsiteY34" fmla="*/ 114617 h 167480"/>
                <a:gd name="connsiteX35" fmla="*/ 162192 w 174097"/>
                <a:gd name="connsiteY35" fmla="*/ 123094 h 167480"/>
                <a:gd name="connsiteX36" fmla="*/ 150000 w 174097"/>
                <a:gd name="connsiteY36" fmla="*/ 127380 h 167480"/>
                <a:gd name="connsiteX37" fmla="*/ 136665 w 174097"/>
                <a:gd name="connsiteY37" fmla="*/ 129190 h 167480"/>
                <a:gd name="connsiteX38" fmla="*/ 132474 w 174097"/>
                <a:gd name="connsiteY38" fmla="*/ 129571 h 167480"/>
                <a:gd name="connsiteX39" fmla="*/ 130378 w 174097"/>
                <a:gd name="connsiteY39" fmla="*/ 129761 h 167480"/>
                <a:gd name="connsiteX40" fmla="*/ 128854 w 174097"/>
                <a:gd name="connsiteY40" fmla="*/ 129857 h 167480"/>
                <a:gd name="connsiteX41" fmla="*/ 128187 w 174097"/>
                <a:gd name="connsiteY41" fmla="*/ 129952 h 167480"/>
                <a:gd name="connsiteX42" fmla="*/ 127711 w 174097"/>
                <a:gd name="connsiteY42" fmla="*/ 129952 h 167480"/>
                <a:gd name="connsiteX43" fmla="*/ 119424 w 174097"/>
                <a:gd name="connsiteY43" fmla="*/ 130904 h 167480"/>
                <a:gd name="connsiteX44" fmla="*/ 111614 w 174097"/>
                <a:gd name="connsiteY44" fmla="*/ 143858 h 167480"/>
                <a:gd name="connsiteX45" fmla="*/ 97612 w 174097"/>
                <a:gd name="connsiteY45" fmla="*/ 159860 h 167480"/>
                <a:gd name="connsiteX46" fmla="*/ 80181 w 174097"/>
                <a:gd name="connsiteY46" fmla="*/ 167480 h 167480"/>
                <a:gd name="connsiteX47" fmla="*/ 79324 w 174097"/>
                <a:gd name="connsiteY47" fmla="*/ 167385 h 167480"/>
                <a:gd name="connsiteX48" fmla="*/ 76371 w 174097"/>
                <a:gd name="connsiteY48" fmla="*/ 167099 h 167480"/>
                <a:gd name="connsiteX49" fmla="*/ 74466 w 174097"/>
                <a:gd name="connsiteY49" fmla="*/ 166623 h 167480"/>
                <a:gd name="connsiteX50" fmla="*/ 71799 w 174097"/>
                <a:gd name="connsiteY50" fmla="*/ 165671 h 167480"/>
                <a:gd name="connsiteX51" fmla="*/ 70752 w 174097"/>
                <a:gd name="connsiteY51" fmla="*/ 165290 h 167480"/>
                <a:gd name="connsiteX52" fmla="*/ 63132 w 174097"/>
                <a:gd name="connsiteY52" fmla="*/ 158622 h 167480"/>
                <a:gd name="connsiteX53" fmla="*/ 61989 w 174097"/>
                <a:gd name="connsiteY53" fmla="*/ 156908 h 167480"/>
                <a:gd name="connsiteX54" fmla="*/ 58083 w 174097"/>
                <a:gd name="connsiteY54" fmla="*/ 147383 h 167480"/>
                <a:gd name="connsiteX55" fmla="*/ 56369 w 174097"/>
                <a:gd name="connsiteY55" fmla="*/ 136715 h 167480"/>
                <a:gd name="connsiteX56" fmla="*/ 56274 w 174097"/>
                <a:gd name="connsiteY56" fmla="*/ 126332 h 167480"/>
                <a:gd name="connsiteX57" fmla="*/ 56940 w 174097"/>
                <a:gd name="connsiteY57" fmla="*/ 119760 h 167480"/>
                <a:gd name="connsiteX58" fmla="*/ 56369 w 174097"/>
                <a:gd name="connsiteY58" fmla="*/ 119951 h 167480"/>
                <a:gd name="connsiteX59" fmla="*/ 53988 w 174097"/>
                <a:gd name="connsiteY59" fmla="*/ 120522 h 167480"/>
                <a:gd name="connsiteX60" fmla="*/ 53511 w 174097"/>
                <a:gd name="connsiteY60" fmla="*/ 120617 h 167480"/>
                <a:gd name="connsiteX61" fmla="*/ 52940 w 174097"/>
                <a:gd name="connsiteY61" fmla="*/ 120713 h 167480"/>
                <a:gd name="connsiteX62" fmla="*/ 51702 w 174097"/>
                <a:gd name="connsiteY62" fmla="*/ 120903 h 167480"/>
                <a:gd name="connsiteX63" fmla="*/ 34271 w 174097"/>
                <a:gd name="connsiteY63" fmla="*/ 123189 h 167480"/>
                <a:gd name="connsiteX64" fmla="*/ 20555 w 174097"/>
                <a:gd name="connsiteY64" fmla="*/ 122332 h 167480"/>
                <a:gd name="connsiteX65" fmla="*/ 7982 w 174097"/>
                <a:gd name="connsiteY65" fmla="*/ 116998 h 167480"/>
                <a:gd name="connsiteX66" fmla="*/ 3886 w 174097"/>
                <a:gd name="connsiteY66" fmla="*/ 112807 h 167480"/>
                <a:gd name="connsiteX67" fmla="*/ 3600 w 174097"/>
                <a:gd name="connsiteY67" fmla="*/ 112426 h 167480"/>
                <a:gd name="connsiteX68" fmla="*/ 1029 w 174097"/>
                <a:gd name="connsiteY68" fmla="*/ 107473 h 167480"/>
                <a:gd name="connsiteX69" fmla="*/ 457 w 174097"/>
                <a:gd name="connsiteY69" fmla="*/ 96519 h 167480"/>
                <a:gd name="connsiteX70" fmla="*/ 2362 w 174097"/>
                <a:gd name="connsiteY70" fmla="*/ 90995 h 167480"/>
                <a:gd name="connsiteX71" fmla="*/ 5601 w 174097"/>
                <a:gd name="connsiteY71" fmla="*/ 85375 h 167480"/>
                <a:gd name="connsiteX72" fmla="*/ 9887 w 174097"/>
                <a:gd name="connsiteY72" fmla="*/ 80136 h 167480"/>
                <a:gd name="connsiteX73" fmla="*/ 15507 w 174097"/>
                <a:gd name="connsiteY73" fmla="*/ 74421 h 167480"/>
                <a:gd name="connsiteX74" fmla="*/ 25698 w 174097"/>
                <a:gd name="connsiteY74" fmla="*/ 65944 h 167480"/>
                <a:gd name="connsiteX75" fmla="*/ 34366 w 174097"/>
                <a:gd name="connsiteY75" fmla="*/ 60038 h 167480"/>
                <a:gd name="connsiteX76" fmla="*/ 32556 w 174097"/>
                <a:gd name="connsiteY76" fmla="*/ 54323 h 167480"/>
                <a:gd name="connsiteX77" fmla="*/ 29889 w 174097"/>
                <a:gd name="connsiteY77" fmla="*/ 45084 h 167480"/>
                <a:gd name="connsiteX78" fmla="*/ 26841 w 174097"/>
                <a:gd name="connsiteY78" fmla="*/ 25082 h 167480"/>
                <a:gd name="connsiteX79" fmla="*/ 27984 w 174097"/>
                <a:gd name="connsiteY79" fmla="*/ 15557 h 167480"/>
                <a:gd name="connsiteX80" fmla="*/ 32175 w 174097"/>
                <a:gd name="connsiteY80" fmla="*/ 7365 h 167480"/>
                <a:gd name="connsiteX81" fmla="*/ 39605 w 174097"/>
                <a:gd name="connsiteY81" fmla="*/ 1841 h 16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74097" h="167480">
                  <a:moveTo>
                    <a:pt x="39605" y="1841"/>
                  </a:moveTo>
                  <a:cubicBezTo>
                    <a:pt x="42748" y="412"/>
                    <a:pt x="46463" y="-160"/>
                    <a:pt x="50178" y="126"/>
                  </a:cubicBezTo>
                  <a:cubicBezTo>
                    <a:pt x="53702" y="412"/>
                    <a:pt x="57321" y="1364"/>
                    <a:pt x="61227" y="3079"/>
                  </a:cubicBezTo>
                  <a:cubicBezTo>
                    <a:pt x="64560" y="4508"/>
                    <a:pt x="67989" y="6317"/>
                    <a:pt x="71799" y="8794"/>
                  </a:cubicBezTo>
                  <a:cubicBezTo>
                    <a:pt x="75324" y="10985"/>
                    <a:pt x="78467" y="13366"/>
                    <a:pt x="80848" y="15176"/>
                  </a:cubicBezTo>
                  <a:lnTo>
                    <a:pt x="81991" y="16033"/>
                  </a:lnTo>
                  <a:lnTo>
                    <a:pt x="83229" y="16890"/>
                  </a:lnTo>
                  <a:lnTo>
                    <a:pt x="85611" y="18700"/>
                  </a:lnTo>
                  <a:cubicBezTo>
                    <a:pt x="86087" y="19081"/>
                    <a:pt x="86658" y="19557"/>
                    <a:pt x="87230" y="20033"/>
                  </a:cubicBezTo>
                  <a:lnTo>
                    <a:pt x="88944" y="21367"/>
                  </a:lnTo>
                  <a:lnTo>
                    <a:pt x="89992" y="22224"/>
                  </a:lnTo>
                  <a:lnTo>
                    <a:pt x="91040" y="23081"/>
                  </a:lnTo>
                  <a:cubicBezTo>
                    <a:pt x="93612" y="21367"/>
                    <a:pt x="96279" y="19462"/>
                    <a:pt x="98946" y="17652"/>
                  </a:cubicBezTo>
                  <a:lnTo>
                    <a:pt x="99327" y="17366"/>
                  </a:lnTo>
                  <a:lnTo>
                    <a:pt x="99612" y="17176"/>
                  </a:lnTo>
                  <a:lnTo>
                    <a:pt x="99898" y="16985"/>
                  </a:lnTo>
                  <a:cubicBezTo>
                    <a:pt x="106470" y="12413"/>
                    <a:pt x="112947" y="7841"/>
                    <a:pt x="119996" y="4793"/>
                  </a:cubicBezTo>
                  <a:cubicBezTo>
                    <a:pt x="124377" y="2888"/>
                    <a:pt x="128283" y="1555"/>
                    <a:pt x="131902" y="793"/>
                  </a:cubicBezTo>
                  <a:cubicBezTo>
                    <a:pt x="135331" y="31"/>
                    <a:pt x="138284" y="-160"/>
                    <a:pt x="141141" y="126"/>
                  </a:cubicBezTo>
                  <a:cubicBezTo>
                    <a:pt x="143999" y="507"/>
                    <a:pt x="146380" y="1364"/>
                    <a:pt x="148285" y="2698"/>
                  </a:cubicBezTo>
                  <a:cubicBezTo>
                    <a:pt x="149714" y="3650"/>
                    <a:pt x="150952" y="4889"/>
                    <a:pt x="152000" y="6222"/>
                  </a:cubicBezTo>
                  <a:cubicBezTo>
                    <a:pt x="152381" y="6794"/>
                    <a:pt x="152762" y="7365"/>
                    <a:pt x="153143" y="8032"/>
                  </a:cubicBezTo>
                  <a:cubicBezTo>
                    <a:pt x="154191" y="10032"/>
                    <a:pt x="154953" y="12413"/>
                    <a:pt x="155429" y="15080"/>
                  </a:cubicBezTo>
                  <a:cubicBezTo>
                    <a:pt x="155905" y="17652"/>
                    <a:pt x="156096" y="20414"/>
                    <a:pt x="156000" y="23558"/>
                  </a:cubicBezTo>
                  <a:cubicBezTo>
                    <a:pt x="155905" y="27463"/>
                    <a:pt x="155334" y="31463"/>
                    <a:pt x="154381" y="36702"/>
                  </a:cubicBezTo>
                  <a:cubicBezTo>
                    <a:pt x="153619" y="40703"/>
                    <a:pt x="152476" y="45179"/>
                    <a:pt x="150857" y="50418"/>
                  </a:cubicBezTo>
                  <a:cubicBezTo>
                    <a:pt x="148380" y="58514"/>
                    <a:pt x="145428" y="66134"/>
                    <a:pt x="142094" y="73183"/>
                  </a:cubicBezTo>
                  <a:cubicBezTo>
                    <a:pt x="145428" y="74612"/>
                    <a:pt x="148761" y="76993"/>
                    <a:pt x="150952" y="78612"/>
                  </a:cubicBezTo>
                  <a:cubicBezTo>
                    <a:pt x="152095" y="79374"/>
                    <a:pt x="153143" y="80136"/>
                    <a:pt x="154286" y="80898"/>
                  </a:cubicBezTo>
                  <a:lnTo>
                    <a:pt x="154762" y="81184"/>
                  </a:lnTo>
                  <a:cubicBezTo>
                    <a:pt x="156477" y="82327"/>
                    <a:pt x="159810" y="84518"/>
                    <a:pt x="162573" y="86804"/>
                  </a:cubicBezTo>
                  <a:cubicBezTo>
                    <a:pt x="165906" y="89471"/>
                    <a:pt x="168192" y="91852"/>
                    <a:pt x="170002" y="94328"/>
                  </a:cubicBezTo>
                  <a:cubicBezTo>
                    <a:pt x="172383" y="97567"/>
                    <a:pt x="173622" y="100710"/>
                    <a:pt x="174003" y="103853"/>
                  </a:cubicBezTo>
                  <a:cubicBezTo>
                    <a:pt x="174193" y="105473"/>
                    <a:pt x="174098" y="107187"/>
                    <a:pt x="173717" y="109092"/>
                  </a:cubicBezTo>
                  <a:cubicBezTo>
                    <a:pt x="173336" y="110807"/>
                    <a:pt x="172574" y="112521"/>
                    <a:pt x="171336" y="114617"/>
                  </a:cubicBezTo>
                  <a:cubicBezTo>
                    <a:pt x="169335" y="117950"/>
                    <a:pt x="166287" y="120808"/>
                    <a:pt x="162192" y="123094"/>
                  </a:cubicBezTo>
                  <a:cubicBezTo>
                    <a:pt x="158858" y="124999"/>
                    <a:pt x="155048" y="126332"/>
                    <a:pt x="150000" y="127380"/>
                  </a:cubicBezTo>
                  <a:cubicBezTo>
                    <a:pt x="145523" y="128428"/>
                    <a:pt x="140951" y="128904"/>
                    <a:pt x="136665" y="129190"/>
                  </a:cubicBezTo>
                  <a:lnTo>
                    <a:pt x="132474" y="129571"/>
                  </a:lnTo>
                  <a:lnTo>
                    <a:pt x="130378" y="129761"/>
                  </a:lnTo>
                  <a:lnTo>
                    <a:pt x="128854" y="129857"/>
                  </a:lnTo>
                  <a:lnTo>
                    <a:pt x="128187" y="129952"/>
                  </a:lnTo>
                  <a:lnTo>
                    <a:pt x="127711" y="129952"/>
                  </a:lnTo>
                  <a:cubicBezTo>
                    <a:pt x="125425" y="130142"/>
                    <a:pt x="122282" y="130428"/>
                    <a:pt x="119424" y="130904"/>
                  </a:cubicBezTo>
                  <a:cubicBezTo>
                    <a:pt x="117329" y="135095"/>
                    <a:pt x="114757" y="139477"/>
                    <a:pt x="111614" y="143858"/>
                  </a:cubicBezTo>
                  <a:cubicBezTo>
                    <a:pt x="106851" y="150716"/>
                    <a:pt x="102470" y="155765"/>
                    <a:pt x="97612" y="159860"/>
                  </a:cubicBezTo>
                  <a:cubicBezTo>
                    <a:pt x="91707" y="164718"/>
                    <a:pt x="85896" y="167290"/>
                    <a:pt x="80181" y="167480"/>
                  </a:cubicBezTo>
                  <a:cubicBezTo>
                    <a:pt x="79896" y="167480"/>
                    <a:pt x="79610" y="167385"/>
                    <a:pt x="79324" y="167385"/>
                  </a:cubicBezTo>
                  <a:cubicBezTo>
                    <a:pt x="78372" y="167385"/>
                    <a:pt x="77419" y="167290"/>
                    <a:pt x="76371" y="167099"/>
                  </a:cubicBezTo>
                  <a:cubicBezTo>
                    <a:pt x="75705" y="167004"/>
                    <a:pt x="75133" y="166814"/>
                    <a:pt x="74466" y="166623"/>
                  </a:cubicBezTo>
                  <a:cubicBezTo>
                    <a:pt x="73609" y="166337"/>
                    <a:pt x="72752" y="166052"/>
                    <a:pt x="71799" y="165671"/>
                  </a:cubicBezTo>
                  <a:cubicBezTo>
                    <a:pt x="71418" y="165480"/>
                    <a:pt x="71133" y="165480"/>
                    <a:pt x="70752" y="165290"/>
                  </a:cubicBezTo>
                  <a:cubicBezTo>
                    <a:pt x="67894" y="163861"/>
                    <a:pt x="65322" y="161670"/>
                    <a:pt x="63132" y="158622"/>
                  </a:cubicBezTo>
                  <a:cubicBezTo>
                    <a:pt x="62751" y="158051"/>
                    <a:pt x="62370" y="157479"/>
                    <a:pt x="61989" y="156908"/>
                  </a:cubicBezTo>
                  <a:cubicBezTo>
                    <a:pt x="60369" y="154241"/>
                    <a:pt x="59036" y="151097"/>
                    <a:pt x="58083" y="147383"/>
                  </a:cubicBezTo>
                  <a:cubicBezTo>
                    <a:pt x="57226" y="144144"/>
                    <a:pt x="56655" y="140715"/>
                    <a:pt x="56369" y="136715"/>
                  </a:cubicBezTo>
                  <a:cubicBezTo>
                    <a:pt x="56083" y="133762"/>
                    <a:pt x="56083" y="130428"/>
                    <a:pt x="56274" y="126332"/>
                  </a:cubicBezTo>
                  <a:cubicBezTo>
                    <a:pt x="56464" y="123856"/>
                    <a:pt x="56655" y="121760"/>
                    <a:pt x="56940" y="119760"/>
                  </a:cubicBezTo>
                  <a:cubicBezTo>
                    <a:pt x="56750" y="119855"/>
                    <a:pt x="56559" y="119855"/>
                    <a:pt x="56369" y="119951"/>
                  </a:cubicBezTo>
                  <a:cubicBezTo>
                    <a:pt x="55607" y="120236"/>
                    <a:pt x="54750" y="120427"/>
                    <a:pt x="53988" y="120522"/>
                  </a:cubicBezTo>
                  <a:lnTo>
                    <a:pt x="53511" y="120617"/>
                  </a:lnTo>
                  <a:lnTo>
                    <a:pt x="52940" y="120713"/>
                  </a:lnTo>
                  <a:lnTo>
                    <a:pt x="51702" y="120903"/>
                  </a:lnTo>
                  <a:cubicBezTo>
                    <a:pt x="46272" y="121856"/>
                    <a:pt x="40176" y="122808"/>
                    <a:pt x="34271" y="123189"/>
                  </a:cubicBezTo>
                  <a:cubicBezTo>
                    <a:pt x="29604" y="123475"/>
                    <a:pt x="24936" y="123189"/>
                    <a:pt x="20555" y="122332"/>
                  </a:cubicBezTo>
                  <a:cubicBezTo>
                    <a:pt x="15602" y="121284"/>
                    <a:pt x="11316" y="119474"/>
                    <a:pt x="7982" y="116998"/>
                  </a:cubicBezTo>
                  <a:cubicBezTo>
                    <a:pt x="6363" y="115474"/>
                    <a:pt x="4934" y="114140"/>
                    <a:pt x="3886" y="112807"/>
                  </a:cubicBezTo>
                  <a:lnTo>
                    <a:pt x="3600" y="112426"/>
                  </a:lnTo>
                  <a:cubicBezTo>
                    <a:pt x="2553" y="110997"/>
                    <a:pt x="1791" y="109473"/>
                    <a:pt x="1029" y="107473"/>
                  </a:cubicBezTo>
                  <a:cubicBezTo>
                    <a:pt x="-114" y="104330"/>
                    <a:pt x="-305" y="100710"/>
                    <a:pt x="457" y="96519"/>
                  </a:cubicBezTo>
                  <a:cubicBezTo>
                    <a:pt x="933" y="94424"/>
                    <a:pt x="1695" y="92519"/>
                    <a:pt x="2362" y="90995"/>
                  </a:cubicBezTo>
                  <a:cubicBezTo>
                    <a:pt x="3124" y="89185"/>
                    <a:pt x="4172" y="87280"/>
                    <a:pt x="5601" y="85375"/>
                  </a:cubicBezTo>
                  <a:cubicBezTo>
                    <a:pt x="6934" y="83470"/>
                    <a:pt x="8458" y="81755"/>
                    <a:pt x="9887" y="80136"/>
                  </a:cubicBezTo>
                  <a:cubicBezTo>
                    <a:pt x="11601" y="78231"/>
                    <a:pt x="13411" y="76517"/>
                    <a:pt x="15507" y="74421"/>
                  </a:cubicBezTo>
                  <a:cubicBezTo>
                    <a:pt x="18840" y="71373"/>
                    <a:pt x="22174" y="68611"/>
                    <a:pt x="25698" y="65944"/>
                  </a:cubicBezTo>
                  <a:cubicBezTo>
                    <a:pt x="28461" y="63848"/>
                    <a:pt x="31413" y="61848"/>
                    <a:pt x="34366" y="60038"/>
                  </a:cubicBezTo>
                  <a:lnTo>
                    <a:pt x="32556" y="54323"/>
                  </a:lnTo>
                  <a:cubicBezTo>
                    <a:pt x="31604" y="51180"/>
                    <a:pt x="30747" y="48132"/>
                    <a:pt x="29889" y="45084"/>
                  </a:cubicBezTo>
                  <a:cubicBezTo>
                    <a:pt x="27889" y="37274"/>
                    <a:pt x="26841" y="30892"/>
                    <a:pt x="26841" y="25082"/>
                  </a:cubicBezTo>
                  <a:cubicBezTo>
                    <a:pt x="26937" y="21843"/>
                    <a:pt x="27222" y="18700"/>
                    <a:pt x="27984" y="15557"/>
                  </a:cubicBezTo>
                  <a:cubicBezTo>
                    <a:pt x="28746" y="12509"/>
                    <a:pt x="30175" y="9746"/>
                    <a:pt x="32175" y="7365"/>
                  </a:cubicBezTo>
                  <a:cubicBezTo>
                    <a:pt x="33985" y="5079"/>
                    <a:pt x="36557" y="3174"/>
                    <a:pt x="39605" y="1841"/>
                  </a:cubicBezTo>
                  <a:close/>
                </a:path>
              </a:pathLst>
            </a:custGeom>
            <a:solidFill>
              <a:srgbClr val="EBF5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0156874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99E76B0-6B48-499D-ABE0-25ECA04BF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界面创新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58BA168-384B-4DCC-B50A-8A989EFBA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E28B20D-47D1-43C4-BB67-496BE580A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组合 1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E6E2C00-9E50-4AD5-A57A-BE73347BF397}"/>
              </a:ext>
            </a:extLst>
          </p:cNvPr>
          <p:cNvGrpSpPr>
            <a:grpSpLocks noChangeAspect="1"/>
          </p:cNvGrpSpPr>
          <p:nvPr/>
        </p:nvGrpSpPr>
        <p:grpSpPr>
          <a:xfrm>
            <a:off x="1157583" y="1215800"/>
            <a:ext cx="9877364" cy="4900848"/>
            <a:chOff x="1157583" y="1215800"/>
            <a:chExt cx="9877364" cy="4900848"/>
          </a:xfrm>
        </p:grpSpPr>
        <p:grpSp>
          <p:nvGrpSpPr>
            <p:cNvPr id="6" name="íṡlïď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74094351-6487-4C9C-AE7D-FF6E7A7F199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57583" y="4653136"/>
              <a:ext cx="9877364" cy="1463512"/>
              <a:chOff x="1157583" y="4653136"/>
              <a:chExt cx="9877364" cy="1463512"/>
            </a:xfrm>
          </p:grpSpPr>
          <p:sp>
            <p:nvSpPr>
              <p:cNvPr id="11" name="îṩḷïdè">
                <a:extLst>
                  <a:ext uri="{FF2B5EF4-FFF2-40B4-BE49-F238E27FC236}">
                    <a16:creationId xmlns:a16="http://schemas.microsoft.com/office/drawing/2014/main" id="{0D8C28CB-4079-4BEC-BB33-0F66AFC12FFA}"/>
                  </a:ext>
                </a:extLst>
              </p:cNvPr>
              <p:cNvSpPr/>
              <p:nvPr/>
            </p:nvSpPr>
            <p:spPr>
              <a:xfrm>
                <a:off x="1157583" y="4653136"/>
                <a:ext cx="4320480" cy="50405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prstTxWarp prst="textNoShape">
                  <a:avLst/>
                </a:prstTxWarp>
                <a:normAutofit lnSpcReduction="10000"/>
              </a:bodyPr>
              <a:lstStyle/>
              <a:p>
                <a:pPr algn="ctr"/>
                <a:r>
                  <a:rPr lang="zh-CN" altLang="en-US" b="1" dirty="0"/>
                  <a:t>基于</a:t>
                </a:r>
                <a:r>
                  <a:rPr lang="en-US" altLang="zh-CN" b="1" dirty="0"/>
                  <a:t>React</a:t>
                </a:r>
                <a:r>
                  <a:rPr lang="zh-CN" altLang="en-US" b="1" dirty="0"/>
                  <a:t>的</a:t>
                </a:r>
                <a:r>
                  <a:rPr lang="en-US" altLang="zh-CN" b="1" dirty="0"/>
                  <a:t>Web</a:t>
                </a:r>
                <a:r>
                  <a:rPr lang="zh-CN" altLang="en-US" b="1" dirty="0"/>
                  <a:t>界面</a:t>
                </a:r>
              </a:p>
            </p:txBody>
          </p:sp>
          <p:sp>
            <p:nvSpPr>
              <p:cNvPr id="12" name="îṣḷïḋé">
                <a:extLst>
                  <a:ext uri="{FF2B5EF4-FFF2-40B4-BE49-F238E27FC236}">
                    <a16:creationId xmlns:a16="http://schemas.microsoft.com/office/drawing/2014/main" id="{881DC266-62D5-4C0E-8693-D31329AE12AB}"/>
                  </a:ext>
                </a:extLst>
              </p:cNvPr>
              <p:cNvSpPr/>
              <p:nvPr/>
            </p:nvSpPr>
            <p:spPr>
              <a:xfrm>
                <a:off x="6714467" y="4653136"/>
                <a:ext cx="4320480" cy="504056"/>
              </a:xfrm>
              <a:prstGeom prst="round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prstTxWarp prst="textNoShape">
                  <a:avLst/>
                </a:prstTxWarp>
                <a:normAutofit lnSpcReduction="10000"/>
              </a:bodyPr>
              <a:lstStyle/>
              <a:p>
                <a:pPr algn="ctr"/>
                <a:r>
                  <a:rPr lang="zh-CN" altLang="en-US" b="1" dirty="0"/>
                  <a:t>传统</a:t>
                </a:r>
                <a:r>
                  <a:rPr lang="en-US" altLang="zh-CN" b="1" dirty="0"/>
                  <a:t>Win98</a:t>
                </a:r>
                <a:r>
                  <a:rPr lang="zh-CN" altLang="en-US" b="1" dirty="0"/>
                  <a:t>风格应用程序</a:t>
                </a:r>
              </a:p>
            </p:txBody>
          </p:sp>
          <p:sp>
            <p:nvSpPr>
              <p:cNvPr id="13" name="íṩ1íďê">
                <a:extLst>
                  <a:ext uri="{FF2B5EF4-FFF2-40B4-BE49-F238E27FC236}">
                    <a16:creationId xmlns:a16="http://schemas.microsoft.com/office/drawing/2014/main" id="{6460220E-4FED-47F0-8331-F250EE611E93}"/>
                  </a:ext>
                </a:extLst>
              </p:cNvPr>
              <p:cNvSpPr/>
              <p:nvPr/>
            </p:nvSpPr>
            <p:spPr>
              <a:xfrm>
                <a:off x="1157583" y="5157199"/>
                <a:ext cx="4320480" cy="959447"/>
              </a:xfrm>
              <a:prstGeom prst="rect">
                <a:avLst/>
              </a:prstGeom>
            </p:spPr>
            <p:txBody>
              <a:bodyPr wrap="square" lIns="91440" tIns="45720" rIns="91440" bIns="45720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zh-CN" altLang="en-US" sz="1100" dirty="0"/>
                  <a:t>无需安装，打开即用</a:t>
                </a: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1100" dirty="0"/>
                  <a:t>颜色清丽活泼</a:t>
                </a: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1100" dirty="0"/>
                  <a:t>儿童友好</a:t>
                </a: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</a:t>
                </a:r>
              </a:p>
              <a:p>
                <a:pPr algn="ctr">
                  <a:lnSpc>
                    <a:spcPct val="120000"/>
                  </a:lnSpc>
                </a:pPr>
                <a:endParaRPr lang="en-US" altLang="zh-CN" sz="1100" dirty="0"/>
              </a:p>
            </p:txBody>
          </p:sp>
          <p:sp>
            <p:nvSpPr>
              <p:cNvPr id="14" name="iSḻíḍe">
                <a:extLst>
                  <a:ext uri="{FF2B5EF4-FFF2-40B4-BE49-F238E27FC236}">
                    <a16:creationId xmlns:a16="http://schemas.microsoft.com/office/drawing/2014/main" id="{3B19E172-974A-4D39-A4C5-505F5C7F7184}"/>
                  </a:ext>
                </a:extLst>
              </p:cNvPr>
              <p:cNvSpPr/>
              <p:nvPr/>
            </p:nvSpPr>
            <p:spPr>
              <a:xfrm>
                <a:off x="6714467" y="5157201"/>
                <a:ext cx="4320480" cy="959447"/>
              </a:xfrm>
              <a:prstGeom prst="rect">
                <a:avLst/>
              </a:prstGeom>
            </p:spPr>
            <p:txBody>
              <a:bodyPr wrap="square" lIns="91440" tIns="45720" rIns="91440" bIns="45720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zh-CN" altLang="en-US" sz="1100" dirty="0"/>
                  <a:t>需要本地安装</a:t>
                </a: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1100" dirty="0"/>
                  <a:t>色调单一，操作复杂</a:t>
                </a: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1100" dirty="0"/>
                  <a:t>对新手不友好</a:t>
                </a: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sp>
          <p:nvSpPr>
            <p:cNvPr id="7" name="ïŝḷiďé">
              <a:extLst>
                <a:ext uri="{FF2B5EF4-FFF2-40B4-BE49-F238E27FC236}">
                  <a16:creationId xmlns:a16="http://schemas.microsoft.com/office/drawing/2014/main" id="{15AA1D02-975F-492B-97C7-3B5BFF4C91F3}"/>
                </a:ext>
              </a:extLst>
            </p:cNvPr>
            <p:cNvSpPr txBox="1"/>
            <p:nvPr/>
          </p:nvSpPr>
          <p:spPr>
            <a:xfrm>
              <a:off x="2628900" y="1215800"/>
              <a:ext cx="1290917" cy="706905"/>
            </a:xfrm>
            <a:prstGeom prst="rect">
              <a:avLst/>
            </a:prstGeom>
            <a:noFill/>
          </p:spPr>
          <p:txBody>
            <a:bodyPr wrap="none" lIns="91422" tIns="45711" rIns="91422" bIns="45711">
              <a:prstTxWarp prst="textPlain">
                <a:avLst/>
              </a:prstTxWarp>
              <a:normAutofit fontScale="92500" lnSpcReduction="20000"/>
            </a:bodyPr>
            <a:lstStyle/>
            <a:p>
              <a:r>
                <a:rPr lang="en-US" sz="5400" dirty="0">
                  <a:solidFill>
                    <a:schemeClr val="accent1"/>
                  </a:solidFill>
                  <a:latin typeface="Impact" panose="020B0806030902050204" pitchFamily="34" charset="0"/>
                </a:rPr>
                <a:t>98%</a:t>
              </a:r>
            </a:p>
          </p:txBody>
        </p:sp>
        <p:sp>
          <p:nvSpPr>
            <p:cNvPr id="8" name="îšlíḑè">
              <a:extLst>
                <a:ext uri="{FF2B5EF4-FFF2-40B4-BE49-F238E27FC236}">
                  <a16:creationId xmlns:a16="http://schemas.microsoft.com/office/drawing/2014/main" id="{89EE2408-29B5-49D1-948C-0C0964488356}"/>
                </a:ext>
              </a:extLst>
            </p:cNvPr>
            <p:cNvSpPr txBox="1"/>
            <p:nvPr/>
          </p:nvSpPr>
          <p:spPr>
            <a:xfrm>
              <a:off x="8401049" y="1215800"/>
              <a:ext cx="942540" cy="706905"/>
            </a:xfrm>
            <a:prstGeom prst="rect">
              <a:avLst/>
            </a:prstGeom>
            <a:noFill/>
          </p:spPr>
          <p:txBody>
            <a:bodyPr wrap="none" lIns="91422" tIns="45711" rIns="91422" bIns="45711">
              <a:prstTxWarp prst="textPlain">
                <a:avLst/>
              </a:prstTxWarp>
              <a:normAutofit fontScale="92500" lnSpcReduction="20000"/>
            </a:bodyPr>
            <a:lstStyle/>
            <a:p>
              <a:r>
                <a:rPr lang="en-US" sz="5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Impact" panose="020B0806030902050204" pitchFamily="34" charset="0"/>
                </a:rPr>
                <a:t>2%</a:t>
              </a:r>
            </a:p>
          </p:txBody>
        </p:sp>
      </p:grpSp>
      <p:pic>
        <p:nvPicPr>
          <p:cNvPr id="18" name="图片 17" descr="图形用户界面, 应用程序, Word&#10;&#10;描述已自动生成">
            <a:extLst>
              <a:ext uri="{FF2B5EF4-FFF2-40B4-BE49-F238E27FC236}">
                <a16:creationId xmlns:a16="http://schemas.microsoft.com/office/drawing/2014/main" id="{F25656DB-637C-43A0-976C-EA79960C79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4467" y="1987959"/>
            <a:ext cx="4572000" cy="2599923"/>
          </a:xfrm>
          <a:prstGeom prst="rect">
            <a:avLst/>
          </a:prstGeom>
        </p:spPr>
      </p:pic>
      <p:pic>
        <p:nvPicPr>
          <p:cNvPr id="20" name="图片 19" descr="图形用户界面, 应用程序&#10;&#10;描述已自动生成">
            <a:extLst>
              <a:ext uri="{FF2B5EF4-FFF2-40B4-BE49-F238E27FC236}">
                <a16:creationId xmlns:a16="http://schemas.microsoft.com/office/drawing/2014/main" id="{237A3791-CF6E-4534-9FC5-3B9A6EBF52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86" r="-331"/>
          <a:stretch/>
        </p:blipFill>
        <p:spPr>
          <a:xfrm>
            <a:off x="891220" y="2046522"/>
            <a:ext cx="5127585" cy="24827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42089980"/>
      </p:ext>
    </p:extLst>
  </p:cSld>
  <p:clrMapOvr>
    <a:masterClrMapping/>
  </p:clrMapOvr>
  <p:transition spd="slow">
    <p:cov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8BD5CCD-EF6C-44BC-833B-59760DF94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交互创新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64B5C28-6173-4841-BBE1-644F58E08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CED5FC7-45CA-4E36-B563-CCFE6DA48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4102EC1-C3DE-476D-9D82-4CFC98A72115}"/>
              </a:ext>
            </a:extLst>
          </p:cNvPr>
          <p:cNvGrpSpPr>
            <a:grpSpLocks noChangeAspect="1"/>
          </p:cNvGrpSpPr>
          <p:nvPr/>
        </p:nvGrpSpPr>
        <p:grpSpPr>
          <a:xfrm>
            <a:off x="723436" y="1129219"/>
            <a:ext cx="10762416" cy="5000542"/>
            <a:chOff x="723436" y="1129219"/>
            <a:chExt cx="10762416" cy="5000542"/>
          </a:xfrm>
        </p:grpSpPr>
        <p:sp>
          <p:nvSpPr>
            <p:cNvPr id="6" name="íṧḻîḋe">
              <a:extLst>
                <a:ext uri="{FF2B5EF4-FFF2-40B4-BE49-F238E27FC236}">
                  <a16:creationId xmlns:a16="http://schemas.microsoft.com/office/drawing/2014/main" id="{A7FF2F40-D1F8-4816-A4B1-839B537360E5}"/>
                </a:ext>
              </a:extLst>
            </p:cNvPr>
            <p:cNvSpPr/>
            <p:nvPr/>
          </p:nvSpPr>
          <p:spPr>
            <a:xfrm>
              <a:off x="7781072" y="1129219"/>
              <a:ext cx="3704780" cy="2449496"/>
            </a:xfrm>
            <a:prstGeom prst="rect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" name="íšlíḋè">
              <a:extLst>
                <a:ext uri="{FF2B5EF4-FFF2-40B4-BE49-F238E27FC236}">
                  <a16:creationId xmlns:a16="http://schemas.microsoft.com/office/drawing/2014/main" id="{4BB84087-4983-4348-BC16-5B954372B36D}"/>
                </a:ext>
              </a:extLst>
            </p:cNvPr>
            <p:cNvSpPr/>
            <p:nvPr/>
          </p:nvSpPr>
          <p:spPr>
            <a:xfrm>
              <a:off x="723436" y="1129219"/>
              <a:ext cx="3704780" cy="2449496"/>
            </a:xfrm>
            <a:prstGeom prst="rect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8" name="íṡḻiḍe">
              <a:extLst>
                <a:ext uri="{FF2B5EF4-FFF2-40B4-BE49-F238E27FC236}">
                  <a16:creationId xmlns:a16="http://schemas.microsoft.com/office/drawing/2014/main" id="{DB00840D-0E5B-45B1-B454-5F4D3852D797}"/>
                </a:ext>
              </a:extLst>
            </p:cNvPr>
            <p:cNvSpPr/>
            <p:nvPr/>
          </p:nvSpPr>
          <p:spPr>
            <a:xfrm>
              <a:off x="4507151" y="1129219"/>
              <a:ext cx="3177700" cy="4992688"/>
            </a:xfrm>
            <a:prstGeom prst="rect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9" name="íŝḷídê">
              <a:extLst>
                <a:ext uri="{FF2B5EF4-FFF2-40B4-BE49-F238E27FC236}">
                  <a16:creationId xmlns:a16="http://schemas.microsoft.com/office/drawing/2014/main" id="{390754C6-982B-41B3-B3E8-268CD1581487}"/>
                </a:ext>
              </a:extLst>
            </p:cNvPr>
            <p:cNvSpPr/>
            <p:nvPr/>
          </p:nvSpPr>
          <p:spPr>
            <a:xfrm>
              <a:off x="7781072" y="3680265"/>
              <a:ext cx="3704780" cy="2449496"/>
            </a:xfrm>
            <a:prstGeom prst="rect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0" name="iṣḻîḋè">
              <a:extLst>
                <a:ext uri="{FF2B5EF4-FFF2-40B4-BE49-F238E27FC236}">
                  <a16:creationId xmlns:a16="http://schemas.microsoft.com/office/drawing/2014/main" id="{C0CDC6C5-91BF-4B9F-8185-2AEB63EBC071}"/>
                </a:ext>
              </a:extLst>
            </p:cNvPr>
            <p:cNvSpPr/>
            <p:nvPr/>
          </p:nvSpPr>
          <p:spPr>
            <a:xfrm>
              <a:off x="723436" y="3680265"/>
              <a:ext cx="3704780" cy="2449496"/>
            </a:xfrm>
            <a:prstGeom prst="rect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1" name="isliḑe">
              <a:extLst>
                <a:ext uri="{FF2B5EF4-FFF2-40B4-BE49-F238E27FC236}">
                  <a16:creationId xmlns:a16="http://schemas.microsoft.com/office/drawing/2014/main" id="{1B9D4010-480D-429A-A67A-42AD6441F1D7}"/>
                </a:ext>
              </a:extLst>
            </p:cNvPr>
            <p:cNvSpPr/>
            <p:nvPr/>
          </p:nvSpPr>
          <p:spPr>
            <a:xfrm>
              <a:off x="4500844" y="4256940"/>
              <a:ext cx="3184007" cy="185969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2" name="ïṡḷíḑè">
              <a:extLst>
                <a:ext uri="{FF2B5EF4-FFF2-40B4-BE49-F238E27FC236}">
                  <a16:creationId xmlns:a16="http://schemas.microsoft.com/office/drawing/2014/main" id="{AE7E036D-375B-47B8-B241-BDD2D64B5A9C}"/>
                </a:ext>
              </a:extLst>
            </p:cNvPr>
            <p:cNvSpPr txBox="1"/>
            <p:nvPr/>
          </p:nvSpPr>
          <p:spPr bwMode="auto">
            <a:xfrm>
              <a:off x="5157847" y="4218333"/>
              <a:ext cx="2520280" cy="1792783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/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lang="zh-CN" altLang="en-US" sz="1600" b="1" dirty="0">
                  <a:solidFill>
                    <a:schemeClr val="bg1"/>
                  </a:solidFill>
                </a:rPr>
                <a:t>自动补全</a:t>
              </a:r>
              <a:endParaRPr lang="en-US" altLang="zh-CN" sz="1600" b="1" dirty="0">
                <a:solidFill>
                  <a:schemeClr val="bg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lang="zh-CN" altLang="en-US" sz="1600" b="1" dirty="0">
                  <a:solidFill>
                    <a:schemeClr val="bg1"/>
                  </a:solidFill>
                </a:rPr>
                <a:t>代码高亮</a:t>
              </a:r>
              <a:endParaRPr lang="en-US" altLang="zh-CN" sz="1600" b="1" dirty="0">
                <a:solidFill>
                  <a:schemeClr val="bg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lang="zh-CN" altLang="en-US" sz="1600" b="1" dirty="0">
                  <a:solidFill>
                    <a:schemeClr val="bg1"/>
                  </a:solidFill>
                </a:rPr>
                <a:t>命令文件与命令行</a:t>
              </a:r>
              <a:endParaRPr lang="en-US" altLang="zh-CN" sz="1600" b="1" dirty="0">
                <a:solidFill>
                  <a:schemeClr val="bg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lang="zh-CN" altLang="en-US" sz="1600" b="1" dirty="0">
                  <a:solidFill>
                    <a:schemeClr val="bg1"/>
                  </a:solidFill>
                </a:rPr>
                <a:t>多人房间</a:t>
              </a: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lang="en-US" altLang="zh-CN" sz="1600" b="1" dirty="0">
                  <a:solidFill>
                    <a:schemeClr val="bg1"/>
                  </a:solidFill>
                </a:rPr>
                <a:t>Debug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模式</a:t>
              </a:r>
              <a:endParaRPr lang="en-US" altLang="zh-CN" sz="1600" b="1" dirty="0">
                <a:solidFill>
                  <a:schemeClr val="bg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lang="zh-CN" altLang="en-US" sz="1600" b="1" dirty="0">
                  <a:solidFill>
                    <a:schemeClr val="bg1"/>
                  </a:solidFill>
                </a:rPr>
                <a:t>任务系统</a:t>
              </a:r>
              <a:endParaRPr lang="en-US" altLang="zh-CN" sz="1600" b="1" dirty="0">
                <a:solidFill>
                  <a:schemeClr val="bg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lang="zh-CN" altLang="en-US" sz="1600" b="1" dirty="0">
                  <a:solidFill>
                    <a:schemeClr val="bg1"/>
                  </a:solidFill>
                </a:rPr>
                <a:t>多样小海龟</a:t>
              </a:r>
              <a:endParaRPr lang="en-US" altLang="zh-CN" sz="16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7" name="图片 16" descr="图形用户界面, 文本, 应用程序, 聊天或短信&#10;&#10;描述已自动生成">
            <a:extLst>
              <a:ext uri="{FF2B5EF4-FFF2-40B4-BE49-F238E27FC236}">
                <a16:creationId xmlns:a16="http://schemas.microsoft.com/office/drawing/2014/main" id="{FD8E95A0-507B-400D-A351-1DB858AF305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78"/>
          <a:stretch/>
        </p:blipFill>
        <p:spPr>
          <a:xfrm>
            <a:off x="743605" y="1153980"/>
            <a:ext cx="3675684" cy="2415583"/>
          </a:xfrm>
          <a:prstGeom prst="rect">
            <a:avLst/>
          </a:prstGeom>
        </p:spPr>
      </p:pic>
      <p:pic>
        <p:nvPicPr>
          <p:cNvPr id="21" name="图片 20" descr="图形用户界面, 应用程序, Word&#10;&#10;描述已自动生成">
            <a:extLst>
              <a:ext uri="{FF2B5EF4-FFF2-40B4-BE49-F238E27FC236}">
                <a16:creationId xmlns:a16="http://schemas.microsoft.com/office/drawing/2014/main" id="{CA4FB24C-338D-4FBD-9F2D-C1717CAE5E7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2" t="17207" r="52132" b="49759"/>
          <a:stretch/>
        </p:blipFill>
        <p:spPr>
          <a:xfrm>
            <a:off x="7762953" y="3689417"/>
            <a:ext cx="3717474" cy="2420496"/>
          </a:xfrm>
          <a:prstGeom prst="rect">
            <a:avLst/>
          </a:prstGeom>
        </p:spPr>
      </p:pic>
      <p:pic>
        <p:nvPicPr>
          <p:cNvPr id="25" name="图片 24">
            <a:extLst>
              <a:ext uri="{FF2B5EF4-FFF2-40B4-BE49-F238E27FC236}">
                <a16:creationId xmlns:a16="http://schemas.microsoft.com/office/drawing/2014/main" id="{8887FA7A-D86B-45D8-960F-F42C849A197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1269" t="20392" r="40441" b="48470"/>
          <a:stretch/>
        </p:blipFill>
        <p:spPr>
          <a:xfrm>
            <a:off x="4517713" y="1144077"/>
            <a:ext cx="3160414" cy="1956661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949C972D-D158-4FDD-9ACC-6F84AC668D8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702" t="87157" r="65475" b="980"/>
          <a:stretch/>
        </p:blipFill>
        <p:spPr>
          <a:xfrm>
            <a:off x="4524437" y="3121129"/>
            <a:ext cx="3153690" cy="1094191"/>
          </a:xfrm>
          <a:prstGeom prst="rect">
            <a:avLst/>
          </a:prstGeom>
        </p:spPr>
      </p:pic>
      <p:pic>
        <p:nvPicPr>
          <p:cNvPr id="27" name="图片 26">
            <a:extLst>
              <a:ext uri="{FF2B5EF4-FFF2-40B4-BE49-F238E27FC236}">
                <a16:creationId xmlns:a16="http://schemas.microsoft.com/office/drawing/2014/main" id="{25B61EB1-C436-48AD-AE35-FD5BF121BAA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276" t="12059" r="15074" b="14751"/>
          <a:stretch/>
        </p:blipFill>
        <p:spPr>
          <a:xfrm>
            <a:off x="7802011" y="1133808"/>
            <a:ext cx="3671692" cy="2443109"/>
          </a:xfrm>
          <a:prstGeom prst="rect">
            <a:avLst/>
          </a:prstGeom>
        </p:spPr>
      </p:pic>
      <p:pic>
        <p:nvPicPr>
          <p:cNvPr id="29" name="图片 28">
            <a:extLst>
              <a:ext uri="{FF2B5EF4-FFF2-40B4-BE49-F238E27FC236}">
                <a16:creationId xmlns:a16="http://schemas.microsoft.com/office/drawing/2014/main" id="{F3CADD3F-3728-4A61-9C8B-F63F68C7997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199" t="54787" r="62890" b="23481"/>
          <a:stretch/>
        </p:blipFill>
        <p:spPr>
          <a:xfrm>
            <a:off x="736884" y="3697270"/>
            <a:ext cx="3681187" cy="24126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1249754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5E7765-9BBE-471E-BBDA-75CE379EA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语法创新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CA61D6D-AC9B-4DBF-B197-5CD9FD8C1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DC2B229-584B-481D-892B-4D40FA5CE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07D4607-DA4D-4B5A-A561-5A6B5A0F7E38}"/>
              </a:ext>
            </a:extLst>
          </p:cNvPr>
          <p:cNvGrpSpPr>
            <a:grpSpLocks noChangeAspect="1"/>
          </p:cNvGrpSpPr>
          <p:nvPr/>
        </p:nvGrpSpPr>
        <p:grpSpPr>
          <a:xfrm>
            <a:off x="-8592" y="1250535"/>
            <a:ext cx="11584362" cy="4882709"/>
            <a:chOff x="-8608" y="1250532"/>
            <a:chExt cx="11584378" cy="4882716"/>
          </a:xfrm>
        </p:grpSpPr>
        <p:grpSp>
          <p:nvGrpSpPr>
            <p:cNvPr id="6" name="îṩḻïḑê">
              <a:extLst>
                <a:ext uri="{FF2B5EF4-FFF2-40B4-BE49-F238E27FC236}">
                  <a16:creationId xmlns:a16="http://schemas.microsoft.com/office/drawing/2014/main" id="{D84864C1-18AE-47C5-BFC5-3107DFABE246}"/>
                </a:ext>
              </a:extLst>
            </p:cNvPr>
            <p:cNvGrpSpPr/>
            <p:nvPr/>
          </p:nvGrpSpPr>
          <p:grpSpPr>
            <a:xfrm>
              <a:off x="-8608" y="2658885"/>
              <a:ext cx="3289141" cy="2441383"/>
              <a:chOff x="2533651" y="2740026"/>
              <a:chExt cx="1589088" cy="1179513"/>
            </a:xfrm>
          </p:grpSpPr>
          <p:sp>
            <p:nvSpPr>
              <p:cNvPr id="39" name="ïṥḷiďé">
                <a:extLst>
                  <a:ext uri="{FF2B5EF4-FFF2-40B4-BE49-F238E27FC236}">
                    <a16:creationId xmlns:a16="http://schemas.microsoft.com/office/drawing/2014/main" id="{6F2E174A-AEE7-45F8-831F-2D17BA49676E}"/>
                  </a:ext>
                </a:extLst>
              </p:cNvPr>
              <p:cNvSpPr/>
              <p:nvPr/>
            </p:nvSpPr>
            <p:spPr bwMode="auto">
              <a:xfrm>
                <a:off x="3052764" y="3273426"/>
                <a:ext cx="31750" cy="630238"/>
              </a:xfrm>
              <a:prstGeom prst="rect">
                <a:avLst/>
              </a:pr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" name="îṩḻiḍê">
                <a:extLst>
                  <a:ext uri="{FF2B5EF4-FFF2-40B4-BE49-F238E27FC236}">
                    <a16:creationId xmlns:a16="http://schemas.microsoft.com/office/drawing/2014/main" id="{B5D17047-3FFC-47F3-8226-24A3A70AE053}"/>
                  </a:ext>
                </a:extLst>
              </p:cNvPr>
              <p:cNvSpPr/>
              <p:nvPr/>
            </p:nvSpPr>
            <p:spPr bwMode="auto">
              <a:xfrm>
                <a:off x="3225801" y="3273426"/>
                <a:ext cx="31750" cy="630238"/>
              </a:xfrm>
              <a:prstGeom prst="rect">
                <a:avLst/>
              </a:pr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" name="ïṩļiḍe">
                <a:extLst>
                  <a:ext uri="{FF2B5EF4-FFF2-40B4-BE49-F238E27FC236}">
                    <a16:creationId xmlns:a16="http://schemas.microsoft.com/office/drawing/2014/main" id="{39D35FD7-6E8C-437D-A9F5-FCB2B6A86E11}"/>
                  </a:ext>
                </a:extLst>
              </p:cNvPr>
              <p:cNvSpPr/>
              <p:nvPr/>
            </p:nvSpPr>
            <p:spPr bwMode="auto">
              <a:xfrm>
                <a:off x="3398839" y="3273426"/>
                <a:ext cx="31750" cy="630238"/>
              </a:xfrm>
              <a:prstGeom prst="rect">
                <a:avLst/>
              </a:pr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" name="ísḻíďé">
                <a:extLst>
                  <a:ext uri="{FF2B5EF4-FFF2-40B4-BE49-F238E27FC236}">
                    <a16:creationId xmlns:a16="http://schemas.microsoft.com/office/drawing/2014/main" id="{36A08EE4-C429-4FE5-B54C-E9844185F613}"/>
                  </a:ext>
                </a:extLst>
              </p:cNvPr>
              <p:cNvSpPr/>
              <p:nvPr/>
            </p:nvSpPr>
            <p:spPr bwMode="auto">
              <a:xfrm>
                <a:off x="2549526" y="3298826"/>
                <a:ext cx="87313" cy="173038"/>
              </a:xfrm>
              <a:prstGeom prst="rect">
                <a:avLst/>
              </a:prstGeom>
              <a:solidFill>
                <a:srgbClr val="08C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" name="ïṣḻíďè">
                <a:extLst>
                  <a:ext uri="{FF2B5EF4-FFF2-40B4-BE49-F238E27FC236}">
                    <a16:creationId xmlns:a16="http://schemas.microsoft.com/office/drawing/2014/main" id="{CDAC7BB1-E159-484A-814F-4351BDAC6B30}"/>
                  </a:ext>
                </a:extLst>
              </p:cNvPr>
              <p:cNvSpPr/>
              <p:nvPr/>
            </p:nvSpPr>
            <p:spPr bwMode="auto">
              <a:xfrm>
                <a:off x="2533651" y="3282951"/>
                <a:ext cx="119063" cy="204788"/>
              </a:xfrm>
              <a:custGeom>
                <a:avLst/>
                <a:gdLst>
                  <a:gd name="T0" fmla="*/ 75 w 75"/>
                  <a:gd name="T1" fmla="*/ 129 h 129"/>
                  <a:gd name="T2" fmla="*/ 0 w 75"/>
                  <a:gd name="T3" fmla="*/ 129 h 129"/>
                  <a:gd name="T4" fmla="*/ 0 w 75"/>
                  <a:gd name="T5" fmla="*/ 0 h 129"/>
                  <a:gd name="T6" fmla="*/ 75 w 75"/>
                  <a:gd name="T7" fmla="*/ 0 h 129"/>
                  <a:gd name="T8" fmla="*/ 75 w 75"/>
                  <a:gd name="T9" fmla="*/ 129 h 129"/>
                  <a:gd name="T10" fmla="*/ 20 w 75"/>
                  <a:gd name="T11" fmla="*/ 109 h 129"/>
                  <a:gd name="T12" fmla="*/ 54 w 75"/>
                  <a:gd name="T13" fmla="*/ 109 h 129"/>
                  <a:gd name="T14" fmla="*/ 54 w 75"/>
                  <a:gd name="T15" fmla="*/ 21 h 129"/>
                  <a:gd name="T16" fmla="*/ 20 w 75"/>
                  <a:gd name="T17" fmla="*/ 21 h 129"/>
                  <a:gd name="T18" fmla="*/ 20 w 75"/>
                  <a:gd name="T19" fmla="*/ 10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129">
                    <a:moveTo>
                      <a:pt x="75" y="129"/>
                    </a:moveTo>
                    <a:lnTo>
                      <a:pt x="0" y="129"/>
                    </a:lnTo>
                    <a:lnTo>
                      <a:pt x="0" y="0"/>
                    </a:lnTo>
                    <a:lnTo>
                      <a:pt x="75" y="0"/>
                    </a:lnTo>
                    <a:lnTo>
                      <a:pt x="75" y="129"/>
                    </a:lnTo>
                    <a:close/>
                    <a:moveTo>
                      <a:pt x="20" y="109"/>
                    </a:moveTo>
                    <a:lnTo>
                      <a:pt x="54" y="109"/>
                    </a:lnTo>
                    <a:lnTo>
                      <a:pt x="54" y="21"/>
                    </a:lnTo>
                    <a:lnTo>
                      <a:pt x="20" y="21"/>
                    </a:lnTo>
                    <a:lnTo>
                      <a:pt x="20" y="109"/>
                    </a:lnTo>
                    <a:close/>
                  </a:path>
                </a:pathLst>
              </a:cu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" name="îşľîḓé">
                <a:extLst>
                  <a:ext uri="{FF2B5EF4-FFF2-40B4-BE49-F238E27FC236}">
                    <a16:creationId xmlns:a16="http://schemas.microsoft.com/office/drawing/2014/main" id="{CE47E280-5378-4786-809B-4DC8163BD82F}"/>
                  </a:ext>
                </a:extLst>
              </p:cNvPr>
              <p:cNvSpPr/>
              <p:nvPr/>
            </p:nvSpPr>
            <p:spPr bwMode="auto">
              <a:xfrm>
                <a:off x="2636839" y="2897188"/>
                <a:ext cx="1382713" cy="977900"/>
              </a:xfrm>
              <a:custGeom>
                <a:avLst/>
                <a:gdLst>
                  <a:gd name="T0" fmla="*/ 1024 w 1024"/>
                  <a:gd name="T1" fmla="*/ 326 h 725"/>
                  <a:gd name="T2" fmla="*/ 1024 w 1024"/>
                  <a:gd name="T3" fmla="*/ 0 h 725"/>
                  <a:gd name="T4" fmla="*/ 698 w 1024"/>
                  <a:gd name="T5" fmla="*/ 326 h 725"/>
                  <a:gd name="T6" fmla="*/ 0 w 1024"/>
                  <a:gd name="T7" fmla="*/ 326 h 725"/>
                  <a:gd name="T8" fmla="*/ 0 w 1024"/>
                  <a:gd name="T9" fmla="*/ 399 h 725"/>
                  <a:gd name="T10" fmla="*/ 698 w 1024"/>
                  <a:gd name="T11" fmla="*/ 399 h 725"/>
                  <a:gd name="T12" fmla="*/ 1024 w 1024"/>
                  <a:gd name="T13" fmla="*/ 725 h 725"/>
                  <a:gd name="T14" fmla="*/ 1024 w 1024"/>
                  <a:gd name="T15" fmla="*/ 399 h 725"/>
                  <a:gd name="T16" fmla="*/ 1024 w 1024"/>
                  <a:gd name="T17" fmla="*/ 399 h 725"/>
                  <a:gd name="T18" fmla="*/ 1024 w 1024"/>
                  <a:gd name="T19" fmla="*/ 326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4" h="725">
                    <a:moveTo>
                      <a:pt x="1024" y="326"/>
                    </a:moveTo>
                    <a:cubicBezTo>
                      <a:pt x="1024" y="0"/>
                      <a:pt x="1024" y="0"/>
                      <a:pt x="1024" y="0"/>
                    </a:cubicBezTo>
                    <a:cubicBezTo>
                      <a:pt x="1024" y="180"/>
                      <a:pt x="878" y="326"/>
                      <a:pt x="698" y="326"/>
                    </a:cubicBezTo>
                    <a:cubicBezTo>
                      <a:pt x="0" y="326"/>
                      <a:pt x="0" y="326"/>
                      <a:pt x="0" y="326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698" y="399"/>
                      <a:pt x="698" y="399"/>
                      <a:pt x="698" y="399"/>
                    </a:cubicBezTo>
                    <a:cubicBezTo>
                      <a:pt x="878" y="399"/>
                      <a:pt x="1024" y="545"/>
                      <a:pt x="1024" y="725"/>
                    </a:cubicBezTo>
                    <a:cubicBezTo>
                      <a:pt x="1024" y="399"/>
                      <a:pt x="1024" y="399"/>
                      <a:pt x="1024" y="399"/>
                    </a:cubicBezTo>
                    <a:cubicBezTo>
                      <a:pt x="1024" y="399"/>
                      <a:pt x="1024" y="399"/>
                      <a:pt x="1024" y="399"/>
                    </a:cubicBezTo>
                    <a:cubicBezTo>
                      <a:pt x="1024" y="326"/>
                      <a:pt x="1024" y="326"/>
                      <a:pt x="1024" y="3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" name="íś1íḑê">
                <a:extLst>
                  <a:ext uri="{FF2B5EF4-FFF2-40B4-BE49-F238E27FC236}">
                    <a16:creationId xmlns:a16="http://schemas.microsoft.com/office/drawing/2014/main" id="{4FE85ED4-13B5-40F9-A76A-4E1147D0D1C7}"/>
                  </a:ext>
                </a:extLst>
              </p:cNvPr>
              <p:cNvSpPr/>
              <p:nvPr/>
            </p:nvSpPr>
            <p:spPr bwMode="auto">
              <a:xfrm>
                <a:off x="2619376" y="2897188"/>
                <a:ext cx="1417638" cy="977900"/>
              </a:xfrm>
              <a:custGeom>
                <a:avLst/>
                <a:gdLst>
                  <a:gd name="T0" fmla="*/ 1048 w 1048"/>
                  <a:gd name="T1" fmla="*/ 725 h 725"/>
                  <a:gd name="T2" fmla="*/ 1024 w 1048"/>
                  <a:gd name="T3" fmla="*/ 725 h 725"/>
                  <a:gd name="T4" fmla="*/ 710 w 1048"/>
                  <a:gd name="T5" fmla="*/ 411 h 725"/>
                  <a:gd name="T6" fmla="*/ 0 w 1048"/>
                  <a:gd name="T7" fmla="*/ 411 h 725"/>
                  <a:gd name="T8" fmla="*/ 0 w 1048"/>
                  <a:gd name="T9" fmla="*/ 314 h 725"/>
                  <a:gd name="T10" fmla="*/ 710 w 1048"/>
                  <a:gd name="T11" fmla="*/ 314 h 725"/>
                  <a:gd name="T12" fmla="*/ 1024 w 1048"/>
                  <a:gd name="T13" fmla="*/ 0 h 725"/>
                  <a:gd name="T14" fmla="*/ 1048 w 1048"/>
                  <a:gd name="T15" fmla="*/ 0 h 725"/>
                  <a:gd name="T16" fmla="*/ 1048 w 1048"/>
                  <a:gd name="T17" fmla="*/ 725 h 725"/>
                  <a:gd name="T18" fmla="*/ 24 w 1048"/>
                  <a:gd name="T19" fmla="*/ 387 h 725"/>
                  <a:gd name="T20" fmla="*/ 710 w 1048"/>
                  <a:gd name="T21" fmla="*/ 387 h 725"/>
                  <a:gd name="T22" fmla="*/ 1024 w 1048"/>
                  <a:gd name="T23" fmla="*/ 600 h 725"/>
                  <a:gd name="T24" fmla="*/ 1024 w 1048"/>
                  <a:gd name="T25" fmla="*/ 125 h 725"/>
                  <a:gd name="T26" fmla="*/ 710 w 1048"/>
                  <a:gd name="T27" fmla="*/ 338 h 725"/>
                  <a:gd name="T28" fmla="*/ 24 w 1048"/>
                  <a:gd name="T29" fmla="*/ 338 h 725"/>
                  <a:gd name="T30" fmla="*/ 24 w 1048"/>
                  <a:gd name="T31" fmla="*/ 387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48" h="725">
                    <a:moveTo>
                      <a:pt x="1048" y="725"/>
                    </a:moveTo>
                    <a:cubicBezTo>
                      <a:pt x="1024" y="725"/>
                      <a:pt x="1024" y="725"/>
                      <a:pt x="1024" y="725"/>
                    </a:cubicBezTo>
                    <a:cubicBezTo>
                      <a:pt x="1024" y="552"/>
                      <a:pt x="883" y="411"/>
                      <a:pt x="710" y="411"/>
                    </a:cubicBezTo>
                    <a:cubicBezTo>
                      <a:pt x="0" y="411"/>
                      <a:pt x="0" y="411"/>
                      <a:pt x="0" y="411"/>
                    </a:cubicBezTo>
                    <a:cubicBezTo>
                      <a:pt x="0" y="314"/>
                      <a:pt x="0" y="314"/>
                      <a:pt x="0" y="314"/>
                    </a:cubicBezTo>
                    <a:cubicBezTo>
                      <a:pt x="710" y="314"/>
                      <a:pt x="710" y="314"/>
                      <a:pt x="710" y="314"/>
                    </a:cubicBezTo>
                    <a:cubicBezTo>
                      <a:pt x="883" y="314"/>
                      <a:pt x="1024" y="173"/>
                      <a:pt x="1024" y="0"/>
                    </a:cubicBezTo>
                    <a:cubicBezTo>
                      <a:pt x="1048" y="0"/>
                      <a:pt x="1048" y="0"/>
                      <a:pt x="1048" y="0"/>
                    </a:cubicBezTo>
                    <a:lnTo>
                      <a:pt x="1048" y="725"/>
                    </a:lnTo>
                    <a:close/>
                    <a:moveTo>
                      <a:pt x="24" y="387"/>
                    </a:moveTo>
                    <a:cubicBezTo>
                      <a:pt x="710" y="387"/>
                      <a:pt x="710" y="387"/>
                      <a:pt x="710" y="387"/>
                    </a:cubicBezTo>
                    <a:cubicBezTo>
                      <a:pt x="852" y="387"/>
                      <a:pt x="974" y="475"/>
                      <a:pt x="1024" y="600"/>
                    </a:cubicBezTo>
                    <a:cubicBezTo>
                      <a:pt x="1024" y="125"/>
                      <a:pt x="1024" y="125"/>
                      <a:pt x="1024" y="125"/>
                    </a:cubicBezTo>
                    <a:cubicBezTo>
                      <a:pt x="974" y="250"/>
                      <a:pt x="852" y="338"/>
                      <a:pt x="710" y="338"/>
                    </a:cubicBezTo>
                    <a:cubicBezTo>
                      <a:pt x="24" y="338"/>
                      <a:pt x="24" y="338"/>
                      <a:pt x="24" y="338"/>
                    </a:cubicBezTo>
                    <a:lnTo>
                      <a:pt x="24" y="387"/>
                    </a:lnTo>
                    <a:close/>
                  </a:path>
                </a:pathLst>
              </a:cu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" name="îṡļîďé">
                <a:extLst>
                  <a:ext uri="{FF2B5EF4-FFF2-40B4-BE49-F238E27FC236}">
                    <a16:creationId xmlns:a16="http://schemas.microsoft.com/office/drawing/2014/main" id="{88254910-08DC-40D5-815C-C7031F90D1FB}"/>
                  </a:ext>
                </a:extLst>
              </p:cNvPr>
              <p:cNvSpPr/>
              <p:nvPr/>
            </p:nvSpPr>
            <p:spPr bwMode="auto">
              <a:xfrm>
                <a:off x="2809876" y="3435351"/>
                <a:ext cx="882650" cy="382588"/>
              </a:xfrm>
              <a:custGeom>
                <a:avLst/>
                <a:gdLst>
                  <a:gd name="T0" fmla="*/ 512 w 654"/>
                  <a:gd name="T1" fmla="*/ 0 h 283"/>
                  <a:gd name="T2" fmla="*/ 142 w 654"/>
                  <a:gd name="T3" fmla="*/ 0 h 283"/>
                  <a:gd name="T4" fmla="*/ 0 w 654"/>
                  <a:gd name="T5" fmla="*/ 142 h 283"/>
                  <a:gd name="T6" fmla="*/ 142 w 654"/>
                  <a:gd name="T7" fmla="*/ 283 h 283"/>
                  <a:gd name="T8" fmla="*/ 512 w 654"/>
                  <a:gd name="T9" fmla="*/ 283 h 283"/>
                  <a:gd name="T10" fmla="*/ 654 w 654"/>
                  <a:gd name="T11" fmla="*/ 142 h 283"/>
                  <a:gd name="T12" fmla="*/ 512 w 654"/>
                  <a:gd name="T13" fmla="*/ 0 h 283"/>
                  <a:gd name="T14" fmla="*/ 512 w 654"/>
                  <a:gd name="T15" fmla="*/ 241 h 283"/>
                  <a:gd name="T16" fmla="*/ 411 w 654"/>
                  <a:gd name="T17" fmla="*/ 241 h 283"/>
                  <a:gd name="T18" fmla="*/ 242 w 654"/>
                  <a:gd name="T19" fmla="*/ 241 h 283"/>
                  <a:gd name="T20" fmla="*/ 142 w 654"/>
                  <a:gd name="T21" fmla="*/ 241 h 283"/>
                  <a:gd name="T22" fmla="*/ 42 w 654"/>
                  <a:gd name="T23" fmla="*/ 142 h 283"/>
                  <a:gd name="T24" fmla="*/ 142 w 654"/>
                  <a:gd name="T25" fmla="*/ 42 h 283"/>
                  <a:gd name="T26" fmla="*/ 242 w 654"/>
                  <a:gd name="T27" fmla="*/ 42 h 283"/>
                  <a:gd name="T28" fmla="*/ 411 w 654"/>
                  <a:gd name="T29" fmla="*/ 42 h 283"/>
                  <a:gd name="T30" fmla="*/ 512 w 654"/>
                  <a:gd name="T31" fmla="*/ 42 h 283"/>
                  <a:gd name="T32" fmla="*/ 612 w 654"/>
                  <a:gd name="T33" fmla="*/ 142 h 283"/>
                  <a:gd name="T34" fmla="*/ 512 w 654"/>
                  <a:gd name="T35" fmla="*/ 241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54" h="283">
                    <a:moveTo>
                      <a:pt x="512" y="0"/>
                    </a:moveTo>
                    <a:cubicBezTo>
                      <a:pt x="142" y="0"/>
                      <a:pt x="142" y="0"/>
                      <a:pt x="142" y="0"/>
                    </a:cubicBezTo>
                    <a:cubicBezTo>
                      <a:pt x="63" y="0"/>
                      <a:pt x="0" y="63"/>
                      <a:pt x="0" y="142"/>
                    </a:cubicBezTo>
                    <a:cubicBezTo>
                      <a:pt x="0" y="220"/>
                      <a:pt x="63" y="283"/>
                      <a:pt x="142" y="283"/>
                    </a:cubicBezTo>
                    <a:cubicBezTo>
                      <a:pt x="512" y="283"/>
                      <a:pt x="512" y="283"/>
                      <a:pt x="512" y="283"/>
                    </a:cubicBezTo>
                    <a:cubicBezTo>
                      <a:pt x="590" y="283"/>
                      <a:pt x="654" y="220"/>
                      <a:pt x="654" y="142"/>
                    </a:cubicBezTo>
                    <a:cubicBezTo>
                      <a:pt x="654" y="63"/>
                      <a:pt x="590" y="0"/>
                      <a:pt x="512" y="0"/>
                    </a:cubicBezTo>
                    <a:close/>
                    <a:moveTo>
                      <a:pt x="512" y="241"/>
                    </a:moveTo>
                    <a:cubicBezTo>
                      <a:pt x="411" y="241"/>
                      <a:pt x="411" y="241"/>
                      <a:pt x="411" y="241"/>
                    </a:cubicBezTo>
                    <a:cubicBezTo>
                      <a:pt x="242" y="241"/>
                      <a:pt x="242" y="241"/>
                      <a:pt x="242" y="241"/>
                    </a:cubicBezTo>
                    <a:cubicBezTo>
                      <a:pt x="142" y="241"/>
                      <a:pt x="142" y="241"/>
                      <a:pt x="142" y="241"/>
                    </a:cubicBezTo>
                    <a:cubicBezTo>
                      <a:pt x="87" y="241"/>
                      <a:pt x="42" y="197"/>
                      <a:pt x="42" y="142"/>
                    </a:cubicBezTo>
                    <a:cubicBezTo>
                      <a:pt x="42" y="87"/>
                      <a:pt x="87" y="42"/>
                      <a:pt x="142" y="42"/>
                    </a:cubicBezTo>
                    <a:cubicBezTo>
                      <a:pt x="242" y="42"/>
                      <a:pt x="242" y="42"/>
                      <a:pt x="242" y="42"/>
                    </a:cubicBezTo>
                    <a:cubicBezTo>
                      <a:pt x="411" y="42"/>
                      <a:pt x="411" y="42"/>
                      <a:pt x="411" y="42"/>
                    </a:cubicBezTo>
                    <a:cubicBezTo>
                      <a:pt x="512" y="42"/>
                      <a:pt x="512" y="42"/>
                      <a:pt x="512" y="42"/>
                    </a:cubicBezTo>
                    <a:cubicBezTo>
                      <a:pt x="567" y="42"/>
                      <a:pt x="612" y="87"/>
                      <a:pt x="612" y="142"/>
                    </a:cubicBezTo>
                    <a:cubicBezTo>
                      <a:pt x="612" y="197"/>
                      <a:pt x="567" y="241"/>
                      <a:pt x="512" y="241"/>
                    </a:cubicBezTo>
                    <a:close/>
                  </a:path>
                </a:pathLst>
              </a:custGeom>
              <a:solidFill>
                <a:srgbClr val="EF5E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" name="iṧļîḑé">
                <a:extLst>
                  <a:ext uri="{FF2B5EF4-FFF2-40B4-BE49-F238E27FC236}">
                    <a16:creationId xmlns:a16="http://schemas.microsoft.com/office/drawing/2014/main" id="{CC8BD29A-3986-47DF-B502-4733F42C54A7}"/>
                  </a:ext>
                </a:extLst>
              </p:cNvPr>
              <p:cNvSpPr/>
              <p:nvPr/>
            </p:nvSpPr>
            <p:spPr bwMode="auto">
              <a:xfrm>
                <a:off x="2792414" y="3419476"/>
                <a:ext cx="917575" cy="414338"/>
              </a:xfrm>
              <a:custGeom>
                <a:avLst/>
                <a:gdLst>
                  <a:gd name="T0" fmla="*/ 524 w 678"/>
                  <a:gd name="T1" fmla="*/ 307 h 307"/>
                  <a:gd name="T2" fmla="*/ 154 w 678"/>
                  <a:gd name="T3" fmla="*/ 307 h 307"/>
                  <a:gd name="T4" fmla="*/ 0 w 678"/>
                  <a:gd name="T5" fmla="*/ 154 h 307"/>
                  <a:gd name="T6" fmla="*/ 154 w 678"/>
                  <a:gd name="T7" fmla="*/ 0 h 307"/>
                  <a:gd name="T8" fmla="*/ 524 w 678"/>
                  <a:gd name="T9" fmla="*/ 0 h 307"/>
                  <a:gd name="T10" fmla="*/ 678 w 678"/>
                  <a:gd name="T11" fmla="*/ 154 h 307"/>
                  <a:gd name="T12" fmla="*/ 524 w 678"/>
                  <a:gd name="T13" fmla="*/ 307 h 307"/>
                  <a:gd name="T14" fmla="*/ 154 w 678"/>
                  <a:gd name="T15" fmla="*/ 24 h 307"/>
                  <a:gd name="T16" fmla="*/ 24 w 678"/>
                  <a:gd name="T17" fmla="*/ 154 h 307"/>
                  <a:gd name="T18" fmla="*/ 154 w 678"/>
                  <a:gd name="T19" fmla="*/ 283 h 307"/>
                  <a:gd name="T20" fmla="*/ 524 w 678"/>
                  <a:gd name="T21" fmla="*/ 283 h 307"/>
                  <a:gd name="T22" fmla="*/ 654 w 678"/>
                  <a:gd name="T23" fmla="*/ 154 h 307"/>
                  <a:gd name="T24" fmla="*/ 524 w 678"/>
                  <a:gd name="T25" fmla="*/ 24 h 307"/>
                  <a:gd name="T26" fmla="*/ 154 w 678"/>
                  <a:gd name="T27" fmla="*/ 24 h 307"/>
                  <a:gd name="T28" fmla="*/ 524 w 678"/>
                  <a:gd name="T29" fmla="*/ 265 h 307"/>
                  <a:gd name="T30" fmla="*/ 154 w 678"/>
                  <a:gd name="T31" fmla="*/ 265 h 307"/>
                  <a:gd name="T32" fmla="*/ 42 w 678"/>
                  <a:gd name="T33" fmla="*/ 154 h 307"/>
                  <a:gd name="T34" fmla="*/ 154 w 678"/>
                  <a:gd name="T35" fmla="*/ 42 h 307"/>
                  <a:gd name="T36" fmla="*/ 524 w 678"/>
                  <a:gd name="T37" fmla="*/ 42 h 307"/>
                  <a:gd name="T38" fmla="*/ 636 w 678"/>
                  <a:gd name="T39" fmla="*/ 154 h 307"/>
                  <a:gd name="T40" fmla="*/ 524 w 678"/>
                  <a:gd name="T41" fmla="*/ 265 h 307"/>
                  <a:gd name="T42" fmla="*/ 154 w 678"/>
                  <a:gd name="T43" fmla="*/ 66 h 307"/>
                  <a:gd name="T44" fmla="*/ 66 w 678"/>
                  <a:gd name="T45" fmla="*/ 154 h 307"/>
                  <a:gd name="T46" fmla="*/ 154 w 678"/>
                  <a:gd name="T47" fmla="*/ 241 h 307"/>
                  <a:gd name="T48" fmla="*/ 524 w 678"/>
                  <a:gd name="T49" fmla="*/ 241 h 307"/>
                  <a:gd name="T50" fmla="*/ 612 w 678"/>
                  <a:gd name="T51" fmla="*/ 154 h 307"/>
                  <a:gd name="T52" fmla="*/ 524 w 678"/>
                  <a:gd name="T53" fmla="*/ 66 h 307"/>
                  <a:gd name="T54" fmla="*/ 154 w 678"/>
                  <a:gd name="T55" fmla="*/ 66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78" h="307">
                    <a:moveTo>
                      <a:pt x="524" y="307"/>
                    </a:moveTo>
                    <a:cubicBezTo>
                      <a:pt x="154" y="307"/>
                      <a:pt x="154" y="307"/>
                      <a:pt x="154" y="307"/>
                    </a:cubicBezTo>
                    <a:cubicBezTo>
                      <a:pt x="69" y="307"/>
                      <a:pt x="0" y="239"/>
                      <a:pt x="0" y="154"/>
                    </a:cubicBezTo>
                    <a:cubicBezTo>
                      <a:pt x="0" y="69"/>
                      <a:pt x="69" y="0"/>
                      <a:pt x="154" y="0"/>
                    </a:cubicBezTo>
                    <a:cubicBezTo>
                      <a:pt x="524" y="0"/>
                      <a:pt x="524" y="0"/>
                      <a:pt x="524" y="0"/>
                    </a:cubicBezTo>
                    <a:cubicBezTo>
                      <a:pt x="609" y="0"/>
                      <a:pt x="678" y="69"/>
                      <a:pt x="678" y="154"/>
                    </a:cubicBezTo>
                    <a:cubicBezTo>
                      <a:pt x="678" y="239"/>
                      <a:pt x="609" y="307"/>
                      <a:pt x="524" y="307"/>
                    </a:cubicBezTo>
                    <a:close/>
                    <a:moveTo>
                      <a:pt x="154" y="24"/>
                    </a:moveTo>
                    <a:cubicBezTo>
                      <a:pt x="82" y="24"/>
                      <a:pt x="24" y="82"/>
                      <a:pt x="24" y="154"/>
                    </a:cubicBezTo>
                    <a:cubicBezTo>
                      <a:pt x="24" y="225"/>
                      <a:pt x="82" y="283"/>
                      <a:pt x="154" y="283"/>
                    </a:cubicBezTo>
                    <a:cubicBezTo>
                      <a:pt x="524" y="283"/>
                      <a:pt x="524" y="283"/>
                      <a:pt x="524" y="283"/>
                    </a:cubicBezTo>
                    <a:cubicBezTo>
                      <a:pt x="595" y="283"/>
                      <a:pt x="654" y="225"/>
                      <a:pt x="654" y="154"/>
                    </a:cubicBezTo>
                    <a:cubicBezTo>
                      <a:pt x="654" y="82"/>
                      <a:pt x="595" y="24"/>
                      <a:pt x="524" y="24"/>
                    </a:cubicBezTo>
                    <a:lnTo>
                      <a:pt x="154" y="24"/>
                    </a:lnTo>
                    <a:close/>
                    <a:moveTo>
                      <a:pt x="524" y="265"/>
                    </a:moveTo>
                    <a:cubicBezTo>
                      <a:pt x="154" y="265"/>
                      <a:pt x="154" y="265"/>
                      <a:pt x="154" y="265"/>
                    </a:cubicBezTo>
                    <a:cubicBezTo>
                      <a:pt x="92" y="265"/>
                      <a:pt x="42" y="215"/>
                      <a:pt x="42" y="154"/>
                    </a:cubicBezTo>
                    <a:cubicBezTo>
                      <a:pt x="42" y="92"/>
                      <a:pt x="92" y="42"/>
                      <a:pt x="154" y="42"/>
                    </a:cubicBezTo>
                    <a:cubicBezTo>
                      <a:pt x="524" y="42"/>
                      <a:pt x="524" y="42"/>
                      <a:pt x="524" y="42"/>
                    </a:cubicBezTo>
                    <a:cubicBezTo>
                      <a:pt x="586" y="42"/>
                      <a:pt x="636" y="92"/>
                      <a:pt x="636" y="154"/>
                    </a:cubicBezTo>
                    <a:cubicBezTo>
                      <a:pt x="636" y="215"/>
                      <a:pt x="586" y="265"/>
                      <a:pt x="524" y="265"/>
                    </a:cubicBezTo>
                    <a:close/>
                    <a:moveTo>
                      <a:pt x="154" y="66"/>
                    </a:moveTo>
                    <a:cubicBezTo>
                      <a:pt x="105" y="66"/>
                      <a:pt x="66" y="105"/>
                      <a:pt x="66" y="154"/>
                    </a:cubicBezTo>
                    <a:cubicBezTo>
                      <a:pt x="66" y="202"/>
                      <a:pt x="105" y="241"/>
                      <a:pt x="154" y="241"/>
                    </a:cubicBezTo>
                    <a:cubicBezTo>
                      <a:pt x="524" y="241"/>
                      <a:pt x="524" y="241"/>
                      <a:pt x="524" y="241"/>
                    </a:cubicBezTo>
                    <a:cubicBezTo>
                      <a:pt x="572" y="241"/>
                      <a:pt x="612" y="202"/>
                      <a:pt x="612" y="154"/>
                    </a:cubicBezTo>
                    <a:cubicBezTo>
                      <a:pt x="612" y="105"/>
                      <a:pt x="572" y="66"/>
                      <a:pt x="524" y="66"/>
                    </a:cubicBezTo>
                    <a:lnTo>
                      <a:pt x="154" y="66"/>
                    </a:lnTo>
                    <a:close/>
                  </a:path>
                </a:pathLst>
              </a:cu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" name="ïṩḷiḍè">
                <a:extLst>
                  <a:ext uri="{FF2B5EF4-FFF2-40B4-BE49-F238E27FC236}">
                    <a16:creationId xmlns:a16="http://schemas.microsoft.com/office/drawing/2014/main" id="{2A99150F-5365-4BF6-97E0-545F6B9B71B1}"/>
                  </a:ext>
                </a:extLst>
              </p:cNvPr>
              <p:cNvSpPr/>
              <p:nvPr/>
            </p:nvSpPr>
            <p:spPr bwMode="auto">
              <a:xfrm>
                <a:off x="3025776" y="3887788"/>
                <a:ext cx="85725" cy="31750"/>
              </a:xfrm>
              <a:prstGeom prst="rect">
                <a:avLst/>
              </a:pr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" name="îSļíḑé">
                <a:extLst>
                  <a:ext uri="{FF2B5EF4-FFF2-40B4-BE49-F238E27FC236}">
                    <a16:creationId xmlns:a16="http://schemas.microsoft.com/office/drawing/2014/main" id="{23432B2F-AEB0-45E4-9ED8-32B2F7845E24}"/>
                  </a:ext>
                </a:extLst>
              </p:cNvPr>
              <p:cNvSpPr/>
              <p:nvPr/>
            </p:nvSpPr>
            <p:spPr bwMode="auto">
              <a:xfrm>
                <a:off x="3198814" y="3887788"/>
                <a:ext cx="85725" cy="31750"/>
              </a:xfrm>
              <a:prstGeom prst="rect">
                <a:avLst/>
              </a:pr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" name="íśḷïḓe">
                <a:extLst>
                  <a:ext uri="{FF2B5EF4-FFF2-40B4-BE49-F238E27FC236}">
                    <a16:creationId xmlns:a16="http://schemas.microsoft.com/office/drawing/2014/main" id="{AC4B38AA-9F7D-4CD3-A266-62D8FA99E2E7}"/>
                  </a:ext>
                </a:extLst>
              </p:cNvPr>
              <p:cNvSpPr/>
              <p:nvPr/>
            </p:nvSpPr>
            <p:spPr bwMode="auto">
              <a:xfrm>
                <a:off x="3371851" y="3887788"/>
                <a:ext cx="85725" cy="31750"/>
              </a:xfrm>
              <a:prstGeom prst="rect">
                <a:avLst/>
              </a:pr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" name="ïşļïḓè">
                <a:extLst>
                  <a:ext uri="{FF2B5EF4-FFF2-40B4-BE49-F238E27FC236}">
                    <a16:creationId xmlns:a16="http://schemas.microsoft.com/office/drawing/2014/main" id="{E9C8B947-A029-40BB-859D-21E0AA695022}"/>
                  </a:ext>
                </a:extLst>
              </p:cNvPr>
              <p:cNvSpPr/>
              <p:nvPr/>
            </p:nvSpPr>
            <p:spPr bwMode="auto">
              <a:xfrm>
                <a:off x="3025776" y="3257551"/>
                <a:ext cx="85725" cy="31750"/>
              </a:xfrm>
              <a:prstGeom prst="rect">
                <a:avLst/>
              </a:pr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" name="iśļíḍe">
                <a:extLst>
                  <a:ext uri="{FF2B5EF4-FFF2-40B4-BE49-F238E27FC236}">
                    <a16:creationId xmlns:a16="http://schemas.microsoft.com/office/drawing/2014/main" id="{321FB351-16F7-4BD4-9E1B-1C33BABD05AC}"/>
                  </a:ext>
                </a:extLst>
              </p:cNvPr>
              <p:cNvSpPr/>
              <p:nvPr/>
            </p:nvSpPr>
            <p:spPr bwMode="auto">
              <a:xfrm>
                <a:off x="3198814" y="3257551"/>
                <a:ext cx="85725" cy="31750"/>
              </a:xfrm>
              <a:prstGeom prst="rect">
                <a:avLst/>
              </a:pr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" name="ïşlîḓè">
                <a:extLst>
                  <a:ext uri="{FF2B5EF4-FFF2-40B4-BE49-F238E27FC236}">
                    <a16:creationId xmlns:a16="http://schemas.microsoft.com/office/drawing/2014/main" id="{FEEDC316-D267-4265-AC6B-AACD48423A20}"/>
                  </a:ext>
                </a:extLst>
              </p:cNvPr>
              <p:cNvSpPr/>
              <p:nvPr/>
            </p:nvSpPr>
            <p:spPr bwMode="auto">
              <a:xfrm>
                <a:off x="3371851" y="3257551"/>
                <a:ext cx="85725" cy="31750"/>
              </a:xfrm>
              <a:prstGeom prst="rect">
                <a:avLst/>
              </a:pr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" name="i$ḻïḓé">
                <a:extLst>
                  <a:ext uri="{FF2B5EF4-FFF2-40B4-BE49-F238E27FC236}">
                    <a16:creationId xmlns:a16="http://schemas.microsoft.com/office/drawing/2014/main" id="{44777987-5CE9-44AD-B1E8-0C192C160B26}"/>
                  </a:ext>
                </a:extLst>
              </p:cNvPr>
              <p:cNvSpPr/>
              <p:nvPr/>
            </p:nvSpPr>
            <p:spPr bwMode="auto">
              <a:xfrm>
                <a:off x="4019551" y="2867026"/>
                <a:ext cx="87313" cy="1036638"/>
              </a:xfrm>
              <a:prstGeom prst="rect">
                <a:avLst/>
              </a:prstGeom>
              <a:solidFill>
                <a:srgbClr val="08C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" name="íSḷïdé">
                <a:extLst>
                  <a:ext uri="{FF2B5EF4-FFF2-40B4-BE49-F238E27FC236}">
                    <a16:creationId xmlns:a16="http://schemas.microsoft.com/office/drawing/2014/main" id="{C7B05EA5-6BE6-415B-A33E-89623A043F49}"/>
                  </a:ext>
                </a:extLst>
              </p:cNvPr>
              <p:cNvSpPr/>
              <p:nvPr/>
            </p:nvSpPr>
            <p:spPr bwMode="auto">
              <a:xfrm>
                <a:off x="4003676" y="2851151"/>
                <a:ext cx="119063" cy="1068388"/>
              </a:xfrm>
              <a:custGeom>
                <a:avLst/>
                <a:gdLst>
                  <a:gd name="T0" fmla="*/ 75 w 75"/>
                  <a:gd name="T1" fmla="*/ 673 h 673"/>
                  <a:gd name="T2" fmla="*/ 0 w 75"/>
                  <a:gd name="T3" fmla="*/ 673 h 673"/>
                  <a:gd name="T4" fmla="*/ 0 w 75"/>
                  <a:gd name="T5" fmla="*/ 0 h 673"/>
                  <a:gd name="T6" fmla="*/ 75 w 75"/>
                  <a:gd name="T7" fmla="*/ 0 h 673"/>
                  <a:gd name="T8" fmla="*/ 75 w 75"/>
                  <a:gd name="T9" fmla="*/ 673 h 673"/>
                  <a:gd name="T10" fmla="*/ 21 w 75"/>
                  <a:gd name="T11" fmla="*/ 653 h 673"/>
                  <a:gd name="T12" fmla="*/ 55 w 75"/>
                  <a:gd name="T13" fmla="*/ 653 h 673"/>
                  <a:gd name="T14" fmla="*/ 55 w 75"/>
                  <a:gd name="T15" fmla="*/ 21 h 673"/>
                  <a:gd name="T16" fmla="*/ 21 w 75"/>
                  <a:gd name="T17" fmla="*/ 21 h 673"/>
                  <a:gd name="T18" fmla="*/ 21 w 75"/>
                  <a:gd name="T19" fmla="*/ 653 h 6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673">
                    <a:moveTo>
                      <a:pt x="75" y="673"/>
                    </a:moveTo>
                    <a:lnTo>
                      <a:pt x="0" y="673"/>
                    </a:lnTo>
                    <a:lnTo>
                      <a:pt x="0" y="0"/>
                    </a:lnTo>
                    <a:lnTo>
                      <a:pt x="75" y="0"/>
                    </a:lnTo>
                    <a:lnTo>
                      <a:pt x="75" y="673"/>
                    </a:lnTo>
                    <a:close/>
                    <a:moveTo>
                      <a:pt x="21" y="653"/>
                    </a:moveTo>
                    <a:lnTo>
                      <a:pt x="55" y="653"/>
                    </a:lnTo>
                    <a:lnTo>
                      <a:pt x="55" y="21"/>
                    </a:lnTo>
                    <a:lnTo>
                      <a:pt x="21" y="21"/>
                    </a:lnTo>
                    <a:lnTo>
                      <a:pt x="21" y="653"/>
                    </a:lnTo>
                    <a:close/>
                  </a:path>
                </a:pathLst>
              </a:cu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" name="ïś1îḑé">
                <a:extLst>
                  <a:ext uri="{FF2B5EF4-FFF2-40B4-BE49-F238E27FC236}">
                    <a16:creationId xmlns:a16="http://schemas.microsoft.com/office/drawing/2014/main" id="{28034863-F98E-467A-988A-846C1DED6D13}"/>
                  </a:ext>
                </a:extLst>
              </p:cNvPr>
              <p:cNvSpPr/>
              <p:nvPr/>
            </p:nvSpPr>
            <p:spPr bwMode="auto">
              <a:xfrm>
                <a:off x="2652714" y="2740026"/>
                <a:ext cx="773113" cy="138113"/>
              </a:xfrm>
              <a:custGeom>
                <a:avLst/>
                <a:gdLst>
                  <a:gd name="T0" fmla="*/ 495 w 572"/>
                  <a:gd name="T1" fmla="*/ 92 h 103"/>
                  <a:gd name="T2" fmla="*/ 417 w 572"/>
                  <a:gd name="T3" fmla="*/ 60 h 103"/>
                  <a:gd name="T4" fmla="*/ 295 w 572"/>
                  <a:gd name="T5" fmla="*/ 60 h 103"/>
                  <a:gd name="T6" fmla="*/ 292 w 572"/>
                  <a:gd name="T7" fmla="*/ 64 h 103"/>
                  <a:gd name="T8" fmla="*/ 291 w 572"/>
                  <a:gd name="T9" fmla="*/ 64 h 103"/>
                  <a:gd name="T10" fmla="*/ 139 w 572"/>
                  <a:gd name="T11" fmla="*/ 60 h 103"/>
                  <a:gd name="T12" fmla="*/ 17 w 572"/>
                  <a:gd name="T13" fmla="*/ 60 h 103"/>
                  <a:gd name="T14" fmla="*/ 0 w 572"/>
                  <a:gd name="T15" fmla="*/ 43 h 103"/>
                  <a:gd name="T16" fmla="*/ 156 w 572"/>
                  <a:gd name="T17" fmla="*/ 43 h 103"/>
                  <a:gd name="T18" fmla="*/ 278 w 572"/>
                  <a:gd name="T19" fmla="*/ 43 h 103"/>
                  <a:gd name="T20" fmla="*/ 281 w 572"/>
                  <a:gd name="T21" fmla="*/ 39 h 103"/>
                  <a:gd name="T22" fmla="*/ 282 w 572"/>
                  <a:gd name="T23" fmla="*/ 39 h 103"/>
                  <a:gd name="T24" fmla="*/ 434 w 572"/>
                  <a:gd name="T25" fmla="*/ 43 h 103"/>
                  <a:gd name="T26" fmla="*/ 555 w 572"/>
                  <a:gd name="T27" fmla="*/ 43 h 103"/>
                  <a:gd name="T28" fmla="*/ 572 w 572"/>
                  <a:gd name="T29" fmla="*/ 60 h 103"/>
                  <a:gd name="T30" fmla="*/ 495 w 572"/>
                  <a:gd name="T31" fmla="*/ 9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72" h="103">
                    <a:moveTo>
                      <a:pt x="495" y="92"/>
                    </a:moveTo>
                    <a:cubicBezTo>
                      <a:pt x="466" y="92"/>
                      <a:pt x="438" y="81"/>
                      <a:pt x="417" y="60"/>
                    </a:cubicBezTo>
                    <a:cubicBezTo>
                      <a:pt x="383" y="26"/>
                      <a:pt x="329" y="26"/>
                      <a:pt x="295" y="60"/>
                    </a:cubicBezTo>
                    <a:cubicBezTo>
                      <a:pt x="292" y="64"/>
                      <a:pt x="292" y="64"/>
                      <a:pt x="292" y="64"/>
                    </a:cubicBezTo>
                    <a:cubicBezTo>
                      <a:pt x="291" y="64"/>
                      <a:pt x="291" y="64"/>
                      <a:pt x="291" y="64"/>
                    </a:cubicBezTo>
                    <a:cubicBezTo>
                      <a:pt x="248" y="103"/>
                      <a:pt x="181" y="102"/>
                      <a:pt x="139" y="60"/>
                    </a:cubicBezTo>
                    <a:cubicBezTo>
                      <a:pt x="106" y="26"/>
                      <a:pt x="51" y="26"/>
                      <a:pt x="17" y="60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43" y="0"/>
                      <a:pt x="113" y="0"/>
                      <a:pt x="156" y="43"/>
                    </a:cubicBezTo>
                    <a:cubicBezTo>
                      <a:pt x="190" y="77"/>
                      <a:pt x="244" y="77"/>
                      <a:pt x="278" y="43"/>
                    </a:cubicBezTo>
                    <a:cubicBezTo>
                      <a:pt x="281" y="39"/>
                      <a:pt x="281" y="39"/>
                      <a:pt x="281" y="39"/>
                    </a:cubicBezTo>
                    <a:cubicBezTo>
                      <a:pt x="282" y="39"/>
                      <a:pt x="282" y="39"/>
                      <a:pt x="282" y="39"/>
                    </a:cubicBezTo>
                    <a:cubicBezTo>
                      <a:pt x="325" y="0"/>
                      <a:pt x="392" y="1"/>
                      <a:pt x="434" y="43"/>
                    </a:cubicBezTo>
                    <a:cubicBezTo>
                      <a:pt x="467" y="77"/>
                      <a:pt x="522" y="77"/>
                      <a:pt x="555" y="43"/>
                    </a:cubicBezTo>
                    <a:cubicBezTo>
                      <a:pt x="572" y="60"/>
                      <a:pt x="572" y="60"/>
                      <a:pt x="572" y="60"/>
                    </a:cubicBezTo>
                    <a:cubicBezTo>
                      <a:pt x="551" y="81"/>
                      <a:pt x="523" y="92"/>
                      <a:pt x="495" y="92"/>
                    </a:cubicBezTo>
                    <a:close/>
                  </a:path>
                </a:pathLst>
              </a:cu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" name="iSḷiďe">
                <a:extLst>
                  <a:ext uri="{FF2B5EF4-FFF2-40B4-BE49-F238E27FC236}">
                    <a16:creationId xmlns:a16="http://schemas.microsoft.com/office/drawing/2014/main" id="{1C7A7097-F7AE-4999-A237-65C1CCF68C22}"/>
                  </a:ext>
                </a:extLst>
              </p:cNvPr>
              <p:cNvSpPr/>
              <p:nvPr/>
            </p:nvSpPr>
            <p:spPr bwMode="auto">
              <a:xfrm>
                <a:off x="2652714" y="2887663"/>
                <a:ext cx="773113" cy="138113"/>
              </a:xfrm>
              <a:custGeom>
                <a:avLst/>
                <a:gdLst>
                  <a:gd name="T0" fmla="*/ 495 w 572"/>
                  <a:gd name="T1" fmla="*/ 92 h 102"/>
                  <a:gd name="T2" fmla="*/ 417 w 572"/>
                  <a:gd name="T3" fmla="*/ 60 h 102"/>
                  <a:gd name="T4" fmla="*/ 295 w 572"/>
                  <a:gd name="T5" fmla="*/ 60 h 102"/>
                  <a:gd name="T6" fmla="*/ 292 w 572"/>
                  <a:gd name="T7" fmla="*/ 63 h 102"/>
                  <a:gd name="T8" fmla="*/ 291 w 572"/>
                  <a:gd name="T9" fmla="*/ 63 h 102"/>
                  <a:gd name="T10" fmla="*/ 139 w 572"/>
                  <a:gd name="T11" fmla="*/ 60 h 102"/>
                  <a:gd name="T12" fmla="*/ 17 w 572"/>
                  <a:gd name="T13" fmla="*/ 60 h 102"/>
                  <a:gd name="T14" fmla="*/ 0 w 572"/>
                  <a:gd name="T15" fmla="*/ 43 h 102"/>
                  <a:gd name="T16" fmla="*/ 156 w 572"/>
                  <a:gd name="T17" fmla="*/ 43 h 102"/>
                  <a:gd name="T18" fmla="*/ 278 w 572"/>
                  <a:gd name="T19" fmla="*/ 43 h 102"/>
                  <a:gd name="T20" fmla="*/ 281 w 572"/>
                  <a:gd name="T21" fmla="*/ 39 h 102"/>
                  <a:gd name="T22" fmla="*/ 282 w 572"/>
                  <a:gd name="T23" fmla="*/ 39 h 102"/>
                  <a:gd name="T24" fmla="*/ 434 w 572"/>
                  <a:gd name="T25" fmla="*/ 43 h 102"/>
                  <a:gd name="T26" fmla="*/ 555 w 572"/>
                  <a:gd name="T27" fmla="*/ 43 h 102"/>
                  <a:gd name="T28" fmla="*/ 572 w 572"/>
                  <a:gd name="T29" fmla="*/ 60 h 102"/>
                  <a:gd name="T30" fmla="*/ 495 w 572"/>
                  <a:gd name="T31" fmla="*/ 9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72" h="102">
                    <a:moveTo>
                      <a:pt x="495" y="92"/>
                    </a:moveTo>
                    <a:cubicBezTo>
                      <a:pt x="466" y="92"/>
                      <a:pt x="438" y="81"/>
                      <a:pt x="417" y="60"/>
                    </a:cubicBezTo>
                    <a:cubicBezTo>
                      <a:pt x="383" y="26"/>
                      <a:pt x="329" y="26"/>
                      <a:pt x="295" y="60"/>
                    </a:cubicBezTo>
                    <a:cubicBezTo>
                      <a:pt x="292" y="63"/>
                      <a:pt x="292" y="63"/>
                      <a:pt x="292" y="63"/>
                    </a:cubicBezTo>
                    <a:cubicBezTo>
                      <a:pt x="291" y="63"/>
                      <a:pt x="291" y="63"/>
                      <a:pt x="291" y="63"/>
                    </a:cubicBezTo>
                    <a:cubicBezTo>
                      <a:pt x="248" y="102"/>
                      <a:pt x="181" y="101"/>
                      <a:pt x="139" y="60"/>
                    </a:cubicBezTo>
                    <a:cubicBezTo>
                      <a:pt x="106" y="26"/>
                      <a:pt x="51" y="26"/>
                      <a:pt x="17" y="60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43" y="0"/>
                      <a:pt x="113" y="0"/>
                      <a:pt x="156" y="43"/>
                    </a:cubicBezTo>
                    <a:cubicBezTo>
                      <a:pt x="190" y="76"/>
                      <a:pt x="244" y="76"/>
                      <a:pt x="278" y="43"/>
                    </a:cubicBezTo>
                    <a:cubicBezTo>
                      <a:pt x="281" y="39"/>
                      <a:pt x="281" y="39"/>
                      <a:pt x="281" y="39"/>
                    </a:cubicBezTo>
                    <a:cubicBezTo>
                      <a:pt x="282" y="39"/>
                      <a:pt x="282" y="39"/>
                      <a:pt x="282" y="39"/>
                    </a:cubicBezTo>
                    <a:cubicBezTo>
                      <a:pt x="325" y="0"/>
                      <a:pt x="392" y="1"/>
                      <a:pt x="434" y="43"/>
                    </a:cubicBezTo>
                    <a:cubicBezTo>
                      <a:pt x="467" y="76"/>
                      <a:pt x="522" y="76"/>
                      <a:pt x="555" y="43"/>
                    </a:cubicBezTo>
                    <a:cubicBezTo>
                      <a:pt x="572" y="60"/>
                      <a:pt x="572" y="60"/>
                      <a:pt x="572" y="60"/>
                    </a:cubicBezTo>
                    <a:cubicBezTo>
                      <a:pt x="551" y="81"/>
                      <a:pt x="523" y="92"/>
                      <a:pt x="495" y="92"/>
                    </a:cubicBezTo>
                    <a:close/>
                  </a:path>
                </a:pathLst>
              </a:cu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01CDFF44-36E9-48AF-A235-1AEAC3286F8A}"/>
                </a:ext>
              </a:extLst>
            </p:cNvPr>
            <p:cNvCxnSpPr>
              <a:cxnSpLocks/>
            </p:cNvCxnSpPr>
            <p:nvPr/>
          </p:nvCxnSpPr>
          <p:spPr>
            <a:xfrm>
              <a:off x="3755977" y="2675300"/>
              <a:ext cx="7819793" cy="0"/>
            </a:xfrm>
            <a:prstGeom prst="line">
              <a:avLst/>
            </a:prstGeom>
            <a:ln w="9525" cap="rnd">
              <a:solidFill>
                <a:schemeClr val="tx1">
                  <a:lumMod val="50000"/>
                  <a:lumOff val="50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îṩḷîḓé">
              <a:extLst>
                <a:ext uri="{FF2B5EF4-FFF2-40B4-BE49-F238E27FC236}">
                  <a16:creationId xmlns:a16="http://schemas.microsoft.com/office/drawing/2014/main" id="{EBDDFDE0-381A-4BB3-A573-80F3C8FB4B52}"/>
                </a:ext>
              </a:extLst>
            </p:cNvPr>
            <p:cNvSpPr txBox="1"/>
            <p:nvPr/>
          </p:nvSpPr>
          <p:spPr>
            <a:xfrm>
              <a:off x="3665976" y="1250532"/>
              <a:ext cx="6570024" cy="1269678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700" dirty="0"/>
                <a:t>在传统的 </a:t>
              </a:r>
              <a:r>
                <a:rPr lang="en-US" altLang="zh-CN" sz="1700" dirty="0"/>
                <a:t>LOGO </a:t>
              </a:r>
              <a:r>
                <a:rPr lang="zh-CN" altLang="en-US" sz="1700" dirty="0"/>
                <a:t>语言基础上，</a:t>
              </a:r>
              <a:endParaRPr lang="en-US" altLang="zh-CN" sz="1700" dirty="0"/>
            </a:p>
            <a:p>
              <a:pPr>
                <a:lnSpc>
                  <a:spcPct val="150000"/>
                </a:lnSpc>
              </a:pPr>
              <a:r>
                <a:rPr lang="zh-CN" altLang="en-US" sz="1700" dirty="0"/>
                <a:t>我们增加了变量定义与子过程等语法特性，</a:t>
              </a:r>
              <a:endParaRPr lang="en-US" altLang="zh-CN" sz="1700" dirty="0"/>
            </a:p>
            <a:p>
              <a:pPr>
                <a:lnSpc>
                  <a:spcPct val="150000"/>
                </a:lnSpc>
              </a:pPr>
              <a:r>
                <a:rPr lang="zh-CN" altLang="en-US" sz="1700" dirty="0"/>
                <a:t>使得绘图灵活性、可操作性大大提高。</a:t>
              </a:r>
              <a:endParaRPr lang="en-US" altLang="zh-CN" sz="1700" dirty="0"/>
            </a:p>
          </p:txBody>
        </p:sp>
        <p:grpSp>
          <p:nvGrpSpPr>
            <p:cNvPr id="9" name="í$ḷiḋê">
              <a:extLst>
                <a:ext uri="{FF2B5EF4-FFF2-40B4-BE49-F238E27FC236}">
                  <a16:creationId xmlns:a16="http://schemas.microsoft.com/office/drawing/2014/main" id="{A9EC3300-6B6B-4AC4-840C-D2F5073372ED}"/>
                </a:ext>
              </a:extLst>
            </p:cNvPr>
            <p:cNvGrpSpPr/>
            <p:nvPr/>
          </p:nvGrpSpPr>
          <p:grpSpPr>
            <a:xfrm>
              <a:off x="4012673" y="2817159"/>
              <a:ext cx="3255960" cy="1308372"/>
              <a:chOff x="4073805" y="2817159"/>
              <a:chExt cx="3255960" cy="1308372"/>
            </a:xfrm>
          </p:grpSpPr>
          <p:grpSp>
            <p:nvGrpSpPr>
              <p:cNvPr id="33" name="îśľïḓe">
                <a:extLst>
                  <a:ext uri="{FF2B5EF4-FFF2-40B4-BE49-F238E27FC236}">
                    <a16:creationId xmlns:a16="http://schemas.microsoft.com/office/drawing/2014/main" id="{0BEBE37E-08D0-4553-8CFB-9DC14AC10208}"/>
                  </a:ext>
                </a:extLst>
              </p:cNvPr>
              <p:cNvGrpSpPr/>
              <p:nvPr/>
            </p:nvGrpSpPr>
            <p:grpSpPr>
              <a:xfrm>
                <a:off x="4775788" y="2817159"/>
                <a:ext cx="2553977" cy="1308372"/>
                <a:chOff x="4591801" y="2817159"/>
                <a:chExt cx="2553977" cy="1308372"/>
              </a:xfrm>
            </p:grpSpPr>
            <p:sp>
              <p:nvSpPr>
                <p:cNvPr id="37" name="iŝļíḓé">
                  <a:extLst>
                    <a:ext uri="{FF2B5EF4-FFF2-40B4-BE49-F238E27FC236}">
                      <a16:creationId xmlns:a16="http://schemas.microsoft.com/office/drawing/2014/main" id="{896FBA68-AAA9-492B-92BE-1A428E8A2611}"/>
                    </a:ext>
                  </a:extLst>
                </p:cNvPr>
                <p:cNvSpPr txBox="1"/>
                <p:nvPr/>
              </p:nvSpPr>
              <p:spPr>
                <a:xfrm>
                  <a:off x="4591801" y="3565678"/>
                  <a:ext cx="2553977" cy="559853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 fontScale="92500" lnSpcReduction="20000"/>
                </a:bodyPr>
                <a:lstStyle/>
                <a:p>
                  <a:pPr marL="171450" indent="-171450">
                    <a:lnSpc>
                      <a:spcPct val="12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100" dirty="0"/>
                    <a:t>给变量赋值</a:t>
                  </a:r>
                  <a:endParaRPr lang="en-US" altLang="zh-CN" sz="1100" dirty="0"/>
                </a:p>
                <a:p>
                  <a:pPr marL="171450" indent="-171450">
                    <a:lnSpc>
                      <a:spcPct val="12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100" dirty="0"/>
                    <a:t>变量可以有浮点与颜色类型</a:t>
                  </a:r>
                  <a:endParaRPr lang="en-US" altLang="zh-CN" sz="1100" dirty="0"/>
                </a:p>
                <a:p>
                  <a:pPr marL="171450" indent="-171450">
                    <a:lnSpc>
                      <a:spcPct val="12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100" dirty="0"/>
                    <a:t>未赋值变量初始值均为数字</a:t>
                  </a:r>
                  <a:r>
                    <a:rPr lang="en-US" altLang="zh-CN" sz="1100" dirty="0"/>
                    <a:t>0</a:t>
                  </a:r>
                </a:p>
              </p:txBody>
            </p:sp>
            <p:sp>
              <p:nvSpPr>
                <p:cNvPr id="38" name="isliḑé">
                  <a:extLst>
                    <a:ext uri="{FF2B5EF4-FFF2-40B4-BE49-F238E27FC236}">
                      <a16:creationId xmlns:a16="http://schemas.microsoft.com/office/drawing/2014/main" id="{92BEE140-126D-49A7-B5A8-7C9349DFF1A1}"/>
                    </a:ext>
                  </a:extLst>
                </p:cNvPr>
                <p:cNvSpPr txBox="1"/>
                <p:nvPr/>
              </p:nvSpPr>
              <p:spPr>
                <a:xfrm>
                  <a:off x="4591801" y="2817159"/>
                  <a:ext cx="2553977" cy="748520"/>
                </a:xfrm>
                <a:prstGeom prst="rect">
                  <a:avLst/>
                </a:prstGeom>
                <a:noFill/>
              </p:spPr>
              <p:txBody>
                <a:bodyPr wrap="none" rtlCol="0" anchor="b" anchorCtr="0">
                  <a:normAutofit/>
                </a:bodyPr>
                <a:lstStyle/>
                <a:p>
                  <a:r>
                    <a:rPr lang="en-US" altLang="zh-CN" b="1" dirty="0">
                      <a:solidFill>
                        <a:srgbClr val="0070C0"/>
                      </a:solidFill>
                    </a:rPr>
                    <a:t>MAKE</a:t>
                  </a:r>
                  <a:r>
                    <a:rPr lang="en-US" altLang="zh-CN" b="1" dirty="0"/>
                    <a:t> </a:t>
                  </a:r>
                  <a:r>
                    <a:rPr lang="en-US" altLang="zh-CN" dirty="0"/>
                    <a:t>X</a:t>
                  </a:r>
                  <a:r>
                    <a:rPr lang="en-US" altLang="zh-CN" b="1" dirty="0"/>
                    <a:t> “</a:t>
                  </a:r>
                  <a:r>
                    <a:rPr lang="en-US" altLang="zh-CN" dirty="0"/>
                    <a:t>X</a:t>
                  </a:r>
                  <a:r>
                    <a:rPr lang="en-US" altLang="zh-CN" b="1" dirty="0"/>
                    <a:t> + </a:t>
                  </a:r>
                  <a:r>
                    <a:rPr lang="en-US" altLang="zh-CN" b="1" dirty="0">
                      <a:solidFill>
                        <a:srgbClr val="92D050"/>
                      </a:solidFill>
                    </a:rPr>
                    <a:t>1</a:t>
                  </a:r>
                  <a:r>
                    <a:rPr lang="en-US" altLang="zh-CN" b="1" dirty="0"/>
                    <a:t>”</a:t>
                  </a:r>
                </a:p>
                <a:p>
                  <a:r>
                    <a:rPr lang="en-US" altLang="zh-CN" b="1" dirty="0">
                      <a:solidFill>
                        <a:srgbClr val="0070C0"/>
                      </a:solidFill>
                    </a:rPr>
                    <a:t>MAKE</a:t>
                  </a:r>
                  <a:r>
                    <a:rPr lang="en-US" altLang="zh-CN" b="1" dirty="0"/>
                    <a:t> </a:t>
                  </a:r>
                  <a:r>
                    <a:rPr lang="en-US" altLang="zh-CN" dirty="0"/>
                    <a:t>C</a:t>
                  </a:r>
                  <a:r>
                    <a:rPr lang="en-US" altLang="zh-CN" b="1" dirty="0"/>
                    <a:t> “</a:t>
                  </a:r>
                  <a:r>
                    <a:rPr lang="en-US" altLang="zh-CN" b="1" dirty="0">
                      <a:solidFill>
                        <a:srgbClr val="92D050"/>
                      </a:solidFill>
                    </a:rPr>
                    <a:t>#</a:t>
                  </a:r>
                  <a:r>
                    <a:rPr lang="en-US" altLang="zh-CN" b="1" dirty="0" err="1">
                      <a:solidFill>
                        <a:srgbClr val="92D050"/>
                      </a:solidFill>
                    </a:rPr>
                    <a:t>ffffff</a:t>
                  </a:r>
                  <a:r>
                    <a:rPr lang="en-US" altLang="zh-CN" b="1" dirty="0"/>
                    <a:t>”</a:t>
                  </a:r>
                </a:p>
              </p:txBody>
            </p:sp>
          </p:grpSp>
          <p:grpSp>
            <p:nvGrpSpPr>
              <p:cNvPr id="34" name="îŝļíďe">
                <a:extLst>
                  <a:ext uri="{FF2B5EF4-FFF2-40B4-BE49-F238E27FC236}">
                    <a16:creationId xmlns:a16="http://schemas.microsoft.com/office/drawing/2014/main" id="{6CF9069D-AF6A-4C16-9DE1-B5524A15ED85}"/>
                  </a:ext>
                </a:extLst>
              </p:cNvPr>
              <p:cNvGrpSpPr/>
              <p:nvPr/>
            </p:nvGrpSpPr>
            <p:grpSpPr>
              <a:xfrm>
                <a:off x="4073805" y="3221574"/>
                <a:ext cx="585555" cy="585559"/>
                <a:chOff x="7209746" y="4153276"/>
                <a:chExt cx="675000" cy="675005"/>
              </a:xfrm>
            </p:grpSpPr>
            <p:sp>
              <p:nvSpPr>
                <p:cNvPr id="35" name="îs1ïḍe">
                  <a:extLst>
                    <a:ext uri="{FF2B5EF4-FFF2-40B4-BE49-F238E27FC236}">
                      <a16:creationId xmlns:a16="http://schemas.microsoft.com/office/drawing/2014/main" id="{E761C501-0D49-47AA-9DFA-F6E9C992A3EA}"/>
                    </a:ext>
                  </a:extLst>
                </p:cNvPr>
                <p:cNvSpPr/>
                <p:nvPr/>
              </p:nvSpPr>
              <p:spPr>
                <a:xfrm>
                  <a:off x="7209746" y="4153276"/>
                  <a:ext cx="675000" cy="675005"/>
                </a:xfrm>
                <a:prstGeom prst="ellipse">
                  <a:avLst/>
                </a:prstGeom>
                <a:solidFill>
                  <a:schemeClr val="accent1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" name="i$ľîḑé">
                  <a:extLst>
                    <a:ext uri="{FF2B5EF4-FFF2-40B4-BE49-F238E27FC236}">
                      <a16:creationId xmlns:a16="http://schemas.microsoft.com/office/drawing/2014/main" id="{3F8B0681-B596-4190-BB7B-20DFB6E45B68}"/>
                    </a:ext>
                  </a:extLst>
                </p:cNvPr>
                <p:cNvSpPr/>
                <p:nvPr/>
              </p:nvSpPr>
              <p:spPr bwMode="auto">
                <a:xfrm>
                  <a:off x="7375153" y="4322040"/>
                  <a:ext cx="344185" cy="337474"/>
                </a:xfrm>
                <a:custGeom>
                  <a:avLst/>
                  <a:gdLst>
                    <a:gd name="T0" fmla="*/ 1312 w 1990"/>
                    <a:gd name="T1" fmla="*/ 1552 h 1954"/>
                    <a:gd name="T2" fmla="*/ 291 w 1990"/>
                    <a:gd name="T3" fmla="*/ 1746 h 1954"/>
                    <a:gd name="T4" fmla="*/ 0 w 1990"/>
                    <a:gd name="T5" fmla="*/ 540 h 1954"/>
                    <a:gd name="T6" fmla="*/ 515 w 1990"/>
                    <a:gd name="T7" fmla="*/ 249 h 1954"/>
                    <a:gd name="T8" fmla="*/ 1205 w 1990"/>
                    <a:gd name="T9" fmla="*/ 0 h 1954"/>
                    <a:gd name="T10" fmla="*/ 1496 w 1990"/>
                    <a:gd name="T11" fmla="*/ 489 h 1954"/>
                    <a:gd name="T12" fmla="*/ 1413 w 1990"/>
                    <a:gd name="T13" fmla="*/ 291 h 1954"/>
                    <a:gd name="T14" fmla="*/ 802 w 1990"/>
                    <a:gd name="T15" fmla="*/ 83 h 1954"/>
                    <a:gd name="T16" fmla="*/ 1039 w 1990"/>
                    <a:gd name="T17" fmla="*/ 249 h 1954"/>
                    <a:gd name="T18" fmla="*/ 1243 w 1990"/>
                    <a:gd name="T19" fmla="*/ 499 h 1954"/>
                    <a:gd name="T20" fmla="*/ 291 w 1990"/>
                    <a:gd name="T21" fmla="*/ 333 h 1954"/>
                    <a:gd name="T22" fmla="*/ 83 w 1990"/>
                    <a:gd name="T23" fmla="*/ 1455 h 1954"/>
                    <a:gd name="T24" fmla="*/ 1039 w 1990"/>
                    <a:gd name="T25" fmla="*/ 1663 h 1954"/>
                    <a:gd name="T26" fmla="*/ 1641 w 1990"/>
                    <a:gd name="T27" fmla="*/ 1453 h 1954"/>
                    <a:gd name="T28" fmla="*/ 1138 w 1990"/>
                    <a:gd name="T29" fmla="*/ 583 h 1954"/>
                    <a:gd name="T30" fmla="*/ 1641 w 1990"/>
                    <a:gd name="T31" fmla="*/ 1453 h 1954"/>
                    <a:gd name="T32" fmla="*/ 1752 w 1990"/>
                    <a:gd name="T33" fmla="*/ 809 h 1954"/>
                    <a:gd name="T34" fmla="*/ 1026 w 1990"/>
                    <a:gd name="T35" fmla="*/ 1228 h 1954"/>
                    <a:gd name="T36" fmla="*/ 1767 w 1990"/>
                    <a:gd name="T37" fmla="*/ 1422 h 1954"/>
                    <a:gd name="T38" fmla="*/ 1717 w 1990"/>
                    <a:gd name="T39" fmla="*/ 1835 h 1954"/>
                    <a:gd name="T40" fmla="*/ 1767 w 1990"/>
                    <a:gd name="T41" fmla="*/ 1422 h 1954"/>
                    <a:gd name="T42" fmla="*/ 1739 w 1990"/>
                    <a:gd name="T43" fmla="*/ 1874 h 1954"/>
                    <a:gd name="T44" fmla="*/ 1956 w 1990"/>
                    <a:gd name="T45" fmla="*/ 1749 h 1954"/>
                    <a:gd name="T46" fmla="*/ 249 w 1990"/>
                    <a:gd name="T47" fmla="*/ 551 h 1954"/>
                    <a:gd name="T48" fmla="*/ 803 w 1990"/>
                    <a:gd name="T49" fmla="*/ 613 h 1954"/>
                    <a:gd name="T50" fmla="*/ 675 w 1990"/>
                    <a:gd name="T51" fmla="*/ 828 h 1954"/>
                    <a:gd name="T52" fmla="*/ 249 w 1990"/>
                    <a:gd name="T53" fmla="*/ 890 h 1954"/>
                    <a:gd name="T54" fmla="*/ 675 w 1990"/>
                    <a:gd name="T55" fmla="*/ 828 h 1954"/>
                    <a:gd name="T56" fmla="*/ 675 w 1990"/>
                    <a:gd name="T57" fmla="*/ 1167 h 1954"/>
                    <a:gd name="T58" fmla="*/ 249 w 1990"/>
                    <a:gd name="T59" fmla="*/ 1105 h 1954"/>
                    <a:gd name="T60" fmla="*/ 249 w 1990"/>
                    <a:gd name="T61" fmla="*/ 1444 h 1954"/>
                    <a:gd name="T62" fmla="*/ 803 w 1990"/>
                    <a:gd name="T63" fmla="*/ 1382 h 1954"/>
                    <a:gd name="T64" fmla="*/ 249 w 1990"/>
                    <a:gd name="T65" fmla="*/ 1444 h 1954"/>
                    <a:gd name="T66" fmla="*/ 1179 w 1990"/>
                    <a:gd name="T67" fmla="*/ 961 h 1954"/>
                    <a:gd name="T68" fmla="*/ 1300 w 1990"/>
                    <a:gd name="T69" fmla="*/ 1219 h 1954"/>
                    <a:gd name="T70" fmla="*/ 1604 w 1990"/>
                    <a:gd name="T71" fmla="*/ 858 h 19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990" h="1954">
                      <a:moveTo>
                        <a:pt x="1231" y="1534"/>
                      </a:moveTo>
                      <a:cubicBezTo>
                        <a:pt x="1258" y="1542"/>
                        <a:pt x="1285" y="1548"/>
                        <a:pt x="1312" y="1552"/>
                      </a:cubicBezTo>
                      <a:cubicBezTo>
                        <a:pt x="1272" y="1665"/>
                        <a:pt x="1165" y="1746"/>
                        <a:pt x="1039" y="1746"/>
                      </a:cubicBezTo>
                      <a:lnTo>
                        <a:pt x="291" y="1746"/>
                      </a:lnTo>
                      <a:cubicBezTo>
                        <a:pt x="131" y="1746"/>
                        <a:pt x="0" y="1615"/>
                        <a:pt x="0" y="1455"/>
                      </a:cubicBezTo>
                      <a:lnTo>
                        <a:pt x="0" y="540"/>
                      </a:lnTo>
                      <a:cubicBezTo>
                        <a:pt x="0" y="380"/>
                        <a:pt x="131" y="249"/>
                        <a:pt x="291" y="249"/>
                      </a:cubicBezTo>
                      <a:lnTo>
                        <a:pt x="515" y="249"/>
                      </a:lnTo>
                      <a:cubicBezTo>
                        <a:pt x="535" y="109"/>
                        <a:pt x="656" y="0"/>
                        <a:pt x="802" y="0"/>
                      </a:cubicBezTo>
                      <a:lnTo>
                        <a:pt x="1205" y="0"/>
                      </a:lnTo>
                      <a:cubicBezTo>
                        <a:pt x="1366" y="0"/>
                        <a:pt x="1496" y="131"/>
                        <a:pt x="1496" y="291"/>
                      </a:cubicBezTo>
                      <a:lnTo>
                        <a:pt x="1496" y="489"/>
                      </a:lnTo>
                      <a:cubicBezTo>
                        <a:pt x="1469" y="484"/>
                        <a:pt x="1441" y="480"/>
                        <a:pt x="1413" y="479"/>
                      </a:cubicBezTo>
                      <a:lnTo>
                        <a:pt x="1413" y="291"/>
                      </a:lnTo>
                      <a:cubicBezTo>
                        <a:pt x="1413" y="176"/>
                        <a:pt x="1320" y="83"/>
                        <a:pt x="1205" y="83"/>
                      </a:cubicBezTo>
                      <a:lnTo>
                        <a:pt x="802" y="83"/>
                      </a:lnTo>
                      <a:cubicBezTo>
                        <a:pt x="701" y="83"/>
                        <a:pt x="617" y="155"/>
                        <a:pt x="598" y="249"/>
                      </a:cubicBezTo>
                      <a:lnTo>
                        <a:pt x="1039" y="249"/>
                      </a:lnTo>
                      <a:cubicBezTo>
                        <a:pt x="1180" y="249"/>
                        <a:pt x="1297" y="349"/>
                        <a:pt x="1324" y="482"/>
                      </a:cubicBezTo>
                      <a:cubicBezTo>
                        <a:pt x="1297" y="485"/>
                        <a:pt x="1270" y="491"/>
                        <a:pt x="1243" y="499"/>
                      </a:cubicBezTo>
                      <a:cubicBezTo>
                        <a:pt x="1224" y="404"/>
                        <a:pt x="1140" y="333"/>
                        <a:pt x="1039" y="333"/>
                      </a:cubicBezTo>
                      <a:lnTo>
                        <a:pt x="291" y="333"/>
                      </a:lnTo>
                      <a:cubicBezTo>
                        <a:pt x="177" y="333"/>
                        <a:pt x="83" y="426"/>
                        <a:pt x="83" y="540"/>
                      </a:cubicBezTo>
                      <a:lnTo>
                        <a:pt x="83" y="1455"/>
                      </a:lnTo>
                      <a:cubicBezTo>
                        <a:pt x="83" y="1569"/>
                        <a:pt x="177" y="1663"/>
                        <a:pt x="291" y="1663"/>
                      </a:cubicBezTo>
                      <a:lnTo>
                        <a:pt x="1039" y="1663"/>
                      </a:lnTo>
                      <a:cubicBezTo>
                        <a:pt x="1126" y="1663"/>
                        <a:pt x="1200" y="1609"/>
                        <a:pt x="1231" y="1534"/>
                      </a:cubicBezTo>
                      <a:close/>
                      <a:moveTo>
                        <a:pt x="1641" y="1453"/>
                      </a:moveTo>
                      <a:cubicBezTo>
                        <a:pt x="1401" y="1591"/>
                        <a:pt x="1093" y="1509"/>
                        <a:pt x="955" y="1269"/>
                      </a:cubicBezTo>
                      <a:cubicBezTo>
                        <a:pt x="816" y="1029"/>
                        <a:pt x="899" y="722"/>
                        <a:pt x="1138" y="583"/>
                      </a:cubicBezTo>
                      <a:cubicBezTo>
                        <a:pt x="1378" y="445"/>
                        <a:pt x="1686" y="527"/>
                        <a:pt x="1824" y="767"/>
                      </a:cubicBezTo>
                      <a:cubicBezTo>
                        <a:pt x="1963" y="1007"/>
                        <a:pt x="1880" y="1314"/>
                        <a:pt x="1641" y="1453"/>
                      </a:cubicBezTo>
                      <a:close/>
                      <a:moveTo>
                        <a:pt x="1599" y="1381"/>
                      </a:moveTo>
                      <a:cubicBezTo>
                        <a:pt x="1799" y="1266"/>
                        <a:pt x="1868" y="1009"/>
                        <a:pt x="1752" y="809"/>
                      </a:cubicBezTo>
                      <a:cubicBezTo>
                        <a:pt x="1637" y="608"/>
                        <a:pt x="1380" y="539"/>
                        <a:pt x="1180" y="655"/>
                      </a:cubicBezTo>
                      <a:cubicBezTo>
                        <a:pt x="980" y="771"/>
                        <a:pt x="911" y="1027"/>
                        <a:pt x="1026" y="1228"/>
                      </a:cubicBezTo>
                      <a:cubicBezTo>
                        <a:pt x="1142" y="1428"/>
                        <a:pt x="1399" y="1497"/>
                        <a:pt x="1599" y="1381"/>
                      </a:cubicBezTo>
                      <a:close/>
                      <a:moveTo>
                        <a:pt x="1767" y="1422"/>
                      </a:moveTo>
                      <a:lnTo>
                        <a:pt x="1551" y="1547"/>
                      </a:lnTo>
                      <a:lnTo>
                        <a:pt x="1717" y="1835"/>
                      </a:lnTo>
                      <a:lnTo>
                        <a:pt x="1933" y="1710"/>
                      </a:lnTo>
                      <a:lnTo>
                        <a:pt x="1767" y="1422"/>
                      </a:lnTo>
                      <a:close/>
                      <a:moveTo>
                        <a:pt x="1956" y="1749"/>
                      </a:moveTo>
                      <a:lnTo>
                        <a:pt x="1739" y="1874"/>
                      </a:lnTo>
                      <a:cubicBezTo>
                        <a:pt x="1774" y="1934"/>
                        <a:pt x="1850" y="1954"/>
                        <a:pt x="1910" y="1919"/>
                      </a:cubicBezTo>
                      <a:cubicBezTo>
                        <a:pt x="1969" y="1885"/>
                        <a:pt x="1990" y="1809"/>
                        <a:pt x="1956" y="1749"/>
                      </a:cubicBezTo>
                      <a:close/>
                      <a:moveTo>
                        <a:pt x="803" y="551"/>
                      </a:moveTo>
                      <a:lnTo>
                        <a:pt x="249" y="551"/>
                      </a:lnTo>
                      <a:lnTo>
                        <a:pt x="249" y="613"/>
                      </a:lnTo>
                      <a:lnTo>
                        <a:pt x="803" y="613"/>
                      </a:lnTo>
                      <a:lnTo>
                        <a:pt x="803" y="551"/>
                      </a:lnTo>
                      <a:close/>
                      <a:moveTo>
                        <a:pt x="675" y="828"/>
                      </a:moveTo>
                      <a:lnTo>
                        <a:pt x="249" y="828"/>
                      </a:lnTo>
                      <a:lnTo>
                        <a:pt x="249" y="890"/>
                      </a:lnTo>
                      <a:lnTo>
                        <a:pt x="675" y="890"/>
                      </a:lnTo>
                      <a:lnTo>
                        <a:pt x="675" y="828"/>
                      </a:lnTo>
                      <a:close/>
                      <a:moveTo>
                        <a:pt x="249" y="1167"/>
                      </a:moveTo>
                      <a:lnTo>
                        <a:pt x="675" y="1167"/>
                      </a:lnTo>
                      <a:lnTo>
                        <a:pt x="675" y="1105"/>
                      </a:lnTo>
                      <a:lnTo>
                        <a:pt x="249" y="1105"/>
                      </a:lnTo>
                      <a:lnTo>
                        <a:pt x="249" y="1167"/>
                      </a:lnTo>
                      <a:close/>
                      <a:moveTo>
                        <a:pt x="249" y="1444"/>
                      </a:moveTo>
                      <a:lnTo>
                        <a:pt x="803" y="1444"/>
                      </a:lnTo>
                      <a:lnTo>
                        <a:pt x="803" y="1382"/>
                      </a:lnTo>
                      <a:lnTo>
                        <a:pt x="249" y="1382"/>
                      </a:lnTo>
                      <a:lnTo>
                        <a:pt x="249" y="1444"/>
                      </a:lnTo>
                      <a:close/>
                      <a:moveTo>
                        <a:pt x="1308" y="1105"/>
                      </a:moveTo>
                      <a:lnTo>
                        <a:pt x="1179" y="961"/>
                      </a:lnTo>
                      <a:lnTo>
                        <a:pt x="1118" y="1017"/>
                      </a:lnTo>
                      <a:lnTo>
                        <a:pt x="1300" y="1219"/>
                      </a:lnTo>
                      <a:lnTo>
                        <a:pt x="1657" y="922"/>
                      </a:lnTo>
                      <a:lnTo>
                        <a:pt x="1604" y="858"/>
                      </a:lnTo>
                      <a:lnTo>
                        <a:pt x="1308" y="110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182832" tIns="91416" rIns="182832" bIns="9141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 sz="7198" dirty="0"/>
                </a:p>
              </p:txBody>
            </p:sp>
          </p:grpSp>
        </p:grpSp>
        <p:grpSp>
          <p:nvGrpSpPr>
            <p:cNvPr id="10" name="íṥḷíḍê">
              <a:extLst>
                <a:ext uri="{FF2B5EF4-FFF2-40B4-BE49-F238E27FC236}">
                  <a16:creationId xmlns:a16="http://schemas.microsoft.com/office/drawing/2014/main" id="{1FBB1664-3158-4892-867B-405B7535BEC1}"/>
                </a:ext>
              </a:extLst>
            </p:cNvPr>
            <p:cNvGrpSpPr/>
            <p:nvPr/>
          </p:nvGrpSpPr>
          <p:grpSpPr>
            <a:xfrm>
              <a:off x="4041327" y="4578736"/>
              <a:ext cx="3255960" cy="1459558"/>
              <a:chOff x="4073805" y="4578736"/>
              <a:chExt cx="3255960" cy="1459558"/>
            </a:xfrm>
          </p:grpSpPr>
          <p:grpSp>
            <p:nvGrpSpPr>
              <p:cNvPr id="27" name="išlïḍé">
                <a:extLst>
                  <a:ext uri="{FF2B5EF4-FFF2-40B4-BE49-F238E27FC236}">
                    <a16:creationId xmlns:a16="http://schemas.microsoft.com/office/drawing/2014/main" id="{8CC1DC7C-429D-4A18-AA52-BD902A87044A}"/>
                  </a:ext>
                </a:extLst>
              </p:cNvPr>
              <p:cNvGrpSpPr/>
              <p:nvPr/>
            </p:nvGrpSpPr>
            <p:grpSpPr>
              <a:xfrm>
                <a:off x="4775788" y="4578736"/>
                <a:ext cx="2553977" cy="1459558"/>
                <a:chOff x="4591801" y="4578736"/>
                <a:chExt cx="2553977" cy="1459558"/>
              </a:xfrm>
            </p:grpSpPr>
            <p:sp>
              <p:nvSpPr>
                <p:cNvPr id="31" name="îšlïḋe">
                  <a:extLst>
                    <a:ext uri="{FF2B5EF4-FFF2-40B4-BE49-F238E27FC236}">
                      <a16:creationId xmlns:a16="http://schemas.microsoft.com/office/drawing/2014/main" id="{FBF0DCD2-8523-41A9-A865-A1FD4F6F8389}"/>
                    </a:ext>
                  </a:extLst>
                </p:cNvPr>
                <p:cNvSpPr txBox="1"/>
                <p:nvPr/>
              </p:nvSpPr>
              <p:spPr>
                <a:xfrm>
                  <a:off x="4591801" y="5478441"/>
                  <a:ext cx="2553977" cy="559853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 marL="171450" indent="-171450">
                    <a:lnSpc>
                      <a:spcPct val="120000"/>
                    </a:lnSpc>
                    <a:buFont typeface="Wingdings" panose="05000000000000000000" pitchFamily="2" charset="2"/>
                    <a:buChar char="u"/>
                  </a:pPr>
                  <a:r>
                    <a:rPr lang="en-US" altLang="zh-CN" sz="1100" dirty="0"/>
                    <a:t>TO</a:t>
                  </a:r>
                  <a:r>
                    <a:rPr lang="zh-CN" altLang="en-US" sz="1100" dirty="0"/>
                    <a:t>后紧跟过程名</a:t>
                  </a:r>
                  <a:endParaRPr lang="en-US" altLang="zh-CN" sz="1100" dirty="0"/>
                </a:p>
                <a:p>
                  <a:pPr marL="171450" indent="-171450">
                    <a:lnSpc>
                      <a:spcPct val="120000"/>
                    </a:lnSpc>
                    <a:buFont typeface="Wingdings" panose="05000000000000000000" pitchFamily="2" charset="2"/>
                    <a:buChar char="u"/>
                  </a:pPr>
                  <a:r>
                    <a:rPr lang="en-US" altLang="zh-CN" sz="1100" dirty="0"/>
                    <a:t>END</a:t>
                  </a:r>
                  <a:r>
                    <a:rPr lang="zh-CN" altLang="en-US" sz="1100" dirty="0"/>
                    <a:t>前为过程体</a:t>
                  </a:r>
                  <a:endParaRPr lang="en-US" altLang="zh-CN" sz="1100" dirty="0"/>
                </a:p>
              </p:txBody>
            </p:sp>
            <p:sp>
              <p:nvSpPr>
                <p:cNvPr id="32" name="ïṧľiḓè">
                  <a:extLst>
                    <a:ext uri="{FF2B5EF4-FFF2-40B4-BE49-F238E27FC236}">
                      <a16:creationId xmlns:a16="http://schemas.microsoft.com/office/drawing/2014/main" id="{C5DA9087-D12A-4C55-94E8-038474E32705}"/>
                    </a:ext>
                  </a:extLst>
                </p:cNvPr>
                <p:cNvSpPr txBox="1"/>
                <p:nvPr/>
              </p:nvSpPr>
              <p:spPr>
                <a:xfrm>
                  <a:off x="4591801" y="4578736"/>
                  <a:ext cx="2553977" cy="886263"/>
                </a:xfrm>
                <a:prstGeom prst="rect">
                  <a:avLst/>
                </a:prstGeom>
                <a:noFill/>
              </p:spPr>
              <p:txBody>
                <a:bodyPr wrap="none" rtlCol="0" anchor="b" anchorCtr="0">
                  <a:normAutofit lnSpcReduction="10000"/>
                </a:bodyPr>
                <a:lstStyle/>
                <a:p>
                  <a:r>
                    <a:rPr lang="en-US" altLang="zh-CN" b="1" dirty="0">
                      <a:solidFill>
                        <a:srgbClr val="0070C0"/>
                      </a:solidFill>
                    </a:rPr>
                    <a:t>TO</a:t>
                  </a:r>
                  <a:r>
                    <a:rPr lang="en-US" altLang="zh-CN" b="1" dirty="0"/>
                    <a:t> </a:t>
                  </a:r>
                  <a:r>
                    <a:rPr lang="en-US" altLang="zh-CN" dirty="0"/>
                    <a:t>DRAW</a:t>
                  </a:r>
                </a:p>
                <a:p>
                  <a:r>
                    <a:rPr lang="en-US" altLang="zh-CN" dirty="0"/>
                    <a:t>BODY</a:t>
                  </a:r>
                </a:p>
                <a:p>
                  <a:r>
                    <a:rPr lang="en-US" altLang="zh-CN" b="1" dirty="0">
                      <a:solidFill>
                        <a:srgbClr val="0070C0"/>
                      </a:solidFill>
                    </a:rPr>
                    <a:t>END</a:t>
                  </a:r>
                </a:p>
              </p:txBody>
            </p:sp>
          </p:grpSp>
          <p:grpSp>
            <p:nvGrpSpPr>
              <p:cNvPr id="28" name="íṩ1îdé">
                <a:extLst>
                  <a:ext uri="{FF2B5EF4-FFF2-40B4-BE49-F238E27FC236}">
                    <a16:creationId xmlns:a16="http://schemas.microsoft.com/office/drawing/2014/main" id="{25433D6F-6800-46D7-B596-E4F385EEDA64}"/>
                  </a:ext>
                </a:extLst>
              </p:cNvPr>
              <p:cNvGrpSpPr/>
              <p:nvPr/>
            </p:nvGrpSpPr>
            <p:grpSpPr>
              <a:xfrm>
                <a:off x="4073805" y="4952799"/>
                <a:ext cx="585555" cy="585559"/>
                <a:chOff x="7209746" y="4153276"/>
                <a:chExt cx="675000" cy="675005"/>
              </a:xfrm>
            </p:grpSpPr>
            <p:sp>
              <p:nvSpPr>
                <p:cNvPr id="29" name="iṩļîḍè">
                  <a:extLst>
                    <a:ext uri="{FF2B5EF4-FFF2-40B4-BE49-F238E27FC236}">
                      <a16:creationId xmlns:a16="http://schemas.microsoft.com/office/drawing/2014/main" id="{E78DE433-22C9-4C7E-BD11-C02FC292B41A}"/>
                    </a:ext>
                  </a:extLst>
                </p:cNvPr>
                <p:cNvSpPr/>
                <p:nvPr/>
              </p:nvSpPr>
              <p:spPr>
                <a:xfrm>
                  <a:off x="7209746" y="4153276"/>
                  <a:ext cx="675000" cy="675005"/>
                </a:xfrm>
                <a:prstGeom prst="ellipse">
                  <a:avLst/>
                </a:prstGeom>
                <a:solidFill>
                  <a:schemeClr val="accent3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" name="ísľïḍê">
                  <a:extLst>
                    <a:ext uri="{FF2B5EF4-FFF2-40B4-BE49-F238E27FC236}">
                      <a16:creationId xmlns:a16="http://schemas.microsoft.com/office/drawing/2014/main" id="{6135DE91-9748-4598-A521-A51015697DF0}"/>
                    </a:ext>
                  </a:extLst>
                </p:cNvPr>
                <p:cNvSpPr/>
                <p:nvPr/>
              </p:nvSpPr>
              <p:spPr bwMode="auto">
                <a:xfrm>
                  <a:off x="7375153" y="4322040"/>
                  <a:ext cx="344185" cy="337474"/>
                </a:xfrm>
                <a:custGeom>
                  <a:avLst/>
                  <a:gdLst>
                    <a:gd name="T0" fmla="*/ 1312 w 1990"/>
                    <a:gd name="T1" fmla="*/ 1552 h 1954"/>
                    <a:gd name="T2" fmla="*/ 291 w 1990"/>
                    <a:gd name="T3" fmla="*/ 1746 h 1954"/>
                    <a:gd name="T4" fmla="*/ 0 w 1990"/>
                    <a:gd name="T5" fmla="*/ 540 h 1954"/>
                    <a:gd name="T6" fmla="*/ 515 w 1990"/>
                    <a:gd name="T7" fmla="*/ 249 h 1954"/>
                    <a:gd name="T8" fmla="*/ 1205 w 1990"/>
                    <a:gd name="T9" fmla="*/ 0 h 1954"/>
                    <a:gd name="T10" fmla="*/ 1496 w 1990"/>
                    <a:gd name="T11" fmla="*/ 489 h 1954"/>
                    <a:gd name="T12" fmla="*/ 1413 w 1990"/>
                    <a:gd name="T13" fmla="*/ 291 h 1954"/>
                    <a:gd name="T14" fmla="*/ 802 w 1990"/>
                    <a:gd name="T15" fmla="*/ 83 h 1954"/>
                    <a:gd name="T16" fmla="*/ 1039 w 1990"/>
                    <a:gd name="T17" fmla="*/ 249 h 1954"/>
                    <a:gd name="T18" fmla="*/ 1243 w 1990"/>
                    <a:gd name="T19" fmla="*/ 499 h 1954"/>
                    <a:gd name="T20" fmla="*/ 291 w 1990"/>
                    <a:gd name="T21" fmla="*/ 333 h 1954"/>
                    <a:gd name="T22" fmla="*/ 83 w 1990"/>
                    <a:gd name="T23" fmla="*/ 1455 h 1954"/>
                    <a:gd name="T24" fmla="*/ 1039 w 1990"/>
                    <a:gd name="T25" fmla="*/ 1663 h 1954"/>
                    <a:gd name="T26" fmla="*/ 1641 w 1990"/>
                    <a:gd name="T27" fmla="*/ 1453 h 1954"/>
                    <a:gd name="T28" fmla="*/ 1138 w 1990"/>
                    <a:gd name="T29" fmla="*/ 583 h 1954"/>
                    <a:gd name="T30" fmla="*/ 1641 w 1990"/>
                    <a:gd name="T31" fmla="*/ 1453 h 1954"/>
                    <a:gd name="T32" fmla="*/ 1752 w 1990"/>
                    <a:gd name="T33" fmla="*/ 809 h 1954"/>
                    <a:gd name="T34" fmla="*/ 1026 w 1990"/>
                    <a:gd name="T35" fmla="*/ 1228 h 1954"/>
                    <a:gd name="T36" fmla="*/ 1767 w 1990"/>
                    <a:gd name="T37" fmla="*/ 1422 h 1954"/>
                    <a:gd name="T38" fmla="*/ 1717 w 1990"/>
                    <a:gd name="T39" fmla="*/ 1835 h 1954"/>
                    <a:gd name="T40" fmla="*/ 1767 w 1990"/>
                    <a:gd name="T41" fmla="*/ 1422 h 1954"/>
                    <a:gd name="T42" fmla="*/ 1739 w 1990"/>
                    <a:gd name="T43" fmla="*/ 1874 h 1954"/>
                    <a:gd name="T44" fmla="*/ 1956 w 1990"/>
                    <a:gd name="T45" fmla="*/ 1749 h 1954"/>
                    <a:gd name="T46" fmla="*/ 249 w 1990"/>
                    <a:gd name="T47" fmla="*/ 551 h 1954"/>
                    <a:gd name="T48" fmla="*/ 803 w 1990"/>
                    <a:gd name="T49" fmla="*/ 613 h 1954"/>
                    <a:gd name="T50" fmla="*/ 675 w 1990"/>
                    <a:gd name="T51" fmla="*/ 828 h 1954"/>
                    <a:gd name="T52" fmla="*/ 249 w 1990"/>
                    <a:gd name="T53" fmla="*/ 890 h 1954"/>
                    <a:gd name="T54" fmla="*/ 675 w 1990"/>
                    <a:gd name="T55" fmla="*/ 828 h 1954"/>
                    <a:gd name="T56" fmla="*/ 675 w 1990"/>
                    <a:gd name="T57" fmla="*/ 1167 h 1954"/>
                    <a:gd name="T58" fmla="*/ 249 w 1990"/>
                    <a:gd name="T59" fmla="*/ 1105 h 1954"/>
                    <a:gd name="T60" fmla="*/ 249 w 1990"/>
                    <a:gd name="T61" fmla="*/ 1444 h 1954"/>
                    <a:gd name="T62" fmla="*/ 803 w 1990"/>
                    <a:gd name="T63" fmla="*/ 1382 h 1954"/>
                    <a:gd name="T64" fmla="*/ 249 w 1990"/>
                    <a:gd name="T65" fmla="*/ 1444 h 1954"/>
                    <a:gd name="T66" fmla="*/ 1179 w 1990"/>
                    <a:gd name="T67" fmla="*/ 961 h 1954"/>
                    <a:gd name="T68" fmla="*/ 1300 w 1990"/>
                    <a:gd name="T69" fmla="*/ 1219 h 1954"/>
                    <a:gd name="T70" fmla="*/ 1604 w 1990"/>
                    <a:gd name="T71" fmla="*/ 858 h 19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990" h="1954">
                      <a:moveTo>
                        <a:pt x="1231" y="1534"/>
                      </a:moveTo>
                      <a:cubicBezTo>
                        <a:pt x="1258" y="1542"/>
                        <a:pt x="1285" y="1548"/>
                        <a:pt x="1312" y="1552"/>
                      </a:cubicBezTo>
                      <a:cubicBezTo>
                        <a:pt x="1272" y="1665"/>
                        <a:pt x="1165" y="1746"/>
                        <a:pt x="1039" y="1746"/>
                      </a:cubicBezTo>
                      <a:lnTo>
                        <a:pt x="291" y="1746"/>
                      </a:lnTo>
                      <a:cubicBezTo>
                        <a:pt x="131" y="1746"/>
                        <a:pt x="0" y="1615"/>
                        <a:pt x="0" y="1455"/>
                      </a:cubicBezTo>
                      <a:lnTo>
                        <a:pt x="0" y="540"/>
                      </a:lnTo>
                      <a:cubicBezTo>
                        <a:pt x="0" y="380"/>
                        <a:pt x="131" y="249"/>
                        <a:pt x="291" y="249"/>
                      </a:cubicBezTo>
                      <a:lnTo>
                        <a:pt x="515" y="249"/>
                      </a:lnTo>
                      <a:cubicBezTo>
                        <a:pt x="535" y="109"/>
                        <a:pt x="656" y="0"/>
                        <a:pt x="802" y="0"/>
                      </a:cubicBezTo>
                      <a:lnTo>
                        <a:pt x="1205" y="0"/>
                      </a:lnTo>
                      <a:cubicBezTo>
                        <a:pt x="1366" y="0"/>
                        <a:pt x="1496" y="131"/>
                        <a:pt x="1496" y="291"/>
                      </a:cubicBezTo>
                      <a:lnTo>
                        <a:pt x="1496" y="489"/>
                      </a:lnTo>
                      <a:cubicBezTo>
                        <a:pt x="1469" y="484"/>
                        <a:pt x="1441" y="480"/>
                        <a:pt x="1413" y="479"/>
                      </a:cubicBezTo>
                      <a:lnTo>
                        <a:pt x="1413" y="291"/>
                      </a:lnTo>
                      <a:cubicBezTo>
                        <a:pt x="1413" y="176"/>
                        <a:pt x="1320" y="83"/>
                        <a:pt x="1205" y="83"/>
                      </a:cubicBezTo>
                      <a:lnTo>
                        <a:pt x="802" y="83"/>
                      </a:lnTo>
                      <a:cubicBezTo>
                        <a:pt x="701" y="83"/>
                        <a:pt x="617" y="155"/>
                        <a:pt x="598" y="249"/>
                      </a:cubicBezTo>
                      <a:lnTo>
                        <a:pt x="1039" y="249"/>
                      </a:lnTo>
                      <a:cubicBezTo>
                        <a:pt x="1180" y="249"/>
                        <a:pt x="1297" y="349"/>
                        <a:pt x="1324" y="482"/>
                      </a:cubicBezTo>
                      <a:cubicBezTo>
                        <a:pt x="1297" y="485"/>
                        <a:pt x="1270" y="491"/>
                        <a:pt x="1243" y="499"/>
                      </a:cubicBezTo>
                      <a:cubicBezTo>
                        <a:pt x="1224" y="404"/>
                        <a:pt x="1140" y="333"/>
                        <a:pt x="1039" y="333"/>
                      </a:cubicBezTo>
                      <a:lnTo>
                        <a:pt x="291" y="333"/>
                      </a:lnTo>
                      <a:cubicBezTo>
                        <a:pt x="177" y="333"/>
                        <a:pt x="83" y="426"/>
                        <a:pt x="83" y="540"/>
                      </a:cubicBezTo>
                      <a:lnTo>
                        <a:pt x="83" y="1455"/>
                      </a:lnTo>
                      <a:cubicBezTo>
                        <a:pt x="83" y="1569"/>
                        <a:pt x="177" y="1663"/>
                        <a:pt x="291" y="1663"/>
                      </a:cubicBezTo>
                      <a:lnTo>
                        <a:pt x="1039" y="1663"/>
                      </a:lnTo>
                      <a:cubicBezTo>
                        <a:pt x="1126" y="1663"/>
                        <a:pt x="1200" y="1609"/>
                        <a:pt x="1231" y="1534"/>
                      </a:cubicBezTo>
                      <a:close/>
                      <a:moveTo>
                        <a:pt x="1641" y="1453"/>
                      </a:moveTo>
                      <a:cubicBezTo>
                        <a:pt x="1401" y="1591"/>
                        <a:pt x="1093" y="1509"/>
                        <a:pt x="955" y="1269"/>
                      </a:cubicBezTo>
                      <a:cubicBezTo>
                        <a:pt x="816" y="1029"/>
                        <a:pt x="899" y="722"/>
                        <a:pt x="1138" y="583"/>
                      </a:cubicBezTo>
                      <a:cubicBezTo>
                        <a:pt x="1378" y="445"/>
                        <a:pt x="1686" y="527"/>
                        <a:pt x="1824" y="767"/>
                      </a:cubicBezTo>
                      <a:cubicBezTo>
                        <a:pt x="1963" y="1007"/>
                        <a:pt x="1880" y="1314"/>
                        <a:pt x="1641" y="1453"/>
                      </a:cubicBezTo>
                      <a:close/>
                      <a:moveTo>
                        <a:pt x="1599" y="1381"/>
                      </a:moveTo>
                      <a:cubicBezTo>
                        <a:pt x="1799" y="1266"/>
                        <a:pt x="1868" y="1009"/>
                        <a:pt x="1752" y="809"/>
                      </a:cubicBezTo>
                      <a:cubicBezTo>
                        <a:pt x="1637" y="608"/>
                        <a:pt x="1380" y="539"/>
                        <a:pt x="1180" y="655"/>
                      </a:cubicBezTo>
                      <a:cubicBezTo>
                        <a:pt x="980" y="771"/>
                        <a:pt x="911" y="1027"/>
                        <a:pt x="1026" y="1228"/>
                      </a:cubicBezTo>
                      <a:cubicBezTo>
                        <a:pt x="1142" y="1428"/>
                        <a:pt x="1399" y="1497"/>
                        <a:pt x="1599" y="1381"/>
                      </a:cubicBezTo>
                      <a:close/>
                      <a:moveTo>
                        <a:pt x="1767" y="1422"/>
                      </a:moveTo>
                      <a:lnTo>
                        <a:pt x="1551" y="1547"/>
                      </a:lnTo>
                      <a:lnTo>
                        <a:pt x="1717" y="1835"/>
                      </a:lnTo>
                      <a:lnTo>
                        <a:pt x="1933" y="1710"/>
                      </a:lnTo>
                      <a:lnTo>
                        <a:pt x="1767" y="1422"/>
                      </a:lnTo>
                      <a:close/>
                      <a:moveTo>
                        <a:pt x="1956" y="1749"/>
                      </a:moveTo>
                      <a:lnTo>
                        <a:pt x="1739" y="1874"/>
                      </a:lnTo>
                      <a:cubicBezTo>
                        <a:pt x="1774" y="1934"/>
                        <a:pt x="1850" y="1954"/>
                        <a:pt x="1910" y="1919"/>
                      </a:cubicBezTo>
                      <a:cubicBezTo>
                        <a:pt x="1969" y="1885"/>
                        <a:pt x="1990" y="1809"/>
                        <a:pt x="1956" y="1749"/>
                      </a:cubicBezTo>
                      <a:close/>
                      <a:moveTo>
                        <a:pt x="803" y="551"/>
                      </a:moveTo>
                      <a:lnTo>
                        <a:pt x="249" y="551"/>
                      </a:lnTo>
                      <a:lnTo>
                        <a:pt x="249" y="613"/>
                      </a:lnTo>
                      <a:lnTo>
                        <a:pt x="803" y="613"/>
                      </a:lnTo>
                      <a:lnTo>
                        <a:pt x="803" y="551"/>
                      </a:lnTo>
                      <a:close/>
                      <a:moveTo>
                        <a:pt x="675" y="828"/>
                      </a:moveTo>
                      <a:lnTo>
                        <a:pt x="249" y="828"/>
                      </a:lnTo>
                      <a:lnTo>
                        <a:pt x="249" y="890"/>
                      </a:lnTo>
                      <a:lnTo>
                        <a:pt x="675" y="890"/>
                      </a:lnTo>
                      <a:lnTo>
                        <a:pt x="675" y="828"/>
                      </a:lnTo>
                      <a:close/>
                      <a:moveTo>
                        <a:pt x="249" y="1167"/>
                      </a:moveTo>
                      <a:lnTo>
                        <a:pt x="675" y="1167"/>
                      </a:lnTo>
                      <a:lnTo>
                        <a:pt x="675" y="1105"/>
                      </a:lnTo>
                      <a:lnTo>
                        <a:pt x="249" y="1105"/>
                      </a:lnTo>
                      <a:lnTo>
                        <a:pt x="249" y="1167"/>
                      </a:lnTo>
                      <a:close/>
                      <a:moveTo>
                        <a:pt x="249" y="1444"/>
                      </a:moveTo>
                      <a:lnTo>
                        <a:pt x="803" y="1444"/>
                      </a:lnTo>
                      <a:lnTo>
                        <a:pt x="803" y="1382"/>
                      </a:lnTo>
                      <a:lnTo>
                        <a:pt x="249" y="1382"/>
                      </a:lnTo>
                      <a:lnTo>
                        <a:pt x="249" y="1444"/>
                      </a:lnTo>
                      <a:close/>
                      <a:moveTo>
                        <a:pt x="1308" y="1105"/>
                      </a:moveTo>
                      <a:lnTo>
                        <a:pt x="1179" y="961"/>
                      </a:lnTo>
                      <a:lnTo>
                        <a:pt x="1118" y="1017"/>
                      </a:lnTo>
                      <a:lnTo>
                        <a:pt x="1300" y="1219"/>
                      </a:lnTo>
                      <a:lnTo>
                        <a:pt x="1657" y="922"/>
                      </a:lnTo>
                      <a:lnTo>
                        <a:pt x="1604" y="858"/>
                      </a:lnTo>
                      <a:lnTo>
                        <a:pt x="1308" y="110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182832" tIns="91416" rIns="182832" bIns="9141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 sz="7198" dirty="0"/>
                </a:p>
              </p:txBody>
            </p:sp>
          </p:grpSp>
        </p:grpSp>
        <p:grpSp>
          <p:nvGrpSpPr>
            <p:cNvPr id="11" name="ïSḷíḋé">
              <a:extLst>
                <a:ext uri="{FF2B5EF4-FFF2-40B4-BE49-F238E27FC236}">
                  <a16:creationId xmlns:a16="http://schemas.microsoft.com/office/drawing/2014/main" id="{76F4F144-CEAE-47DF-BE45-CDBAB3189A8E}"/>
                </a:ext>
              </a:extLst>
            </p:cNvPr>
            <p:cNvGrpSpPr/>
            <p:nvPr/>
          </p:nvGrpSpPr>
          <p:grpSpPr>
            <a:xfrm>
              <a:off x="7883576" y="3174706"/>
              <a:ext cx="3255960" cy="950825"/>
              <a:chOff x="7883576" y="3174706"/>
              <a:chExt cx="3255960" cy="950825"/>
            </a:xfrm>
          </p:grpSpPr>
          <p:grpSp>
            <p:nvGrpSpPr>
              <p:cNvPr id="21" name="îṥlîďé">
                <a:extLst>
                  <a:ext uri="{FF2B5EF4-FFF2-40B4-BE49-F238E27FC236}">
                    <a16:creationId xmlns:a16="http://schemas.microsoft.com/office/drawing/2014/main" id="{14922ADF-0514-4351-8CF3-E00940F1CF79}"/>
                  </a:ext>
                </a:extLst>
              </p:cNvPr>
              <p:cNvGrpSpPr/>
              <p:nvPr/>
            </p:nvGrpSpPr>
            <p:grpSpPr>
              <a:xfrm>
                <a:off x="8585559" y="3174706"/>
                <a:ext cx="2553977" cy="950825"/>
                <a:chOff x="9002428" y="3174706"/>
                <a:chExt cx="2553977" cy="950825"/>
              </a:xfrm>
            </p:grpSpPr>
            <p:sp>
              <p:nvSpPr>
                <p:cNvPr id="25" name="ïṣ1îḍè">
                  <a:extLst>
                    <a:ext uri="{FF2B5EF4-FFF2-40B4-BE49-F238E27FC236}">
                      <a16:creationId xmlns:a16="http://schemas.microsoft.com/office/drawing/2014/main" id="{0C2B32FC-94F1-4C7B-8906-F07ECE5E6BCF}"/>
                    </a:ext>
                  </a:extLst>
                </p:cNvPr>
                <p:cNvSpPr txBox="1"/>
                <p:nvPr/>
              </p:nvSpPr>
              <p:spPr>
                <a:xfrm>
                  <a:off x="9002428" y="3565678"/>
                  <a:ext cx="2553977" cy="559853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 marL="171450" indent="-171450">
                    <a:lnSpc>
                      <a:spcPct val="12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100" dirty="0"/>
                    <a:t>双引号包裹为表达式</a:t>
                  </a:r>
                  <a:endParaRPr lang="en-US" altLang="zh-CN" sz="1100" dirty="0"/>
                </a:p>
                <a:p>
                  <a:pPr marL="171450" indent="-171450">
                    <a:lnSpc>
                      <a:spcPct val="12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100" dirty="0"/>
                    <a:t>表达式可返回数字或颜色</a:t>
                  </a:r>
                  <a:endParaRPr lang="en-US" altLang="zh-CN" sz="1100" dirty="0"/>
                </a:p>
              </p:txBody>
            </p:sp>
            <p:sp>
              <p:nvSpPr>
                <p:cNvPr id="26" name="iṣ1ïḓê">
                  <a:extLst>
                    <a:ext uri="{FF2B5EF4-FFF2-40B4-BE49-F238E27FC236}">
                      <a16:creationId xmlns:a16="http://schemas.microsoft.com/office/drawing/2014/main" id="{9386E473-527F-4CC6-9C17-E219FC9809EF}"/>
                    </a:ext>
                  </a:extLst>
                </p:cNvPr>
                <p:cNvSpPr txBox="1"/>
                <p:nvPr/>
              </p:nvSpPr>
              <p:spPr>
                <a:xfrm>
                  <a:off x="9002428" y="3174706"/>
                  <a:ext cx="2553977" cy="390972"/>
                </a:xfrm>
                <a:prstGeom prst="rect">
                  <a:avLst/>
                </a:prstGeom>
                <a:noFill/>
              </p:spPr>
              <p:txBody>
                <a:bodyPr wrap="none" rtlCol="0" anchor="b" anchorCtr="0">
                  <a:normAutofit/>
                </a:bodyPr>
                <a:lstStyle/>
                <a:p>
                  <a:r>
                    <a:rPr lang="en-US" altLang="zh-CN" b="1" dirty="0">
                      <a:solidFill>
                        <a:srgbClr val="0070C0"/>
                      </a:solidFill>
                    </a:rPr>
                    <a:t>SETXY</a:t>
                  </a:r>
                  <a:r>
                    <a:rPr lang="en-US" altLang="zh-CN" b="1" dirty="0"/>
                    <a:t> [</a:t>
                  </a:r>
                  <a:r>
                    <a:rPr lang="en-US" altLang="zh-CN" b="1" dirty="0">
                      <a:solidFill>
                        <a:srgbClr val="E60000"/>
                      </a:solidFill>
                    </a:rPr>
                    <a:t>“</a:t>
                  </a:r>
                  <a:r>
                    <a:rPr lang="en-US" altLang="zh-CN" dirty="0"/>
                    <a:t>X</a:t>
                  </a:r>
                  <a:r>
                    <a:rPr lang="en-US" altLang="zh-CN" b="1" dirty="0">
                      <a:solidFill>
                        <a:srgbClr val="E60000"/>
                      </a:solidFill>
                    </a:rPr>
                    <a:t>” “</a:t>
                  </a:r>
                  <a:r>
                    <a:rPr lang="en-US" altLang="zh-CN" dirty="0"/>
                    <a:t>Y</a:t>
                  </a:r>
                  <a:r>
                    <a:rPr lang="en-US" altLang="zh-CN" b="1" dirty="0">
                      <a:solidFill>
                        <a:srgbClr val="E60000"/>
                      </a:solidFill>
                    </a:rPr>
                    <a:t>”</a:t>
                  </a:r>
                  <a:r>
                    <a:rPr lang="en-US" altLang="zh-CN" b="1" dirty="0"/>
                    <a:t>]</a:t>
                  </a:r>
                </a:p>
              </p:txBody>
            </p:sp>
          </p:grpSp>
          <p:grpSp>
            <p:nvGrpSpPr>
              <p:cNvPr id="22" name="í$ļîḍê">
                <a:extLst>
                  <a:ext uri="{FF2B5EF4-FFF2-40B4-BE49-F238E27FC236}">
                    <a16:creationId xmlns:a16="http://schemas.microsoft.com/office/drawing/2014/main" id="{50691CFA-1A74-49E2-B5C5-2C0C008CBB4C}"/>
                  </a:ext>
                </a:extLst>
              </p:cNvPr>
              <p:cNvGrpSpPr/>
              <p:nvPr/>
            </p:nvGrpSpPr>
            <p:grpSpPr>
              <a:xfrm>
                <a:off x="7883576" y="3221574"/>
                <a:ext cx="585555" cy="585559"/>
                <a:chOff x="7209746" y="4153276"/>
                <a:chExt cx="675000" cy="675005"/>
              </a:xfrm>
            </p:grpSpPr>
            <p:sp>
              <p:nvSpPr>
                <p:cNvPr id="23" name="iṡḻiḋé">
                  <a:extLst>
                    <a:ext uri="{FF2B5EF4-FFF2-40B4-BE49-F238E27FC236}">
                      <a16:creationId xmlns:a16="http://schemas.microsoft.com/office/drawing/2014/main" id="{D239F482-595D-448C-9ECA-03EA09B7FF22}"/>
                    </a:ext>
                  </a:extLst>
                </p:cNvPr>
                <p:cNvSpPr/>
                <p:nvPr/>
              </p:nvSpPr>
              <p:spPr>
                <a:xfrm>
                  <a:off x="7209746" y="4153276"/>
                  <a:ext cx="675000" cy="675005"/>
                </a:xfrm>
                <a:prstGeom prst="ellipse">
                  <a:avLst/>
                </a:prstGeom>
                <a:solidFill>
                  <a:schemeClr val="accent2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" name="íṣľîďê">
                  <a:extLst>
                    <a:ext uri="{FF2B5EF4-FFF2-40B4-BE49-F238E27FC236}">
                      <a16:creationId xmlns:a16="http://schemas.microsoft.com/office/drawing/2014/main" id="{E028AF3C-F92E-4656-9C70-56668F6B2AFF}"/>
                    </a:ext>
                  </a:extLst>
                </p:cNvPr>
                <p:cNvSpPr/>
                <p:nvPr/>
              </p:nvSpPr>
              <p:spPr bwMode="auto">
                <a:xfrm>
                  <a:off x="7375153" y="4322040"/>
                  <a:ext cx="344185" cy="337474"/>
                </a:xfrm>
                <a:custGeom>
                  <a:avLst/>
                  <a:gdLst>
                    <a:gd name="T0" fmla="*/ 1312 w 1990"/>
                    <a:gd name="T1" fmla="*/ 1552 h 1954"/>
                    <a:gd name="T2" fmla="*/ 291 w 1990"/>
                    <a:gd name="T3" fmla="*/ 1746 h 1954"/>
                    <a:gd name="T4" fmla="*/ 0 w 1990"/>
                    <a:gd name="T5" fmla="*/ 540 h 1954"/>
                    <a:gd name="T6" fmla="*/ 515 w 1990"/>
                    <a:gd name="T7" fmla="*/ 249 h 1954"/>
                    <a:gd name="T8" fmla="*/ 1205 w 1990"/>
                    <a:gd name="T9" fmla="*/ 0 h 1954"/>
                    <a:gd name="T10" fmla="*/ 1496 w 1990"/>
                    <a:gd name="T11" fmla="*/ 489 h 1954"/>
                    <a:gd name="T12" fmla="*/ 1413 w 1990"/>
                    <a:gd name="T13" fmla="*/ 291 h 1954"/>
                    <a:gd name="T14" fmla="*/ 802 w 1990"/>
                    <a:gd name="T15" fmla="*/ 83 h 1954"/>
                    <a:gd name="T16" fmla="*/ 1039 w 1990"/>
                    <a:gd name="T17" fmla="*/ 249 h 1954"/>
                    <a:gd name="T18" fmla="*/ 1243 w 1990"/>
                    <a:gd name="T19" fmla="*/ 499 h 1954"/>
                    <a:gd name="T20" fmla="*/ 291 w 1990"/>
                    <a:gd name="T21" fmla="*/ 333 h 1954"/>
                    <a:gd name="T22" fmla="*/ 83 w 1990"/>
                    <a:gd name="T23" fmla="*/ 1455 h 1954"/>
                    <a:gd name="T24" fmla="*/ 1039 w 1990"/>
                    <a:gd name="T25" fmla="*/ 1663 h 1954"/>
                    <a:gd name="T26" fmla="*/ 1641 w 1990"/>
                    <a:gd name="T27" fmla="*/ 1453 h 1954"/>
                    <a:gd name="T28" fmla="*/ 1138 w 1990"/>
                    <a:gd name="T29" fmla="*/ 583 h 1954"/>
                    <a:gd name="T30" fmla="*/ 1641 w 1990"/>
                    <a:gd name="T31" fmla="*/ 1453 h 1954"/>
                    <a:gd name="T32" fmla="*/ 1752 w 1990"/>
                    <a:gd name="T33" fmla="*/ 809 h 1954"/>
                    <a:gd name="T34" fmla="*/ 1026 w 1990"/>
                    <a:gd name="T35" fmla="*/ 1228 h 1954"/>
                    <a:gd name="T36" fmla="*/ 1767 w 1990"/>
                    <a:gd name="T37" fmla="*/ 1422 h 1954"/>
                    <a:gd name="T38" fmla="*/ 1717 w 1990"/>
                    <a:gd name="T39" fmla="*/ 1835 h 1954"/>
                    <a:gd name="T40" fmla="*/ 1767 w 1990"/>
                    <a:gd name="T41" fmla="*/ 1422 h 1954"/>
                    <a:gd name="T42" fmla="*/ 1739 w 1990"/>
                    <a:gd name="T43" fmla="*/ 1874 h 1954"/>
                    <a:gd name="T44" fmla="*/ 1956 w 1990"/>
                    <a:gd name="T45" fmla="*/ 1749 h 1954"/>
                    <a:gd name="T46" fmla="*/ 249 w 1990"/>
                    <a:gd name="T47" fmla="*/ 551 h 1954"/>
                    <a:gd name="T48" fmla="*/ 803 w 1990"/>
                    <a:gd name="T49" fmla="*/ 613 h 1954"/>
                    <a:gd name="T50" fmla="*/ 675 w 1990"/>
                    <a:gd name="T51" fmla="*/ 828 h 1954"/>
                    <a:gd name="T52" fmla="*/ 249 w 1990"/>
                    <a:gd name="T53" fmla="*/ 890 h 1954"/>
                    <a:gd name="T54" fmla="*/ 675 w 1990"/>
                    <a:gd name="T55" fmla="*/ 828 h 1954"/>
                    <a:gd name="T56" fmla="*/ 675 w 1990"/>
                    <a:gd name="T57" fmla="*/ 1167 h 1954"/>
                    <a:gd name="T58" fmla="*/ 249 w 1990"/>
                    <a:gd name="T59" fmla="*/ 1105 h 1954"/>
                    <a:gd name="T60" fmla="*/ 249 w 1990"/>
                    <a:gd name="T61" fmla="*/ 1444 h 1954"/>
                    <a:gd name="T62" fmla="*/ 803 w 1990"/>
                    <a:gd name="T63" fmla="*/ 1382 h 1954"/>
                    <a:gd name="T64" fmla="*/ 249 w 1990"/>
                    <a:gd name="T65" fmla="*/ 1444 h 1954"/>
                    <a:gd name="T66" fmla="*/ 1179 w 1990"/>
                    <a:gd name="T67" fmla="*/ 961 h 1954"/>
                    <a:gd name="T68" fmla="*/ 1300 w 1990"/>
                    <a:gd name="T69" fmla="*/ 1219 h 1954"/>
                    <a:gd name="T70" fmla="*/ 1604 w 1990"/>
                    <a:gd name="T71" fmla="*/ 858 h 19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990" h="1954">
                      <a:moveTo>
                        <a:pt x="1231" y="1534"/>
                      </a:moveTo>
                      <a:cubicBezTo>
                        <a:pt x="1258" y="1542"/>
                        <a:pt x="1285" y="1548"/>
                        <a:pt x="1312" y="1552"/>
                      </a:cubicBezTo>
                      <a:cubicBezTo>
                        <a:pt x="1272" y="1665"/>
                        <a:pt x="1165" y="1746"/>
                        <a:pt x="1039" y="1746"/>
                      </a:cubicBezTo>
                      <a:lnTo>
                        <a:pt x="291" y="1746"/>
                      </a:lnTo>
                      <a:cubicBezTo>
                        <a:pt x="131" y="1746"/>
                        <a:pt x="0" y="1615"/>
                        <a:pt x="0" y="1455"/>
                      </a:cubicBezTo>
                      <a:lnTo>
                        <a:pt x="0" y="540"/>
                      </a:lnTo>
                      <a:cubicBezTo>
                        <a:pt x="0" y="380"/>
                        <a:pt x="131" y="249"/>
                        <a:pt x="291" y="249"/>
                      </a:cubicBezTo>
                      <a:lnTo>
                        <a:pt x="515" y="249"/>
                      </a:lnTo>
                      <a:cubicBezTo>
                        <a:pt x="535" y="109"/>
                        <a:pt x="656" y="0"/>
                        <a:pt x="802" y="0"/>
                      </a:cubicBezTo>
                      <a:lnTo>
                        <a:pt x="1205" y="0"/>
                      </a:lnTo>
                      <a:cubicBezTo>
                        <a:pt x="1366" y="0"/>
                        <a:pt x="1496" y="131"/>
                        <a:pt x="1496" y="291"/>
                      </a:cubicBezTo>
                      <a:lnTo>
                        <a:pt x="1496" y="489"/>
                      </a:lnTo>
                      <a:cubicBezTo>
                        <a:pt x="1469" y="484"/>
                        <a:pt x="1441" y="480"/>
                        <a:pt x="1413" y="479"/>
                      </a:cubicBezTo>
                      <a:lnTo>
                        <a:pt x="1413" y="291"/>
                      </a:lnTo>
                      <a:cubicBezTo>
                        <a:pt x="1413" y="176"/>
                        <a:pt x="1320" y="83"/>
                        <a:pt x="1205" y="83"/>
                      </a:cubicBezTo>
                      <a:lnTo>
                        <a:pt x="802" y="83"/>
                      </a:lnTo>
                      <a:cubicBezTo>
                        <a:pt x="701" y="83"/>
                        <a:pt x="617" y="155"/>
                        <a:pt x="598" y="249"/>
                      </a:cubicBezTo>
                      <a:lnTo>
                        <a:pt x="1039" y="249"/>
                      </a:lnTo>
                      <a:cubicBezTo>
                        <a:pt x="1180" y="249"/>
                        <a:pt x="1297" y="349"/>
                        <a:pt x="1324" y="482"/>
                      </a:cubicBezTo>
                      <a:cubicBezTo>
                        <a:pt x="1297" y="485"/>
                        <a:pt x="1270" y="491"/>
                        <a:pt x="1243" y="499"/>
                      </a:cubicBezTo>
                      <a:cubicBezTo>
                        <a:pt x="1224" y="404"/>
                        <a:pt x="1140" y="333"/>
                        <a:pt x="1039" y="333"/>
                      </a:cubicBezTo>
                      <a:lnTo>
                        <a:pt x="291" y="333"/>
                      </a:lnTo>
                      <a:cubicBezTo>
                        <a:pt x="177" y="333"/>
                        <a:pt x="83" y="426"/>
                        <a:pt x="83" y="540"/>
                      </a:cubicBezTo>
                      <a:lnTo>
                        <a:pt x="83" y="1455"/>
                      </a:lnTo>
                      <a:cubicBezTo>
                        <a:pt x="83" y="1569"/>
                        <a:pt x="177" y="1663"/>
                        <a:pt x="291" y="1663"/>
                      </a:cubicBezTo>
                      <a:lnTo>
                        <a:pt x="1039" y="1663"/>
                      </a:lnTo>
                      <a:cubicBezTo>
                        <a:pt x="1126" y="1663"/>
                        <a:pt x="1200" y="1609"/>
                        <a:pt x="1231" y="1534"/>
                      </a:cubicBezTo>
                      <a:close/>
                      <a:moveTo>
                        <a:pt x="1641" y="1453"/>
                      </a:moveTo>
                      <a:cubicBezTo>
                        <a:pt x="1401" y="1591"/>
                        <a:pt x="1093" y="1509"/>
                        <a:pt x="955" y="1269"/>
                      </a:cubicBezTo>
                      <a:cubicBezTo>
                        <a:pt x="816" y="1029"/>
                        <a:pt x="899" y="722"/>
                        <a:pt x="1138" y="583"/>
                      </a:cubicBezTo>
                      <a:cubicBezTo>
                        <a:pt x="1378" y="445"/>
                        <a:pt x="1686" y="527"/>
                        <a:pt x="1824" y="767"/>
                      </a:cubicBezTo>
                      <a:cubicBezTo>
                        <a:pt x="1963" y="1007"/>
                        <a:pt x="1880" y="1314"/>
                        <a:pt x="1641" y="1453"/>
                      </a:cubicBezTo>
                      <a:close/>
                      <a:moveTo>
                        <a:pt x="1599" y="1381"/>
                      </a:moveTo>
                      <a:cubicBezTo>
                        <a:pt x="1799" y="1266"/>
                        <a:pt x="1868" y="1009"/>
                        <a:pt x="1752" y="809"/>
                      </a:cubicBezTo>
                      <a:cubicBezTo>
                        <a:pt x="1637" y="608"/>
                        <a:pt x="1380" y="539"/>
                        <a:pt x="1180" y="655"/>
                      </a:cubicBezTo>
                      <a:cubicBezTo>
                        <a:pt x="980" y="771"/>
                        <a:pt x="911" y="1027"/>
                        <a:pt x="1026" y="1228"/>
                      </a:cubicBezTo>
                      <a:cubicBezTo>
                        <a:pt x="1142" y="1428"/>
                        <a:pt x="1399" y="1497"/>
                        <a:pt x="1599" y="1381"/>
                      </a:cubicBezTo>
                      <a:close/>
                      <a:moveTo>
                        <a:pt x="1767" y="1422"/>
                      </a:moveTo>
                      <a:lnTo>
                        <a:pt x="1551" y="1547"/>
                      </a:lnTo>
                      <a:lnTo>
                        <a:pt x="1717" y="1835"/>
                      </a:lnTo>
                      <a:lnTo>
                        <a:pt x="1933" y="1710"/>
                      </a:lnTo>
                      <a:lnTo>
                        <a:pt x="1767" y="1422"/>
                      </a:lnTo>
                      <a:close/>
                      <a:moveTo>
                        <a:pt x="1956" y="1749"/>
                      </a:moveTo>
                      <a:lnTo>
                        <a:pt x="1739" y="1874"/>
                      </a:lnTo>
                      <a:cubicBezTo>
                        <a:pt x="1774" y="1934"/>
                        <a:pt x="1850" y="1954"/>
                        <a:pt x="1910" y="1919"/>
                      </a:cubicBezTo>
                      <a:cubicBezTo>
                        <a:pt x="1969" y="1885"/>
                        <a:pt x="1990" y="1809"/>
                        <a:pt x="1956" y="1749"/>
                      </a:cubicBezTo>
                      <a:close/>
                      <a:moveTo>
                        <a:pt x="803" y="551"/>
                      </a:moveTo>
                      <a:lnTo>
                        <a:pt x="249" y="551"/>
                      </a:lnTo>
                      <a:lnTo>
                        <a:pt x="249" y="613"/>
                      </a:lnTo>
                      <a:lnTo>
                        <a:pt x="803" y="613"/>
                      </a:lnTo>
                      <a:lnTo>
                        <a:pt x="803" y="551"/>
                      </a:lnTo>
                      <a:close/>
                      <a:moveTo>
                        <a:pt x="675" y="828"/>
                      </a:moveTo>
                      <a:lnTo>
                        <a:pt x="249" y="828"/>
                      </a:lnTo>
                      <a:lnTo>
                        <a:pt x="249" y="890"/>
                      </a:lnTo>
                      <a:lnTo>
                        <a:pt x="675" y="890"/>
                      </a:lnTo>
                      <a:lnTo>
                        <a:pt x="675" y="828"/>
                      </a:lnTo>
                      <a:close/>
                      <a:moveTo>
                        <a:pt x="249" y="1167"/>
                      </a:moveTo>
                      <a:lnTo>
                        <a:pt x="675" y="1167"/>
                      </a:lnTo>
                      <a:lnTo>
                        <a:pt x="675" y="1105"/>
                      </a:lnTo>
                      <a:lnTo>
                        <a:pt x="249" y="1105"/>
                      </a:lnTo>
                      <a:lnTo>
                        <a:pt x="249" y="1167"/>
                      </a:lnTo>
                      <a:close/>
                      <a:moveTo>
                        <a:pt x="249" y="1444"/>
                      </a:moveTo>
                      <a:lnTo>
                        <a:pt x="803" y="1444"/>
                      </a:lnTo>
                      <a:lnTo>
                        <a:pt x="803" y="1382"/>
                      </a:lnTo>
                      <a:lnTo>
                        <a:pt x="249" y="1382"/>
                      </a:lnTo>
                      <a:lnTo>
                        <a:pt x="249" y="1444"/>
                      </a:lnTo>
                      <a:close/>
                      <a:moveTo>
                        <a:pt x="1308" y="1105"/>
                      </a:moveTo>
                      <a:lnTo>
                        <a:pt x="1179" y="961"/>
                      </a:lnTo>
                      <a:lnTo>
                        <a:pt x="1118" y="1017"/>
                      </a:lnTo>
                      <a:lnTo>
                        <a:pt x="1300" y="1219"/>
                      </a:lnTo>
                      <a:lnTo>
                        <a:pt x="1657" y="922"/>
                      </a:lnTo>
                      <a:lnTo>
                        <a:pt x="1604" y="858"/>
                      </a:lnTo>
                      <a:lnTo>
                        <a:pt x="1308" y="110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182832" tIns="91416" rIns="182832" bIns="9141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 sz="7198" dirty="0"/>
                </a:p>
              </p:txBody>
            </p:sp>
          </p:grpSp>
        </p:grpSp>
        <p:grpSp>
          <p:nvGrpSpPr>
            <p:cNvPr id="12" name="isḻïďè">
              <a:extLst>
                <a:ext uri="{FF2B5EF4-FFF2-40B4-BE49-F238E27FC236}">
                  <a16:creationId xmlns:a16="http://schemas.microsoft.com/office/drawing/2014/main" id="{3CE06224-372E-43EC-B6DF-871270C5B7E5}"/>
                </a:ext>
              </a:extLst>
            </p:cNvPr>
            <p:cNvGrpSpPr/>
            <p:nvPr/>
          </p:nvGrpSpPr>
          <p:grpSpPr>
            <a:xfrm>
              <a:off x="7883576" y="4905931"/>
              <a:ext cx="3255960" cy="950825"/>
              <a:chOff x="7883576" y="4905931"/>
              <a:chExt cx="3255960" cy="950825"/>
            </a:xfrm>
          </p:grpSpPr>
          <p:grpSp>
            <p:nvGrpSpPr>
              <p:cNvPr id="15" name="ïŝḻïḋè">
                <a:extLst>
                  <a:ext uri="{FF2B5EF4-FFF2-40B4-BE49-F238E27FC236}">
                    <a16:creationId xmlns:a16="http://schemas.microsoft.com/office/drawing/2014/main" id="{8744AA6C-0579-46E3-92A8-E441EBF44A03}"/>
                  </a:ext>
                </a:extLst>
              </p:cNvPr>
              <p:cNvGrpSpPr/>
              <p:nvPr/>
            </p:nvGrpSpPr>
            <p:grpSpPr>
              <a:xfrm>
                <a:off x="8585559" y="4905931"/>
                <a:ext cx="2553977" cy="950825"/>
                <a:chOff x="9002428" y="4905931"/>
                <a:chExt cx="2553977" cy="950825"/>
              </a:xfrm>
            </p:grpSpPr>
            <p:sp>
              <p:nvSpPr>
                <p:cNvPr id="19" name="íṥḻïdè">
                  <a:extLst>
                    <a:ext uri="{FF2B5EF4-FFF2-40B4-BE49-F238E27FC236}">
                      <a16:creationId xmlns:a16="http://schemas.microsoft.com/office/drawing/2014/main" id="{F38409A4-CE6C-4B3A-8013-AADE4FD77F80}"/>
                    </a:ext>
                  </a:extLst>
                </p:cNvPr>
                <p:cNvSpPr txBox="1"/>
                <p:nvPr/>
              </p:nvSpPr>
              <p:spPr>
                <a:xfrm>
                  <a:off x="9002428" y="5296903"/>
                  <a:ext cx="2553977" cy="559853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 marL="171450" indent="-171450">
                    <a:lnSpc>
                      <a:spcPct val="12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100" dirty="0"/>
                    <a:t>通过过程名调用函数</a:t>
                  </a:r>
                  <a:endParaRPr lang="en-US" altLang="zh-CN" sz="1100" dirty="0"/>
                </a:p>
              </p:txBody>
            </p:sp>
            <p:sp>
              <p:nvSpPr>
                <p:cNvPr id="20" name="iŝľîďé">
                  <a:extLst>
                    <a:ext uri="{FF2B5EF4-FFF2-40B4-BE49-F238E27FC236}">
                      <a16:creationId xmlns:a16="http://schemas.microsoft.com/office/drawing/2014/main" id="{84F85554-4F4E-4EC9-9238-30F81C9B857D}"/>
                    </a:ext>
                  </a:extLst>
                </p:cNvPr>
                <p:cNvSpPr txBox="1"/>
                <p:nvPr/>
              </p:nvSpPr>
              <p:spPr>
                <a:xfrm>
                  <a:off x="9002428" y="4905931"/>
                  <a:ext cx="2553977" cy="390972"/>
                </a:xfrm>
                <a:prstGeom prst="rect">
                  <a:avLst/>
                </a:prstGeom>
                <a:noFill/>
              </p:spPr>
              <p:txBody>
                <a:bodyPr wrap="none" rtlCol="0" anchor="b" anchorCtr="0">
                  <a:normAutofit/>
                </a:bodyPr>
                <a:lstStyle/>
                <a:p>
                  <a:r>
                    <a:rPr lang="en-US" altLang="zh-CN" b="1" dirty="0">
                      <a:solidFill>
                        <a:srgbClr val="0070C0"/>
                      </a:solidFill>
                    </a:rPr>
                    <a:t>CALL</a:t>
                  </a:r>
                  <a:r>
                    <a:rPr lang="en-US" altLang="zh-CN" b="1" dirty="0"/>
                    <a:t> </a:t>
                  </a:r>
                  <a:r>
                    <a:rPr lang="en-US" altLang="zh-CN" dirty="0"/>
                    <a:t>DRAW</a:t>
                  </a:r>
                </a:p>
              </p:txBody>
            </p:sp>
          </p:grpSp>
          <p:grpSp>
            <p:nvGrpSpPr>
              <p:cNvPr id="16" name="ïSļïḑê">
                <a:extLst>
                  <a:ext uri="{FF2B5EF4-FFF2-40B4-BE49-F238E27FC236}">
                    <a16:creationId xmlns:a16="http://schemas.microsoft.com/office/drawing/2014/main" id="{39CDA9AB-2C42-4782-97C1-2BF43C67F365}"/>
                  </a:ext>
                </a:extLst>
              </p:cNvPr>
              <p:cNvGrpSpPr/>
              <p:nvPr/>
            </p:nvGrpSpPr>
            <p:grpSpPr>
              <a:xfrm>
                <a:off x="7883576" y="4952799"/>
                <a:ext cx="585555" cy="585559"/>
                <a:chOff x="7209746" y="4153276"/>
                <a:chExt cx="675000" cy="675005"/>
              </a:xfrm>
            </p:grpSpPr>
            <p:sp>
              <p:nvSpPr>
                <p:cNvPr id="17" name="iSlïďe">
                  <a:extLst>
                    <a:ext uri="{FF2B5EF4-FFF2-40B4-BE49-F238E27FC236}">
                      <a16:creationId xmlns:a16="http://schemas.microsoft.com/office/drawing/2014/main" id="{5B6C6F9D-579D-495A-B201-519CF7707E7F}"/>
                    </a:ext>
                  </a:extLst>
                </p:cNvPr>
                <p:cNvSpPr/>
                <p:nvPr/>
              </p:nvSpPr>
              <p:spPr>
                <a:xfrm>
                  <a:off x="7209746" y="4153276"/>
                  <a:ext cx="675000" cy="675005"/>
                </a:xfrm>
                <a:prstGeom prst="ellipse">
                  <a:avLst/>
                </a:prstGeom>
                <a:solidFill>
                  <a:schemeClr val="accent4"/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" name="íSḷîḋê">
                  <a:extLst>
                    <a:ext uri="{FF2B5EF4-FFF2-40B4-BE49-F238E27FC236}">
                      <a16:creationId xmlns:a16="http://schemas.microsoft.com/office/drawing/2014/main" id="{FD3BC3A3-D286-4D5E-8C70-68FEF40C22DA}"/>
                    </a:ext>
                  </a:extLst>
                </p:cNvPr>
                <p:cNvSpPr/>
                <p:nvPr/>
              </p:nvSpPr>
              <p:spPr bwMode="auto">
                <a:xfrm>
                  <a:off x="7375153" y="4322040"/>
                  <a:ext cx="344185" cy="337474"/>
                </a:xfrm>
                <a:custGeom>
                  <a:avLst/>
                  <a:gdLst>
                    <a:gd name="T0" fmla="*/ 1312 w 1990"/>
                    <a:gd name="T1" fmla="*/ 1552 h 1954"/>
                    <a:gd name="T2" fmla="*/ 291 w 1990"/>
                    <a:gd name="T3" fmla="*/ 1746 h 1954"/>
                    <a:gd name="T4" fmla="*/ 0 w 1990"/>
                    <a:gd name="T5" fmla="*/ 540 h 1954"/>
                    <a:gd name="T6" fmla="*/ 515 w 1990"/>
                    <a:gd name="T7" fmla="*/ 249 h 1954"/>
                    <a:gd name="T8" fmla="*/ 1205 w 1990"/>
                    <a:gd name="T9" fmla="*/ 0 h 1954"/>
                    <a:gd name="T10" fmla="*/ 1496 w 1990"/>
                    <a:gd name="T11" fmla="*/ 489 h 1954"/>
                    <a:gd name="T12" fmla="*/ 1413 w 1990"/>
                    <a:gd name="T13" fmla="*/ 291 h 1954"/>
                    <a:gd name="T14" fmla="*/ 802 w 1990"/>
                    <a:gd name="T15" fmla="*/ 83 h 1954"/>
                    <a:gd name="T16" fmla="*/ 1039 w 1990"/>
                    <a:gd name="T17" fmla="*/ 249 h 1954"/>
                    <a:gd name="T18" fmla="*/ 1243 w 1990"/>
                    <a:gd name="T19" fmla="*/ 499 h 1954"/>
                    <a:gd name="T20" fmla="*/ 291 w 1990"/>
                    <a:gd name="T21" fmla="*/ 333 h 1954"/>
                    <a:gd name="T22" fmla="*/ 83 w 1990"/>
                    <a:gd name="T23" fmla="*/ 1455 h 1954"/>
                    <a:gd name="T24" fmla="*/ 1039 w 1990"/>
                    <a:gd name="T25" fmla="*/ 1663 h 1954"/>
                    <a:gd name="T26" fmla="*/ 1641 w 1990"/>
                    <a:gd name="T27" fmla="*/ 1453 h 1954"/>
                    <a:gd name="T28" fmla="*/ 1138 w 1990"/>
                    <a:gd name="T29" fmla="*/ 583 h 1954"/>
                    <a:gd name="T30" fmla="*/ 1641 w 1990"/>
                    <a:gd name="T31" fmla="*/ 1453 h 1954"/>
                    <a:gd name="T32" fmla="*/ 1752 w 1990"/>
                    <a:gd name="T33" fmla="*/ 809 h 1954"/>
                    <a:gd name="T34" fmla="*/ 1026 w 1990"/>
                    <a:gd name="T35" fmla="*/ 1228 h 1954"/>
                    <a:gd name="T36" fmla="*/ 1767 w 1990"/>
                    <a:gd name="T37" fmla="*/ 1422 h 1954"/>
                    <a:gd name="T38" fmla="*/ 1717 w 1990"/>
                    <a:gd name="T39" fmla="*/ 1835 h 1954"/>
                    <a:gd name="T40" fmla="*/ 1767 w 1990"/>
                    <a:gd name="T41" fmla="*/ 1422 h 1954"/>
                    <a:gd name="T42" fmla="*/ 1739 w 1990"/>
                    <a:gd name="T43" fmla="*/ 1874 h 1954"/>
                    <a:gd name="T44" fmla="*/ 1956 w 1990"/>
                    <a:gd name="T45" fmla="*/ 1749 h 1954"/>
                    <a:gd name="T46" fmla="*/ 249 w 1990"/>
                    <a:gd name="T47" fmla="*/ 551 h 1954"/>
                    <a:gd name="T48" fmla="*/ 803 w 1990"/>
                    <a:gd name="T49" fmla="*/ 613 h 1954"/>
                    <a:gd name="T50" fmla="*/ 675 w 1990"/>
                    <a:gd name="T51" fmla="*/ 828 h 1954"/>
                    <a:gd name="T52" fmla="*/ 249 w 1990"/>
                    <a:gd name="T53" fmla="*/ 890 h 1954"/>
                    <a:gd name="T54" fmla="*/ 675 w 1990"/>
                    <a:gd name="T55" fmla="*/ 828 h 1954"/>
                    <a:gd name="T56" fmla="*/ 675 w 1990"/>
                    <a:gd name="T57" fmla="*/ 1167 h 1954"/>
                    <a:gd name="T58" fmla="*/ 249 w 1990"/>
                    <a:gd name="T59" fmla="*/ 1105 h 1954"/>
                    <a:gd name="T60" fmla="*/ 249 w 1990"/>
                    <a:gd name="T61" fmla="*/ 1444 h 1954"/>
                    <a:gd name="T62" fmla="*/ 803 w 1990"/>
                    <a:gd name="T63" fmla="*/ 1382 h 1954"/>
                    <a:gd name="T64" fmla="*/ 249 w 1990"/>
                    <a:gd name="T65" fmla="*/ 1444 h 1954"/>
                    <a:gd name="T66" fmla="*/ 1179 w 1990"/>
                    <a:gd name="T67" fmla="*/ 961 h 1954"/>
                    <a:gd name="T68" fmla="*/ 1300 w 1990"/>
                    <a:gd name="T69" fmla="*/ 1219 h 1954"/>
                    <a:gd name="T70" fmla="*/ 1604 w 1990"/>
                    <a:gd name="T71" fmla="*/ 858 h 19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990" h="1954">
                      <a:moveTo>
                        <a:pt x="1231" y="1534"/>
                      </a:moveTo>
                      <a:cubicBezTo>
                        <a:pt x="1258" y="1542"/>
                        <a:pt x="1285" y="1548"/>
                        <a:pt x="1312" y="1552"/>
                      </a:cubicBezTo>
                      <a:cubicBezTo>
                        <a:pt x="1272" y="1665"/>
                        <a:pt x="1165" y="1746"/>
                        <a:pt x="1039" y="1746"/>
                      </a:cubicBezTo>
                      <a:lnTo>
                        <a:pt x="291" y="1746"/>
                      </a:lnTo>
                      <a:cubicBezTo>
                        <a:pt x="131" y="1746"/>
                        <a:pt x="0" y="1615"/>
                        <a:pt x="0" y="1455"/>
                      </a:cubicBezTo>
                      <a:lnTo>
                        <a:pt x="0" y="540"/>
                      </a:lnTo>
                      <a:cubicBezTo>
                        <a:pt x="0" y="380"/>
                        <a:pt x="131" y="249"/>
                        <a:pt x="291" y="249"/>
                      </a:cubicBezTo>
                      <a:lnTo>
                        <a:pt x="515" y="249"/>
                      </a:lnTo>
                      <a:cubicBezTo>
                        <a:pt x="535" y="109"/>
                        <a:pt x="656" y="0"/>
                        <a:pt x="802" y="0"/>
                      </a:cubicBezTo>
                      <a:lnTo>
                        <a:pt x="1205" y="0"/>
                      </a:lnTo>
                      <a:cubicBezTo>
                        <a:pt x="1366" y="0"/>
                        <a:pt x="1496" y="131"/>
                        <a:pt x="1496" y="291"/>
                      </a:cubicBezTo>
                      <a:lnTo>
                        <a:pt x="1496" y="489"/>
                      </a:lnTo>
                      <a:cubicBezTo>
                        <a:pt x="1469" y="484"/>
                        <a:pt x="1441" y="480"/>
                        <a:pt x="1413" y="479"/>
                      </a:cubicBezTo>
                      <a:lnTo>
                        <a:pt x="1413" y="291"/>
                      </a:lnTo>
                      <a:cubicBezTo>
                        <a:pt x="1413" y="176"/>
                        <a:pt x="1320" y="83"/>
                        <a:pt x="1205" y="83"/>
                      </a:cubicBezTo>
                      <a:lnTo>
                        <a:pt x="802" y="83"/>
                      </a:lnTo>
                      <a:cubicBezTo>
                        <a:pt x="701" y="83"/>
                        <a:pt x="617" y="155"/>
                        <a:pt x="598" y="249"/>
                      </a:cubicBezTo>
                      <a:lnTo>
                        <a:pt x="1039" y="249"/>
                      </a:lnTo>
                      <a:cubicBezTo>
                        <a:pt x="1180" y="249"/>
                        <a:pt x="1297" y="349"/>
                        <a:pt x="1324" y="482"/>
                      </a:cubicBezTo>
                      <a:cubicBezTo>
                        <a:pt x="1297" y="485"/>
                        <a:pt x="1270" y="491"/>
                        <a:pt x="1243" y="499"/>
                      </a:cubicBezTo>
                      <a:cubicBezTo>
                        <a:pt x="1224" y="404"/>
                        <a:pt x="1140" y="333"/>
                        <a:pt x="1039" y="333"/>
                      </a:cubicBezTo>
                      <a:lnTo>
                        <a:pt x="291" y="333"/>
                      </a:lnTo>
                      <a:cubicBezTo>
                        <a:pt x="177" y="333"/>
                        <a:pt x="83" y="426"/>
                        <a:pt x="83" y="540"/>
                      </a:cubicBezTo>
                      <a:lnTo>
                        <a:pt x="83" y="1455"/>
                      </a:lnTo>
                      <a:cubicBezTo>
                        <a:pt x="83" y="1569"/>
                        <a:pt x="177" y="1663"/>
                        <a:pt x="291" y="1663"/>
                      </a:cubicBezTo>
                      <a:lnTo>
                        <a:pt x="1039" y="1663"/>
                      </a:lnTo>
                      <a:cubicBezTo>
                        <a:pt x="1126" y="1663"/>
                        <a:pt x="1200" y="1609"/>
                        <a:pt x="1231" y="1534"/>
                      </a:cubicBezTo>
                      <a:close/>
                      <a:moveTo>
                        <a:pt x="1641" y="1453"/>
                      </a:moveTo>
                      <a:cubicBezTo>
                        <a:pt x="1401" y="1591"/>
                        <a:pt x="1093" y="1509"/>
                        <a:pt x="955" y="1269"/>
                      </a:cubicBezTo>
                      <a:cubicBezTo>
                        <a:pt x="816" y="1029"/>
                        <a:pt x="899" y="722"/>
                        <a:pt x="1138" y="583"/>
                      </a:cubicBezTo>
                      <a:cubicBezTo>
                        <a:pt x="1378" y="445"/>
                        <a:pt x="1686" y="527"/>
                        <a:pt x="1824" y="767"/>
                      </a:cubicBezTo>
                      <a:cubicBezTo>
                        <a:pt x="1963" y="1007"/>
                        <a:pt x="1880" y="1314"/>
                        <a:pt x="1641" y="1453"/>
                      </a:cubicBezTo>
                      <a:close/>
                      <a:moveTo>
                        <a:pt x="1599" y="1381"/>
                      </a:moveTo>
                      <a:cubicBezTo>
                        <a:pt x="1799" y="1266"/>
                        <a:pt x="1868" y="1009"/>
                        <a:pt x="1752" y="809"/>
                      </a:cubicBezTo>
                      <a:cubicBezTo>
                        <a:pt x="1637" y="608"/>
                        <a:pt x="1380" y="539"/>
                        <a:pt x="1180" y="655"/>
                      </a:cubicBezTo>
                      <a:cubicBezTo>
                        <a:pt x="980" y="771"/>
                        <a:pt x="911" y="1027"/>
                        <a:pt x="1026" y="1228"/>
                      </a:cubicBezTo>
                      <a:cubicBezTo>
                        <a:pt x="1142" y="1428"/>
                        <a:pt x="1399" y="1497"/>
                        <a:pt x="1599" y="1381"/>
                      </a:cubicBezTo>
                      <a:close/>
                      <a:moveTo>
                        <a:pt x="1767" y="1422"/>
                      </a:moveTo>
                      <a:lnTo>
                        <a:pt x="1551" y="1547"/>
                      </a:lnTo>
                      <a:lnTo>
                        <a:pt x="1717" y="1835"/>
                      </a:lnTo>
                      <a:lnTo>
                        <a:pt x="1933" y="1710"/>
                      </a:lnTo>
                      <a:lnTo>
                        <a:pt x="1767" y="1422"/>
                      </a:lnTo>
                      <a:close/>
                      <a:moveTo>
                        <a:pt x="1956" y="1749"/>
                      </a:moveTo>
                      <a:lnTo>
                        <a:pt x="1739" y="1874"/>
                      </a:lnTo>
                      <a:cubicBezTo>
                        <a:pt x="1774" y="1934"/>
                        <a:pt x="1850" y="1954"/>
                        <a:pt x="1910" y="1919"/>
                      </a:cubicBezTo>
                      <a:cubicBezTo>
                        <a:pt x="1969" y="1885"/>
                        <a:pt x="1990" y="1809"/>
                        <a:pt x="1956" y="1749"/>
                      </a:cubicBezTo>
                      <a:close/>
                      <a:moveTo>
                        <a:pt x="803" y="551"/>
                      </a:moveTo>
                      <a:lnTo>
                        <a:pt x="249" y="551"/>
                      </a:lnTo>
                      <a:lnTo>
                        <a:pt x="249" y="613"/>
                      </a:lnTo>
                      <a:lnTo>
                        <a:pt x="803" y="613"/>
                      </a:lnTo>
                      <a:lnTo>
                        <a:pt x="803" y="551"/>
                      </a:lnTo>
                      <a:close/>
                      <a:moveTo>
                        <a:pt x="675" y="828"/>
                      </a:moveTo>
                      <a:lnTo>
                        <a:pt x="249" y="828"/>
                      </a:lnTo>
                      <a:lnTo>
                        <a:pt x="249" y="890"/>
                      </a:lnTo>
                      <a:lnTo>
                        <a:pt x="675" y="890"/>
                      </a:lnTo>
                      <a:lnTo>
                        <a:pt x="675" y="828"/>
                      </a:lnTo>
                      <a:close/>
                      <a:moveTo>
                        <a:pt x="249" y="1167"/>
                      </a:moveTo>
                      <a:lnTo>
                        <a:pt x="675" y="1167"/>
                      </a:lnTo>
                      <a:lnTo>
                        <a:pt x="675" y="1105"/>
                      </a:lnTo>
                      <a:lnTo>
                        <a:pt x="249" y="1105"/>
                      </a:lnTo>
                      <a:lnTo>
                        <a:pt x="249" y="1167"/>
                      </a:lnTo>
                      <a:close/>
                      <a:moveTo>
                        <a:pt x="249" y="1444"/>
                      </a:moveTo>
                      <a:lnTo>
                        <a:pt x="803" y="1444"/>
                      </a:lnTo>
                      <a:lnTo>
                        <a:pt x="803" y="1382"/>
                      </a:lnTo>
                      <a:lnTo>
                        <a:pt x="249" y="1382"/>
                      </a:lnTo>
                      <a:lnTo>
                        <a:pt x="249" y="1444"/>
                      </a:lnTo>
                      <a:close/>
                      <a:moveTo>
                        <a:pt x="1308" y="1105"/>
                      </a:moveTo>
                      <a:lnTo>
                        <a:pt x="1179" y="961"/>
                      </a:lnTo>
                      <a:lnTo>
                        <a:pt x="1118" y="1017"/>
                      </a:lnTo>
                      <a:lnTo>
                        <a:pt x="1300" y="1219"/>
                      </a:lnTo>
                      <a:lnTo>
                        <a:pt x="1657" y="922"/>
                      </a:lnTo>
                      <a:lnTo>
                        <a:pt x="1604" y="858"/>
                      </a:lnTo>
                      <a:lnTo>
                        <a:pt x="1308" y="110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182832" tIns="91416" rIns="182832" bIns="9141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 sz="7198" dirty="0"/>
                </a:p>
              </p:txBody>
            </p:sp>
          </p:grpSp>
        </p:grp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7A4900CF-8197-4322-B5C3-C643EA44FACB}"/>
                </a:ext>
              </a:extLst>
            </p:cNvPr>
            <p:cNvCxnSpPr>
              <a:cxnSpLocks/>
            </p:cNvCxnSpPr>
            <p:nvPr/>
          </p:nvCxnSpPr>
          <p:spPr>
            <a:xfrm>
              <a:off x="3824466" y="4300648"/>
              <a:ext cx="775130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E81C3C7F-1567-4094-B44D-E8FB9D085F50}"/>
                </a:ext>
              </a:extLst>
            </p:cNvPr>
            <p:cNvCxnSpPr>
              <a:cxnSpLocks/>
            </p:cNvCxnSpPr>
            <p:nvPr/>
          </p:nvCxnSpPr>
          <p:spPr>
            <a:xfrm>
              <a:off x="7576105" y="2817158"/>
              <a:ext cx="0" cy="331609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4194540"/>
      </p:ext>
    </p:extLst>
  </p:cSld>
  <p:clrMapOvr>
    <a:masterClrMapping/>
  </p:clrMapOvr>
  <p:transition spd="slow">
    <p:cov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524E24-C3D6-461C-BAD6-8910F4E38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术创新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883508A-D4CF-4DAD-B440-D8F379FD9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84" name="Group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AECFF93-FD2C-4731-8307-997DA3C07167}"/>
              </a:ext>
            </a:extLst>
          </p:cNvPr>
          <p:cNvGrpSpPr>
            <a:grpSpLocks noChangeAspect="1"/>
          </p:cNvGrpSpPr>
          <p:nvPr/>
        </p:nvGrpSpPr>
        <p:grpSpPr>
          <a:xfrm>
            <a:off x="1826438" y="1125538"/>
            <a:ext cx="8594078" cy="4991365"/>
            <a:chOff x="1826438" y="1125538"/>
            <a:chExt cx="8594078" cy="4991365"/>
          </a:xfrm>
        </p:grpSpPr>
        <p:sp>
          <p:nvSpPr>
            <p:cNvPr id="85" name="ïṩlidè">
              <a:extLst>
                <a:ext uri="{FF2B5EF4-FFF2-40B4-BE49-F238E27FC236}">
                  <a16:creationId xmlns:a16="http://schemas.microsoft.com/office/drawing/2014/main" id="{DFB39CB9-8170-43D4-AB9E-DED6448475E1}"/>
                </a:ext>
              </a:extLst>
            </p:cNvPr>
            <p:cNvSpPr/>
            <p:nvPr/>
          </p:nvSpPr>
          <p:spPr bwMode="auto">
            <a:xfrm>
              <a:off x="6645954" y="4308513"/>
              <a:ext cx="3774562" cy="369527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600"/>
                  </a:lnTo>
                  <a:lnTo>
                    <a:pt x="0" y="2160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="" xmlns:lc="http://schemas.openxmlformats.org/drawingml/2006/lockedCanvas" xmlns:a16="http://schemas.microsoft.com/office/drawing/2014/main" xmlns:dgm="http://schemas.openxmlformats.org/drawingml/2006/diagram" xmlns:p14="http://schemas.microsoft.com/office/powerpoint/2010/main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lc="http://schemas.openxmlformats.org/drawingml/2006/lockedCanvas" xmlns:a16="http://schemas.microsoft.com/office/drawing/2014/main" xmlns:dgm="http://schemas.openxmlformats.org/drawingml/2006/diagram" xmlns:p14="http://schemas.microsoft.com/office/powerpoint/2010/main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lc="http://schemas.openxmlformats.org/drawingml/2006/lockedCanvas" xmlns:a16="http://schemas.microsoft.com/office/drawing/2014/main" xmlns:dgm="http://schemas.openxmlformats.org/drawingml/2006/diagram" xmlns:p14="http://schemas.microsoft.com/office/powerpoint/2010/main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23850">
                <a:defRPr/>
              </a:pPr>
              <a:r>
                <a:rPr lang="zh-CN" altLang="en-US" b="1" dirty="0"/>
                <a:t>前后端交互</a:t>
              </a:r>
            </a:p>
          </p:txBody>
        </p:sp>
        <p:sp>
          <p:nvSpPr>
            <p:cNvPr id="86" name="îsļîďè">
              <a:extLst>
                <a:ext uri="{FF2B5EF4-FFF2-40B4-BE49-F238E27FC236}">
                  <a16:creationId xmlns:a16="http://schemas.microsoft.com/office/drawing/2014/main" id="{8D81DEB4-1479-43BE-B781-9D44187ACFF4}"/>
                </a:ext>
              </a:extLst>
            </p:cNvPr>
            <p:cNvSpPr/>
            <p:nvPr/>
          </p:nvSpPr>
          <p:spPr bwMode="auto">
            <a:xfrm>
              <a:off x="6645954" y="4678041"/>
              <a:ext cx="3774562" cy="1438862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="" xmlns:lc="http://schemas.openxmlformats.org/drawingml/2006/lockedCanvas" xmlns:a16="http://schemas.microsoft.com/office/drawing/2014/main" xmlns:dgm="http://schemas.openxmlformats.org/drawingml/2006/diagram" xmlns:p14="http://schemas.microsoft.com/office/powerpoint/2010/main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lc="http://schemas.openxmlformats.org/drawingml/2006/lockedCanvas" xmlns:a16="http://schemas.microsoft.com/office/drawing/2014/main" xmlns:dgm="http://schemas.openxmlformats.org/drawingml/2006/diagram" xmlns:p14="http://schemas.microsoft.com/office/powerpoint/2010/main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lc="http://schemas.openxmlformats.org/drawingml/2006/lockedCanvas" xmlns:a16="http://schemas.microsoft.com/office/drawing/2014/main" xmlns:dgm="http://schemas.openxmlformats.org/drawingml/2006/diagram" xmlns:p14="http://schemas.microsoft.com/office/powerpoint/2010/main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zh-CN" altLang="en-US" sz="1100" dirty="0"/>
                <a:t>传统 </a:t>
              </a:r>
              <a:r>
                <a:rPr lang="en-US" altLang="zh-CN" sz="1100" dirty="0"/>
                <a:t>HTTP </a:t>
              </a:r>
              <a:r>
                <a:rPr lang="zh-CN" altLang="en-US" sz="1100" dirty="0"/>
                <a:t>请求由 </a:t>
              </a:r>
              <a:r>
                <a:rPr lang="en-US" altLang="zh-CN" sz="1100" dirty="0"/>
                <a:t>Client </a:t>
              </a:r>
              <a:r>
                <a:rPr lang="zh-CN" altLang="en-US" sz="1100" dirty="0"/>
                <a:t>发起</a:t>
              </a:r>
              <a:endParaRPr lang="en-US" altLang="zh-CN" sz="1100" dirty="0"/>
            </a:p>
            <a:p>
              <a:pPr algn="ctr">
                <a:lnSpc>
                  <a:spcPct val="150000"/>
                </a:lnSpc>
              </a:pPr>
              <a:r>
                <a:rPr lang="zh-CN" altLang="en-US" sz="1100" dirty="0"/>
                <a:t>后端无法主动向前端发送请求</a:t>
              </a:r>
              <a:endParaRPr lang="en-US" altLang="zh-CN" sz="1100" dirty="0"/>
            </a:p>
            <a:p>
              <a:pPr algn="ctr">
                <a:lnSpc>
                  <a:spcPct val="150000"/>
                </a:lnSpc>
              </a:pPr>
              <a:r>
                <a:rPr lang="zh-CN" altLang="en-US" sz="1100" dirty="0"/>
                <a:t>后端推送技术有 </a:t>
              </a:r>
              <a:r>
                <a:rPr lang="en-US" altLang="zh-CN" sz="1100" dirty="0"/>
                <a:t>WebSocket </a:t>
              </a:r>
              <a:r>
                <a:rPr lang="zh-CN" altLang="en-US" sz="1100" dirty="0"/>
                <a:t>与 </a:t>
              </a:r>
              <a:r>
                <a:rPr lang="en-US" altLang="zh-CN" sz="1100" dirty="0"/>
                <a:t>SSE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SSE </a:t>
              </a:r>
              <a:r>
                <a:rPr lang="zh-CN" altLang="en-US" sz="1100" dirty="0"/>
                <a:t>基于 </a:t>
              </a:r>
              <a:r>
                <a:rPr lang="en-US" altLang="zh-CN" sz="1100" dirty="0"/>
                <a:t>HTTP </a:t>
              </a:r>
              <a:r>
                <a:rPr lang="zh-CN" altLang="en-US" sz="1100" dirty="0"/>
                <a:t>长连接，可复用协议</a:t>
              </a:r>
              <a:endParaRPr lang="en-US" altLang="zh-CN" sz="1100" dirty="0"/>
            </a:p>
            <a:p>
              <a:pPr algn="ctr">
                <a:lnSpc>
                  <a:spcPct val="150000"/>
                </a:lnSpc>
              </a:pPr>
              <a:r>
                <a:rPr lang="zh-CN" altLang="en-US" sz="1100" dirty="0"/>
                <a:t>通过 </a:t>
              </a:r>
              <a:r>
                <a:rPr lang="en-US" altLang="zh-CN" sz="1100" dirty="0"/>
                <a:t>SSE </a:t>
              </a:r>
              <a:r>
                <a:rPr lang="zh-CN" altLang="en-US" sz="1100" dirty="0"/>
                <a:t>事件流传递，实现双人房间的交互</a:t>
              </a:r>
              <a:endParaRPr lang="en-US" altLang="zh-CN" sz="1100" dirty="0"/>
            </a:p>
          </p:txBody>
        </p:sp>
        <p:sp>
          <p:nvSpPr>
            <p:cNvPr id="87" name="ïṣḻîḓê">
              <a:extLst>
                <a:ext uri="{FF2B5EF4-FFF2-40B4-BE49-F238E27FC236}">
                  <a16:creationId xmlns:a16="http://schemas.microsoft.com/office/drawing/2014/main" id="{5F8ACD7C-F30B-4FFB-92FA-9E10AD10131C}"/>
                </a:ext>
              </a:extLst>
            </p:cNvPr>
            <p:cNvSpPr/>
            <p:nvPr/>
          </p:nvSpPr>
          <p:spPr bwMode="auto">
            <a:xfrm>
              <a:off x="1826438" y="4308513"/>
              <a:ext cx="3774562" cy="369527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600"/>
                  </a:lnTo>
                  <a:lnTo>
                    <a:pt x="0" y="21600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="" xmlns:lc="http://schemas.openxmlformats.org/drawingml/2006/lockedCanvas" xmlns:a16="http://schemas.microsoft.com/office/drawing/2014/main" xmlns:dgm="http://schemas.openxmlformats.org/drawingml/2006/diagram" xmlns:p14="http://schemas.microsoft.com/office/powerpoint/2010/main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lc="http://schemas.openxmlformats.org/drawingml/2006/lockedCanvas" xmlns:a16="http://schemas.microsoft.com/office/drawing/2014/main" xmlns:dgm="http://schemas.openxmlformats.org/drawingml/2006/diagram" xmlns:p14="http://schemas.microsoft.com/office/powerpoint/2010/main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lc="http://schemas.openxmlformats.org/drawingml/2006/lockedCanvas" xmlns:a16="http://schemas.microsoft.com/office/drawing/2014/main" xmlns:dgm="http://schemas.openxmlformats.org/drawingml/2006/diagram" xmlns:p14="http://schemas.microsoft.com/office/powerpoint/2010/main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23850">
                <a:defRPr/>
              </a:pPr>
              <a:r>
                <a:rPr lang="zh-CN" altLang="en-US" b="1" dirty="0"/>
                <a:t>代码解释器</a:t>
              </a:r>
            </a:p>
          </p:txBody>
        </p:sp>
        <p:sp>
          <p:nvSpPr>
            <p:cNvPr id="88" name="iş1iďe">
              <a:extLst>
                <a:ext uri="{FF2B5EF4-FFF2-40B4-BE49-F238E27FC236}">
                  <a16:creationId xmlns:a16="http://schemas.microsoft.com/office/drawing/2014/main" id="{C37BE683-BE38-4B30-91B7-C430C5F71663}"/>
                </a:ext>
              </a:extLst>
            </p:cNvPr>
            <p:cNvSpPr/>
            <p:nvPr/>
          </p:nvSpPr>
          <p:spPr bwMode="auto">
            <a:xfrm>
              <a:off x="1826438" y="4678041"/>
              <a:ext cx="3774562" cy="1438862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="" xmlns:lc="http://schemas.openxmlformats.org/drawingml/2006/lockedCanvas" xmlns:a16="http://schemas.microsoft.com/office/drawing/2014/main" xmlns:dgm="http://schemas.openxmlformats.org/drawingml/2006/diagram" xmlns:p14="http://schemas.microsoft.com/office/powerpoint/2010/main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lc="http://schemas.openxmlformats.org/drawingml/2006/lockedCanvas" xmlns:a16="http://schemas.microsoft.com/office/drawing/2014/main" xmlns:dgm="http://schemas.openxmlformats.org/drawingml/2006/diagram" xmlns:p14="http://schemas.microsoft.com/office/powerpoint/2010/main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lc="http://schemas.openxmlformats.org/drawingml/2006/lockedCanvas" xmlns:a16="http://schemas.microsoft.com/office/drawing/2014/main" xmlns:dgm="http://schemas.openxmlformats.org/drawingml/2006/diagram" xmlns:p14="http://schemas.microsoft.com/office/powerpoint/2010/main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zh-CN" altLang="en-US" sz="1100" dirty="0"/>
                <a:t>采用编译原理中的前端技术</a:t>
              </a:r>
              <a:endParaRPr lang="en-US" altLang="zh-CN" sz="1100" dirty="0"/>
            </a:p>
            <a:p>
              <a:pPr algn="ctr">
                <a:lnSpc>
                  <a:spcPct val="150000"/>
                </a:lnSpc>
              </a:pPr>
              <a:r>
                <a:rPr lang="zh-CN" altLang="en-US" sz="1100" dirty="0"/>
                <a:t>使用 </a:t>
              </a:r>
              <a:r>
                <a:rPr lang="en-US" altLang="zh-CN" sz="1100" dirty="0"/>
                <a:t>Lex </a:t>
              </a:r>
              <a:r>
                <a:rPr lang="zh-CN" altLang="en-US" sz="1100" dirty="0"/>
                <a:t>进行词法分析，将代码抽象为 </a:t>
              </a:r>
              <a:r>
                <a:rPr lang="en-US" altLang="zh-CN" sz="1100" dirty="0"/>
                <a:t>Token</a:t>
              </a:r>
            </a:p>
            <a:p>
              <a:pPr algn="ctr">
                <a:lnSpc>
                  <a:spcPct val="150000"/>
                </a:lnSpc>
              </a:pPr>
              <a:r>
                <a:rPr lang="zh-CN" altLang="en-US" sz="1100" dirty="0"/>
                <a:t>使用 </a:t>
              </a:r>
              <a:r>
                <a:rPr lang="en-US" altLang="zh-CN" sz="1100" dirty="0" err="1"/>
                <a:t>Yacc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进行语法分析，将 </a:t>
              </a:r>
              <a:r>
                <a:rPr lang="en-US" altLang="zh-CN" sz="1100" dirty="0"/>
                <a:t>Token </a:t>
              </a:r>
              <a:r>
                <a:rPr lang="zh-CN" altLang="en-US" sz="1100" dirty="0"/>
                <a:t>组合为 </a:t>
              </a:r>
              <a:r>
                <a:rPr lang="en-US" altLang="zh-CN" sz="1100" dirty="0"/>
                <a:t>AST</a:t>
              </a:r>
            </a:p>
            <a:p>
              <a:pPr algn="ctr">
                <a:lnSpc>
                  <a:spcPct val="150000"/>
                </a:lnSpc>
              </a:pPr>
              <a:r>
                <a:rPr lang="zh-CN" altLang="en-US" sz="1100" dirty="0"/>
                <a:t>解析</a:t>
              </a:r>
              <a:r>
                <a:rPr lang="en-US" altLang="zh-CN" sz="1100" dirty="0"/>
                <a:t>AST</a:t>
              </a:r>
              <a:r>
                <a:rPr lang="zh-CN" altLang="en-US" sz="1100" dirty="0"/>
                <a:t>，调用相应的绘图函数</a:t>
              </a:r>
              <a:endParaRPr lang="en-US" altLang="zh-CN" sz="1100" dirty="0"/>
            </a:p>
          </p:txBody>
        </p:sp>
        <p:grpSp>
          <p:nvGrpSpPr>
            <p:cNvPr id="89" name="iŝ1iḋé">
              <a:extLst>
                <a:ext uri="{FF2B5EF4-FFF2-40B4-BE49-F238E27FC236}">
                  <a16:creationId xmlns:a16="http://schemas.microsoft.com/office/drawing/2014/main" id="{8F06E8D1-11A6-496E-903A-85DD4BF63063}"/>
                </a:ext>
              </a:extLst>
            </p:cNvPr>
            <p:cNvGrpSpPr/>
            <p:nvPr/>
          </p:nvGrpSpPr>
          <p:grpSpPr>
            <a:xfrm>
              <a:off x="2478543" y="1435940"/>
              <a:ext cx="2183485" cy="2512890"/>
              <a:chOff x="2260090" y="1930940"/>
              <a:chExt cx="2183485" cy="2512890"/>
            </a:xfrm>
          </p:grpSpPr>
          <p:sp>
            <p:nvSpPr>
              <p:cNvPr id="101" name="íṧḷïḍe">
                <a:extLst>
                  <a:ext uri="{FF2B5EF4-FFF2-40B4-BE49-F238E27FC236}">
                    <a16:creationId xmlns:a16="http://schemas.microsoft.com/office/drawing/2014/main" id="{D65D39D0-228C-4D58-B12E-A0982BC86507}"/>
                  </a:ext>
                </a:extLst>
              </p:cNvPr>
              <p:cNvSpPr/>
              <p:nvPr/>
            </p:nvSpPr>
            <p:spPr>
              <a:xfrm>
                <a:off x="2775712" y="1930940"/>
                <a:ext cx="1667863" cy="2512890"/>
              </a:xfrm>
              <a:custGeom>
                <a:avLst/>
                <a:gdLst>
                  <a:gd name="connsiteX0" fmla="*/ 139437 w 403070"/>
                  <a:gd name="connsiteY0" fmla="*/ 541660 h 607286"/>
                  <a:gd name="connsiteX1" fmla="*/ 263632 w 403070"/>
                  <a:gd name="connsiteY1" fmla="*/ 541660 h 607286"/>
                  <a:gd name="connsiteX2" fmla="*/ 263632 w 403070"/>
                  <a:gd name="connsiteY2" fmla="*/ 556916 h 607286"/>
                  <a:gd name="connsiteX3" fmla="*/ 213190 w 403070"/>
                  <a:gd name="connsiteY3" fmla="*/ 607286 h 607286"/>
                  <a:gd name="connsiteX4" fmla="*/ 189879 w 403070"/>
                  <a:gd name="connsiteY4" fmla="*/ 607286 h 607286"/>
                  <a:gd name="connsiteX5" fmla="*/ 139437 w 403070"/>
                  <a:gd name="connsiteY5" fmla="*/ 556916 h 607286"/>
                  <a:gd name="connsiteX6" fmla="*/ 139437 w 403070"/>
                  <a:gd name="connsiteY6" fmla="*/ 511176 h 607286"/>
                  <a:gd name="connsiteX7" fmla="*/ 263632 w 403070"/>
                  <a:gd name="connsiteY7" fmla="*/ 511176 h 607286"/>
                  <a:gd name="connsiteX8" fmla="*/ 263632 w 403070"/>
                  <a:gd name="connsiteY8" fmla="*/ 520067 h 607286"/>
                  <a:gd name="connsiteX9" fmla="*/ 139437 w 403070"/>
                  <a:gd name="connsiteY9" fmla="*/ 520067 h 607286"/>
                  <a:gd name="connsiteX10" fmla="*/ 201469 w 403070"/>
                  <a:gd name="connsiteY10" fmla="*/ 0 h 607286"/>
                  <a:gd name="connsiteX11" fmla="*/ 403070 w 403070"/>
                  <a:gd name="connsiteY11" fmla="*/ 201144 h 607286"/>
                  <a:gd name="connsiteX12" fmla="*/ 298122 w 403070"/>
                  <a:gd name="connsiteY12" fmla="*/ 383358 h 607286"/>
                  <a:gd name="connsiteX13" fmla="*/ 276000 w 403070"/>
                  <a:gd name="connsiteY13" fmla="*/ 406101 h 607286"/>
                  <a:gd name="connsiteX14" fmla="*/ 274551 w 403070"/>
                  <a:gd name="connsiteY14" fmla="*/ 407942 h 607286"/>
                  <a:gd name="connsiteX15" fmla="*/ 263622 w 403070"/>
                  <a:gd name="connsiteY15" fmla="*/ 432526 h 607286"/>
                  <a:gd name="connsiteX16" fmla="*/ 263095 w 403070"/>
                  <a:gd name="connsiteY16" fmla="*/ 434630 h 607286"/>
                  <a:gd name="connsiteX17" fmla="*/ 263358 w 403070"/>
                  <a:gd name="connsiteY17" fmla="*/ 436602 h 607286"/>
                  <a:gd name="connsiteX18" fmla="*/ 263622 w 403070"/>
                  <a:gd name="connsiteY18" fmla="*/ 441992 h 607286"/>
                  <a:gd name="connsiteX19" fmla="*/ 263622 w 403070"/>
                  <a:gd name="connsiteY19" fmla="*/ 489583 h 607286"/>
                  <a:gd name="connsiteX20" fmla="*/ 139448 w 403070"/>
                  <a:gd name="connsiteY20" fmla="*/ 489583 h 607286"/>
                  <a:gd name="connsiteX21" fmla="*/ 139448 w 403070"/>
                  <a:gd name="connsiteY21" fmla="*/ 441992 h 607286"/>
                  <a:gd name="connsiteX22" fmla="*/ 139712 w 403070"/>
                  <a:gd name="connsiteY22" fmla="*/ 436602 h 607286"/>
                  <a:gd name="connsiteX23" fmla="*/ 139975 w 403070"/>
                  <a:gd name="connsiteY23" fmla="*/ 434630 h 607286"/>
                  <a:gd name="connsiteX24" fmla="*/ 139448 w 403070"/>
                  <a:gd name="connsiteY24" fmla="*/ 432526 h 607286"/>
                  <a:gd name="connsiteX25" fmla="*/ 128387 w 403070"/>
                  <a:gd name="connsiteY25" fmla="*/ 407942 h 607286"/>
                  <a:gd name="connsiteX26" fmla="*/ 127070 w 403070"/>
                  <a:gd name="connsiteY26" fmla="*/ 406101 h 607286"/>
                  <a:gd name="connsiteX27" fmla="*/ 104948 w 403070"/>
                  <a:gd name="connsiteY27" fmla="*/ 383358 h 607286"/>
                  <a:gd name="connsiteX28" fmla="*/ 0 w 403070"/>
                  <a:gd name="connsiteY28" fmla="*/ 201144 h 607286"/>
                  <a:gd name="connsiteX29" fmla="*/ 201469 w 403070"/>
                  <a:gd name="connsiteY29" fmla="*/ 0 h 607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03070" h="607286">
                    <a:moveTo>
                      <a:pt x="139437" y="541660"/>
                    </a:moveTo>
                    <a:lnTo>
                      <a:pt x="263632" y="541660"/>
                    </a:lnTo>
                    <a:lnTo>
                      <a:pt x="263632" y="556916"/>
                    </a:lnTo>
                    <a:cubicBezTo>
                      <a:pt x="263632" y="584665"/>
                      <a:pt x="240979" y="607286"/>
                      <a:pt x="213190" y="607286"/>
                    </a:cubicBezTo>
                    <a:lnTo>
                      <a:pt x="189879" y="607286"/>
                    </a:lnTo>
                    <a:cubicBezTo>
                      <a:pt x="162090" y="607286"/>
                      <a:pt x="139437" y="584665"/>
                      <a:pt x="139437" y="556916"/>
                    </a:cubicBezTo>
                    <a:close/>
                    <a:moveTo>
                      <a:pt x="139437" y="511176"/>
                    </a:moveTo>
                    <a:lnTo>
                      <a:pt x="263632" y="511176"/>
                    </a:lnTo>
                    <a:lnTo>
                      <a:pt x="263632" y="520067"/>
                    </a:lnTo>
                    <a:lnTo>
                      <a:pt x="139437" y="520067"/>
                    </a:lnTo>
                    <a:close/>
                    <a:moveTo>
                      <a:pt x="201469" y="0"/>
                    </a:moveTo>
                    <a:cubicBezTo>
                      <a:pt x="312606" y="0"/>
                      <a:pt x="403070" y="90318"/>
                      <a:pt x="403070" y="201144"/>
                    </a:cubicBezTo>
                    <a:cubicBezTo>
                      <a:pt x="403070" y="246764"/>
                      <a:pt x="366727" y="309605"/>
                      <a:pt x="298122" y="383358"/>
                    </a:cubicBezTo>
                    <a:cubicBezTo>
                      <a:pt x="290616" y="391246"/>
                      <a:pt x="283242" y="398871"/>
                      <a:pt x="276000" y="406101"/>
                    </a:cubicBezTo>
                    <a:lnTo>
                      <a:pt x="274551" y="407942"/>
                    </a:lnTo>
                    <a:cubicBezTo>
                      <a:pt x="269811" y="415567"/>
                      <a:pt x="266124" y="423850"/>
                      <a:pt x="263622" y="432526"/>
                    </a:cubicBezTo>
                    <a:lnTo>
                      <a:pt x="263095" y="434630"/>
                    </a:lnTo>
                    <a:lnTo>
                      <a:pt x="263358" y="436602"/>
                    </a:lnTo>
                    <a:cubicBezTo>
                      <a:pt x="263490" y="438311"/>
                      <a:pt x="263622" y="440151"/>
                      <a:pt x="263622" y="441992"/>
                    </a:cubicBezTo>
                    <a:lnTo>
                      <a:pt x="263622" y="489583"/>
                    </a:lnTo>
                    <a:lnTo>
                      <a:pt x="139448" y="489583"/>
                    </a:lnTo>
                    <a:lnTo>
                      <a:pt x="139448" y="441992"/>
                    </a:lnTo>
                    <a:cubicBezTo>
                      <a:pt x="139448" y="440151"/>
                      <a:pt x="139580" y="438311"/>
                      <a:pt x="139712" y="436602"/>
                    </a:cubicBezTo>
                    <a:lnTo>
                      <a:pt x="139975" y="434630"/>
                    </a:lnTo>
                    <a:lnTo>
                      <a:pt x="139448" y="432526"/>
                    </a:lnTo>
                    <a:cubicBezTo>
                      <a:pt x="136946" y="423850"/>
                      <a:pt x="133259" y="415567"/>
                      <a:pt x="128387" y="407942"/>
                    </a:cubicBezTo>
                    <a:lnTo>
                      <a:pt x="127070" y="406101"/>
                    </a:lnTo>
                    <a:cubicBezTo>
                      <a:pt x="119828" y="398871"/>
                      <a:pt x="112322" y="391246"/>
                      <a:pt x="104948" y="383358"/>
                    </a:cubicBezTo>
                    <a:cubicBezTo>
                      <a:pt x="36343" y="309605"/>
                      <a:pt x="0" y="246764"/>
                      <a:pt x="0" y="201144"/>
                    </a:cubicBezTo>
                    <a:cubicBezTo>
                      <a:pt x="0" y="90318"/>
                      <a:pt x="90332" y="0"/>
                      <a:pt x="201469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>
                  <a:solidFill>
                    <a:srgbClr val="E60000"/>
                  </a:solidFill>
                  <a:highlight>
                    <a:srgbClr val="FFFF00"/>
                  </a:highlight>
                </a:endParaRPr>
              </a:p>
            </p:txBody>
          </p:sp>
          <p:sp>
            <p:nvSpPr>
              <p:cNvPr id="106" name="îŝļiḑè">
                <a:extLst>
                  <a:ext uri="{FF2B5EF4-FFF2-40B4-BE49-F238E27FC236}">
                    <a16:creationId xmlns:a16="http://schemas.microsoft.com/office/drawing/2014/main" id="{5A510D4F-03FB-4F44-81D1-30E790CF1C2A}"/>
                  </a:ext>
                </a:extLst>
              </p:cNvPr>
              <p:cNvSpPr/>
              <p:nvPr/>
            </p:nvSpPr>
            <p:spPr bwMode="auto">
              <a:xfrm flipH="1">
                <a:off x="2642625" y="3937986"/>
                <a:ext cx="344764" cy="381053"/>
              </a:xfrm>
              <a:custGeom>
                <a:avLst/>
                <a:gdLst>
                  <a:gd name="connsiteX0" fmla="*/ 67813 w 459621"/>
                  <a:gd name="connsiteY0" fmla="*/ 117929 h 508000"/>
                  <a:gd name="connsiteX1" fmla="*/ 113021 w 459621"/>
                  <a:gd name="connsiteY1" fmla="*/ 162937 h 508000"/>
                  <a:gd name="connsiteX2" fmla="*/ 67813 w 459621"/>
                  <a:gd name="connsiteY2" fmla="*/ 282959 h 508000"/>
                  <a:gd name="connsiteX3" fmla="*/ 233578 w 459621"/>
                  <a:gd name="connsiteY3" fmla="*/ 447989 h 508000"/>
                  <a:gd name="connsiteX4" fmla="*/ 391808 w 459621"/>
                  <a:gd name="connsiteY4" fmla="*/ 282959 h 508000"/>
                  <a:gd name="connsiteX5" fmla="*/ 339065 w 459621"/>
                  <a:gd name="connsiteY5" fmla="*/ 170439 h 508000"/>
                  <a:gd name="connsiteX6" fmla="*/ 384274 w 459621"/>
                  <a:gd name="connsiteY6" fmla="*/ 117929 h 508000"/>
                  <a:gd name="connsiteX7" fmla="*/ 459621 w 459621"/>
                  <a:gd name="connsiteY7" fmla="*/ 282959 h 508000"/>
                  <a:gd name="connsiteX8" fmla="*/ 233578 w 459621"/>
                  <a:gd name="connsiteY8" fmla="*/ 508000 h 508000"/>
                  <a:gd name="connsiteX9" fmla="*/ 0 w 459621"/>
                  <a:gd name="connsiteY9" fmla="*/ 282959 h 508000"/>
                  <a:gd name="connsiteX10" fmla="*/ 67813 w 459621"/>
                  <a:gd name="connsiteY10" fmla="*/ 117929 h 508000"/>
                  <a:gd name="connsiteX11" fmla="*/ 226787 w 459621"/>
                  <a:gd name="connsiteY11" fmla="*/ 0 h 508000"/>
                  <a:gd name="connsiteX12" fmla="*/ 263073 w 459621"/>
                  <a:gd name="connsiteY12" fmla="*/ 37438 h 508000"/>
                  <a:gd name="connsiteX13" fmla="*/ 263073 w 459621"/>
                  <a:gd name="connsiteY13" fmla="*/ 284526 h 508000"/>
                  <a:gd name="connsiteX14" fmla="*/ 226787 w 459621"/>
                  <a:gd name="connsiteY14" fmla="*/ 314476 h 508000"/>
                  <a:gd name="connsiteX15" fmla="*/ 190501 w 459621"/>
                  <a:gd name="connsiteY15" fmla="*/ 284526 h 508000"/>
                  <a:gd name="connsiteX16" fmla="*/ 190501 w 459621"/>
                  <a:gd name="connsiteY16" fmla="*/ 37438 h 508000"/>
                  <a:gd name="connsiteX17" fmla="*/ 226787 w 459621"/>
                  <a:gd name="connsiteY17" fmla="*/ 0 h 5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59621" h="508000">
                    <a:moveTo>
                      <a:pt x="67813" y="117929"/>
                    </a:moveTo>
                    <a:cubicBezTo>
                      <a:pt x="67813" y="117929"/>
                      <a:pt x="67813" y="117929"/>
                      <a:pt x="113021" y="162937"/>
                    </a:cubicBezTo>
                    <a:cubicBezTo>
                      <a:pt x="82882" y="200444"/>
                      <a:pt x="67813" y="237951"/>
                      <a:pt x="67813" y="282959"/>
                    </a:cubicBezTo>
                    <a:cubicBezTo>
                      <a:pt x="67813" y="372975"/>
                      <a:pt x="135626" y="447989"/>
                      <a:pt x="233578" y="447989"/>
                    </a:cubicBezTo>
                    <a:cubicBezTo>
                      <a:pt x="323995" y="447989"/>
                      <a:pt x="391808" y="372975"/>
                      <a:pt x="391808" y="282959"/>
                    </a:cubicBezTo>
                    <a:cubicBezTo>
                      <a:pt x="391808" y="237951"/>
                      <a:pt x="376739" y="200444"/>
                      <a:pt x="339065" y="170439"/>
                    </a:cubicBezTo>
                    <a:lnTo>
                      <a:pt x="384274" y="117929"/>
                    </a:lnTo>
                    <a:cubicBezTo>
                      <a:pt x="429482" y="162937"/>
                      <a:pt x="459621" y="215447"/>
                      <a:pt x="459621" y="282959"/>
                    </a:cubicBezTo>
                    <a:cubicBezTo>
                      <a:pt x="459621" y="410482"/>
                      <a:pt x="354134" y="508000"/>
                      <a:pt x="233578" y="508000"/>
                    </a:cubicBezTo>
                    <a:cubicBezTo>
                      <a:pt x="105487" y="508000"/>
                      <a:pt x="0" y="410482"/>
                      <a:pt x="0" y="282959"/>
                    </a:cubicBezTo>
                    <a:cubicBezTo>
                      <a:pt x="0" y="222948"/>
                      <a:pt x="22604" y="162937"/>
                      <a:pt x="67813" y="117929"/>
                    </a:cubicBezTo>
                    <a:close/>
                    <a:moveTo>
                      <a:pt x="226787" y="0"/>
                    </a:moveTo>
                    <a:cubicBezTo>
                      <a:pt x="248559" y="0"/>
                      <a:pt x="263073" y="14975"/>
                      <a:pt x="263073" y="37438"/>
                    </a:cubicBezTo>
                    <a:lnTo>
                      <a:pt x="263073" y="284526"/>
                    </a:lnTo>
                    <a:cubicBezTo>
                      <a:pt x="263073" y="299501"/>
                      <a:pt x="248559" y="314476"/>
                      <a:pt x="226787" y="314476"/>
                    </a:cubicBezTo>
                    <a:cubicBezTo>
                      <a:pt x="205016" y="314476"/>
                      <a:pt x="190501" y="299501"/>
                      <a:pt x="190501" y="284526"/>
                    </a:cubicBezTo>
                    <a:cubicBezTo>
                      <a:pt x="190501" y="37438"/>
                      <a:pt x="190501" y="37438"/>
                      <a:pt x="190501" y="37438"/>
                    </a:cubicBezTo>
                    <a:cubicBezTo>
                      <a:pt x="190501" y="14975"/>
                      <a:pt x="205016" y="0"/>
                      <a:pt x="22678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107" name="îṧḷíḓè">
                <a:extLst>
                  <a:ext uri="{FF2B5EF4-FFF2-40B4-BE49-F238E27FC236}">
                    <a16:creationId xmlns:a16="http://schemas.microsoft.com/office/drawing/2014/main" id="{1B17522B-A176-419C-A2A1-6CD43E949FBF}"/>
                  </a:ext>
                </a:extLst>
              </p:cNvPr>
              <p:cNvSpPr/>
              <p:nvPr/>
            </p:nvSpPr>
            <p:spPr bwMode="auto">
              <a:xfrm flipH="1">
                <a:off x="2660994" y="2081245"/>
                <a:ext cx="381052" cy="381053"/>
              </a:xfrm>
              <a:custGeom>
                <a:avLst/>
                <a:gdLst>
                  <a:gd name="connsiteX0" fmla="*/ 223907 w 462559"/>
                  <a:gd name="connsiteY0" fmla="*/ 108144 h 462560"/>
                  <a:gd name="connsiteX1" fmla="*/ 306623 w 462559"/>
                  <a:gd name="connsiteY1" fmla="*/ 133641 h 462560"/>
                  <a:gd name="connsiteX2" fmla="*/ 275556 w 462559"/>
                  <a:gd name="connsiteY2" fmla="*/ 163226 h 462560"/>
                  <a:gd name="connsiteX3" fmla="*/ 298856 w 462559"/>
                  <a:gd name="connsiteY3" fmla="*/ 186582 h 462560"/>
                  <a:gd name="connsiteX4" fmla="*/ 329923 w 462559"/>
                  <a:gd name="connsiteY4" fmla="*/ 156997 h 462560"/>
                  <a:gd name="connsiteX5" fmla="*/ 319049 w 462559"/>
                  <a:gd name="connsiteY5" fmla="*/ 318934 h 462560"/>
                  <a:gd name="connsiteX6" fmla="*/ 143521 w 462559"/>
                  <a:gd name="connsiteY6" fmla="*/ 318934 h 462560"/>
                  <a:gd name="connsiteX7" fmla="*/ 143521 w 462559"/>
                  <a:gd name="connsiteY7" fmla="*/ 144541 h 462560"/>
                  <a:gd name="connsiteX8" fmla="*/ 223907 w 462559"/>
                  <a:gd name="connsiteY8" fmla="*/ 108144 h 462560"/>
                  <a:gd name="connsiteX9" fmla="*/ 223318 w 462559"/>
                  <a:gd name="connsiteY9" fmla="*/ 66607 h 462560"/>
                  <a:gd name="connsiteX10" fmla="*/ 115348 w 462559"/>
                  <a:gd name="connsiteY10" fmla="*/ 115349 h 462560"/>
                  <a:gd name="connsiteX11" fmla="*/ 115348 w 462559"/>
                  <a:gd name="connsiteY11" fmla="*/ 348377 h 462560"/>
                  <a:gd name="connsiteX12" fmla="*/ 348376 w 462559"/>
                  <a:gd name="connsiteY12" fmla="*/ 348377 h 462560"/>
                  <a:gd name="connsiteX13" fmla="*/ 359250 w 462559"/>
                  <a:gd name="connsiteY13" fmla="*/ 127777 h 462560"/>
                  <a:gd name="connsiteX14" fmla="*/ 381000 w 462559"/>
                  <a:gd name="connsiteY14" fmla="*/ 106028 h 462560"/>
                  <a:gd name="connsiteX15" fmla="*/ 357697 w 462559"/>
                  <a:gd name="connsiteY15" fmla="*/ 82725 h 462560"/>
                  <a:gd name="connsiteX16" fmla="*/ 335948 w 462559"/>
                  <a:gd name="connsiteY16" fmla="*/ 102921 h 462560"/>
                  <a:gd name="connsiteX17" fmla="*/ 223318 w 462559"/>
                  <a:gd name="connsiteY17" fmla="*/ 66607 h 462560"/>
                  <a:gd name="connsiteX18" fmla="*/ 231862 w 462559"/>
                  <a:gd name="connsiteY18" fmla="*/ 0 h 462560"/>
                  <a:gd name="connsiteX19" fmla="*/ 394981 w 462559"/>
                  <a:gd name="connsiteY19" fmla="*/ 68743 h 462560"/>
                  <a:gd name="connsiteX20" fmla="*/ 394981 w 462559"/>
                  <a:gd name="connsiteY20" fmla="*/ 394982 h 462560"/>
                  <a:gd name="connsiteX21" fmla="*/ 68742 w 462559"/>
                  <a:gd name="connsiteY21" fmla="*/ 394982 h 462560"/>
                  <a:gd name="connsiteX22" fmla="*/ 68742 w 462559"/>
                  <a:gd name="connsiteY22" fmla="*/ 68743 h 462560"/>
                  <a:gd name="connsiteX23" fmla="*/ 231862 w 462559"/>
                  <a:gd name="connsiteY23" fmla="*/ 0 h 462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62559" h="462560">
                    <a:moveTo>
                      <a:pt x="223907" y="108144"/>
                    </a:moveTo>
                    <a:cubicBezTo>
                      <a:pt x="253032" y="106392"/>
                      <a:pt x="282546" y="114956"/>
                      <a:pt x="306623" y="133641"/>
                    </a:cubicBezTo>
                    <a:cubicBezTo>
                      <a:pt x="306623" y="133641"/>
                      <a:pt x="306623" y="133641"/>
                      <a:pt x="275556" y="163226"/>
                    </a:cubicBezTo>
                    <a:cubicBezTo>
                      <a:pt x="275556" y="163226"/>
                      <a:pt x="275556" y="163226"/>
                      <a:pt x="298856" y="186582"/>
                    </a:cubicBezTo>
                    <a:lnTo>
                      <a:pt x="329923" y="156997"/>
                    </a:lnTo>
                    <a:cubicBezTo>
                      <a:pt x="367203" y="205267"/>
                      <a:pt x="362543" y="273779"/>
                      <a:pt x="319049" y="318934"/>
                    </a:cubicBezTo>
                    <a:cubicBezTo>
                      <a:pt x="270896" y="367204"/>
                      <a:pt x="193229" y="367204"/>
                      <a:pt x="143521" y="318934"/>
                    </a:cubicBezTo>
                    <a:cubicBezTo>
                      <a:pt x="96921" y="270665"/>
                      <a:pt x="96921" y="192810"/>
                      <a:pt x="143521" y="144541"/>
                    </a:cubicBezTo>
                    <a:cubicBezTo>
                      <a:pt x="166045" y="121963"/>
                      <a:pt x="194782" y="109896"/>
                      <a:pt x="223907" y="108144"/>
                    </a:cubicBezTo>
                    <a:close/>
                    <a:moveTo>
                      <a:pt x="223318" y="66607"/>
                    </a:moveTo>
                    <a:cubicBezTo>
                      <a:pt x="183703" y="68743"/>
                      <a:pt x="144865" y="85055"/>
                      <a:pt x="115348" y="115349"/>
                    </a:cubicBezTo>
                    <a:cubicBezTo>
                      <a:pt x="50100" y="179043"/>
                      <a:pt x="50100" y="283129"/>
                      <a:pt x="115348" y="348377"/>
                    </a:cubicBezTo>
                    <a:cubicBezTo>
                      <a:pt x="179042" y="412071"/>
                      <a:pt x="283128" y="412071"/>
                      <a:pt x="348376" y="348377"/>
                    </a:cubicBezTo>
                    <a:cubicBezTo>
                      <a:pt x="408963" y="287789"/>
                      <a:pt x="412070" y="191471"/>
                      <a:pt x="359250" y="127777"/>
                    </a:cubicBezTo>
                    <a:cubicBezTo>
                      <a:pt x="359250" y="127777"/>
                      <a:pt x="359250" y="127777"/>
                      <a:pt x="381000" y="106028"/>
                    </a:cubicBezTo>
                    <a:cubicBezTo>
                      <a:pt x="381000" y="106028"/>
                      <a:pt x="381000" y="106028"/>
                      <a:pt x="357697" y="82725"/>
                    </a:cubicBezTo>
                    <a:cubicBezTo>
                      <a:pt x="357697" y="82725"/>
                      <a:pt x="357697" y="82725"/>
                      <a:pt x="335948" y="102921"/>
                    </a:cubicBezTo>
                    <a:cubicBezTo>
                      <a:pt x="303324" y="76511"/>
                      <a:pt x="262932" y="64471"/>
                      <a:pt x="223318" y="66607"/>
                    </a:cubicBezTo>
                    <a:close/>
                    <a:moveTo>
                      <a:pt x="231862" y="0"/>
                    </a:moveTo>
                    <a:cubicBezTo>
                      <a:pt x="290896" y="0"/>
                      <a:pt x="349929" y="22915"/>
                      <a:pt x="394981" y="68743"/>
                    </a:cubicBezTo>
                    <a:cubicBezTo>
                      <a:pt x="485085" y="158848"/>
                      <a:pt x="485085" y="304878"/>
                      <a:pt x="394981" y="394982"/>
                    </a:cubicBezTo>
                    <a:cubicBezTo>
                      <a:pt x="304877" y="485086"/>
                      <a:pt x="158847" y="485086"/>
                      <a:pt x="68742" y="394982"/>
                    </a:cubicBezTo>
                    <a:cubicBezTo>
                      <a:pt x="-22915" y="304878"/>
                      <a:pt x="-22915" y="158848"/>
                      <a:pt x="68742" y="68743"/>
                    </a:cubicBezTo>
                    <a:cubicBezTo>
                      <a:pt x="113795" y="22915"/>
                      <a:pt x="172828" y="0"/>
                      <a:pt x="23186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08" name="iSlïḋe">
                <a:extLst>
                  <a:ext uri="{FF2B5EF4-FFF2-40B4-BE49-F238E27FC236}">
                    <a16:creationId xmlns:a16="http://schemas.microsoft.com/office/drawing/2014/main" id="{711FE8F8-4B3C-4116-8524-2BDE29924B8A}"/>
                  </a:ext>
                </a:extLst>
              </p:cNvPr>
              <p:cNvSpPr/>
              <p:nvPr/>
            </p:nvSpPr>
            <p:spPr bwMode="auto">
              <a:xfrm flipH="1">
                <a:off x="2282863" y="2626499"/>
                <a:ext cx="357131" cy="381053"/>
              </a:xfrm>
              <a:custGeom>
                <a:avLst/>
                <a:gdLst>
                  <a:gd name="T0" fmla="*/ 42 w 85"/>
                  <a:gd name="T1" fmla="*/ 91 h 91"/>
                  <a:gd name="T2" fmla="*/ 12 w 85"/>
                  <a:gd name="T3" fmla="*/ 79 h 91"/>
                  <a:gd name="T4" fmla="*/ 0 w 85"/>
                  <a:gd name="T5" fmla="*/ 49 h 91"/>
                  <a:gd name="T6" fmla="*/ 12 w 85"/>
                  <a:gd name="T7" fmla="*/ 19 h 91"/>
                  <a:gd name="T8" fmla="*/ 24 w 85"/>
                  <a:gd name="T9" fmla="*/ 19 h 91"/>
                  <a:gd name="T10" fmla="*/ 24 w 85"/>
                  <a:gd name="T11" fmla="*/ 30 h 91"/>
                  <a:gd name="T12" fmla="*/ 16 w 85"/>
                  <a:gd name="T13" fmla="*/ 49 h 91"/>
                  <a:gd name="T14" fmla="*/ 24 w 85"/>
                  <a:gd name="T15" fmla="*/ 67 h 91"/>
                  <a:gd name="T16" fmla="*/ 42 w 85"/>
                  <a:gd name="T17" fmla="*/ 75 h 91"/>
                  <a:gd name="T18" fmla="*/ 61 w 85"/>
                  <a:gd name="T19" fmla="*/ 67 h 91"/>
                  <a:gd name="T20" fmla="*/ 69 w 85"/>
                  <a:gd name="T21" fmla="*/ 49 h 91"/>
                  <a:gd name="T22" fmla="*/ 61 w 85"/>
                  <a:gd name="T23" fmla="*/ 30 h 91"/>
                  <a:gd name="T24" fmla="*/ 61 w 85"/>
                  <a:gd name="T25" fmla="*/ 19 h 91"/>
                  <a:gd name="T26" fmla="*/ 72 w 85"/>
                  <a:gd name="T27" fmla="*/ 19 h 91"/>
                  <a:gd name="T28" fmla="*/ 85 w 85"/>
                  <a:gd name="T29" fmla="*/ 49 h 91"/>
                  <a:gd name="T30" fmla="*/ 72 w 85"/>
                  <a:gd name="T31" fmla="*/ 79 h 91"/>
                  <a:gd name="T32" fmla="*/ 42 w 85"/>
                  <a:gd name="T33" fmla="*/ 91 h 91"/>
                  <a:gd name="T34" fmla="*/ 49 w 85"/>
                  <a:gd name="T35" fmla="*/ 40 h 91"/>
                  <a:gd name="T36" fmla="*/ 49 w 85"/>
                  <a:gd name="T37" fmla="*/ 6 h 91"/>
                  <a:gd name="T38" fmla="*/ 42 w 85"/>
                  <a:gd name="T39" fmla="*/ 0 h 91"/>
                  <a:gd name="T40" fmla="*/ 36 w 85"/>
                  <a:gd name="T41" fmla="*/ 6 h 91"/>
                  <a:gd name="T42" fmla="*/ 36 w 85"/>
                  <a:gd name="T43" fmla="*/ 40 h 91"/>
                  <a:gd name="T44" fmla="*/ 42 w 85"/>
                  <a:gd name="T45" fmla="*/ 46 h 91"/>
                  <a:gd name="T46" fmla="*/ 49 w 85"/>
                  <a:gd name="T47" fmla="*/ 40 h 91"/>
                  <a:gd name="T48" fmla="*/ 49 w 85"/>
                  <a:gd name="T49" fmla="*/ 40 h 91"/>
                  <a:gd name="T50" fmla="*/ 49 w 85"/>
                  <a:gd name="T51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5" h="91">
                    <a:moveTo>
                      <a:pt x="42" y="91"/>
                    </a:moveTo>
                    <a:cubicBezTo>
                      <a:pt x="31" y="91"/>
                      <a:pt x="21" y="87"/>
                      <a:pt x="12" y="79"/>
                    </a:cubicBezTo>
                    <a:cubicBezTo>
                      <a:pt x="4" y="71"/>
                      <a:pt x="0" y="60"/>
                      <a:pt x="0" y="49"/>
                    </a:cubicBezTo>
                    <a:cubicBezTo>
                      <a:pt x="0" y="37"/>
                      <a:pt x="4" y="27"/>
                      <a:pt x="12" y="19"/>
                    </a:cubicBezTo>
                    <a:cubicBezTo>
                      <a:pt x="16" y="16"/>
                      <a:pt x="21" y="16"/>
                      <a:pt x="24" y="19"/>
                    </a:cubicBezTo>
                    <a:cubicBezTo>
                      <a:pt x="27" y="22"/>
                      <a:pt x="27" y="27"/>
                      <a:pt x="24" y="30"/>
                    </a:cubicBezTo>
                    <a:cubicBezTo>
                      <a:pt x="19" y="35"/>
                      <a:pt x="16" y="42"/>
                      <a:pt x="16" y="49"/>
                    </a:cubicBezTo>
                    <a:cubicBezTo>
                      <a:pt x="16" y="56"/>
                      <a:pt x="19" y="62"/>
                      <a:pt x="24" y="67"/>
                    </a:cubicBezTo>
                    <a:cubicBezTo>
                      <a:pt x="29" y="72"/>
                      <a:pt x="35" y="75"/>
                      <a:pt x="42" y="75"/>
                    </a:cubicBezTo>
                    <a:cubicBezTo>
                      <a:pt x="49" y="75"/>
                      <a:pt x="56" y="72"/>
                      <a:pt x="61" y="67"/>
                    </a:cubicBezTo>
                    <a:cubicBezTo>
                      <a:pt x="66" y="62"/>
                      <a:pt x="69" y="56"/>
                      <a:pt x="69" y="49"/>
                    </a:cubicBezTo>
                    <a:cubicBezTo>
                      <a:pt x="69" y="42"/>
                      <a:pt x="66" y="35"/>
                      <a:pt x="61" y="30"/>
                    </a:cubicBezTo>
                    <a:cubicBezTo>
                      <a:pt x="58" y="27"/>
                      <a:pt x="58" y="22"/>
                      <a:pt x="61" y="19"/>
                    </a:cubicBezTo>
                    <a:cubicBezTo>
                      <a:pt x="64" y="16"/>
                      <a:pt x="69" y="16"/>
                      <a:pt x="72" y="19"/>
                    </a:cubicBezTo>
                    <a:cubicBezTo>
                      <a:pt x="80" y="27"/>
                      <a:pt x="85" y="37"/>
                      <a:pt x="85" y="49"/>
                    </a:cubicBezTo>
                    <a:cubicBezTo>
                      <a:pt x="85" y="60"/>
                      <a:pt x="80" y="71"/>
                      <a:pt x="72" y="79"/>
                    </a:cubicBezTo>
                    <a:cubicBezTo>
                      <a:pt x="64" y="87"/>
                      <a:pt x="53" y="91"/>
                      <a:pt x="42" y="91"/>
                    </a:cubicBezTo>
                    <a:close/>
                    <a:moveTo>
                      <a:pt x="49" y="40"/>
                    </a:moveTo>
                    <a:cubicBezTo>
                      <a:pt x="49" y="6"/>
                      <a:pt x="49" y="6"/>
                      <a:pt x="49" y="6"/>
                    </a:cubicBezTo>
                    <a:cubicBezTo>
                      <a:pt x="49" y="3"/>
                      <a:pt x="46" y="0"/>
                      <a:pt x="42" y="0"/>
                    </a:cubicBezTo>
                    <a:cubicBezTo>
                      <a:pt x="39" y="0"/>
                      <a:pt x="36" y="3"/>
                      <a:pt x="36" y="6"/>
                    </a:cubicBezTo>
                    <a:cubicBezTo>
                      <a:pt x="36" y="40"/>
                      <a:pt x="36" y="40"/>
                      <a:pt x="36" y="40"/>
                    </a:cubicBezTo>
                    <a:cubicBezTo>
                      <a:pt x="36" y="43"/>
                      <a:pt x="39" y="46"/>
                      <a:pt x="42" y="46"/>
                    </a:cubicBezTo>
                    <a:cubicBezTo>
                      <a:pt x="46" y="46"/>
                      <a:pt x="49" y="43"/>
                      <a:pt x="49" y="40"/>
                    </a:cubicBezTo>
                    <a:close/>
                    <a:moveTo>
                      <a:pt x="49" y="40"/>
                    </a:moveTo>
                    <a:cubicBezTo>
                      <a:pt x="49" y="40"/>
                      <a:pt x="49" y="40"/>
                      <a:pt x="49" y="4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09" name="išliḑe">
                <a:extLst>
                  <a:ext uri="{FF2B5EF4-FFF2-40B4-BE49-F238E27FC236}">
                    <a16:creationId xmlns:a16="http://schemas.microsoft.com/office/drawing/2014/main" id="{62622D49-83D8-4937-9010-D1591301B796}"/>
                  </a:ext>
                </a:extLst>
              </p:cNvPr>
              <p:cNvSpPr/>
              <p:nvPr/>
            </p:nvSpPr>
            <p:spPr bwMode="auto">
              <a:xfrm flipH="1">
                <a:off x="2260090" y="3313045"/>
                <a:ext cx="341484" cy="381053"/>
              </a:xfrm>
              <a:custGeom>
                <a:avLst/>
                <a:gdLst>
                  <a:gd name="T0" fmla="*/ 666 w 1331"/>
                  <a:gd name="T1" fmla="*/ 614 h 1485"/>
                  <a:gd name="T2" fmla="*/ 614 w 1331"/>
                  <a:gd name="T3" fmla="*/ 563 h 1485"/>
                  <a:gd name="T4" fmla="*/ 614 w 1331"/>
                  <a:gd name="T5" fmla="*/ 51 h 1485"/>
                  <a:gd name="T6" fmla="*/ 666 w 1331"/>
                  <a:gd name="T7" fmla="*/ 0 h 1485"/>
                  <a:gd name="T8" fmla="*/ 717 w 1331"/>
                  <a:gd name="T9" fmla="*/ 51 h 1485"/>
                  <a:gd name="T10" fmla="*/ 717 w 1331"/>
                  <a:gd name="T11" fmla="*/ 563 h 1485"/>
                  <a:gd name="T12" fmla="*/ 666 w 1331"/>
                  <a:gd name="T13" fmla="*/ 614 h 1485"/>
                  <a:gd name="T14" fmla="*/ 870 w 1331"/>
                  <a:gd name="T15" fmla="*/ 186 h 1485"/>
                  <a:gd name="T16" fmla="*/ 870 w 1331"/>
                  <a:gd name="T17" fmla="*/ 295 h 1485"/>
                  <a:gd name="T18" fmla="*/ 1229 w 1331"/>
                  <a:gd name="T19" fmla="*/ 819 h 1485"/>
                  <a:gd name="T20" fmla="*/ 666 w 1331"/>
                  <a:gd name="T21" fmla="*/ 1382 h 1485"/>
                  <a:gd name="T22" fmla="*/ 102 w 1331"/>
                  <a:gd name="T23" fmla="*/ 819 h 1485"/>
                  <a:gd name="T24" fmla="*/ 461 w 1331"/>
                  <a:gd name="T25" fmla="*/ 295 h 1485"/>
                  <a:gd name="T26" fmla="*/ 461 w 1331"/>
                  <a:gd name="T27" fmla="*/ 186 h 1485"/>
                  <a:gd name="T28" fmla="*/ 0 w 1331"/>
                  <a:gd name="T29" fmla="*/ 819 h 1485"/>
                  <a:gd name="T30" fmla="*/ 666 w 1331"/>
                  <a:gd name="T31" fmla="*/ 1485 h 1485"/>
                  <a:gd name="T32" fmla="*/ 1331 w 1331"/>
                  <a:gd name="T33" fmla="*/ 819 h 1485"/>
                  <a:gd name="T34" fmla="*/ 870 w 1331"/>
                  <a:gd name="T35" fmla="*/ 186 h 1485"/>
                  <a:gd name="T36" fmla="*/ 870 w 1331"/>
                  <a:gd name="T37" fmla="*/ 186 h 1485"/>
                  <a:gd name="T38" fmla="*/ 870 w 1331"/>
                  <a:gd name="T39" fmla="*/ 186 h 1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31" h="1485">
                    <a:moveTo>
                      <a:pt x="666" y="614"/>
                    </a:moveTo>
                    <a:cubicBezTo>
                      <a:pt x="637" y="614"/>
                      <a:pt x="614" y="592"/>
                      <a:pt x="614" y="563"/>
                    </a:cubicBezTo>
                    <a:cubicBezTo>
                      <a:pt x="614" y="51"/>
                      <a:pt x="614" y="51"/>
                      <a:pt x="614" y="51"/>
                    </a:cubicBezTo>
                    <a:cubicBezTo>
                      <a:pt x="614" y="23"/>
                      <a:pt x="637" y="0"/>
                      <a:pt x="666" y="0"/>
                    </a:cubicBezTo>
                    <a:cubicBezTo>
                      <a:pt x="694" y="0"/>
                      <a:pt x="717" y="23"/>
                      <a:pt x="717" y="51"/>
                    </a:cubicBezTo>
                    <a:cubicBezTo>
                      <a:pt x="717" y="563"/>
                      <a:pt x="717" y="563"/>
                      <a:pt x="717" y="563"/>
                    </a:cubicBezTo>
                    <a:cubicBezTo>
                      <a:pt x="717" y="592"/>
                      <a:pt x="694" y="614"/>
                      <a:pt x="666" y="614"/>
                    </a:cubicBezTo>
                    <a:close/>
                    <a:moveTo>
                      <a:pt x="870" y="186"/>
                    </a:moveTo>
                    <a:cubicBezTo>
                      <a:pt x="870" y="295"/>
                      <a:pt x="870" y="295"/>
                      <a:pt x="870" y="295"/>
                    </a:cubicBezTo>
                    <a:cubicBezTo>
                      <a:pt x="1080" y="377"/>
                      <a:pt x="1229" y="581"/>
                      <a:pt x="1229" y="819"/>
                    </a:cubicBezTo>
                    <a:cubicBezTo>
                      <a:pt x="1229" y="1130"/>
                      <a:pt x="976" y="1382"/>
                      <a:pt x="666" y="1382"/>
                    </a:cubicBezTo>
                    <a:cubicBezTo>
                      <a:pt x="355" y="1382"/>
                      <a:pt x="102" y="1130"/>
                      <a:pt x="102" y="819"/>
                    </a:cubicBezTo>
                    <a:cubicBezTo>
                      <a:pt x="102" y="581"/>
                      <a:pt x="251" y="377"/>
                      <a:pt x="461" y="295"/>
                    </a:cubicBezTo>
                    <a:cubicBezTo>
                      <a:pt x="461" y="186"/>
                      <a:pt x="461" y="186"/>
                      <a:pt x="461" y="186"/>
                    </a:cubicBezTo>
                    <a:cubicBezTo>
                      <a:pt x="194" y="273"/>
                      <a:pt x="0" y="524"/>
                      <a:pt x="0" y="819"/>
                    </a:cubicBezTo>
                    <a:cubicBezTo>
                      <a:pt x="0" y="1186"/>
                      <a:pt x="299" y="1485"/>
                      <a:pt x="666" y="1485"/>
                    </a:cubicBezTo>
                    <a:cubicBezTo>
                      <a:pt x="1033" y="1485"/>
                      <a:pt x="1331" y="1186"/>
                      <a:pt x="1331" y="819"/>
                    </a:cubicBezTo>
                    <a:cubicBezTo>
                      <a:pt x="1331" y="524"/>
                      <a:pt x="1137" y="273"/>
                      <a:pt x="870" y="186"/>
                    </a:cubicBezTo>
                    <a:close/>
                    <a:moveTo>
                      <a:pt x="870" y="186"/>
                    </a:moveTo>
                    <a:cubicBezTo>
                      <a:pt x="870" y="186"/>
                      <a:pt x="870" y="186"/>
                      <a:pt x="870" y="18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90" name="í$ḻîḑe">
              <a:extLst>
                <a:ext uri="{FF2B5EF4-FFF2-40B4-BE49-F238E27FC236}">
                  <a16:creationId xmlns:a16="http://schemas.microsoft.com/office/drawing/2014/main" id="{CE072E22-EB3E-4634-B376-4F6B07D85ECD}"/>
                </a:ext>
              </a:extLst>
            </p:cNvPr>
            <p:cNvGrpSpPr/>
            <p:nvPr/>
          </p:nvGrpSpPr>
          <p:grpSpPr>
            <a:xfrm>
              <a:off x="7588609" y="1435941"/>
              <a:ext cx="2206759" cy="2512890"/>
              <a:chOff x="7588609" y="1930941"/>
              <a:chExt cx="2206759" cy="2512890"/>
            </a:xfrm>
          </p:grpSpPr>
          <p:sp>
            <p:nvSpPr>
              <p:cNvPr id="92" name="i$ḻïḓè">
                <a:extLst>
                  <a:ext uri="{FF2B5EF4-FFF2-40B4-BE49-F238E27FC236}">
                    <a16:creationId xmlns:a16="http://schemas.microsoft.com/office/drawing/2014/main" id="{83376CCC-4B86-4845-8B0A-E1EC9A6BCBAE}"/>
                  </a:ext>
                </a:extLst>
              </p:cNvPr>
              <p:cNvSpPr/>
              <p:nvPr/>
            </p:nvSpPr>
            <p:spPr>
              <a:xfrm>
                <a:off x="7588609" y="1930941"/>
                <a:ext cx="1662970" cy="2512890"/>
              </a:xfrm>
              <a:custGeom>
                <a:avLst/>
                <a:gdLst>
                  <a:gd name="T0" fmla="*/ 0 w 5168"/>
                  <a:gd name="T1" fmla="*/ 2807 h 7808"/>
                  <a:gd name="T2" fmla="*/ 1049 w 5168"/>
                  <a:gd name="T3" fmla="*/ 2807 h 7808"/>
                  <a:gd name="T4" fmla="*/ 1049 w 5168"/>
                  <a:gd name="T5" fmla="*/ 7808 h 7808"/>
                  <a:gd name="T6" fmla="*/ 1705 w 5168"/>
                  <a:gd name="T7" fmla="*/ 7808 h 7808"/>
                  <a:gd name="T8" fmla="*/ 1705 w 5168"/>
                  <a:gd name="T9" fmla="*/ 1 h 7808"/>
                  <a:gd name="T10" fmla="*/ 1514 w 5168"/>
                  <a:gd name="T11" fmla="*/ 1 h 7808"/>
                  <a:gd name="T12" fmla="*/ 0 w 5168"/>
                  <a:gd name="T13" fmla="*/ 2807 h 7808"/>
                  <a:gd name="T14" fmla="*/ 4119 w 5168"/>
                  <a:gd name="T15" fmla="*/ 5001 h 7808"/>
                  <a:gd name="T16" fmla="*/ 4119 w 5168"/>
                  <a:gd name="T17" fmla="*/ 0 h 7808"/>
                  <a:gd name="T18" fmla="*/ 3463 w 5168"/>
                  <a:gd name="T19" fmla="*/ 0 h 7808"/>
                  <a:gd name="T20" fmla="*/ 3463 w 5168"/>
                  <a:gd name="T21" fmla="*/ 7808 h 7808"/>
                  <a:gd name="T22" fmla="*/ 3655 w 5168"/>
                  <a:gd name="T23" fmla="*/ 7808 h 7808"/>
                  <a:gd name="T24" fmla="*/ 5168 w 5168"/>
                  <a:gd name="T25" fmla="*/ 5001 h 7808"/>
                  <a:gd name="T26" fmla="*/ 4119 w 5168"/>
                  <a:gd name="T27" fmla="*/ 5001 h 7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68" h="7808">
                    <a:moveTo>
                      <a:pt x="0" y="2807"/>
                    </a:moveTo>
                    <a:lnTo>
                      <a:pt x="1049" y="2807"/>
                    </a:lnTo>
                    <a:lnTo>
                      <a:pt x="1049" y="7808"/>
                    </a:lnTo>
                    <a:lnTo>
                      <a:pt x="1705" y="7808"/>
                    </a:lnTo>
                    <a:lnTo>
                      <a:pt x="1705" y="1"/>
                    </a:lnTo>
                    <a:lnTo>
                      <a:pt x="1514" y="1"/>
                    </a:lnTo>
                    <a:cubicBezTo>
                      <a:pt x="678" y="1"/>
                      <a:pt x="0" y="2807"/>
                      <a:pt x="0" y="2807"/>
                    </a:cubicBezTo>
                    <a:close/>
                    <a:moveTo>
                      <a:pt x="4119" y="5001"/>
                    </a:moveTo>
                    <a:lnTo>
                      <a:pt x="4119" y="0"/>
                    </a:lnTo>
                    <a:lnTo>
                      <a:pt x="3463" y="0"/>
                    </a:lnTo>
                    <a:lnTo>
                      <a:pt x="3463" y="7808"/>
                    </a:lnTo>
                    <a:lnTo>
                      <a:pt x="3655" y="7808"/>
                    </a:lnTo>
                    <a:cubicBezTo>
                      <a:pt x="4491" y="7808"/>
                      <a:pt x="5168" y="5001"/>
                      <a:pt x="5168" y="5001"/>
                    </a:cubicBezTo>
                    <a:lnTo>
                      <a:pt x="4119" y="5001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97" name="iś1ídè">
                <a:extLst>
                  <a:ext uri="{FF2B5EF4-FFF2-40B4-BE49-F238E27FC236}">
                    <a16:creationId xmlns:a16="http://schemas.microsoft.com/office/drawing/2014/main" id="{4E686779-5182-49D4-BA2C-0601E75ACE28}"/>
                  </a:ext>
                </a:extLst>
              </p:cNvPr>
              <p:cNvSpPr/>
              <p:nvPr/>
            </p:nvSpPr>
            <p:spPr bwMode="auto">
              <a:xfrm>
                <a:off x="8985217" y="2087514"/>
                <a:ext cx="381053" cy="374784"/>
              </a:xfrm>
              <a:custGeom>
                <a:avLst/>
                <a:gdLst>
                  <a:gd name="connsiteX0" fmla="*/ 325978 w 508000"/>
                  <a:gd name="connsiteY0" fmla="*/ 396807 h 499642"/>
                  <a:gd name="connsiteX1" fmla="*/ 332870 w 508000"/>
                  <a:gd name="connsiteY1" fmla="*/ 401128 h 499642"/>
                  <a:gd name="connsiteX2" fmla="*/ 368194 w 508000"/>
                  <a:gd name="connsiteY2" fmla="*/ 462483 h 499642"/>
                  <a:gd name="connsiteX3" fmla="*/ 369055 w 508000"/>
                  <a:gd name="connsiteY3" fmla="*/ 469396 h 499642"/>
                  <a:gd name="connsiteX4" fmla="*/ 364748 w 508000"/>
                  <a:gd name="connsiteY4" fmla="*/ 474581 h 499642"/>
                  <a:gd name="connsiteX5" fmla="*/ 271700 w 508000"/>
                  <a:gd name="connsiteY5" fmla="*/ 499642 h 499642"/>
                  <a:gd name="connsiteX6" fmla="*/ 265669 w 508000"/>
                  <a:gd name="connsiteY6" fmla="*/ 497050 h 499642"/>
                  <a:gd name="connsiteX7" fmla="*/ 263084 w 508000"/>
                  <a:gd name="connsiteY7" fmla="*/ 491000 h 499642"/>
                  <a:gd name="connsiteX8" fmla="*/ 263084 w 508000"/>
                  <a:gd name="connsiteY8" fmla="*/ 419275 h 499642"/>
                  <a:gd name="connsiteX9" fmla="*/ 270838 w 508000"/>
                  <a:gd name="connsiteY9" fmla="*/ 411498 h 499642"/>
                  <a:gd name="connsiteX10" fmla="*/ 322531 w 508000"/>
                  <a:gd name="connsiteY10" fmla="*/ 397671 h 499642"/>
                  <a:gd name="connsiteX11" fmla="*/ 325978 w 508000"/>
                  <a:gd name="connsiteY11" fmla="*/ 396807 h 499642"/>
                  <a:gd name="connsiteX12" fmla="*/ 181809 w 508000"/>
                  <a:gd name="connsiteY12" fmla="*/ 396080 h 499642"/>
                  <a:gd name="connsiteX13" fmla="*/ 185267 w 508000"/>
                  <a:gd name="connsiteY13" fmla="*/ 396943 h 499642"/>
                  <a:gd name="connsiteX14" fmla="*/ 237136 w 508000"/>
                  <a:gd name="connsiteY14" fmla="*/ 411614 h 499642"/>
                  <a:gd name="connsiteX15" fmla="*/ 244916 w 508000"/>
                  <a:gd name="connsiteY15" fmla="*/ 419381 h 499642"/>
                  <a:gd name="connsiteX16" fmla="*/ 244916 w 508000"/>
                  <a:gd name="connsiteY16" fmla="*/ 491012 h 499642"/>
                  <a:gd name="connsiteX17" fmla="*/ 241458 w 508000"/>
                  <a:gd name="connsiteY17" fmla="*/ 497053 h 499642"/>
                  <a:gd name="connsiteX18" fmla="*/ 236271 w 508000"/>
                  <a:gd name="connsiteY18" fmla="*/ 499642 h 499642"/>
                  <a:gd name="connsiteX19" fmla="*/ 235407 w 508000"/>
                  <a:gd name="connsiteY19" fmla="*/ 499642 h 499642"/>
                  <a:gd name="connsiteX20" fmla="*/ 142042 w 508000"/>
                  <a:gd name="connsiteY20" fmla="*/ 474615 h 499642"/>
                  <a:gd name="connsiteX21" fmla="*/ 137720 w 508000"/>
                  <a:gd name="connsiteY21" fmla="*/ 469436 h 499642"/>
                  <a:gd name="connsiteX22" fmla="*/ 138584 w 508000"/>
                  <a:gd name="connsiteY22" fmla="*/ 462532 h 499642"/>
                  <a:gd name="connsiteX23" fmla="*/ 174893 w 508000"/>
                  <a:gd name="connsiteY23" fmla="*/ 400395 h 499642"/>
                  <a:gd name="connsiteX24" fmla="*/ 181809 w 508000"/>
                  <a:gd name="connsiteY24" fmla="*/ 396080 h 499642"/>
                  <a:gd name="connsiteX25" fmla="*/ 395834 w 508000"/>
                  <a:gd name="connsiteY25" fmla="*/ 339030 h 499642"/>
                  <a:gd name="connsiteX26" fmla="*/ 400148 w 508000"/>
                  <a:gd name="connsiteY26" fmla="*/ 340754 h 499642"/>
                  <a:gd name="connsiteX27" fmla="*/ 461399 w 508000"/>
                  <a:gd name="connsiteY27" fmla="*/ 376097 h 499642"/>
                  <a:gd name="connsiteX28" fmla="*/ 465712 w 508000"/>
                  <a:gd name="connsiteY28" fmla="*/ 381269 h 499642"/>
                  <a:gd name="connsiteX29" fmla="*/ 464850 w 508000"/>
                  <a:gd name="connsiteY29" fmla="*/ 388165 h 499642"/>
                  <a:gd name="connsiteX30" fmla="*/ 396697 w 508000"/>
                  <a:gd name="connsiteY30" fmla="*/ 456265 h 499642"/>
                  <a:gd name="connsiteX31" fmla="*/ 391521 w 508000"/>
                  <a:gd name="connsiteY31" fmla="*/ 457127 h 499642"/>
                  <a:gd name="connsiteX32" fmla="*/ 389796 w 508000"/>
                  <a:gd name="connsiteY32" fmla="*/ 457127 h 499642"/>
                  <a:gd name="connsiteX33" fmla="*/ 384619 w 508000"/>
                  <a:gd name="connsiteY33" fmla="*/ 452817 h 499642"/>
                  <a:gd name="connsiteX34" fmla="*/ 349249 w 508000"/>
                  <a:gd name="connsiteY34" fmla="*/ 391613 h 499642"/>
                  <a:gd name="connsiteX35" fmla="*/ 350974 w 508000"/>
                  <a:gd name="connsiteY35" fmla="*/ 380407 h 499642"/>
                  <a:gd name="connsiteX36" fmla="*/ 388933 w 508000"/>
                  <a:gd name="connsiteY36" fmla="*/ 342478 h 499642"/>
                  <a:gd name="connsiteX37" fmla="*/ 395834 w 508000"/>
                  <a:gd name="connsiteY37" fmla="*/ 339030 h 499642"/>
                  <a:gd name="connsiteX38" fmla="*/ 112165 w 508000"/>
                  <a:gd name="connsiteY38" fmla="*/ 339030 h 499642"/>
                  <a:gd name="connsiteX39" fmla="*/ 118204 w 508000"/>
                  <a:gd name="connsiteY39" fmla="*/ 342478 h 499642"/>
                  <a:gd name="connsiteX40" fmla="*/ 156163 w 508000"/>
                  <a:gd name="connsiteY40" fmla="*/ 380407 h 499642"/>
                  <a:gd name="connsiteX41" fmla="*/ 158751 w 508000"/>
                  <a:gd name="connsiteY41" fmla="*/ 391613 h 499642"/>
                  <a:gd name="connsiteX42" fmla="*/ 123380 w 508000"/>
                  <a:gd name="connsiteY42" fmla="*/ 452817 h 499642"/>
                  <a:gd name="connsiteX43" fmla="*/ 118204 w 508000"/>
                  <a:gd name="connsiteY43" fmla="*/ 457127 h 499642"/>
                  <a:gd name="connsiteX44" fmla="*/ 115616 w 508000"/>
                  <a:gd name="connsiteY44" fmla="*/ 457127 h 499642"/>
                  <a:gd name="connsiteX45" fmla="*/ 111303 w 508000"/>
                  <a:gd name="connsiteY45" fmla="*/ 455403 h 499642"/>
                  <a:gd name="connsiteX46" fmla="*/ 43150 w 508000"/>
                  <a:gd name="connsiteY46" fmla="*/ 388165 h 499642"/>
                  <a:gd name="connsiteX47" fmla="*/ 42287 w 508000"/>
                  <a:gd name="connsiteY47" fmla="*/ 381269 h 499642"/>
                  <a:gd name="connsiteX48" fmla="*/ 45738 w 508000"/>
                  <a:gd name="connsiteY48" fmla="*/ 376097 h 499642"/>
                  <a:gd name="connsiteX49" fmla="*/ 107852 w 508000"/>
                  <a:gd name="connsiteY49" fmla="*/ 340754 h 499642"/>
                  <a:gd name="connsiteX50" fmla="*/ 112165 w 508000"/>
                  <a:gd name="connsiteY50" fmla="*/ 339030 h 499642"/>
                  <a:gd name="connsiteX51" fmla="*/ 427844 w 508000"/>
                  <a:gd name="connsiteY51" fmla="*/ 254363 h 499642"/>
                  <a:gd name="connsiteX52" fmla="*/ 499381 w 508000"/>
                  <a:gd name="connsiteY52" fmla="*/ 254363 h 499642"/>
                  <a:gd name="connsiteX53" fmla="*/ 505414 w 508000"/>
                  <a:gd name="connsiteY53" fmla="*/ 256956 h 499642"/>
                  <a:gd name="connsiteX54" fmla="*/ 508000 w 508000"/>
                  <a:gd name="connsiteY54" fmla="*/ 263008 h 499642"/>
                  <a:gd name="connsiteX55" fmla="*/ 483005 w 508000"/>
                  <a:gd name="connsiteY55" fmla="*/ 356372 h 499642"/>
                  <a:gd name="connsiteX56" fmla="*/ 477834 w 508000"/>
                  <a:gd name="connsiteY56" fmla="*/ 360695 h 499642"/>
                  <a:gd name="connsiteX57" fmla="*/ 475248 w 508000"/>
                  <a:gd name="connsiteY57" fmla="*/ 361559 h 499642"/>
                  <a:gd name="connsiteX58" fmla="*/ 470939 w 508000"/>
                  <a:gd name="connsiteY58" fmla="*/ 359830 h 499642"/>
                  <a:gd name="connsiteX59" fmla="*/ 408882 w 508000"/>
                  <a:gd name="connsiteY59" fmla="*/ 324386 h 499642"/>
                  <a:gd name="connsiteX60" fmla="*/ 405435 w 508000"/>
                  <a:gd name="connsiteY60" fmla="*/ 313148 h 499642"/>
                  <a:gd name="connsiteX61" fmla="*/ 420087 w 508000"/>
                  <a:gd name="connsiteY61" fmla="*/ 262143 h 499642"/>
                  <a:gd name="connsiteX62" fmla="*/ 427844 w 508000"/>
                  <a:gd name="connsiteY62" fmla="*/ 254363 h 499642"/>
                  <a:gd name="connsiteX63" fmla="*/ 8600 w 508000"/>
                  <a:gd name="connsiteY63" fmla="*/ 254363 h 499642"/>
                  <a:gd name="connsiteX64" fmla="*/ 79119 w 508000"/>
                  <a:gd name="connsiteY64" fmla="*/ 254363 h 499642"/>
                  <a:gd name="connsiteX65" fmla="*/ 87719 w 508000"/>
                  <a:gd name="connsiteY65" fmla="*/ 262143 h 499642"/>
                  <a:gd name="connsiteX66" fmla="*/ 101479 w 508000"/>
                  <a:gd name="connsiteY66" fmla="*/ 314012 h 499642"/>
                  <a:gd name="connsiteX67" fmla="*/ 98039 w 508000"/>
                  <a:gd name="connsiteY67" fmla="*/ 324386 h 499642"/>
                  <a:gd name="connsiteX68" fmla="*/ 36119 w 508000"/>
                  <a:gd name="connsiteY68" fmla="*/ 359830 h 499642"/>
                  <a:gd name="connsiteX69" fmla="*/ 32679 w 508000"/>
                  <a:gd name="connsiteY69" fmla="*/ 361559 h 499642"/>
                  <a:gd name="connsiteX70" fmla="*/ 30099 w 508000"/>
                  <a:gd name="connsiteY70" fmla="*/ 360695 h 499642"/>
                  <a:gd name="connsiteX71" fmla="*/ 24940 w 508000"/>
                  <a:gd name="connsiteY71" fmla="*/ 356372 h 499642"/>
                  <a:gd name="connsiteX72" fmla="*/ 0 w 508000"/>
                  <a:gd name="connsiteY72" fmla="*/ 263008 h 499642"/>
                  <a:gd name="connsiteX73" fmla="*/ 2580 w 508000"/>
                  <a:gd name="connsiteY73" fmla="*/ 256956 h 499642"/>
                  <a:gd name="connsiteX74" fmla="*/ 8600 w 508000"/>
                  <a:gd name="connsiteY74" fmla="*/ 254363 h 499642"/>
                  <a:gd name="connsiteX75" fmla="*/ 475205 w 508000"/>
                  <a:gd name="connsiteY75" fmla="*/ 129362 h 499642"/>
                  <a:gd name="connsiteX76" fmla="*/ 477794 w 508000"/>
                  <a:gd name="connsiteY76" fmla="*/ 129362 h 499642"/>
                  <a:gd name="connsiteX77" fmla="*/ 482973 w 508000"/>
                  <a:gd name="connsiteY77" fmla="*/ 133675 h 499642"/>
                  <a:gd name="connsiteX78" fmla="*/ 507137 w 508000"/>
                  <a:gd name="connsiteY78" fmla="*/ 226842 h 499642"/>
                  <a:gd name="connsiteX79" fmla="*/ 505411 w 508000"/>
                  <a:gd name="connsiteY79" fmla="*/ 232880 h 499642"/>
                  <a:gd name="connsiteX80" fmla="*/ 499370 w 508000"/>
                  <a:gd name="connsiteY80" fmla="*/ 235468 h 499642"/>
                  <a:gd name="connsiteX81" fmla="*/ 428602 w 508000"/>
                  <a:gd name="connsiteY81" fmla="*/ 235468 h 499642"/>
                  <a:gd name="connsiteX82" fmla="*/ 420835 w 508000"/>
                  <a:gd name="connsiteY82" fmla="*/ 228567 h 499642"/>
                  <a:gd name="connsiteX83" fmla="*/ 406164 w 508000"/>
                  <a:gd name="connsiteY83" fmla="*/ 176808 h 499642"/>
                  <a:gd name="connsiteX84" fmla="*/ 409616 w 508000"/>
                  <a:gd name="connsiteY84" fmla="*/ 165593 h 499642"/>
                  <a:gd name="connsiteX85" fmla="*/ 470890 w 508000"/>
                  <a:gd name="connsiteY85" fmla="*/ 130225 h 499642"/>
                  <a:gd name="connsiteX86" fmla="*/ 475205 w 508000"/>
                  <a:gd name="connsiteY86" fmla="*/ 129362 h 499642"/>
                  <a:gd name="connsiteX87" fmla="*/ 389708 w 508000"/>
                  <a:gd name="connsiteY87" fmla="*/ 32704 h 499642"/>
                  <a:gd name="connsiteX88" fmla="*/ 392299 w 508000"/>
                  <a:gd name="connsiteY88" fmla="*/ 32704 h 499642"/>
                  <a:gd name="connsiteX89" fmla="*/ 396617 w 508000"/>
                  <a:gd name="connsiteY89" fmla="*/ 34428 h 499642"/>
                  <a:gd name="connsiteX90" fmla="*/ 464848 w 508000"/>
                  <a:gd name="connsiteY90" fmla="*/ 102528 h 499642"/>
                  <a:gd name="connsiteX91" fmla="*/ 465711 w 508000"/>
                  <a:gd name="connsiteY91" fmla="*/ 108562 h 499642"/>
                  <a:gd name="connsiteX92" fmla="*/ 462257 w 508000"/>
                  <a:gd name="connsiteY92" fmla="*/ 114596 h 499642"/>
                  <a:gd name="connsiteX93" fmla="*/ 400072 w 508000"/>
                  <a:gd name="connsiteY93" fmla="*/ 149939 h 499642"/>
                  <a:gd name="connsiteX94" fmla="*/ 395754 w 508000"/>
                  <a:gd name="connsiteY94" fmla="*/ 150801 h 499642"/>
                  <a:gd name="connsiteX95" fmla="*/ 389708 w 508000"/>
                  <a:gd name="connsiteY95" fmla="*/ 147353 h 499642"/>
                  <a:gd name="connsiteX96" fmla="*/ 351706 w 508000"/>
                  <a:gd name="connsiteY96" fmla="*/ 109424 h 499642"/>
                  <a:gd name="connsiteX97" fmla="*/ 349115 w 508000"/>
                  <a:gd name="connsiteY97" fmla="*/ 98218 h 499642"/>
                  <a:gd name="connsiteX98" fmla="*/ 384526 w 508000"/>
                  <a:gd name="connsiteY98" fmla="*/ 37014 h 499642"/>
                  <a:gd name="connsiteX99" fmla="*/ 389708 w 508000"/>
                  <a:gd name="connsiteY99" fmla="*/ 32704 h 499642"/>
                  <a:gd name="connsiteX100" fmla="*/ 115448 w 508000"/>
                  <a:gd name="connsiteY100" fmla="*/ 32704 h 499642"/>
                  <a:gd name="connsiteX101" fmla="*/ 117171 w 508000"/>
                  <a:gd name="connsiteY101" fmla="*/ 32704 h 499642"/>
                  <a:gd name="connsiteX102" fmla="*/ 122340 w 508000"/>
                  <a:gd name="connsiteY102" fmla="*/ 37018 h 499642"/>
                  <a:gd name="connsiteX103" fmla="*/ 158526 w 508000"/>
                  <a:gd name="connsiteY103" fmla="*/ 98279 h 499642"/>
                  <a:gd name="connsiteX104" fmla="*/ 155941 w 508000"/>
                  <a:gd name="connsiteY104" fmla="*/ 109496 h 499642"/>
                  <a:gd name="connsiteX105" fmla="*/ 87017 w 508000"/>
                  <a:gd name="connsiteY105" fmla="*/ 228565 h 499642"/>
                  <a:gd name="connsiteX106" fmla="*/ 79263 w 508000"/>
                  <a:gd name="connsiteY106" fmla="*/ 235468 h 499642"/>
                  <a:gd name="connsiteX107" fmla="*/ 8615 w 508000"/>
                  <a:gd name="connsiteY107" fmla="*/ 235468 h 499642"/>
                  <a:gd name="connsiteX108" fmla="*/ 2584 w 508000"/>
                  <a:gd name="connsiteY108" fmla="*/ 232880 h 499642"/>
                  <a:gd name="connsiteX109" fmla="*/ 0 w 508000"/>
                  <a:gd name="connsiteY109" fmla="*/ 226840 h 499642"/>
                  <a:gd name="connsiteX110" fmla="*/ 34462 w 508000"/>
                  <a:gd name="connsiteY110" fmla="*/ 116398 h 499642"/>
                  <a:gd name="connsiteX111" fmla="*/ 111140 w 508000"/>
                  <a:gd name="connsiteY111" fmla="*/ 34430 h 499642"/>
                  <a:gd name="connsiteX112" fmla="*/ 115448 w 508000"/>
                  <a:gd name="connsiteY112" fmla="*/ 32704 h 499642"/>
                  <a:gd name="connsiteX113" fmla="*/ 219030 w 508000"/>
                  <a:gd name="connsiteY113" fmla="*/ 0 h 499642"/>
                  <a:gd name="connsiteX114" fmla="*/ 288970 w 508000"/>
                  <a:gd name="connsiteY114" fmla="*/ 0 h 499642"/>
                  <a:gd name="connsiteX115" fmla="*/ 297605 w 508000"/>
                  <a:gd name="connsiteY115" fmla="*/ 8630 h 499642"/>
                  <a:gd name="connsiteX116" fmla="*/ 297605 w 508000"/>
                  <a:gd name="connsiteY116" fmla="*/ 220070 h 499642"/>
                  <a:gd name="connsiteX117" fmla="*/ 288970 w 508000"/>
                  <a:gd name="connsiteY117" fmla="*/ 227837 h 499642"/>
                  <a:gd name="connsiteX118" fmla="*/ 219030 w 508000"/>
                  <a:gd name="connsiteY118" fmla="*/ 227837 h 499642"/>
                  <a:gd name="connsiteX119" fmla="*/ 210395 w 508000"/>
                  <a:gd name="connsiteY119" fmla="*/ 220070 h 499642"/>
                  <a:gd name="connsiteX120" fmla="*/ 210395 w 508000"/>
                  <a:gd name="connsiteY120" fmla="*/ 8630 h 499642"/>
                  <a:gd name="connsiteX121" fmla="*/ 219030 w 508000"/>
                  <a:gd name="connsiteY121" fmla="*/ 0 h 499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508000" h="499642">
                    <a:moveTo>
                      <a:pt x="325978" y="396807"/>
                    </a:moveTo>
                    <a:cubicBezTo>
                      <a:pt x="328562" y="396807"/>
                      <a:pt x="331147" y="398535"/>
                      <a:pt x="332870" y="401128"/>
                    </a:cubicBezTo>
                    <a:lnTo>
                      <a:pt x="368194" y="462483"/>
                    </a:lnTo>
                    <a:cubicBezTo>
                      <a:pt x="369917" y="465076"/>
                      <a:pt x="369917" y="466804"/>
                      <a:pt x="369055" y="469396"/>
                    </a:cubicBezTo>
                    <a:cubicBezTo>
                      <a:pt x="369055" y="471125"/>
                      <a:pt x="367332" y="473717"/>
                      <a:pt x="364748" y="474581"/>
                    </a:cubicBezTo>
                    <a:cubicBezTo>
                      <a:pt x="336316" y="488408"/>
                      <a:pt x="304439" y="497050"/>
                      <a:pt x="271700" y="499642"/>
                    </a:cubicBezTo>
                    <a:cubicBezTo>
                      <a:pt x="269115" y="499642"/>
                      <a:pt x="267392" y="498778"/>
                      <a:pt x="265669" y="497050"/>
                    </a:cubicBezTo>
                    <a:cubicBezTo>
                      <a:pt x="263946" y="495321"/>
                      <a:pt x="263084" y="493593"/>
                      <a:pt x="263084" y="491000"/>
                    </a:cubicBezTo>
                    <a:cubicBezTo>
                      <a:pt x="263084" y="491000"/>
                      <a:pt x="263084" y="491000"/>
                      <a:pt x="263084" y="419275"/>
                    </a:cubicBezTo>
                    <a:cubicBezTo>
                      <a:pt x="263084" y="415819"/>
                      <a:pt x="266530" y="411498"/>
                      <a:pt x="270838" y="411498"/>
                    </a:cubicBezTo>
                    <a:cubicBezTo>
                      <a:pt x="288931" y="409769"/>
                      <a:pt x="306162" y="404584"/>
                      <a:pt x="322531" y="397671"/>
                    </a:cubicBezTo>
                    <a:cubicBezTo>
                      <a:pt x="323393" y="396807"/>
                      <a:pt x="324255" y="396807"/>
                      <a:pt x="325978" y="396807"/>
                    </a:cubicBezTo>
                    <a:close/>
                    <a:moveTo>
                      <a:pt x="181809" y="396080"/>
                    </a:moveTo>
                    <a:cubicBezTo>
                      <a:pt x="183538" y="396080"/>
                      <a:pt x="184402" y="396943"/>
                      <a:pt x="185267" y="396943"/>
                    </a:cubicBezTo>
                    <a:cubicBezTo>
                      <a:pt x="203421" y="404710"/>
                      <a:pt x="219846" y="409888"/>
                      <a:pt x="237136" y="411614"/>
                    </a:cubicBezTo>
                    <a:cubicBezTo>
                      <a:pt x="241458" y="411614"/>
                      <a:pt x="244916" y="415066"/>
                      <a:pt x="244916" y="419381"/>
                    </a:cubicBezTo>
                    <a:cubicBezTo>
                      <a:pt x="244916" y="419381"/>
                      <a:pt x="244916" y="419381"/>
                      <a:pt x="244916" y="491012"/>
                    </a:cubicBezTo>
                    <a:cubicBezTo>
                      <a:pt x="244916" y="493601"/>
                      <a:pt x="243187" y="495327"/>
                      <a:pt x="241458" y="497053"/>
                    </a:cubicBezTo>
                    <a:cubicBezTo>
                      <a:pt x="240594" y="498779"/>
                      <a:pt x="238000" y="499642"/>
                      <a:pt x="236271" y="499642"/>
                    </a:cubicBezTo>
                    <a:cubicBezTo>
                      <a:pt x="236271" y="499642"/>
                      <a:pt x="235407" y="499642"/>
                      <a:pt x="235407" y="499642"/>
                    </a:cubicBezTo>
                    <a:cubicBezTo>
                      <a:pt x="203421" y="497053"/>
                      <a:pt x="171435" y="488423"/>
                      <a:pt x="142042" y="474615"/>
                    </a:cubicBezTo>
                    <a:cubicBezTo>
                      <a:pt x="140313" y="473752"/>
                      <a:pt x="138584" y="472026"/>
                      <a:pt x="137720" y="469436"/>
                    </a:cubicBezTo>
                    <a:cubicBezTo>
                      <a:pt x="137720" y="466847"/>
                      <a:pt x="137720" y="465121"/>
                      <a:pt x="138584" y="462532"/>
                    </a:cubicBezTo>
                    <a:cubicBezTo>
                      <a:pt x="138584" y="462532"/>
                      <a:pt x="138584" y="462532"/>
                      <a:pt x="174893" y="400395"/>
                    </a:cubicBezTo>
                    <a:cubicBezTo>
                      <a:pt x="176622" y="397806"/>
                      <a:pt x="179215" y="396080"/>
                      <a:pt x="181809" y="396080"/>
                    </a:cubicBezTo>
                    <a:close/>
                    <a:moveTo>
                      <a:pt x="395834" y="339030"/>
                    </a:moveTo>
                    <a:cubicBezTo>
                      <a:pt x="397560" y="339030"/>
                      <a:pt x="398422" y="339892"/>
                      <a:pt x="400148" y="340754"/>
                    </a:cubicBezTo>
                    <a:cubicBezTo>
                      <a:pt x="400148" y="340754"/>
                      <a:pt x="400148" y="340754"/>
                      <a:pt x="461399" y="376097"/>
                    </a:cubicBezTo>
                    <a:cubicBezTo>
                      <a:pt x="463987" y="376959"/>
                      <a:pt x="464850" y="378683"/>
                      <a:pt x="465712" y="381269"/>
                    </a:cubicBezTo>
                    <a:cubicBezTo>
                      <a:pt x="466575" y="383855"/>
                      <a:pt x="465712" y="385579"/>
                      <a:pt x="464850" y="388165"/>
                    </a:cubicBezTo>
                    <a:cubicBezTo>
                      <a:pt x="445870" y="414888"/>
                      <a:pt x="423440" y="438163"/>
                      <a:pt x="396697" y="456265"/>
                    </a:cubicBezTo>
                    <a:cubicBezTo>
                      <a:pt x="394972" y="457127"/>
                      <a:pt x="393246" y="457127"/>
                      <a:pt x="391521" y="457127"/>
                    </a:cubicBezTo>
                    <a:cubicBezTo>
                      <a:pt x="391521" y="457127"/>
                      <a:pt x="390658" y="457127"/>
                      <a:pt x="389796" y="457127"/>
                    </a:cubicBezTo>
                    <a:cubicBezTo>
                      <a:pt x="388070" y="456265"/>
                      <a:pt x="385482" y="455403"/>
                      <a:pt x="384619" y="452817"/>
                    </a:cubicBezTo>
                    <a:cubicBezTo>
                      <a:pt x="384619" y="452817"/>
                      <a:pt x="384619" y="452817"/>
                      <a:pt x="349249" y="391613"/>
                    </a:cubicBezTo>
                    <a:cubicBezTo>
                      <a:pt x="346661" y="387303"/>
                      <a:pt x="347524" y="382993"/>
                      <a:pt x="350974" y="380407"/>
                    </a:cubicBezTo>
                    <a:cubicBezTo>
                      <a:pt x="366503" y="369201"/>
                      <a:pt x="378581" y="357132"/>
                      <a:pt x="388933" y="342478"/>
                    </a:cubicBezTo>
                    <a:cubicBezTo>
                      <a:pt x="390658" y="340754"/>
                      <a:pt x="393246" y="339030"/>
                      <a:pt x="395834" y="339030"/>
                    </a:cubicBezTo>
                    <a:close/>
                    <a:moveTo>
                      <a:pt x="112165" y="339030"/>
                    </a:moveTo>
                    <a:cubicBezTo>
                      <a:pt x="114753" y="339030"/>
                      <a:pt x="117342" y="340754"/>
                      <a:pt x="118204" y="342478"/>
                    </a:cubicBezTo>
                    <a:cubicBezTo>
                      <a:pt x="129419" y="357995"/>
                      <a:pt x="142360" y="370063"/>
                      <a:pt x="156163" y="380407"/>
                    </a:cubicBezTo>
                    <a:cubicBezTo>
                      <a:pt x="159614" y="382993"/>
                      <a:pt x="161339" y="387303"/>
                      <a:pt x="158751" y="391613"/>
                    </a:cubicBezTo>
                    <a:cubicBezTo>
                      <a:pt x="158751" y="391613"/>
                      <a:pt x="158751" y="391613"/>
                      <a:pt x="123380" y="452817"/>
                    </a:cubicBezTo>
                    <a:cubicBezTo>
                      <a:pt x="121655" y="455403"/>
                      <a:pt x="119930" y="456265"/>
                      <a:pt x="118204" y="457127"/>
                    </a:cubicBezTo>
                    <a:cubicBezTo>
                      <a:pt x="117342" y="457127"/>
                      <a:pt x="116479" y="457127"/>
                      <a:pt x="115616" y="457127"/>
                    </a:cubicBezTo>
                    <a:cubicBezTo>
                      <a:pt x="114753" y="457127"/>
                      <a:pt x="113028" y="457127"/>
                      <a:pt x="111303" y="455403"/>
                    </a:cubicBezTo>
                    <a:cubicBezTo>
                      <a:pt x="84559" y="437301"/>
                      <a:pt x="61267" y="414888"/>
                      <a:pt x="43150" y="388165"/>
                    </a:cubicBezTo>
                    <a:cubicBezTo>
                      <a:pt x="42287" y="385579"/>
                      <a:pt x="41425" y="383855"/>
                      <a:pt x="42287" y="381269"/>
                    </a:cubicBezTo>
                    <a:cubicBezTo>
                      <a:pt x="42287" y="379545"/>
                      <a:pt x="44013" y="376959"/>
                      <a:pt x="45738" y="376097"/>
                    </a:cubicBezTo>
                    <a:cubicBezTo>
                      <a:pt x="45738" y="376097"/>
                      <a:pt x="45738" y="376097"/>
                      <a:pt x="107852" y="340754"/>
                    </a:cubicBezTo>
                    <a:cubicBezTo>
                      <a:pt x="108715" y="339892"/>
                      <a:pt x="110440" y="339030"/>
                      <a:pt x="112165" y="339030"/>
                    </a:cubicBezTo>
                    <a:close/>
                    <a:moveTo>
                      <a:pt x="427844" y="254363"/>
                    </a:moveTo>
                    <a:cubicBezTo>
                      <a:pt x="427844" y="254363"/>
                      <a:pt x="427844" y="254363"/>
                      <a:pt x="499381" y="254363"/>
                    </a:cubicBezTo>
                    <a:cubicBezTo>
                      <a:pt x="501967" y="254363"/>
                      <a:pt x="503691" y="255228"/>
                      <a:pt x="505414" y="256956"/>
                    </a:cubicBezTo>
                    <a:cubicBezTo>
                      <a:pt x="507138" y="258685"/>
                      <a:pt x="508000" y="261279"/>
                      <a:pt x="508000" y="263008"/>
                    </a:cubicBezTo>
                    <a:cubicBezTo>
                      <a:pt x="505414" y="295858"/>
                      <a:pt x="496795" y="326980"/>
                      <a:pt x="483005" y="356372"/>
                    </a:cubicBezTo>
                    <a:cubicBezTo>
                      <a:pt x="482143" y="358966"/>
                      <a:pt x="480419" y="359830"/>
                      <a:pt x="477834" y="360695"/>
                    </a:cubicBezTo>
                    <a:cubicBezTo>
                      <a:pt x="476972" y="360695"/>
                      <a:pt x="476110" y="361559"/>
                      <a:pt x="475248" y="361559"/>
                    </a:cubicBezTo>
                    <a:cubicBezTo>
                      <a:pt x="474386" y="361559"/>
                      <a:pt x="472662" y="360695"/>
                      <a:pt x="470939" y="359830"/>
                    </a:cubicBezTo>
                    <a:cubicBezTo>
                      <a:pt x="470939" y="359830"/>
                      <a:pt x="470939" y="359830"/>
                      <a:pt x="408882" y="324386"/>
                    </a:cubicBezTo>
                    <a:cubicBezTo>
                      <a:pt x="405435" y="321793"/>
                      <a:pt x="403711" y="317470"/>
                      <a:pt x="405435" y="313148"/>
                    </a:cubicBezTo>
                    <a:cubicBezTo>
                      <a:pt x="413192" y="295858"/>
                      <a:pt x="418363" y="278569"/>
                      <a:pt x="420087" y="262143"/>
                    </a:cubicBezTo>
                    <a:cubicBezTo>
                      <a:pt x="420087" y="257821"/>
                      <a:pt x="423535" y="254363"/>
                      <a:pt x="427844" y="254363"/>
                    </a:cubicBezTo>
                    <a:close/>
                    <a:moveTo>
                      <a:pt x="8600" y="254363"/>
                    </a:moveTo>
                    <a:cubicBezTo>
                      <a:pt x="8600" y="254363"/>
                      <a:pt x="8600" y="254363"/>
                      <a:pt x="79119" y="254363"/>
                    </a:cubicBezTo>
                    <a:cubicBezTo>
                      <a:pt x="83419" y="254363"/>
                      <a:pt x="86859" y="257821"/>
                      <a:pt x="87719" y="262143"/>
                    </a:cubicBezTo>
                    <a:cubicBezTo>
                      <a:pt x="89439" y="280298"/>
                      <a:pt x="93739" y="297587"/>
                      <a:pt x="101479" y="314012"/>
                    </a:cubicBezTo>
                    <a:cubicBezTo>
                      <a:pt x="103199" y="317470"/>
                      <a:pt x="101479" y="322657"/>
                      <a:pt x="98039" y="324386"/>
                    </a:cubicBezTo>
                    <a:cubicBezTo>
                      <a:pt x="98039" y="324386"/>
                      <a:pt x="98039" y="324386"/>
                      <a:pt x="36119" y="359830"/>
                    </a:cubicBezTo>
                    <a:cubicBezTo>
                      <a:pt x="35259" y="360695"/>
                      <a:pt x="33539" y="361559"/>
                      <a:pt x="32679" y="361559"/>
                    </a:cubicBezTo>
                    <a:cubicBezTo>
                      <a:pt x="31819" y="361559"/>
                      <a:pt x="30959" y="360695"/>
                      <a:pt x="30099" y="360695"/>
                    </a:cubicBezTo>
                    <a:cubicBezTo>
                      <a:pt x="27519" y="359830"/>
                      <a:pt x="25800" y="358966"/>
                      <a:pt x="24940" y="356372"/>
                    </a:cubicBezTo>
                    <a:cubicBezTo>
                      <a:pt x="10320" y="326980"/>
                      <a:pt x="2580" y="295858"/>
                      <a:pt x="0" y="263008"/>
                    </a:cubicBezTo>
                    <a:cubicBezTo>
                      <a:pt x="0" y="261279"/>
                      <a:pt x="860" y="258685"/>
                      <a:pt x="2580" y="256956"/>
                    </a:cubicBezTo>
                    <a:cubicBezTo>
                      <a:pt x="3440" y="255228"/>
                      <a:pt x="6020" y="254363"/>
                      <a:pt x="8600" y="254363"/>
                    </a:cubicBezTo>
                    <a:close/>
                    <a:moveTo>
                      <a:pt x="475205" y="129362"/>
                    </a:moveTo>
                    <a:cubicBezTo>
                      <a:pt x="476068" y="129362"/>
                      <a:pt x="476931" y="129362"/>
                      <a:pt x="477794" y="129362"/>
                    </a:cubicBezTo>
                    <a:cubicBezTo>
                      <a:pt x="479520" y="130225"/>
                      <a:pt x="481246" y="131950"/>
                      <a:pt x="482973" y="133675"/>
                    </a:cubicBezTo>
                    <a:cubicBezTo>
                      <a:pt x="496781" y="163005"/>
                      <a:pt x="505411" y="194061"/>
                      <a:pt x="507137" y="226842"/>
                    </a:cubicBezTo>
                    <a:cubicBezTo>
                      <a:pt x="508000" y="229429"/>
                      <a:pt x="507137" y="231155"/>
                      <a:pt x="505411" y="232880"/>
                    </a:cubicBezTo>
                    <a:cubicBezTo>
                      <a:pt x="503685" y="234605"/>
                      <a:pt x="501959" y="235468"/>
                      <a:pt x="499370" y="235468"/>
                    </a:cubicBezTo>
                    <a:cubicBezTo>
                      <a:pt x="499370" y="235468"/>
                      <a:pt x="499370" y="235468"/>
                      <a:pt x="428602" y="235468"/>
                    </a:cubicBezTo>
                    <a:cubicBezTo>
                      <a:pt x="424287" y="235468"/>
                      <a:pt x="420835" y="232880"/>
                      <a:pt x="420835" y="228567"/>
                    </a:cubicBezTo>
                    <a:cubicBezTo>
                      <a:pt x="419109" y="210451"/>
                      <a:pt x="413931" y="193198"/>
                      <a:pt x="406164" y="176808"/>
                    </a:cubicBezTo>
                    <a:cubicBezTo>
                      <a:pt x="404438" y="172495"/>
                      <a:pt x="406164" y="168181"/>
                      <a:pt x="409616" y="165593"/>
                    </a:cubicBezTo>
                    <a:cubicBezTo>
                      <a:pt x="409616" y="165593"/>
                      <a:pt x="409616" y="165593"/>
                      <a:pt x="470890" y="130225"/>
                    </a:cubicBezTo>
                    <a:cubicBezTo>
                      <a:pt x="472616" y="129362"/>
                      <a:pt x="473479" y="129362"/>
                      <a:pt x="475205" y="129362"/>
                    </a:cubicBezTo>
                    <a:close/>
                    <a:moveTo>
                      <a:pt x="389708" y="32704"/>
                    </a:moveTo>
                    <a:cubicBezTo>
                      <a:pt x="390572" y="32704"/>
                      <a:pt x="391435" y="32704"/>
                      <a:pt x="392299" y="32704"/>
                    </a:cubicBezTo>
                    <a:cubicBezTo>
                      <a:pt x="393163" y="32704"/>
                      <a:pt x="394890" y="33566"/>
                      <a:pt x="396617" y="34428"/>
                    </a:cubicBezTo>
                    <a:cubicBezTo>
                      <a:pt x="423391" y="52531"/>
                      <a:pt x="445847" y="74943"/>
                      <a:pt x="464848" y="102528"/>
                    </a:cubicBezTo>
                    <a:cubicBezTo>
                      <a:pt x="465711" y="104252"/>
                      <a:pt x="466575" y="106838"/>
                      <a:pt x="465711" y="108562"/>
                    </a:cubicBezTo>
                    <a:cubicBezTo>
                      <a:pt x="465711" y="111148"/>
                      <a:pt x="463984" y="112872"/>
                      <a:pt x="462257" y="114596"/>
                    </a:cubicBezTo>
                    <a:cubicBezTo>
                      <a:pt x="462257" y="114596"/>
                      <a:pt x="462257" y="114596"/>
                      <a:pt x="400072" y="149939"/>
                    </a:cubicBezTo>
                    <a:cubicBezTo>
                      <a:pt x="399208" y="150801"/>
                      <a:pt x="397481" y="150801"/>
                      <a:pt x="395754" y="150801"/>
                    </a:cubicBezTo>
                    <a:cubicBezTo>
                      <a:pt x="393163" y="150801"/>
                      <a:pt x="391435" y="149939"/>
                      <a:pt x="389708" y="147353"/>
                    </a:cubicBezTo>
                    <a:cubicBezTo>
                      <a:pt x="378480" y="132699"/>
                      <a:pt x="365525" y="119768"/>
                      <a:pt x="351706" y="109424"/>
                    </a:cubicBezTo>
                    <a:cubicBezTo>
                      <a:pt x="348252" y="106838"/>
                      <a:pt x="347388" y="102528"/>
                      <a:pt x="349115" y="98218"/>
                    </a:cubicBezTo>
                    <a:cubicBezTo>
                      <a:pt x="349115" y="98218"/>
                      <a:pt x="349115" y="98218"/>
                      <a:pt x="384526" y="37014"/>
                    </a:cubicBezTo>
                    <a:cubicBezTo>
                      <a:pt x="386253" y="35290"/>
                      <a:pt x="387981" y="33566"/>
                      <a:pt x="389708" y="32704"/>
                    </a:cubicBezTo>
                    <a:close/>
                    <a:moveTo>
                      <a:pt x="115448" y="32704"/>
                    </a:moveTo>
                    <a:cubicBezTo>
                      <a:pt x="116310" y="32704"/>
                      <a:pt x="117171" y="32704"/>
                      <a:pt x="117171" y="32704"/>
                    </a:cubicBezTo>
                    <a:cubicBezTo>
                      <a:pt x="119756" y="33567"/>
                      <a:pt x="121479" y="35292"/>
                      <a:pt x="122340" y="37018"/>
                    </a:cubicBezTo>
                    <a:cubicBezTo>
                      <a:pt x="122340" y="37018"/>
                      <a:pt x="122340" y="37018"/>
                      <a:pt x="158526" y="98279"/>
                    </a:cubicBezTo>
                    <a:cubicBezTo>
                      <a:pt x="160249" y="102593"/>
                      <a:pt x="159387" y="106907"/>
                      <a:pt x="155941" y="109496"/>
                    </a:cubicBezTo>
                    <a:cubicBezTo>
                      <a:pt x="117171" y="137969"/>
                      <a:pt x="92186" y="181110"/>
                      <a:pt x="87017" y="228565"/>
                    </a:cubicBezTo>
                    <a:cubicBezTo>
                      <a:pt x="87017" y="232880"/>
                      <a:pt x="82709" y="235468"/>
                      <a:pt x="79263" y="235468"/>
                    </a:cubicBezTo>
                    <a:cubicBezTo>
                      <a:pt x="79263" y="235468"/>
                      <a:pt x="79263" y="235468"/>
                      <a:pt x="8615" y="235468"/>
                    </a:cubicBezTo>
                    <a:cubicBezTo>
                      <a:pt x="6031" y="235468"/>
                      <a:pt x="4308" y="234605"/>
                      <a:pt x="2584" y="232880"/>
                    </a:cubicBezTo>
                    <a:cubicBezTo>
                      <a:pt x="861" y="231154"/>
                      <a:pt x="0" y="229428"/>
                      <a:pt x="0" y="226840"/>
                    </a:cubicBezTo>
                    <a:cubicBezTo>
                      <a:pt x="3446" y="188013"/>
                      <a:pt x="14646" y="150048"/>
                      <a:pt x="34462" y="116398"/>
                    </a:cubicBezTo>
                    <a:cubicBezTo>
                      <a:pt x="53416" y="83611"/>
                      <a:pt x="80124" y="55137"/>
                      <a:pt x="111140" y="34430"/>
                    </a:cubicBezTo>
                    <a:cubicBezTo>
                      <a:pt x="112002" y="33567"/>
                      <a:pt x="113725" y="32704"/>
                      <a:pt x="115448" y="32704"/>
                    </a:cubicBezTo>
                    <a:close/>
                    <a:moveTo>
                      <a:pt x="219030" y="0"/>
                    </a:moveTo>
                    <a:cubicBezTo>
                      <a:pt x="219030" y="0"/>
                      <a:pt x="219030" y="0"/>
                      <a:pt x="288970" y="0"/>
                    </a:cubicBezTo>
                    <a:cubicBezTo>
                      <a:pt x="293288" y="0"/>
                      <a:pt x="297605" y="3452"/>
                      <a:pt x="297605" y="8630"/>
                    </a:cubicBezTo>
                    <a:cubicBezTo>
                      <a:pt x="297605" y="8630"/>
                      <a:pt x="297605" y="8630"/>
                      <a:pt x="297605" y="220070"/>
                    </a:cubicBezTo>
                    <a:cubicBezTo>
                      <a:pt x="297605" y="224385"/>
                      <a:pt x="293288" y="227837"/>
                      <a:pt x="288970" y="227837"/>
                    </a:cubicBezTo>
                    <a:lnTo>
                      <a:pt x="219030" y="227837"/>
                    </a:lnTo>
                    <a:cubicBezTo>
                      <a:pt x="213849" y="227837"/>
                      <a:pt x="210395" y="224385"/>
                      <a:pt x="210395" y="220070"/>
                    </a:cubicBezTo>
                    <a:cubicBezTo>
                      <a:pt x="210395" y="220070"/>
                      <a:pt x="210395" y="220070"/>
                      <a:pt x="210395" y="8630"/>
                    </a:cubicBezTo>
                    <a:cubicBezTo>
                      <a:pt x="210395" y="3452"/>
                      <a:pt x="213849" y="0"/>
                      <a:pt x="21903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98" name="íš1íḋè">
                <a:extLst>
                  <a:ext uri="{FF2B5EF4-FFF2-40B4-BE49-F238E27FC236}">
                    <a16:creationId xmlns:a16="http://schemas.microsoft.com/office/drawing/2014/main" id="{1DE073D9-FEDA-4AF8-B6C8-8218E0062B6D}"/>
                  </a:ext>
                </a:extLst>
              </p:cNvPr>
              <p:cNvSpPr/>
              <p:nvPr/>
            </p:nvSpPr>
            <p:spPr bwMode="auto">
              <a:xfrm>
                <a:off x="9392998" y="2648709"/>
                <a:ext cx="339399" cy="381053"/>
              </a:xfrm>
              <a:custGeom>
                <a:avLst/>
                <a:gdLst>
                  <a:gd name="T0" fmla="*/ 54 w 90"/>
                  <a:gd name="T1" fmla="*/ 14 h 102"/>
                  <a:gd name="T2" fmla="*/ 54 w 90"/>
                  <a:gd name="T3" fmla="*/ 20 h 102"/>
                  <a:gd name="T4" fmla="*/ 83 w 90"/>
                  <a:gd name="T5" fmla="*/ 58 h 102"/>
                  <a:gd name="T6" fmla="*/ 45 w 90"/>
                  <a:gd name="T7" fmla="*/ 96 h 102"/>
                  <a:gd name="T8" fmla="*/ 6 w 90"/>
                  <a:gd name="T9" fmla="*/ 58 h 102"/>
                  <a:gd name="T10" fmla="*/ 35 w 90"/>
                  <a:gd name="T11" fmla="*/ 20 h 102"/>
                  <a:gd name="T12" fmla="*/ 35 w 90"/>
                  <a:gd name="T13" fmla="*/ 14 h 102"/>
                  <a:gd name="T14" fmla="*/ 0 w 90"/>
                  <a:gd name="T15" fmla="*/ 58 h 102"/>
                  <a:gd name="T16" fmla="*/ 45 w 90"/>
                  <a:gd name="T17" fmla="*/ 102 h 102"/>
                  <a:gd name="T18" fmla="*/ 90 w 90"/>
                  <a:gd name="T19" fmla="*/ 58 h 102"/>
                  <a:gd name="T20" fmla="*/ 54 w 90"/>
                  <a:gd name="T21" fmla="*/ 14 h 102"/>
                  <a:gd name="T22" fmla="*/ 48 w 90"/>
                  <a:gd name="T23" fmla="*/ 0 h 102"/>
                  <a:gd name="T24" fmla="*/ 42 w 90"/>
                  <a:gd name="T25" fmla="*/ 0 h 102"/>
                  <a:gd name="T26" fmla="*/ 42 w 90"/>
                  <a:gd name="T27" fmla="*/ 32 h 102"/>
                  <a:gd name="T28" fmla="*/ 48 w 90"/>
                  <a:gd name="T29" fmla="*/ 32 h 102"/>
                  <a:gd name="T30" fmla="*/ 48 w 90"/>
                  <a:gd name="T31" fmla="*/ 0 h 102"/>
                  <a:gd name="T32" fmla="*/ 48 w 90"/>
                  <a:gd name="T33" fmla="*/ 0 h 102"/>
                  <a:gd name="T34" fmla="*/ 48 w 90"/>
                  <a:gd name="T35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0" h="102">
                    <a:moveTo>
                      <a:pt x="54" y="14"/>
                    </a:moveTo>
                    <a:cubicBezTo>
                      <a:pt x="54" y="20"/>
                      <a:pt x="54" y="20"/>
                      <a:pt x="54" y="20"/>
                    </a:cubicBezTo>
                    <a:cubicBezTo>
                      <a:pt x="71" y="25"/>
                      <a:pt x="83" y="40"/>
                      <a:pt x="83" y="58"/>
                    </a:cubicBezTo>
                    <a:cubicBezTo>
                      <a:pt x="83" y="79"/>
                      <a:pt x="66" y="96"/>
                      <a:pt x="45" y="96"/>
                    </a:cubicBezTo>
                    <a:cubicBezTo>
                      <a:pt x="24" y="96"/>
                      <a:pt x="6" y="79"/>
                      <a:pt x="6" y="58"/>
                    </a:cubicBezTo>
                    <a:cubicBezTo>
                      <a:pt x="6" y="40"/>
                      <a:pt x="19" y="25"/>
                      <a:pt x="35" y="20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15" y="18"/>
                      <a:pt x="0" y="36"/>
                      <a:pt x="0" y="58"/>
                    </a:cubicBezTo>
                    <a:cubicBezTo>
                      <a:pt x="0" y="82"/>
                      <a:pt x="20" y="102"/>
                      <a:pt x="45" y="102"/>
                    </a:cubicBezTo>
                    <a:cubicBezTo>
                      <a:pt x="70" y="102"/>
                      <a:pt x="90" y="82"/>
                      <a:pt x="90" y="58"/>
                    </a:cubicBezTo>
                    <a:cubicBezTo>
                      <a:pt x="90" y="36"/>
                      <a:pt x="75" y="18"/>
                      <a:pt x="54" y="14"/>
                    </a:cubicBezTo>
                    <a:close/>
                    <a:moveTo>
                      <a:pt x="48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48" y="32"/>
                      <a:pt x="48" y="32"/>
                      <a:pt x="48" y="32"/>
                    </a:cubicBezTo>
                    <a:lnTo>
                      <a:pt x="48" y="0"/>
                    </a:lnTo>
                    <a:close/>
                    <a:moveTo>
                      <a:pt x="48" y="0"/>
                    </a:moveTo>
                    <a:cubicBezTo>
                      <a:pt x="48" y="0"/>
                      <a:pt x="48" y="0"/>
                      <a:pt x="48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99" name="ïśļîde">
                <a:extLst>
                  <a:ext uri="{FF2B5EF4-FFF2-40B4-BE49-F238E27FC236}">
                    <a16:creationId xmlns:a16="http://schemas.microsoft.com/office/drawing/2014/main" id="{8DC8A126-72C5-4ED5-A1B9-745BCFB23D64}"/>
                  </a:ext>
                </a:extLst>
              </p:cNvPr>
              <p:cNvSpPr/>
              <p:nvPr/>
            </p:nvSpPr>
            <p:spPr bwMode="auto">
              <a:xfrm>
                <a:off x="9414315" y="3319496"/>
                <a:ext cx="381053" cy="381053"/>
              </a:xfrm>
              <a:custGeom>
                <a:avLst/>
                <a:gdLst>
                  <a:gd name="connsiteX0" fmla="*/ 254601 w 508000"/>
                  <a:gd name="connsiteY0" fmla="*/ 80867 h 508000"/>
                  <a:gd name="connsiteX1" fmla="*/ 312067 w 508000"/>
                  <a:gd name="connsiteY1" fmla="*/ 138378 h 508000"/>
                  <a:gd name="connsiteX2" fmla="*/ 312067 w 508000"/>
                  <a:gd name="connsiteY2" fmla="*/ 369267 h 508000"/>
                  <a:gd name="connsiteX3" fmla="*/ 254601 w 508000"/>
                  <a:gd name="connsiteY3" fmla="*/ 426777 h 508000"/>
                  <a:gd name="connsiteX4" fmla="*/ 196289 w 508000"/>
                  <a:gd name="connsiteY4" fmla="*/ 369267 h 508000"/>
                  <a:gd name="connsiteX5" fmla="*/ 196289 w 508000"/>
                  <a:gd name="connsiteY5" fmla="*/ 138378 h 508000"/>
                  <a:gd name="connsiteX6" fmla="*/ 254601 w 508000"/>
                  <a:gd name="connsiteY6" fmla="*/ 80867 h 508000"/>
                  <a:gd name="connsiteX7" fmla="*/ 254423 w 508000"/>
                  <a:gd name="connsiteY7" fmla="*/ 40572 h 508000"/>
                  <a:gd name="connsiteX8" fmla="*/ 40572 w 508000"/>
                  <a:gd name="connsiteY8" fmla="*/ 254423 h 508000"/>
                  <a:gd name="connsiteX9" fmla="*/ 254423 w 508000"/>
                  <a:gd name="connsiteY9" fmla="*/ 467428 h 508000"/>
                  <a:gd name="connsiteX10" fmla="*/ 467428 w 508000"/>
                  <a:gd name="connsiteY10" fmla="*/ 254423 h 508000"/>
                  <a:gd name="connsiteX11" fmla="*/ 254423 w 508000"/>
                  <a:gd name="connsiteY11" fmla="*/ 40572 h 508000"/>
                  <a:gd name="connsiteX12" fmla="*/ 254423 w 508000"/>
                  <a:gd name="connsiteY12" fmla="*/ 0 h 508000"/>
                  <a:gd name="connsiteX13" fmla="*/ 508000 w 508000"/>
                  <a:gd name="connsiteY13" fmla="*/ 254423 h 508000"/>
                  <a:gd name="connsiteX14" fmla="*/ 254423 w 508000"/>
                  <a:gd name="connsiteY14" fmla="*/ 508000 h 508000"/>
                  <a:gd name="connsiteX15" fmla="*/ 0 w 508000"/>
                  <a:gd name="connsiteY15" fmla="*/ 254423 h 508000"/>
                  <a:gd name="connsiteX16" fmla="*/ 254423 w 508000"/>
                  <a:gd name="connsiteY16" fmla="*/ 0 h 5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08000" h="508000">
                    <a:moveTo>
                      <a:pt x="254601" y="80867"/>
                    </a:moveTo>
                    <a:cubicBezTo>
                      <a:pt x="286714" y="80867"/>
                      <a:pt x="312067" y="106240"/>
                      <a:pt x="312067" y="138378"/>
                    </a:cubicBezTo>
                    <a:cubicBezTo>
                      <a:pt x="312067" y="138378"/>
                      <a:pt x="312067" y="138378"/>
                      <a:pt x="312067" y="369267"/>
                    </a:cubicBezTo>
                    <a:cubicBezTo>
                      <a:pt x="312067" y="401405"/>
                      <a:pt x="286714" y="426777"/>
                      <a:pt x="254601" y="426777"/>
                    </a:cubicBezTo>
                    <a:cubicBezTo>
                      <a:pt x="222487" y="426777"/>
                      <a:pt x="196289" y="401405"/>
                      <a:pt x="196289" y="369267"/>
                    </a:cubicBezTo>
                    <a:cubicBezTo>
                      <a:pt x="196289" y="369267"/>
                      <a:pt x="196289" y="369267"/>
                      <a:pt x="196289" y="138378"/>
                    </a:cubicBezTo>
                    <a:cubicBezTo>
                      <a:pt x="196289" y="106240"/>
                      <a:pt x="222487" y="80867"/>
                      <a:pt x="254601" y="80867"/>
                    </a:cubicBezTo>
                    <a:close/>
                    <a:moveTo>
                      <a:pt x="254423" y="40572"/>
                    </a:moveTo>
                    <a:cubicBezTo>
                      <a:pt x="136086" y="40572"/>
                      <a:pt x="40572" y="136087"/>
                      <a:pt x="40572" y="254423"/>
                    </a:cubicBezTo>
                    <a:cubicBezTo>
                      <a:pt x="40572" y="371914"/>
                      <a:pt x="136086" y="467428"/>
                      <a:pt x="254423" y="467428"/>
                    </a:cubicBezTo>
                    <a:cubicBezTo>
                      <a:pt x="371914" y="467428"/>
                      <a:pt x="467428" y="371914"/>
                      <a:pt x="467428" y="254423"/>
                    </a:cubicBezTo>
                    <a:cubicBezTo>
                      <a:pt x="467428" y="136087"/>
                      <a:pt x="371914" y="40572"/>
                      <a:pt x="254423" y="40572"/>
                    </a:cubicBezTo>
                    <a:close/>
                    <a:moveTo>
                      <a:pt x="254423" y="0"/>
                    </a:moveTo>
                    <a:cubicBezTo>
                      <a:pt x="393890" y="0"/>
                      <a:pt x="508000" y="114110"/>
                      <a:pt x="508000" y="254423"/>
                    </a:cubicBezTo>
                    <a:cubicBezTo>
                      <a:pt x="508000" y="393890"/>
                      <a:pt x="393890" y="508000"/>
                      <a:pt x="254423" y="508000"/>
                    </a:cubicBezTo>
                    <a:cubicBezTo>
                      <a:pt x="114110" y="508000"/>
                      <a:pt x="0" y="393890"/>
                      <a:pt x="0" y="254423"/>
                    </a:cubicBezTo>
                    <a:cubicBezTo>
                      <a:pt x="0" y="114110"/>
                      <a:pt x="114110" y="0"/>
                      <a:pt x="25442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cxnSp>
          <p:nvCxnSpPr>
            <p:cNvPr id="91" name="直接连接符 90">
              <a:extLst>
                <a:ext uri="{FF2B5EF4-FFF2-40B4-BE49-F238E27FC236}">
                  <a16:creationId xmlns:a16="http://schemas.microsoft.com/office/drawing/2014/main" id="{1BA95FA7-85FA-49E6-97A5-37CFA710D3D5}"/>
                </a:ext>
              </a:extLst>
            </p:cNvPr>
            <p:cNvCxnSpPr/>
            <p:nvPr/>
          </p:nvCxnSpPr>
          <p:spPr>
            <a:xfrm>
              <a:off x="6096000" y="1125538"/>
              <a:ext cx="0" cy="499136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页脚占位符 2">
            <a:extLst>
              <a:ext uri="{FF2B5EF4-FFF2-40B4-BE49-F238E27FC236}">
                <a16:creationId xmlns:a16="http://schemas.microsoft.com/office/drawing/2014/main" id="{4A93D77A-E431-4F54-A02D-D35807B1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zh-CN" altLang="en-US" dirty="0"/>
              <a:t>软件工程原理与实践第</a:t>
            </a:r>
            <a:r>
              <a:rPr lang="en-US" altLang="zh-CN" dirty="0"/>
              <a:t>15</a:t>
            </a:r>
            <a:r>
              <a:rPr lang="zh-CN" altLang="en-US" dirty="0"/>
              <a:t>组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6228652"/>
      </p:ext>
    </p:extLst>
  </p:cSld>
  <p:clrMapOvr>
    <a:masterClrMapping/>
  </p:clrMapOvr>
  <p:transition spd="slow">
    <p:cov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660401" y="1130300"/>
            <a:ext cx="10097245" cy="5003800"/>
            <a:chOff x="660401" y="1130300"/>
            <a:chExt cx="10097245" cy="5003800"/>
          </a:xfrm>
        </p:grpSpPr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40F65DAD-AA3C-4A71-9192-B937A470736C}"/>
                </a:ext>
              </a:extLst>
            </p:cNvPr>
            <p:cNvGrpSpPr/>
            <p:nvPr/>
          </p:nvGrpSpPr>
          <p:grpSpPr>
            <a:xfrm>
              <a:off x="660401" y="1454150"/>
              <a:ext cx="5526644" cy="4356100"/>
              <a:chOff x="660400" y="1454150"/>
              <a:chExt cx="10858499" cy="4356100"/>
            </a:xfrm>
          </p:grpSpPr>
          <p:sp>
            <p:nvSpPr>
              <p:cNvPr id="9" name="圆角矩形 8">
                <a:extLst>
                  <a:ext uri="{FF2B5EF4-FFF2-40B4-BE49-F238E27FC236}">
                    <a16:creationId xmlns:a16="http://schemas.microsoft.com/office/drawing/2014/main" id="{AC53584C-2748-48EB-8FCE-75292027D0BB}"/>
                  </a:ext>
                </a:extLst>
              </p:cNvPr>
              <p:cNvSpPr/>
              <p:nvPr/>
            </p:nvSpPr>
            <p:spPr>
              <a:xfrm>
                <a:off x="660400" y="33210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2400" b="1" dirty="0">
                    <a:solidFill>
                      <a:schemeClr val="accent1"/>
                    </a:solidFill>
                  </a:rPr>
                  <a:t>产品演示</a:t>
                </a:r>
                <a:endParaRPr lang="en-US" altLang="zh-CN" sz="24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" name="圆角矩形 9">
                <a:extLst>
                  <a:ext uri="{FF2B5EF4-FFF2-40B4-BE49-F238E27FC236}">
                    <a16:creationId xmlns:a16="http://schemas.microsoft.com/office/drawing/2014/main" id="{DDF6F91D-5F85-4D9C-AE6C-1E9154F2DEB2}"/>
                  </a:ext>
                </a:extLst>
              </p:cNvPr>
              <p:cNvSpPr/>
              <p:nvPr/>
            </p:nvSpPr>
            <p:spPr>
              <a:xfrm>
                <a:off x="660400" y="26987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产品特色与创新点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1" name="圆角矩形 10">
                <a:extLst>
                  <a:ext uri="{FF2B5EF4-FFF2-40B4-BE49-F238E27FC236}">
                    <a16:creationId xmlns:a16="http://schemas.microsoft.com/office/drawing/2014/main" id="{3FCD1556-55DB-422A-9A91-03C8CA4C8CFC}"/>
                  </a:ext>
                </a:extLst>
              </p:cNvPr>
              <p:cNvSpPr/>
              <p:nvPr/>
            </p:nvSpPr>
            <p:spPr>
              <a:xfrm>
                <a:off x="660400" y="39433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8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600" b="1" dirty="0">
                    <a:solidFill>
                      <a:schemeClr val="tx1">
                        <a:alpha val="80000"/>
                      </a:schemeClr>
                    </a:solidFill>
                  </a:rPr>
                  <a:t>架构与关键技术</a:t>
                </a:r>
                <a:endParaRPr lang="en-US" altLang="zh-CN" sz="1600" b="1" dirty="0">
                  <a:solidFill>
                    <a:schemeClr val="tx1">
                      <a:alpha val="80000"/>
                    </a:schemeClr>
                  </a:solidFill>
                </a:endParaRPr>
              </a:p>
            </p:txBody>
          </p:sp>
          <p:sp>
            <p:nvSpPr>
              <p:cNvPr id="12" name="圆角矩形 11">
                <a:extLst>
                  <a:ext uri="{FF2B5EF4-FFF2-40B4-BE49-F238E27FC236}">
                    <a16:creationId xmlns:a16="http://schemas.microsoft.com/office/drawing/2014/main" id="{E9125F22-9110-4DA9-BB15-F5E756018AB3}"/>
                  </a:ext>
                </a:extLst>
              </p:cNvPr>
              <p:cNvSpPr/>
              <p:nvPr/>
            </p:nvSpPr>
            <p:spPr>
              <a:xfrm>
                <a:off x="660400" y="45656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测试报告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3" name="圆角矩形 12">
                <a:extLst>
                  <a:ext uri="{FF2B5EF4-FFF2-40B4-BE49-F238E27FC236}">
                    <a16:creationId xmlns:a16="http://schemas.microsoft.com/office/drawing/2014/main" id="{487B6CCD-FECD-4A9D-9A26-BC273CC3851B}"/>
                  </a:ext>
                </a:extLst>
              </p:cNvPr>
              <p:cNvSpPr/>
              <p:nvPr/>
            </p:nvSpPr>
            <p:spPr>
              <a:xfrm>
                <a:off x="660400" y="20764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4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400" b="1" dirty="0">
                    <a:solidFill>
                      <a:schemeClr val="tx1">
                        <a:alpha val="40000"/>
                      </a:schemeClr>
                    </a:solidFill>
                  </a:rPr>
                  <a:t>致谢</a:t>
                </a:r>
                <a:endParaRPr lang="en-US" altLang="zh-CN" sz="1400" b="1" dirty="0">
                  <a:solidFill>
                    <a:schemeClr val="tx1">
                      <a:alpha val="40000"/>
                    </a:schemeClr>
                  </a:solidFill>
                </a:endParaRPr>
              </a:p>
            </p:txBody>
          </p:sp>
          <p:sp>
            <p:nvSpPr>
              <p:cNvPr id="14" name="圆角矩形 13">
                <a:extLst>
                  <a:ext uri="{FF2B5EF4-FFF2-40B4-BE49-F238E27FC236}">
                    <a16:creationId xmlns:a16="http://schemas.microsoft.com/office/drawing/2014/main" id="{EDF8110A-8EDB-418C-B6DF-9602B875D010}"/>
                  </a:ext>
                </a:extLst>
              </p:cNvPr>
              <p:cNvSpPr/>
              <p:nvPr/>
            </p:nvSpPr>
            <p:spPr>
              <a:xfrm>
                <a:off x="660400" y="51879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经验教训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sp>
            <p:nvSpPr>
              <p:cNvPr id="15" name="圆角矩形 14">
                <a:extLst>
                  <a:ext uri="{FF2B5EF4-FFF2-40B4-BE49-F238E27FC236}">
                    <a16:creationId xmlns:a16="http://schemas.microsoft.com/office/drawing/2014/main" id="{49395A25-2C00-42D1-927A-C8E332E0FB46}"/>
                  </a:ext>
                </a:extLst>
              </p:cNvPr>
              <p:cNvSpPr/>
              <p:nvPr/>
            </p:nvSpPr>
            <p:spPr>
              <a:xfrm>
                <a:off x="660400" y="1454150"/>
                <a:ext cx="10858499" cy="6223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r>
                  <a:rPr lang="zh-CN" altLang="en-US" sz="1050" b="1" dirty="0">
                    <a:solidFill>
                      <a:schemeClr val="tx1">
                        <a:alpha val="10000"/>
                      </a:schemeClr>
                    </a:solidFill>
                  </a:rPr>
                  <a:t>小组分工</a:t>
                </a:r>
                <a:endParaRPr lang="en-US" altLang="zh-CN" sz="1050" b="1" dirty="0">
                  <a:solidFill>
                    <a:schemeClr val="tx1">
                      <a:alpha val="10000"/>
                    </a:schemeClr>
                  </a:solidFill>
                </a:endParaRPr>
              </a:p>
            </p:txBody>
          </p: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296774F8-FE38-4B25-BE73-AF85310781B0}"/>
                  </a:ext>
                </a:extLst>
              </p:cNvPr>
              <p:cNvGrpSpPr/>
              <p:nvPr/>
            </p:nvGrpSpPr>
            <p:grpSpPr>
              <a:xfrm>
                <a:off x="3055917" y="2076450"/>
                <a:ext cx="6080166" cy="3111500"/>
                <a:chOff x="2802576" y="2076450"/>
                <a:chExt cx="6080166" cy="3111500"/>
              </a:xfrm>
            </p:grpSpPr>
            <p:cxnSp>
              <p:nvCxnSpPr>
                <p:cNvPr id="5" name="直接连接符 4">
                  <a:extLst>
                    <a:ext uri="{FF2B5EF4-FFF2-40B4-BE49-F238E27FC236}">
                      <a16:creationId xmlns:a16="http://schemas.microsoft.com/office/drawing/2014/main" id="{665A9CCB-14B6-4181-96D2-1E7424A398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3210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>
                  <a:extLst>
                    <a:ext uri="{FF2B5EF4-FFF2-40B4-BE49-F238E27FC236}">
                      <a16:creationId xmlns:a16="http://schemas.microsoft.com/office/drawing/2014/main" id="{2209BB7D-243A-446A-A163-08AD95BB30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802576" y="3943350"/>
                  <a:ext cx="6080166" cy="0"/>
                </a:xfrm>
                <a:prstGeom prst="line">
                  <a:avLst/>
                </a:prstGeom>
                <a:ln w="12700" cap="rnd">
                  <a:solidFill>
                    <a:schemeClr val="bg1">
                      <a:lumMod val="9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2" name="组合 21">
                  <a:extLst>
                    <a:ext uri="{FF2B5EF4-FFF2-40B4-BE49-F238E27FC236}">
                      <a16:creationId xmlns:a16="http://schemas.microsoft.com/office/drawing/2014/main" id="{B4DB02FD-20CA-439E-94DF-A159F531B24A}"/>
                    </a:ext>
                  </a:extLst>
                </p:cNvPr>
                <p:cNvGrpSpPr/>
                <p:nvPr/>
              </p:nvGrpSpPr>
              <p:grpSpPr>
                <a:xfrm>
                  <a:off x="3241963" y="2076450"/>
                  <a:ext cx="5201393" cy="3111500"/>
                  <a:chOff x="2802576" y="2076450"/>
                  <a:chExt cx="6080166" cy="3111500"/>
                </a:xfrm>
              </p:grpSpPr>
              <p:cxnSp>
                <p:nvCxnSpPr>
                  <p:cNvPr id="17" name="直接连接符 16">
                    <a:extLst>
                      <a:ext uri="{FF2B5EF4-FFF2-40B4-BE49-F238E27FC236}">
                        <a16:creationId xmlns:a16="http://schemas.microsoft.com/office/drawing/2014/main" id="{351CD98E-B842-421D-A69C-11F4C36899A7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45656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" name="直接连接符 18">
                    <a:extLst>
                      <a:ext uri="{FF2B5EF4-FFF2-40B4-BE49-F238E27FC236}">
                        <a16:creationId xmlns:a16="http://schemas.microsoft.com/office/drawing/2014/main" id="{7521AFC8-74E6-48C6-8BD5-E0EA6FDE7D98}"/>
                      </a:ext>
                    </a:extLst>
                  </p:cNvPr>
                  <p:cNvCxnSpPr/>
                  <p:nvPr/>
                </p:nvCxnSpPr>
                <p:spPr>
                  <a:xfrm>
                    <a:off x="2802576" y="2698750"/>
                    <a:ext cx="6080166" cy="0"/>
                  </a:xfrm>
                  <a:prstGeom prst="line">
                    <a:avLst/>
                  </a:prstGeom>
                  <a:ln w="12700" cap="rnd">
                    <a:solidFill>
                      <a:schemeClr val="bg1">
                        <a:lumMod val="9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1" name="组合 20">
                    <a:extLst>
                      <a:ext uri="{FF2B5EF4-FFF2-40B4-BE49-F238E27FC236}">
                        <a16:creationId xmlns:a16="http://schemas.microsoft.com/office/drawing/2014/main" id="{6F854CE6-0C4E-46E6-B40C-A83741098EAA}"/>
                      </a:ext>
                    </a:extLst>
                  </p:cNvPr>
                  <p:cNvGrpSpPr/>
                  <p:nvPr/>
                </p:nvGrpSpPr>
                <p:grpSpPr>
                  <a:xfrm>
                    <a:off x="3548743" y="2076450"/>
                    <a:ext cx="5094515" cy="3111500"/>
                    <a:chOff x="2802576" y="2076450"/>
                    <a:chExt cx="6080166" cy="3111500"/>
                  </a:xfrm>
                </p:grpSpPr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:a16="http://schemas.microsoft.com/office/drawing/2014/main" id="{274C2429-0D16-4487-80BA-DF46BA86B0F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51879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0" name="直接连接符 19">
                      <a:extLst>
                        <a:ext uri="{FF2B5EF4-FFF2-40B4-BE49-F238E27FC236}">
                          <a16:creationId xmlns:a16="http://schemas.microsoft.com/office/drawing/2014/main" id="{180F0829-2591-4662-B868-7F0B2BA51C9C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802576" y="2076450"/>
                      <a:ext cx="6080166" cy="0"/>
                    </a:xfrm>
                    <a:prstGeom prst="line">
                      <a:avLst/>
                    </a:prstGeom>
                    <a:ln w="12700" cap="rnd">
                      <a:solidFill>
                        <a:schemeClr val="bg1">
                          <a:lumMod val="95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  <p:sp>
          <p:nvSpPr>
            <p:cNvPr id="25" name="圆角矩形 24">
              <a:extLst>
                <a:ext uri="{FF2B5EF4-FFF2-40B4-BE49-F238E27FC236}">
                  <a16:creationId xmlns:a16="http://schemas.microsoft.com/office/drawing/2014/main" id="{46D2D162-62B1-41D6-85F2-38FCC8088EB2}"/>
                </a:ext>
              </a:extLst>
            </p:cNvPr>
            <p:cNvSpPr/>
            <p:nvPr/>
          </p:nvSpPr>
          <p:spPr>
            <a:xfrm>
              <a:off x="5751807" y="1130300"/>
              <a:ext cx="5005839" cy="5003800"/>
            </a:xfrm>
            <a:prstGeom prst="roundRect">
              <a:avLst>
                <a:gd name="adj" fmla="val 5556"/>
              </a:avLst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76200">
              <a:noFill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314" name="组合 313">
            <a:extLst>
              <a:ext uri="{FF2B5EF4-FFF2-40B4-BE49-F238E27FC236}">
                <a16:creationId xmlns:a16="http://schemas.microsoft.com/office/drawing/2014/main" id="{8AC40AF2-2C4F-4066-B69A-ED424C53FA77}"/>
              </a:ext>
            </a:extLst>
          </p:cNvPr>
          <p:cNvGrpSpPr/>
          <p:nvPr/>
        </p:nvGrpSpPr>
        <p:grpSpPr>
          <a:xfrm>
            <a:off x="5872399" y="2325820"/>
            <a:ext cx="4764654" cy="3235059"/>
            <a:chOff x="2820670" y="1205148"/>
            <a:chExt cx="6550660" cy="4447704"/>
          </a:xfrm>
        </p:grpSpPr>
        <p:sp>
          <p:nvSpPr>
            <p:cNvPr id="315" name="任意多边形 4">
              <a:extLst>
                <a:ext uri="{FF2B5EF4-FFF2-40B4-BE49-F238E27FC236}">
                  <a16:creationId xmlns:a16="http://schemas.microsoft.com/office/drawing/2014/main" id="{9ACE3B7D-92C0-4B65-B260-F69724EE205E}"/>
                </a:ext>
              </a:extLst>
            </p:cNvPr>
            <p:cNvSpPr/>
            <p:nvPr/>
          </p:nvSpPr>
          <p:spPr bwMode="auto">
            <a:xfrm>
              <a:off x="6919912" y="2052426"/>
              <a:ext cx="2410781" cy="3477499"/>
            </a:xfrm>
            <a:custGeom>
              <a:avLst/>
              <a:gdLst>
                <a:gd name="T0" fmla="*/ 14 w 1307"/>
                <a:gd name="T1" fmla="*/ 1754 h 1885"/>
                <a:gd name="T2" fmla="*/ 182 w 1307"/>
                <a:gd name="T3" fmla="*/ 1664 h 1885"/>
                <a:gd name="T4" fmla="*/ 443 w 1307"/>
                <a:gd name="T5" fmla="*/ 1685 h 1885"/>
                <a:gd name="T6" fmla="*/ 948 w 1307"/>
                <a:gd name="T7" fmla="*/ 1654 h 1885"/>
                <a:gd name="T8" fmla="*/ 1181 w 1307"/>
                <a:gd name="T9" fmla="*/ 1592 h 1885"/>
                <a:gd name="T10" fmla="*/ 1246 w 1307"/>
                <a:gd name="T11" fmla="*/ 1382 h 1885"/>
                <a:gd name="T12" fmla="*/ 641 w 1307"/>
                <a:gd name="T13" fmla="*/ 1110 h 1885"/>
                <a:gd name="T14" fmla="*/ 426 w 1307"/>
                <a:gd name="T15" fmla="*/ 988 h 1885"/>
                <a:gd name="T16" fmla="*/ 420 w 1307"/>
                <a:gd name="T17" fmla="*/ 808 h 1885"/>
                <a:gd name="T18" fmla="*/ 878 w 1307"/>
                <a:gd name="T19" fmla="*/ 700 h 1885"/>
                <a:gd name="T20" fmla="*/ 1126 w 1307"/>
                <a:gd name="T21" fmla="*/ 553 h 1885"/>
                <a:gd name="T22" fmla="*/ 1051 w 1307"/>
                <a:gd name="T23" fmla="*/ 396 h 1885"/>
                <a:gd name="T24" fmla="*/ 718 w 1307"/>
                <a:gd name="T25" fmla="*/ 274 h 1885"/>
                <a:gd name="T26" fmla="*/ 526 w 1307"/>
                <a:gd name="T27" fmla="*/ 159 h 1885"/>
                <a:gd name="T28" fmla="*/ 718 w 1307"/>
                <a:gd name="T29" fmla="*/ 13 h 1885"/>
                <a:gd name="T30" fmla="*/ 613 w 1307"/>
                <a:gd name="T31" fmla="*/ 26 h 1885"/>
                <a:gd name="T32" fmla="*/ 509 w 1307"/>
                <a:gd name="T33" fmla="*/ 142 h 1885"/>
                <a:gd name="T34" fmla="*/ 668 w 1307"/>
                <a:gd name="T35" fmla="*/ 270 h 1885"/>
                <a:gd name="T36" fmla="*/ 1016 w 1307"/>
                <a:gd name="T37" fmla="*/ 387 h 1885"/>
                <a:gd name="T38" fmla="*/ 1063 w 1307"/>
                <a:gd name="T39" fmla="*/ 620 h 1885"/>
                <a:gd name="T40" fmla="*/ 485 w 1307"/>
                <a:gd name="T41" fmla="*/ 753 h 1885"/>
                <a:gd name="T42" fmla="*/ 408 w 1307"/>
                <a:gd name="T43" fmla="*/ 984 h 1885"/>
                <a:gd name="T44" fmla="*/ 612 w 1307"/>
                <a:gd name="T45" fmla="*/ 1110 h 1885"/>
                <a:gd name="T46" fmla="*/ 991 w 1307"/>
                <a:gd name="T47" fmla="*/ 1274 h 1885"/>
                <a:gd name="T48" fmla="*/ 1230 w 1307"/>
                <a:gd name="T49" fmla="*/ 1386 h 1885"/>
                <a:gd name="T50" fmla="*/ 1238 w 1307"/>
                <a:gd name="T51" fmla="*/ 1551 h 1885"/>
                <a:gd name="T52" fmla="*/ 1017 w 1307"/>
                <a:gd name="T53" fmla="*/ 1627 h 1885"/>
                <a:gd name="T54" fmla="*/ 506 w 1307"/>
                <a:gd name="T55" fmla="*/ 1676 h 1885"/>
                <a:gd name="T56" fmla="*/ 243 w 1307"/>
                <a:gd name="T57" fmla="*/ 1653 h 1885"/>
                <a:gd name="T58" fmla="*/ 28 w 1307"/>
                <a:gd name="T59" fmla="*/ 1706 h 1885"/>
                <a:gd name="T60" fmla="*/ 32 w 1307"/>
                <a:gd name="T61" fmla="*/ 1843 h 1885"/>
                <a:gd name="T62" fmla="*/ 109 w 1307"/>
                <a:gd name="T63" fmla="*/ 1872 h 1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07" h="1885">
                  <a:moveTo>
                    <a:pt x="109" y="1872"/>
                  </a:moveTo>
                  <a:cubicBezTo>
                    <a:pt x="61" y="1861"/>
                    <a:pt x="1" y="1816"/>
                    <a:pt x="14" y="1754"/>
                  </a:cubicBezTo>
                  <a:cubicBezTo>
                    <a:pt x="20" y="1723"/>
                    <a:pt x="44" y="1703"/>
                    <a:pt x="70" y="1690"/>
                  </a:cubicBezTo>
                  <a:cubicBezTo>
                    <a:pt x="104" y="1672"/>
                    <a:pt x="144" y="1666"/>
                    <a:pt x="182" y="1664"/>
                  </a:cubicBezTo>
                  <a:cubicBezTo>
                    <a:pt x="226" y="1662"/>
                    <a:pt x="270" y="1667"/>
                    <a:pt x="313" y="1672"/>
                  </a:cubicBezTo>
                  <a:cubicBezTo>
                    <a:pt x="356" y="1677"/>
                    <a:pt x="400" y="1682"/>
                    <a:pt x="443" y="1685"/>
                  </a:cubicBezTo>
                  <a:cubicBezTo>
                    <a:pt x="528" y="1690"/>
                    <a:pt x="614" y="1690"/>
                    <a:pt x="699" y="1685"/>
                  </a:cubicBezTo>
                  <a:cubicBezTo>
                    <a:pt x="782" y="1680"/>
                    <a:pt x="866" y="1670"/>
                    <a:pt x="948" y="1654"/>
                  </a:cubicBezTo>
                  <a:cubicBezTo>
                    <a:pt x="989" y="1646"/>
                    <a:pt x="1029" y="1637"/>
                    <a:pt x="1070" y="1627"/>
                  </a:cubicBezTo>
                  <a:cubicBezTo>
                    <a:pt x="1108" y="1617"/>
                    <a:pt x="1145" y="1606"/>
                    <a:pt x="1181" y="1592"/>
                  </a:cubicBezTo>
                  <a:cubicBezTo>
                    <a:pt x="1229" y="1573"/>
                    <a:pt x="1307" y="1536"/>
                    <a:pt x="1301" y="1468"/>
                  </a:cubicBezTo>
                  <a:cubicBezTo>
                    <a:pt x="1298" y="1432"/>
                    <a:pt x="1272" y="1403"/>
                    <a:pt x="1246" y="1382"/>
                  </a:cubicBezTo>
                  <a:cubicBezTo>
                    <a:pt x="1214" y="1358"/>
                    <a:pt x="1177" y="1342"/>
                    <a:pt x="1142" y="1326"/>
                  </a:cubicBezTo>
                  <a:cubicBezTo>
                    <a:pt x="975" y="1254"/>
                    <a:pt x="808" y="1182"/>
                    <a:pt x="641" y="1110"/>
                  </a:cubicBezTo>
                  <a:cubicBezTo>
                    <a:pt x="602" y="1093"/>
                    <a:pt x="563" y="1077"/>
                    <a:pt x="525" y="1057"/>
                  </a:cubicBezTo>
                  <a:cubicBezTo>
                    <a:pt x="490" y="1039"/>
                    <a:pt x="455" y="1018"/>
                    <a:pt x="426" y="988"/>
                  </a:cubicBezTo>
                  <a:cubicBezTo>
                    <a:pt x="402" y="962"/>
                    <a:pt x="379" y="927"/>
                    <a:pt x="380" y="888"/>
                  </a:cubicBezTo>
                  <a:cubicBezTo>
                    <a:pt x="381" y="856"/>
                    <a:pt x="399" y="829"/>
                    <a:pt x="420" y="808"/>
                  </a:cubicBezTo>
                  <a:cubicBezTo>
                    <a:pt x="474" y="758"/>
                    <a:pt x="551" y="737"/>
                    <a:pt x="620" y="727"/>
                  </a:cubicBezTo>
                  <a:cubicBezTo>
                    <a:pt x="705" y="713"/>
                    <a:pt x="792" y="713"/>
                    <a:pt x="878" y="700"/>
                  </a:cubicBezTo>
                  <a:cubicBezTo>
                    <a:pt x="947" y="690"/>
                    <a:pt x="1021" y="670"/>
                    <a:pt x="1077" y="623"/>
                  </a:cubicBezTo>
                  <a:cubicBezTo>
                    <a:pt x="1099" y="605"/>
                    <a:pt x="1118" y="582"/>
                    <a:pt x="1126" y="553"/>
                  </a:cubicBezTo>
                  <a:cubicBezTo>
                    <a:pt x="1133" y="525"/>
                    <a:pt x="1130" y="495"/>
                    <a:pt x="1116" y="470"/>
                  </a:cubicBezTo>
                  <a:cubicBezTo>
                    <a:pt x="1101" y="440"/>
                    <a:pt x="1077" y="416"/>
                    <a:pt x="1051" y="396"/>
                  </a:cubicBezTo>
                  <a:cubicBezTo>
                    <a:pt x="1021" y="374"/>
                    <a:pt x="987" y="355"/>
                    <a:pt x="952" y="342"/>
                  </a:cubicBezTo>
                  <a:cubicBezTo>
                    <a:pt x="876" y="312"/>
                    <a:pt x="796" y="296"/>
                    <a:pt x="718" y="274"/>
                  </a:cubicBezTo>
                  <a:cubicBezTo>
                    <a:pt x="680" y="262"/>
                    <a:pt x="641" y="250"/>
                    <a:pt x="606" y="231"/>
                  </a:cubicBezTo>
                  <a:cubicBezTo>
                    <a:pt x="576" y="214"/>
                    <a:pt x="543" y="192"/>
                    <a:pt x="526" y="159"/>
                  </a:cubicBezTo>
                  <a:cubicBezTo>
                    <a:pt x="492" y="92"/>
                    <a:pt x="574" y="52"/>
                    <a:pt x="621" y="36"/>
                  </a:cubicBezTo>
                  <a:cubicBezTo>
                    <a:pt x="653" y="26"/>
                    <a:pt x="685" y="19"/>
                    <a:pt x="718" y="13"/>
                  </a:cubicBezTo>
                  <a:cubicBezTo>
                    <a:pt x="725" y="12"/>
                    <a:pt x="722" y="0"/>
                    <a:pt x="716" y="2"/>
                  </a:cubicBezTo>
                  <a:cubicBezTo>
                    <a:pt x="681" y="7"/>
                    <a:pt x="646" y="16"/>
                    <a:pt x="613" y="26"/>
                  </a:cubicBezTo>
                  <a:cubicBezTo>
                    <a:pt x="585" y="36"/>
                    <a:pt x="556" y="49"/>
                    <a:pt x="534" y="70"/>
                  </a:cubicBezTo>
                  <a:cubicBezTo>
                    <a:pt x="515" y="89"/>
                    <a:pt x="504" y="115"/>
                    <a:pt x="509" y="142"/>
                  </a:cubicBezTo>
                  <a:cubicBezTo>
                    <a:pt x="514" y="175"/>
                    <a:pt x="540" y="200"/>
                    <a:pt x="564" y="218"/>
                  </a:cubicBezTo>
                  <a:cubicBezTo>
                    <a:pt x="595" y="242"/>
                    <a:pt x="631" y="257"/>
                    <a:pt x="668" y="270"/>
                  </a:cubicBezTo>
                  <a:cubicBezTo>
                    <a:pt x="706" y="283"/>
                    <a:pt x="746" y="294"/>
                    <a:pt x="785" y="304"/>
                  </a:cubicBezTo>
                  <a:cubicBezTo>
                    <a:pt x="863" y="325"/>
                    <a:pt x="945" y="343"/>
                    <a:pt x="1016" y="387"/>
                  </a:cubicBezTo>
                  <a:cubicBezTo>
                    <a:pt x="1066" y="417"/>
                    <a:pt x="1133" y="474"/>
                    <a:pt x="1117" y="545"/>
                  </a:cubicBezTo>
                  <a:cubicBezTo>
                    <a:pt x="1109" y="577"/>
                    <a:pt x="1087" y="601"/>
                    <a:pt x="1063" y="620"/>
                  </a:cubicBezTo>
                  <a:cubicBezTo>
                    <a:pt x="1034" y="641"/>
                    <a:pt x="1001" y="656"/>
                    <a:pt x="967" y="668"/>
                  </a:cubicBezTo>
                  <a:cubicBezTo>
                    <a:pt x="810" y="720"/>
                    <a:pt x="638" y="682"/>
                    <a:pt x="485" y="753"/>
                  </a:cubicBezTo>
                  <a:cubicBezTo>
                    <a:pt x="433" y="777"/>
                    <a:pt x="369" y="821"/>
                    <a:pt x="369" y="890"/>
                  </a:cubicBezTo>
                  <a:cubicBezTo>
                    <a:pt x="369" y="925"/>
                    <a:pt x="386" y="958"/>
                    <a:pt x="408" y="984"/>
                  </a:cubicBezTo>
                  <a:cubicBezTo>
                    <a:pt x="433" y="1015"/>
                    <a:pt x="467" y="1038"/>
                    <a:pt x="501" y="1057"/>
                  </a:cubicBezTo>
                  <a:cubicBezTo>
                    <a:pt x="537" y="1077"/>
                    <a:pt x="574" y="1095"/>
                    <a:pt x="612" y="1110"/>
                  </a:cubicBezTo>
                  <a:cubicBezTo>
                    <a:pt x="654" y="1129"/>
                    <a:pt x="696" y="1147"/>
                    <a:pt x="737" y="1165"/>
                  </a:cubicBezTo>
                  <a:cubicBezTo>
                    <a:pt x="991" y="1274"/>
                    <a:pt x="991" y="1274"/>
                    <a:pt x="991" y="1274"/>
                  </a:cubicBezTo>
                  <a:cubicBezTo>
                    <a:pt x="1117" y="1329"/>
                    <a:pt x="1117" y="1329"/>
                    <a:pt x="1117" y="1329"/>
                  </a:cubicBezTo>
                  <a:cubicBezTo>
                    <a:pt x="1156" y="1346"/>
                    <a:pt x="1195" y="1361"/>
                    <a:pt x="1230" y="1386"/>
                  </a:cubicBezTo>
                  <a:cubicBezTo>
                    <a:pt x="1259" y="1406"/>
                    <a:pt x="1293" y="1439"/>
                    <a:pt x="1290" y="1479"/>
                  </a:cubicBezTo>
                  <a:cubicBezTo>
                    <a:pt x="1288" y="1512"/>
                    <a:pt x="1262" y="1535"/>
                    <a:pt x="1238" y="1551"/>
                  </a:cubicBezTo>
                  <a:cubicBezTo>
                    <a:pt x="1207" y="1571"/>
                    <a:pt x="1172" y="1584"/>
                    <a:pt x="1138" y="1595"/>
                  </a:cubicBezTo>
                  <a:cubicBezTo>
                    <a:pt x="1098" y="1607"/>
                    <a:pt x="1058" y="1618"/>
                    <a:pt x="1017" y="1627"/>
                  </a:cubicBezTo>
                  <a:cubicBezTo>
                    <a:pt x="934" y="1646"/>
                    <a:pt x="849" y="1660"/>
                    <a:pt x="764" y="1668"/>
                  </a:cubicBezTo>
                  <a:cubicBezTo>
                    <a:pt x="678" y="1676"/>
                    <a:pt x="592" y="1679"/>
                    <a:pt x="506" y="1676"/>
                  </a:cubicBezTo>
                  <a:cubicBezTo>
                    <a:pt x="463" y="1674"/>
                    <a:pt x="420" y="1672"/>
                    <a:pt x="376" y="1667"/>
                  </a:cubicBezTo>
                  <a:cubicBezTo>
                    <a:pt x="332" y="1663"/>
                    <a:pt x="287" y="1656"/>
                    <a:pt x="243" y="1653"/>
                  </a:cubicBezTo>
                  <a:cubicBezTo>
                    <a:pt x="202" y="1650"/>
                    <a:pt x="161" y="1651"/>
                    <a:pt x="121" y="1660"/>
                  </a:cubicBezTo>
                  <a:cubicBezTo>
                    <a:pt x="88" y="1667"/>
                    <a:pt x="53" y="1680"/>
                    <a:pt x="28" y="1706"/>
                  </a:cubicBezTo>
                  <a:cubicBezTo>
                    <a:pt x="10" y="1724"/>
                    <a:pt x="0" y="1749"/>
                    <a:pt x="2" y="1774"/>
                  </a:cubicBezTo>
                  <a:cubicBezTo>
                    <a:pt x="4" y="1800"/>
                    <a:pt x="14" y="1824"/>
                    <a:pt x="32" y="1843"/>
                  </a:cubicBezTo>
                  <a:cubicBezTo>
                    <a:pt x="52" y="1863"/>
                    <a:pt x="78" y="1878"/>
                    <a:pt x="106" y="1884"/>
                  </a:cubicBezTo>
                  <a:cubicBezTo>
                    <a:pt x="113" y="1885"/>
                    <a:pt x="116" y="1874"/>
                    <a:pt x="109" y="1872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6" name="矩形 315">
              <a:extLst>
                <a:ext uri="{FF2B5EF4-FFF2-40B4-BE49-F238E27FC236}">
                  <a16:creationId xmlns:a16="http://schemas.microsoft.com/office/drawing/2014/main" id="{014BB940-41BB-4911-BF1F-220EF1B67FF7}"/>
                </a:ext>
              </a:extLst>
            </p:cNvPr>
            <p:cNvSpPr/>
            <p:nvPr/>
          </p:nvSpPr>
          <p:spPr bwMode="auto">
            <a:xfrm>
              <a:off x="2820670" y="5522813"/>
              <a:ext cx="6550660" cy="16255"/>
            </a:xfrm>
            <a:prstGeom prst="rect">
              <a:avLst/>
            </a:pr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7" name="任意多边形 6">
              <a:extLst>
                <a:ext uri="{FF2B5EF4-FFF2-40B4-BE49-F238E27FC236}">
                  <a16:creationId xmlns:a16="http://schemas.microsoft.com/office/drawing/2014/main" id="{787F3E89-7A30-4EC8-AD80-672BC36F2F72}"/>
                </a:ext>
              </a:extLst>
            </p:cNvPr>
            <p:cNvSpPr/>
            <p:nvPr/>
          </p:nvSpPr>
          <p:spPr bwMode="auto">
            <a:xfrm>
              <a:off x="8620565" y="4734459"/>
              <a:ext cx="508977" cy="743654"/>
            </a:xfrm>
            <a:custGeom>
              <a:avLst/>
              <a:gdLst>
                <a:gd name="T0" fmla="*/ 109 w 276"/>
                <a:gd name="T1" fmla="*/ 0 h 403"/>
                <a:gd name="T2" fmla="*/ 276 w 276"/>
                <a:gd name="T3" fmla="*/ 248 h 403"/>
                <a:gd name="T4" fmla="*/ 121 w 276"/>
                <a:gd name="T5" fmla="*/ 403 h 403"/>
                <a:gd name="T6" fmla="*/ 100 w 276"/>
                <a:gd name="T7" fmla="*/ 363 h 403"/>
                <a:gd name="T8" fmla="*/ 135 w 276"/>
                <a:gd name="T9" fmla="*/ 282 h 403"/>
                <a:gd name="T10" fmla="*/ 109 w 276"/>
                <a:gd name="T11" fmla="*/ 187 h 403"/>
                <a:gd name="T12" fmla="*/ 0 w 276"/>
                <a:gd name="T13" fmla="*/ 46 h 403"/>
                <a:gd name="T14" fmla="*/ 109 w 276"/>
                <a:gd name="T15" fmla="*/ 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6" h="403">
                  <a:moveTo>
                    <a:pt x="109" y="0"/>
                  </a:moveTo>
                  <a:cubicBezTo>
                    <a:pt x="276" y="248"/>
                    <a:pt x="276" y="248"/>
                    <a:pt x="276" y="248"/>
                  </a:cubicBezTo>
                  <a:cubicBezTo>
                    <a:pt x="121" y="403"/>
                    <a:pt x="121" y="403"/>
                    <a:pt x="121" y="403"/>
                  </a:cubicBezTo>
                  <a:cubicBezTo>
                    <a:pt x="100" y="363"/>
                    <a:pt x="100" y="363"/>
                    <a:pt x="100" y="363"/>
                  </a:cubicBezTo>
                  <a:cubicBezTo>
                    <a:pt x="135" y="282"/>
                    <a:pt x="135" y="282"/>
                    <a:pt x="135" y="282"/>
                  </a:cubicBezTo>
                  <a:cubicBezTo>
                    <a:pt x="135" y="282"/>
                    <a:pt x="129" y="207"/>
                    <a:pt x="109" y="187"/>
                  </a:cubicBezTo>
                  <a:cubicBezTo>
                    <a:pt x="89" y="167"/>
                    <a:pt x="0" y="46"/>
                    <a:pt x="0" y="46"/>
                  </a:cubicBezTo>
                  <a:lnTo>
                    <a:pt x="109" y="0"/>
                  </a:lnTo>
                  <a:close/>
                </a:path>
              </a:pathLst>
            </a:custGeom>
            <a:solidFill>
              <a:srgbClr val="FFB8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8" name="任意多边形 7">
              <a:extLst>
                <a:ext uri="{FF2B5EF4-FFF2-40B4-BE49-F238E27FC236}">
                  <a16:creationId xmlns:a16="http://schemas.microsoft.com/office/drawing/2014/main" id="{A16B95FE-BA47-40E7-8F86-8BEC94BB39D1}"/>
                </a:ext>
              </a:extLst>
            </p:cNvPr>
            <p:cNvSpPr/>
            <p:nvPr/>
          </p:nvSpPr>
          <p:spPr bwMode="auto">
            <a:xfrm>
              <a:off x="7918563" y="3257309"/>
              <a:ext cx="1015921" cy="1723002"/>
            </a:xfrm>
            <a:custGeom>
              <a:avLst/>
              <a:gdLst>
                <a:gd name="T0" fmla="*/ 277 w 551"/>
                <a:gd name="T1" fmla="*/ 0 h 934"/>
                <a:gd name="T2" fmla="*/ 242 w 551"/>
                <a:gd name="T3" fmla="*/ 266 h 934"/>
                <a:gd name="T4" fmla="*/ 502 w 551"/>
                <a:gd name="T5" fmla="*/ 822 h 934"/>
                <a:gd name="T6" fmla="*/ 286 w 551"/>
                <a:gd name="T7" fmla="*/ 910 h 934"/>
                <a:gd name="T8" fmla="*/ 0 w 551"/>
                <a:gd name="T9" fmla="*/ 107 h 934"/>
                <a:gd name="T10" fmla="*/ 277 w 551"/>
                <a:gd name="T11" fmla="*/ 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1" h="934">
                  <a:moveTo>
                    <a:pt x="277" y="0"/>
                  </a:moveTo>
                  <a:cubicBezTo>
                    <a:pt x="277" y="0"/>
                    <a:pt x="309" y="50"/>
                    <a:pt x="242" y="266"/>
                  </a:cubicBezTo>
                  <a:cubicBezTo>
                    <a:pt x="242" y="266"/>
                    <a:pt x="551" y="788"/>
                    <a:pt x="502" y="822"/>
                  </a:cubicBezTo>
                  <a:cubicBezTo>
                    <a:pt x="453" y="857"/>
                    <a:pt x="321" y="934"/>
                    <a:pt x="286" y="910"/>
                  </a:cubicBezTo>
                  <a:cubicBezTo>
                    <a:pt x="252" y="887"/>
                    <a:pt x="0" y="107"/>
                    <a:pt x="0" y="107"/>
                  </a:cubicBezTo>
                  <a:cubicBezTo>
                    <a:pt x="277" y="0"/>
                    <a:pt x="277" y="0"/>
                    <a:pt x="277" y="0"/>
                  </a:cubicBezTo>
                </a:path>
              </a:pathLst>
            </a:custGeom>
            <a:solidFill>
              <a:srgbClr val="2F2E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9" name="任意多边形 8">
              <a:extLst>
                <a:ext uri="{FF2B5EF4-FFF2-40B4-BE49-F238E27FC236}">
                  <a16:creationId xmlns:a16="http://schemas.microsoft.com/office/drawing/2014/main" id="{CA82BE52-C11F-4F99-BB26-18F1C28BDFA8}"/>
                </a:ext>
              </a:extLst>
            </p:cNvPr>
            <p:cNvSpPr/>
            <p:nvPr/>
          </p:nvSpPr>
          <p:spPr bwMode="auto">
            <a:xfrm>
              <a:off x="8539291" y="5109334"/>
              <a:ext cx="707081" cy="543518"/>
            </a:xfrm>
            <a:custGeom>
              <a:avLst/>
              <a:gdLst>
                <a:gd name="T0" fmla="*/ 290 w 383"/>
                <a:gd name="T1" fmla="*/ 0 h 295"/>
                <a:gd name="T2" fmla="*/ 340 w 383"/>
                <a:gd name="T3" fmla="*/ 50 h 295"/>
                <a:gd name="T4" fmla="*/ 334 w 383"/>
                <a:gd name="T5" fmla="*/ 145 h 295"/>
                <a:gd name="T6" fmla="*/ 58 w 383"/>
                <a:gd name="T7" fmla="*/ 258 h 295"/>
                <a:gd name="T8" fmla="*/ 127 w 383"/>
                <a:gd name="T9" fmla="*/ 186 h 295"/>
                <a:gd name="T10" fmla="*/ 159 w 383"/>
                <a:gd name="T11" fmla="*/ 125 h 295"/>
                <a:gd name="T12" fmla="*/ 170 w 383"/>
                <a:gd name="T13" fmla="*/ 177 h 295"/>
                <a:gd name="T14" fmla="*/ 290 w 383"/>
                <a:gd name="T1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3" h="295">
                  <a:moveTo>
                    <a:pt x="290" y="0"/>
                  </a:moveTo>
                  <a:cubicBezTo>
                    <a:pt x="340" y="50"/>
                    <a:pt x="340" y="50"/>
                    <a:pt x="340" y="50"/>
                  </a:cubicBezTo>
                  <a:cubicBezTo>
                    <a:pt x="366" y="76"/>
                    <a:pt x="383" y="114"/>
                    <a:pt x="334" y="145"/>
                  </a:cubicBezTo>
                  <a:cubicBezTo>
                    <a:pt x="285" y="177"/>
                    <a:pt x="116" y="295"/>
                    <a:pt x="58" y="258"/>
                  </a:cubicBezTo>
                  <a:cubicBezTo>
                    <a:pt x="0" y="220"/>
                    <a:pt x="127" y="186"/>
                    <a:pt x="127" y="186"/>
                  </a:cubicBezTo>
                  <a:cubicBezTo>
                    <a:pt x="127" y="186"/>
                    <a:pt x="148" y="108"/>
                    <a:pt x="159" y="125"/>
                  </a:cubicBezTo>
                  <a:cubicBezTo>
                    <a:pt x="170" y="143"/>
                    <a:pt x="170" y="177"/>
                    <a:pt x="170" y="177"/>
                  </a:cubicBezTo>
                  <a:lnTo>
                    <a:pt x="290" y="0"/>
                  </a:lnTo>
                  <a:close/>
                </a:path>
              </a:pathLst>
            </a:custGeom>
            <a:solidFill>
              <a:srgbClr val="2F2E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0" name="任意多边形 9">
              <a:extLst>
                <a:ext uri="{FF2B5EF4-FFF2-40B4-BE49-F238E27FC236}">
                  <a16:creationId xmlns:a16="http://schemas.microsoft.com/office/drawing/2014/main" id="{C0315B31-D928-4E26-8617-65F21202722A}"/>
                </a:ext>
              </a:extLst>
            </p:cNvPr>
            <p:cNvSpPr/>
            <p:nvPr/>
          </p:nvSpPr>
          <p:spPr bwMode="auto">
            <a:xfrm>
              <a:off x="7355742" y="4935611"/>
              <a:ext cx="595330" cy="621744"/>
            </a:xfrm>
            <a:custGeom>
              <a:avLst/>
              <a:gdLst>
                <a:gd name="T0" fmla="*/ 323 w 323"/>
                <a:gd name="T1" fmla="*/ 26 h 337"/>
                <a:gd name="T2" fmla="*/ 231 w 323"/>
                <a:gd name="T3" fmla="*/ 216 h 337"/>
                <a:gd name="T4" fmla="*/ 236 w 323"/>
                <a:gd name="T5" fmla="*/ 294 h 337"/>
                <a:gd name="T6" fmla="*/ 61 w 323"/>
                <a:gd name="T7" fmla="*/ 337 h 337"/>
                <a:gd name="T8" fmla="*/ 0 w 323"/>
                <a:gd name="T9" fmla="*/ 309 h 337"/>
                <a:gd name="T10" fmla="*/ 20 w 323"/>
                <a:gd name="T11" fmla="*/ 257 h 337"/>
                <a:gd name="T12" fmla="*/ 153 w 323"/>
                <a:gd name="T13" fmla="*/ 147 h 337"/>
                <a:gd name="T14" fmla="*/ 202 w 323"/>
                <a:gd name="T15" fmla="*/ 0 h 337"/>
                <a:gd name="T16" fmla="*/ 323 w 323"/>
                <a:gd name="T17" fmla="*/ 2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3" h="337">
                  <a:moveTo>
                    <a:pt x="323" y="26"/>
                  </a:moveTo>
                  <a:cubicBezTo>
                    <a:pt x="323" y="26"/>
                    <a:pt x="231" y="196"/>
                    <a:pt x="231" y="216"/>
                  </a:cubicBezTo>
                  <a:cubicBezTo>
                    <a:pt x="231" y="237"/>
                    <a:pt x="236" y="294"/>
                    <a:pt x="236" y="294"/>
                  </a:cubicBezTo>
                  <a:cubicBezTo>
                    <a:pt x="61" y="337"/>
                    <a:pt x="61" y="337"/>
                    <a:pt x="61" y="337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20" y="257"/>
                    <a:pt x="20" y="257"/>
                    <a:pt x="20" y="257"/>
                  </a:cubicBezTo>
                  <a:cubicBezTo>
                    <a:pt x="20" y="257"/>
                    <a:pt x="130" y="219"/>
                    <a:pt x="153" y="147"/>
                  </a:cubicBezTo>
                  <a:cubicBezTo>
                    <a:pt x="176" y="75"/>
                    <a:pt x="202" y="0"/>
                    <a:pt x="202" y="0"/>
                  </a:cubicBezTo>
                  <a:lnTo>
                    <a:pt x="323" y="26"/>
                  </a:lnTo>
                  <a:close/>
                </a:path>
              </a:pathLst>
            </a:custGeom>
            <a:solidFill>
              <a:srgbClr val="FFB8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1" name="椭圆 320">
              <a:extLst>
                <a:ext uri="{FF2B5EF4-FFF2-40B4-BE49-F238E27FC236}">
                  <a16:creationId xmlns:a16="http://schemas.microsoft.com/office/drawing/2014/main" id="{4A453042-5F6C-4EAB-8EF9-6D4439F6454B}"/>
                </a:ext>
              </a:extLst>
            </p:cNvPr>
            <p:cNvSpPr/>
            <p:nvPr/>
          </p:nvSpPr>
          <p:spPr bwMode="auto">
            <a:xfrm>
              <a:off x="7923643" y="1419508"/>
              <a:ext cx="445990" cy="445990"/>
            </a:xfrm>
            <a:prstGeom prst="ellipse">
              <a:avLst/>
            </a:prstGeom>
            <a:solidFill>
              <a:srgbClr val="FFB8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2" name="任意多边形 11">
              <a:extLst>
                <a:ext uri="{FF2B5EF4-FFF2-40B4-BE49-F238E27FC236}">
                  <a16:creationId xmlns:a16="http://schemas.microsoft.com/office/drawing/2014/main" id="{F9AAB1A7-D566-4BC9-AC96-AFF2F506114D}"/>
                </a:ext>
              </a:extLst>
            </p:cNvPr>
            <p:cNvSpPr/>
            <p:nvPr/>
          </p:nvSpPr>
          <p:spPr bwMode="auto">
            <a:xfrm>
              <a:off x="8089237" y="1758825"/>
              <a:ext cx="339318" cy="379955"/>
            </a:xfrm>
            <a:custGeom>
              <a:avLst/>
              <a:gdLst>
                <a:gd name="T0" fmla="*/ 0 w 184"/>
                <a:gd name="T1" fmla="*/ 41 h 206"/>
                <a:gd name="T2" fmla="*/ 57 w 184"/>
                <a:gd name="T3" fmla="*/ 206 h 206"/>
                <a:gd name="T4" fmla="*/ 184 w 184"/>
                <a:gd name="T5" fmla="*/ 150 h 206"/>
                <a:gd name="T6" fmla="*/ 98 w 184"/>
                <a:gd name="T7" fmla="*/ 0 h 206"/>
                <a:gd name="T8" fmla="*/ 0 w 184"/>
                <a:gd name="T9" fmla="*/ 4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" h="206">
                  <a:moveTo>
                    <a:pt x="0" y="41"/>
                  </a:moveTo>
                  <a:cubicBezTo>
                    <a:pt x="57" y="206"/>
                    <a:pt x="57" y="206"/>
                    <a:pt x="57" y="206"/>
                  </a:cubicBezTo>
                  <a:cubicBezTo>
                    <a:pt x="184" y="150"/>
                    <a:pt x="184" y="150"/>
                    <a:pt x="184" y="150"/>
                  </a:cubicBezTo>
                  <a:cubicBezTo>
                    <a:pt x="184" y="150"/>
                    <a:pt x="98" y="18"/>
                    <a:pt x="98" y="0"/>
                  </a:cubicBezTo>
                  <a:lnTo>
                    <a:pt x="0" y="41"/>
                  </a:lnTo>
                  <a:close/>
                </a:path>
              </a:pathLst>
            </a:custGeom>
            <a:solidFill>
              <a:srgbClr val="FFB8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3" name="任意多边形 12">
              <a:extLst>
                <a:ext uri="{FF2B5EF4-FFF2-40B4-BE49-F238E27FC236}">
                  <a16:creationId xmlns:a16="http://schemas.microsoft.com/office/drawing/2014/main" id="{4D7E72C1-85EC-4519-BB13-60FA037BE57E}"/>
                </a:ext>
              </a:extLst>
            </p:cNvPr>
            <p:cNvSpPr/>
            <p:nvPr/>
          </p:nvSpPr>
          <p:spPr bwMode="auto">
            <a:xfrm>
              <a:off x="7670678" y="2923071"/>
              <a:ext cx="868613" cy="2149689"/>
            </a:xfrm>
            <a:custGeom>
              <a:avLst/>
              <a:gdLst>
                <a:gd name="T0" fmla="*/ 209 w 471"/>
                <a:gd name="T1" fmla="*/ 0 h 1165"/>
                <a:gd name="T2" fmla="*/ 362 w 471"/>
                <a:gd name="T3" fmla="*/ 0 h 1165"/>
                <a:gd name="T4" fmla="*/ 408 w 471"/>
                <a:gd name="T5" fmla="*/ 343 h 1165"/>
                <a:gd name="T6" fmla="*/ 379 w 471"/>
                <a:gd name="T7" fmla="*/ 452 h 1165"/>
                <a:gd name="T8" fmla="*/ 312 w 471"/>
                <a:gd name="T9" fmla="*/ 821 h 1165"/>
                <a:gd name="T10" fmla="*/ 212 w 471"/>
                <a:gd name="T11" fmla="*/ 1159 h 1165"/>
                <a:gd name="T12" fmla="*/ 0 w 471"/>
                <a:gd name="T13" fmla="*/ 1135 h 1165"/>
                <a:gd name="T14" fmla="*/ 94 w 471"/>
                <a:gd name="T15" fmla="*/ 274 h 1165"/>
                <a:gd name="T16" fmla="*/ 114 w 471"/>
                <a:gd name="T17" fmla="*/ 239 h 1165"/>
                <a:gd name="T18" fmla="*/ 118 w 471"/>
                <a:gd name="T19" fmla="*/ 88 h 1165"/>
                <a:gd name="T20" fmla="*/ 209 w 471"/>
                <a:gd name="T21" fmla="*/ 0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1" h="1165">
                  <a:moveTo>
                    <a:pt x="209" y="0"/>
                  </a:moveTo>
                  <a:cubicBezTo>
                    <a:pt x="362" y="0"/>
                    <a:pt x="362" y="0"/>
                    <a:pt x="362" y="0"/>
                  </a:cubicBezTo>
                  <a:cubicBezTo>
                    <a:pt x="362" y="0"/>
                    <a:pt x="471" y="167"/>
                    <a:pt x="408" y="343"/>
                  </a:cubicBezTo>
                  <a:cubicBezTo>
                    <a:pt x="398" y="370"/>
                    <a:pt x="389" y="407"/>
                    <a:pt x="379" y="452"/>
                  </a:cubicBezTo>
                  <a:cubicBezTo>
                    <a:pt x="357" y="554"/>
                    <a:pt x="335" y="693"/>
                    <a:pt x="312" y="821"/>
                  </a:cubicBezTo>
                  <a:cubicBezTo>
                    <a:pt x="281" y="1000"/>
                    <a:pt x="248" y="1157"/>
                    <a:pt x="212" y="1159"/>
                  </a:cubicBezTo>
                  <a:cubicBezTo>
                    <a:pt x="140" y="1165"/>
                    <a:pt x="0" y="1164"/>
                    <a:pt x="0" y="1135"/>
                  </a:cubicBezTo>
                  <a:cubicBezTo>
                    <a:pt x="0" y="1107"/>
                    <a:pt x="94" y="274"/>
                    <a:pt x="94" y="274"/>
                  </a:cubicBezTo>
                  <a:cubicBezTo>
                    <a:pt x="114" y="239"/>
                    <a:pt x="114" y="239"/>
                    <a:pt x="114" y="239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9" y="39"/>
                    <a:pt x="160" y="0"/>
                    <a:pt x="209" y="0"/>
                  </a:cubicBezTo>
                </a:path>
              </a:pathLst>
            </a:custGeom>
            <a:solidFill>
              <a:srgbClr val="2F2E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4" name="任意多边形 13">
              <a:extLst>
                <a:ext uri="{FF2B5EF4-FFF2-40B4-BE49-F238E27FC236}">
                  <a16:creationId xmlns:a16="http://schemas.microsoft.com/office/drawing/2014/main" id="{CF7A8775-F5B4-4B02-A06C-D1D45F721FC7}"/>
                </a:ext>
              </a:extLst>
            </p:cNvPr>
            <p:cNvSpPr/>
            <p:nvPr/>
          </p:nvSpPr>
          <p:spPr bwMode="auto">
            <a:xfrm>
              <a:off x="7149511" y="5332836"/>
              <a:ext cx="688795" cy="263124"/>
            </a:xfrm>
            <a:custGeom>
              <a:avLst/>
              <a:gdLst>
                <a:gd name="T0" fmla="*/ 341 w 374"/>
                <a:gd name="T1" fmla="*/ 0 h 143"/>
                <a:gd name="T2" fmla="*/ 366 w 374"/>
                <a:gd name="T3" fmla="*/ 96 h 143"/>
                <a:gd name="T4" fmla="*/ 279 w 374"/>
                <a:gd name="T5" fmla="*/ 137 h 143"/>
                <a:gd name="T6" fmla="*/ 0 w 374"/>
                <a:gd name="T7" fmla="*/ 102 h 143"/>
                <a:gd name="T8" fmla="*/ 169 w 374"/>
                <a:gd name="T9" fmla="*/ 26 h 143"/>
                <a:gd name="T10" fmla="*/ 158 w 374"/>
                <a:gd name="T11" fmla="*/ 79 h 143"/>
                <a:gd name="T12" fmla="*/ 157 w 374"/>
                <a:gd name="T13" fmla="*/ 81 h 143"/>
                <a:gd name="T14" fmla="*/ 341 w 374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4" h="143">
                  <a:moveTo>
                    <a:pt x="341" y="0"/>
                  </a:moveTo>
                  <a:cubicBezTo>
                    <a:pt x="341" y="0"/>
                    <a:pt x="374" y="56"/>
                    <a:pt x="366" y="96"/>
                  </a:cubicBezTo>
                  <a:cubicBezTo>
                    <a:pt x="357" y="137"/>
                    <a:pt x="343" y="131"/>
                    <a:pt x="279" y="137"/>
                  </a:cubicBezTo>
                  <a:cubicBezTo>
                    <a:pt x="216" y="143"/>
                    <a:pt x="0" y="143"/>
                    <a:pt x="0" y="102"/>
                  </a:cubicBezTo>
                  <a:cubicBezTo>
                    <a:pt x="0" y="62"/>
                    <a:pt x="168" y="10"/>
                    <a:pt x="169" y="26"/>
                  </a:cubicBezTo>
                  <a:cubicBezTo>
                    <a:pt x="170" y="42"/>
                    <a:pt x="176" y="73"/>
                    <a:pt x="158" y="79"/>
                  </a:cubicBezTo>
                  <a:cubicBezTo>
                    <a:pt x="141" y="85"/>
                    <a:pt x="157" y="81"/>
                    <a:pt x="157" y="81"/>
                  </a:cubicBezTo>
                  <a:lnTo>
                    <a:pt x="341" y="0"/>
                  </a:lnTo>
                  <a:close/>
                </a:path>
              </a:pathLst>
            </a:custGeom>
            <a:solidFill>
              <a:srgbClr val="2F2E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5" name="任意多边形 14">
              <a:extLst>
                <a:ext uri="{FF2B5EF4-FFF2-40B4-BE49-F238E27FC236}">
                  <a16:creationId xmlns:a16="http://schemas.microsoft.com/office/drawing/2014/main" id="{35D9D7C2-7793-4B7F-9335-1DEC916DF701}"/>
                </a:ext>
              </a:extLst>
            </p:cNvPr>
            <p:cNvSpPr/>
            <p:nvPr/>
          </p:nvSpPr>
          <p:spPr bwMode="auto">
            <a:xfrm>
              <a:off x="7609723" y="3495035"/>
              <a:ext cx="345413" cy="434814"/>
            </a:xfrm>
            <a:custGeom>
              <a:avLst/>
              <a:gdLst>
                <a:gd name="T0" fmla="*/ 187 w 187"/>
                <a:gd name="T1" fmla="*/ 34 h 236"/>
                <a:gd name="T2" fmla="*/ 76 w 187"/>
                <a:gd name="T3" fmla="*/ 167 h 236"/>
                <a:gd name="T4" fmla="*/ 127 w 187"/>
                <a:gd name="T5" fmla="*/ 0 h 236"/>
                <a:gd name="T6" fmla="*/ 187 w 187"/>
                <a:gd name="T7" fmla="*/ 3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7" h="236">
                  <a:moveTo>
                    <a:pt x="187" y="34"/>
                  </a:moveTo>
                  <a:cubicBezTo>
                    <a:pt x="187" y="34"/>
                    <a:pt x="153" y="236"/>
                    <a:pt x="76" y="167"/>
                  </a:cubicBezTo>
                  <a:cubicBezTo>
                    <a:pt x="0" y="97"/>
                    <a:pt x="127" y="0"/>
                    <a:pt x="127" y="0"/>
                  </a:cubicBezTo>
                  <a:lnTo>
                    <a:pt x="187" y="34"/>
                  </a:lnTo>
                  <a:close/>
                </a:path>
              </a:pathLst>
            </a:custGeom>
            <a:solidFill>
              <a:srgbClr val="FFB8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6" name="任意多边形 15">
              <a:extLst>
                <a:ext uri="{FF2B5EF4-FFF2-40B4-BE49-F238E27FC236}">
                  <a16:creationId xmlns:a16="http://schemas.microsoft.com/office/drawing/2014/main" id="{12A3A2F9-F620-4418-838D-5226F6BF04DE}"/>
                </a:ext>
              </a:extLst>
            </p:cNvPr>
            <p:cNvSpPr/>
            <p:nvPr/>
          </p:nvSpPr>
          <p:spPr bwMode="auto">
            <a:xfrm>
              <a:off x="7844401" y="1884800"/>
              <a:ext cx="700986" cy="1379621"/>
            </a:xfrm>
            <a:custGeom>
              <a:avLst/>
              <a:gdLst>
                <a:gd name="T0" fmla="*/ 299 w 380"/>
                <a:gd name="T1" fmla="*/ 653 h 748"/>
                <a:gd name="T2" fmla="*/ 324 w 380"/>
                <a:gd name="T3" fmla="*/ 650 h 748"/>
                <a:gd name="T4" fmla="*/ 334 w 380"/>
                <a:gd name="T5" fmla="*/ 634 h 748"/>
                <a:gd name="T6" fmla="*/ 369 w 380"/>
                <a:gd name="T7" fmla="*/ 274 h 748"/>
                <a:gd name="T8" fmla="*/ 326 w 380"/>
                <a:gd name="T9" fmla="*/ 56 h 748"/>
                <a:gd name="T10" fmla="*/ 295 w 380"/>
                <a:gd name="T11" fmla="*/ 13 h 748"/>
                <a:gd name="T12" fmla="*/ 265 w 380"/>
                <a:gd name="T13" fmla="*/ 4 h 748"/>
                <a:gd name="T14" fmla="*/ 167 w 380"/>
                <a:gd name="T15" fmla="*/ 110 h 748"/>
                <a:gd name="T16" fmla="*/ 93 w 380"/>
                <a:gd name="T17" fmla="*/ 224 h 748"/>
                <a:gd name="T18" fmla="*/ 28 w 380"/>
                <a:gd name="T19" fmla="*/ 365 h 748"/>
                <a:gd name="T20" fmla="*/ 28 w 380"/>
                <a:gd name="T21" fmla="*/ 368 h 748"/>
                <a:gd name="T22" fmla="*/ 31 w 380"/>
                <a:gd name="T23" fmla="*/ 389 h 748"/>
                <a:gd name="T24" fmla="*/ 2 w 380"/>
                <a:gd name="T25" fmla="*/ 691 h 748"/>
                <a:gd name="T26" fmla="*/ 12 w 380"/>
                <a:gd name="T27" fmla="*/ 718 h 748"/>
                <a:gd name="T28" fmla="*/ 15 w 380"/>
                <a:gd name="T29" fmla="*/ 719 h 748"/>
                <a:gd name="T30" fmla="*/ 14 w 380"/>
                <a:gd name="T31" fmla="*/ 719 h 748"/>
                <a:gd name="T32" fmla="*/ 112 w 380"/>
                <a:gd name="T33" fmla="*/ 662 h 748"/>
                <a:gd name="T34" fmla="*/ 160 w 380"/>
                <a:gd name="T35" fmla="*/ 611 h 748"/>
                <a:gd name="T36" fmla="*/ 256 w 380"/>
                <a:gd name="T37" fmla="*/ 643 h 748"/>
                <a:gd name="T38" fmla="*/ 299 w 380"/>
                <a:gd name="T39" fmla="*/ 65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0" h="748">
                  <a:moveTo>
                    <a:pt x="299" y="653"/>
                  </a:moveTo>
                  <a:cubicBezTo>
                    <a:pt x="308" y="657"/>
                    <a:pt x="317" y="656"/>
                    <a:pt x="324" y="650"/>
                  </a:cubicBezTo>
                  <a:cubicBezTo>
                    <a:pt x="329" y="646"/>
                    <a:pt x="333" y="640"/>
                    <a:pt x="334" y="634"/>
                  </a:cubicBezTo>
                  <a:cubicBezTo>
                    <a:pt x="346" y="564"/>
                    <a:pt x="360" y="371"/>
                    <a:pt x="369" y="274"/>
                  </a:cubicBezTo>
                  <a:cubicBezTo>
                    <a:pt x="380" y="151"/>
                    <a:pt x="326" y="56"/>
                    <a:pt x="326" y="56"/>
                  </a:cubicBezTo>
                  <a:cubicBezTo>
                    <a:pt x="295" y="13"/>
                    <a:pt x="295" y="13"/>
                    <a:pt x="295" y="13"/>
                  </a:cubicBezTo>
                  <a:cubicBezTo>
                    <a:pt x="288" y="3"/>
                    <a:pt x="276" y="0"/>
                    <a:pt x="265" y="4"/>
                  </a:cubicBezTo>
                  <a:cubicBezTo>
                    <a:pt x="265" y="4"/>
                    <a:pt x="168" y="106"/>
                    <a:pt x="167" y="110"/>
                  </a:cubicBezTo>
                  <a:cubicBezTo>
                    <a:pt x="166" y="126"/>
                    <a:pt x="154" y="164"/>
                    <a:pt x="93" y="224"/>
                  </a:cubicBezTo>
                  <a:cubicBezTo>
                    <a:pt x="27" y="291"/>
                    <a:pt x="27" y="348"/>
                    <a:pt x="28" y="365"/>
                  </a:cubicBezTo>
                  <a:cubicBezTo>
                    <a:pt x="28" y="366"/>
                    <a:pt x="28" y="367"/>
                    <a:pt x="28" y="368"/>
                  </a:cubicBezTo>
                  <a:cubicBezTo>
                    <a:pt x="28" y="375"/>
                    <a:pt x="29" y="382"/>
                    <a:pt x="31" y="389"/>
                  </a:cubicBezTo>
                  <a:cubicBezTo>
                    <a:pt x="59" y="477"/>
                    <a:pt x="37" y="582"/>
                    <a:pt x="2" y="691"/>
                  </a:cubicBezTo>
                  <a:cubicBezTo>
                    <a:pt x="0" y="701"/>
                    <a:pt x="4" y="712"/>
                    <a:pt x="12" y="718"/>
                  </a:cubicBezTo>
                  <a:cubicBezTo>
                    <a:pt x="18" y="722"/>
                    <a:pt x="17" y="720"/>
                    <a:pt x="15" y="719"/>
                  </a:cubicBezTo>
                  <a:cubicBezTo>
                    <a:pt x="14" y="718"/>
                    <a:pt x="12" y="717"/>
                    <a:pt x="14" y="719"/>
                  </a:cubicBezTo>
                  <a:cubicBezTo>
                    <a:pt x="38" y="748"/>
                    <a:pt x="73" y="707"/>
                    <a:pt x="112" y="662"/>
                  </a:cubicBezTo>
                  <a:cubicBezTo>
                    <a:pt x="126" y="647"/>
                    <a:pt x="142" y="629"/>
                    <a:pt x="160" y="611"/>
                  </a:cubicBezTo>
                  <a:cubicBezTo>
                    <a:pt x="186" y="585"/>
                    <a:pt x="234" y="643"/>
                    <a:pt x="256" y="643"/>
                  </a:cubicBezTo>
                  <a:cubicBezTo>
                    <a:pt x="271" y="643"/>
                    <a:pt x="286" y="647"/>
                    <a:pt x="299" y="653"/>
                  </a:cubicBezTo>
                </a:path>
              </a:pathLst>
            </a:custGeom>
            <a:solidFill>
              <a:srgbClr val="00B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" name="任意多边形 16">
              <a:extLst>
                <a:ext uri="{FF2B5EF4-FFF2-40B4-BE49-F238E27FC236}">
                  <a16:creationId xmlns:a16="http://schemas.microsoft.com/office/drawing/2014/main" id="{EE094A7D-00D1-4D2F-AE2F-608885BFFE2B}"/>
                </a:ext>
              </a:extLst>
            </p:cNvPr>
            <p:cNvSpPr/>
            <p:nvPr/>
          </p:nvSpPr>
          <p:spPr bwMode="auto">
            <a:xfrm>
              <a:off x="7796652" y="2039220"/>
              <a:ext cx="759909" cy="1546232"/>
            </a:xfrm>
            <a:custGeom>
              <a:avLst/>
              <a:gdLst>
                <a:gd name="T0" fmla="*/ 354 w 412"/>
                <a:gd name="T1" fmla="*/ 26 h 838"/>
                <a:gd name="T2" fmla="*/ 368 w 412"/>
                <a:gd name="T3" fmla="*/ 150 h 838"/>
                <a:gd name="T4" fmla="*/ 324 w 412"/>
                <a:gd name="T5" fmla="*/ 267 h 838"/>
                <a:gd name="T6" fmla="*/ 154 w 412"/>
                <a:gd name="T7" fmla="*/ 703 h 838"/>
                <a:gd name="T8" fmla="*/ 88 w 412"/>
                <a:gd name="T9" fmla="*/ 838 h 838"/>
                <a:gd name="T10" fmla="*/ 0 w 412"/>
                <a:gd name="T11" fmla="*/ 795 h 838"/>
                <a:gd name="T12" fmla="*/ 66 w 412"/>
                <a:gd name="T13" fmla="*/ 677 h 838"/>
                <a:gd name="T14" fmla="*/ 40 w 412"/>
                <a:gd name="T15" fmla="*/ 642 h 838"/>
                <a:gd name="T16" fmla="*/ 163 w 412"/>
                <a:gd name="T17" fmla="*/ 280 h 838"/>
                <a:gd name="T18" fmla="*/ 193 w 412"/>
                <a:gd name="T19" fmla="*/ 189 h 838"/>
                <a:gd name="T20" fmla="*/ 354 w 412"/>
                <a:gd name="T21" fmla="*/ 26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2" h="838">
                  <a:moveTo>
                    <a:pt x="354" y="26"/>
                  </a:moveTo>
                  <a:cubicBezTo>
                    <a:pt x="354" y="26"/>
                    <a:pt x="412" y="86"/>
                    <a:pt x="368" y="150"/>
                  </a:cubicBezTo>
                  <a:cubicBezTo>
                    <a:pt x="325" y="215"/>
                    <a:pt x="324" y="267"/>
                    <a:pt x="324" y="267"/>
                  </a:cubicBezTo>
                  <a:cubicBezTo>
                    <a:pt x="324" y="267"/>
                    <a:pt x="263" y="738"/>
                    <a:pt x="154" y="703"/>
                  </a:cubicBezTo>
                  <a:cubicBezTo>
                    <a:pt x="88" y="838"/>
                    <a:pt x="88" y="838"/>
                    <a:pt x="88" y="838"/>
                  </a:cubicBezTo>
                  <a:cubicBezTo>
                    <a:pt x="0" y="795"/>
                    <a:pt x="0" y="795"/>
                    <a:pt x="0" y="795"/>
                  </a:cubicBezTo>
                  <a:cubicBezTo>
                    <a:pt x="66" y="677"/>
                    <a:pt x="66" y="677"/>
                    <a:pt x="66" y="677"/>
                  </a:cubicBezTo>
                  <a:cubicBezTo>
                    <a:pt x="66" y="677"/>
                    <a:pt x="24" y="669"/>
                    <a:pt x="40" y="642"/>
                  </a:cubicBezTo>
                  <a:cubicBezTo>
                    <a:pt x="51" y="622"/>
                    <a:pt x="122" y="407"/>
                    <a:pt x="163" y="280"/>
                  </a:cubicBezTo>
                  <a:cubicBezTo>
                    <a:pt x="181" y="227"/>
                    <a:pt x="193" y="189"/>
                    <a:pt x="193" y="189"/>
                  </a:cubicBezTo>
                  <a:cubicBezTo>
                    <a:pt x="193" y="189"/>
                    <a:pt x="250" y="0"/>
                    <a:pt x="354" y="26"/>
                  </a:cubicBezTo>
                </a:path>
              </a:pathLst>
            </a:custGeom>
            <a:solidFill>
              <a:srgbClr val="00B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" name="任意多边形 17">
              <a:extLst>
                <a:ext uri="{FF2B5EF4-FFF2-40B4-BE49-F238E27FC236}">
                  <a16:creationId xmlns:a16="http://schemas.microsoft.com/office/drawing/2014/main" id="{845626AF-A7EE-4C6C-A4FE-06898654C9A8}"/>
                </a:ext>
              </a:extLst>
            </p:cNvPr>
            <p:cNvSpPr/>
            <p:nvPr/>
          </p:nvSpPr>
          <p:spPr bwMode="auto">
            <a:xfrm>
              <a:off x="8314772" y="2498416"/>
              <a:ext cx="110736" cy="454117"/>
            </a:xfrm>
            <a:custGeom>
              <a:avLst/>
              <a:gdLst>
                <a:gd name="T0" fmla="*/ 46 w 60"/>
                <a:gd name="T1" fmla="*/ 0 h 246"/>
                <a:gd name="T2" fmla="*/ 44 w 60"/>
                <a:gd name="T3" fmla="*/ 12 h 246"/>
                <a:gd name="T4" fmla="*/ 43 w 60"/>
                <a:gd name="T5" fmla="*/ 18 h 246"/>
                <a:gd name="T6" fmla="*/ 0 w 60"/>
                <a:gd name="T7" fmla="*/ 246 h 246"/>
                <a:gd name="T8" fmla="*/ 60 w 60"/>
                <a:gd name="T9" fmla="*/ 18 h 246"/>
                <a:gd name="T10" fmla="*/ 46 w 60"/>
                <a:gd name="T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246">
                  <a:moveTo>
                    <a:pt x="46" y="0"/>
                  </a:moveTo>
                  <a:cubicBezTo>
                    <a:pt x="44" y="12"/>
                    <a:pt x="44" y="12"/>
                    <a:pt x="44" y="12"/>
                  </a:cubicBezTo>
                  <a:cubicBezTo>
                    <a:pt x="43" y="16"/>
                    <a:pt x="43" y="18"/>
                    <a:pt x="43" y="18"/>
                  </a:cubicBezTo>
                  <a:cubicBezTo>
                    <a:pt x="43" y="18"/>
                    <a:pt x="28" y="133"/>
                    <a:pt x="0" y="246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solidFill>
              <a:srgbClr val="0099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9" name="任意多边形 18">
              <a:extLst>
                <a:ext uri="{FF2B5EF4-FFF2-40B4-BE49-F238E27FC236}">
                  <a16:creationId xmlns:a16="http://schemas.microsoft.com/office/drawing/2014/main" id="{743FD09D-6959-4147-9298-00B47B3DEDEA}"/>
                </a:ext>
              </a:extLst>
            </p:cNvPr>
            <p:cNvSpPr/>
            <p:nvPr/>
          </p:nvSpPr>
          <p:spPr bwMode="auto">
            <a:xfrm>
              <a:off x="8314772" y="2520766"/>
              <a:ext cx="81274" cy="431767"/>
            </a:xfrm>
            <a:custGeom>
              <a:avLst/>
              <a:gdLst>
                <a:gd name="T0" fmla="*/ 44 w 44"/>
                <a:gd name="T1" fmla="*/ 0 h 234"/>
                <a:gd name="T2" fmla="*/ 0 w 44"/>
                <a:gd name="T3" fmla="*/ 234 h 234"/>
                <a:gd name="T4" fmla="*/ 0 w 44"/>
                <a:gd name="T5" fmla="*/ 234 h 234"/>
                <a:gd name="T6" fmla="*/ 43 w 44"/>
                <a:gd name="T7" fmla="*/ 6 h 234"/>
                <a:gd name="T8" fmla="*/ 44 w 44"/>
                <a:gd name="T9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34">
                  <a:moveTo>
                    <a:pt x="44" y="0"/>
                  </a:moveTo>
                  <a:cubicBezTo>
                    <a:pt x="0" y="234"/>
                    <a:pt x="0" y="234"/>
                    <a:pt x="0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28" y="121"/>
                    <a:pt x="43" y="6"/>
                    <a:pt x="43" y="6"/>
                  </a:cubicBezTo>
                  <a:cubicBezTo>
                    <a:pt x="43" y="6"/>
                    <a:pt x="43" y="4"/>
                    <a:pt x="44" y="0"/>
                  </a:cubicBezTo>
                </a:path>
              </a:pathLst>
            </a:custGeom>
            <a:solidFill>
              <a:srgbClr val="0099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0" name="任意多边形 19">
              <a:extLst>
                <a:ext uri="{FF2B5EF4-FFF2-40B4-BE49-F238E27FC236}">
                  <a16:creationId xmlns:a16="http://schemas.microsoft.com/office/drawing/2014/main" id="{1EC91038-B559-499B-8927-A6950CDA74FA}"/>
                </a:ext>
              </a:extLst>
            </p:cNvPr>
            <p:cNvSpPr/>
            <p:nvPr/>
          </p:nvSpPr>
          <p:spPr bwMode="auto">
            <a:xfrm>
              <a:off x="7866751" y="1251880"/>
              <a:ext cx="669492" cy="704034"/>
            </a:xfrm>
            <a:custGeom>
              <a:avLst/>
              <a:gdLst>
                <a:gd name="T0" fmla="*/ 20 w 363"/>
                <a:gd name="T1" fmla="*/ 158 h 382"/>
                <a:gd name="T2" fmla="*/ 166 w 363"/>
                <a:gd name="T3" fmla="*/ 52 h 382"/>
                <a:gd name="T4" fmla="*/ 323 w 363"/>
                <a:gd name="T5" fmla="*/ 178 h 382"/>
                <a:gd name="T6" fmla="*/ 363 w 363"/>
                <a:gd name="T7" fmla="*/ 334 h 382"/>
                <a:gd name="T8" fmla="*/ 343 w 363"/>
                <a:gd name="T9" fmla="*/ 323 h 382"/>
                <a:gd name="T10" fmla="*/ 334 w 363"/>
                <a:gd name="T11" fmla="*/ 343 h 382"/>
                <a:gd name="T12" fmla="*/ 303 w 363"/>
                <a:gd name="T13" fmla="*/ 351 h 382"/>
                <a:gd name="T14" fmla="*/ 290 w 363"/>
                <a:gd name="T15" fmla="*/ 324 h 382"/>
                <a:gd name="T16" fmla="*/ 284 w 363"/>
                <a:gd name="T17" fmla="*/ 356 h 382"/>
                <a:gd name="T18" fmla="*/ 29 w 363"/>
                <a:gd name="T19" fmla="*/ 382 h 382"/>
                <a:gd name="T20" fmla="*/ 145 w 363"/>
                <a:gd name="T21" fmla="*/ 194 h 382"/>
                <a:gd name="T22" fmla="*/ 123 w 363"/>
                <a:gd name="T23" fmla="*/ 217 h 382"/>
                <a:gd name="T24" fmla="*/ 20 w 363"/>
                <a:gd name="T25" fmla="*/ 158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3" h="382">
                  <a:moveTo>
                    <a:pt x="20" y="158"/>
                  </a:moveTo>
                  <a:cubicBezTo>
                    <a:pt x="20" y="158"/>
                    <a:pt x="0" y="0"/>
                    <a:pt x="166" y="52"/>
                  </a:cubicBezTo>
                  <a:cubicBezTo>
                    <a:pt x="166" y="52"/>
                    <a:pt x="284" y="30"/>
                    <a:pt x="323" y="178"/>
                  </a:cubicBezTo>
                  <a:cubicBezTo>
                    <a:pt x="363" y="334"/>
                    <a:pt x="363" y="334"/>
                    <a:pt x="363" y="334"/>
                  </a:cubicBezTo>
                  <a:cubicBezTo>
                    <a:pt x="343" y="323"/>
                    <a:pt x="343" y="323"/>
                    <a:pt x="343" y="323"/>
                  </a:cubicBezTo>
                  <a:cubicBezTo>
                    <a:pt x="334" y="343"/>
                    <a:pt x="334" y="343"/>
                    <a:pt x="334" y="343"/>
                  </a:cubicBezTo>
                  <a:cubicBezTo>
                    <a:pt x="303" y="351"/>
                    <a:pt x="303" y="351"/>
                    <a:pt x="303" y="351"/>
                  </a:cubicBezTo>
                  <a:cubicBezTo>
                    <a:pt x="290" y="324"/>
                    <a:pt x="290" y="324"/>
                    <a:pt x="290" y="324"/>
                  </a:cubicBezTo>
                  <a:cubicBezTo>
                    <a:pt x="284" y="356"/>
                    <a:pt x="284" y="356"/>
                    <a:pt x="284" y="356"/>
                  </a:cubicBezTo>
                  <a:cubicBezTo>
                    <a:pt x="29" y="382"/>
                    <a:pt x="29" y="382"/>
                    <a:pt x="29" y="382"/>
                  </a:cubicBezTo>
                  <a:cubicBezTo>
                    <a:pt x="29" y="382"/>
                    <a:pt x="143" y="314"/>
                    <a:pt x="145" y="194"/>
                  </a:cubicBezTo>
                  <a:cubicBezTo>
                    <a:pt x="123" y="217"/>
                    <a:pt x="123" y="217"/>
                    <a:pt x="123" y="217"/>
                  </a:cubicBezTo>
                  <a:lnTo>
                    <a:pt x="20" y="158"/>
                  </a:lnTo>
                  <a:close/>
                </a:path>
              </a:pathLst>
            </a:custGeom>
            <a:solidFill>
              <a:srgbClr val="2F2E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1" name="任意多边形 20">
              <a:extLst>
                <a:ext uri="{FF2B5EF4-FFF2-40B4-BE49-F238E27FC236}">
                  <a16:creationId xmlns:a16="http://schemas.microsoft.com/office/drawing/2014/main" id="{612E12BB-498D-4D93-89AD-04BB5FCE0DEF}"/>
                </a:ext>
              </a:extLst>
            </p:cNvPr>
            <p:cNvSpPr/>
            <p:nvPr/>
          </p:nvSpPr>
          <p:spPr bwMode="auto">
            <a:xfrm>
              <a:off x="3492194" y="1234610"/>
              <a:ext cx="3157483" cy="2228931"/>
            </a:xfrm>
            <a:custGeom>
              <a:avLst/>
              <a:gdLst>
                <a:gd name="T0" fmla="*/ 14 w 1712"/>
                <a:gd name="T1" fmla="*/ 0 h 1208"/>
                <a:gd name="T2" fmla="*/ 0 w 1712"/>
                <a:gd name="T3" fmla="*/ 14 h 1208"/>
                <a:gd name="T4" fmla="*/ 0 w 1712"/>
                <a:gd name="T5" fmla="*/ 1193 h 1208"/>
                <a:gd name="T6" fmla="*/ 14 w 1712"/>
                <a:gd name="T7" fmla="*/ 1208 h 1208"/>
                <a:gd name="T8" fmla="*/ 1698 w 1712"/>
                <a:gd name="T9" fmla="*/ 1208 h 1208"/>
                <a:gd name="T10" fmla="*/ 1712 w 1712"/>
                <a:gd name="T11" fmla="*/ 1193 h 1208"/>
                <a:gd name="T12" fmla="*/ 1712 w 1712"/>
                <a:gd name="T13" fmla="*/ 14 h 1208"/>
                <a:gd name="T14" fmla="*/ 1698 w 1712"/>
                <a:gd name="T15" fmla="*/ 0 h 1208"/>
                <a:gd name="T16" fmla="*/ 14 w 1712"/>
                <a:gd name="T17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12" h="1208">
                  <a:moveTo>
                    <a:pt x="14" y="0"/>
                  </a:moveTo>
                  <a:cubicBezTo>
                    <a:pt x="6" y="0"/>
                    <a:pt x="0" y="6"/>
                    <a:pt x="0" y="14"/>
                  </a:cubicBezTo>
                  <a:cubicBezTo>
                    <a:pt x="0" y="1193"/>
                    <a:pt x="0" y="1193"/>
                    <a:pt x="0" y="1193"/>
                  </a:cubicBezTo>
                  <a:cubicBezTo>
                    <a:pt x="0" y="1201"/>
                    <a:pt x="6" y="1208"/>
                    <a:pt x="14" y="1208"/>
                  </a:cubicBezTo>
                  <a:cubicBezTo>
                    <a:pt x="1698" y="1208"/>
                    <a:pt x="1698" y="1208"/>
                    <a:pt x="1698" y="1208"/>
                  </a:cubicBezTo>
                  <a:cubicBezTo>
                    <a:pt x="1706" y="1208"/>
                    <a:pt x="1712" y="1201"/>
                    <a:pt x="1712" y="1193"/>
                  </a:cubicBezTo>
                  <a:cubicBezTo>
                    <a:pt x="1712" y="14"/>
                    <a:pt x="1712" y="14"/>
                    <a:pt x="1712" y="14"/>
                  </a:cubicBezTo>
                  <a:cubicBezTo>
                    <a:pt x="1712" y="6"/>
                    <a:pt x="1706" y="0"/>
                    <a:pt x="1698" y="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2" name="任意多边形 21">
              <a:extLst>
                <a:ext uri="{FF2B5EF4-FFF2-40B4-BE49-F238E27FC236}">
                  <a16:creationId xmlns:a16="http://schemas.microsoft.com/office/drawing/2014/main" id="{0FF86106-32C8-4D4D-B84A-ADA2A77878BB}"/>
                </a:ext>
              </a:extLst>
            </p:cNvPr>
            <p:cNvSpPr/>
            <p:nvPr/>
          </p:nvSpPr>
          <p:spPr bwMode="auto">
            <a:xfrm>
              <a:off x="3497274" y="2491304"/>
              <a:ext cx="1155103" cy="970205"/>
            </a:xfrm>
            <a:custGeom>
              <a:avLst/>
              <a:gdLst>
                <a:gd name="T0" fmla="*/ 5 w 626"/>
                <a:gd name="T1" fmla="*/ 12 h 526"/>
                <a:gd name="T2" fmla="*/ 148 w 626"/>
                <a:gd name="T3" fmla="*/ 58 h 526"/>
                <a:gd name="T4" fmla="*/ 262 w 626"/>
                <a:gd name="T5" fmla="*/ 169 h 526"/>
                <a:gd name="T6" fmla="*/ 363 w 626"/>
                <a:gd name="T7" fmla="*/ 313 h 526"/>
                <a:gd name="T8" fmla="*/ 467 w 626"/>
                <a:gd name="T9" fmla="*/ 438 h 526"/>
                <a:gd name="T10" fmla="*/ 598 w 626"/>
                <a:gd name="T11" fmla="*/ 519 h 526"/>
                <a:gd name="T12" fmla="*/ 616 w 626"/>
                <a:gd name="T13" fmla="*/ 524 h 526"/>
                <a:gd name="T14" fmla="*/ 619 w 626"/>
                <a:gd name="T15" fmla="*/ 513 h 526"/>
                <a:gd name="T16" fmla="*/ 484 w 626"/>
                <a:gd name="T17" fmla="*/ 439 h 526"/>
                <a:gd name="T18" fmla="*/ 379 w 626"/>
                <a:gd name="T19" fmla="*/ 317 h 526"/>
                <a:gd name="T20" fmla="*/ 279 w 626"/>
                <a:gd name="T21" fmla="*/ 172 h 526"/>
                <a:gd name="T22" fmla="*/ 164 w 626"/>
                <a:gd name="T23" fmla="*/ 56 h 526"/>
                <a:gd name="T24" fmla="*/ 25 w 626"/>
                <a:gd name="T25" fmla="*/ 1 h 526"/>
                <a:gd name="T26" fmla="*/ 5 w 626"/>
                <a:gd name="T27" fmla="*/ 1 h 526"/>
                <a:gd name="T28" fmla="*/ 0 w 626"/>
                <a:gd name="T29" fmla="*/ 6 h 526"/>
                <a:gd name="T30" fmla="*/ 5 w 626"/>
                <a:gd name="T31" fmla="*/ 12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6" h="526">
                  <a:moveTo>
                    <a:pt x="5" y="12"/>
                  </a:moveTo>
                  <a:cubicBezTo>
                    <a:pt x="57" y="11"/>
                    <a:pt x="105" y="30"/>
                    <a:pt x="148" y="58"/>
                  </a:cubicBezTo>
                  <a:cubicBezTo>
                    <a:pt x="192" y="88"/>
                    <a:pt x="229" y="127"/>
                    <a:pt x="262" y="169"/>
                  </a:cubicBezTo>
                  <a:cubicBezTo>
                    <a:pt x="299" y="215"/>
                    <a:pt x="330" y="265"/>
                    <a:pt x="363" y="313"/>
                  </a:cubicBezTo>
                  <a:cubicBezTo>
                    <a:pt x="394" y="358"/>
                    <a:pt x="427" y="401"/>
                    <a:pt x="467" y="438"/>
                  </a:cubicBezTo>
                  <a:cubicBezTo>
                    <a:pt x="505" y="473"/>
                    <a:pt x="549" y="503"/>
                    <a:pt x="598" y="519"/>
                  </a:cubicBezTo>
                  <a:cubicBezTo>
                    <a:pt x="604" y="521"/>
                    <a:pt x="610" y="523"/>
                    <a:pt x="616" y="524"/>
                  </a:cubicBezTo>
                  <a:cubicBezTo>
                    <a:pt x="623" y="526"/>
                    <a:pt x="626" y="515"/>
                    <a:pt x="619" y="513"/>
                  </a:cubicBezTo>
                  <a:cubicBezTo>
                    <a:pt x="568" y="501"/>
                    <a:pt x="523" y="473"/>
                    <a:pt x="484" y="439"/>
                  </a:cubicBezTo>
                  <a:cubicBezTo>
                    <a:pt x="444" y="403"/>
                    <a:pt x="410" y="361"/>
                    <a:pt x="379" y="317"/>
                  </a:cubicBezTo>
                  <a:cubicBezTo>
                    <a:pt x="345" y="269"/>
                    <a:pt x="314" y="219"/>
                    <a:pt x="279" y="172"/>
                  </a:cubicBezTo>
                  <a:cubicBezTo>
                    <a:pt x="246" y="129"/>
                    <a:pt x="208" y="88"/>
                    <a:pt x="164" y="56"/>
                  </a:cubicBezTo>
                  <a:cubicBezTo>
                    <a:pt x="123" y="27"/>
                    <a:pt x="76" y="5"/>
                    <a:pt x="25" y="1"/>
                  </a:cubicBezTo>
                  <a:cubicBezTo>
                    <a:pt x="19" y="1"/>
                    <a:pt x="12" y="0"/>
                    <a:pt x="5" y="1"/>
                  </a:cubicBezTo>
                  <a:cubicBezTo>
                    <a:pt x="2" y="1"/>
                    <a:pt x="0" y="3"/>
                    <a:pt x="0" y="6"/>
                  </a:cubicBezTo>
                  <a:cubicBezTo>
                    <a:pt x="0" y="9"/>
                    <a:pt x="3" y="11"/>
                    <a:pt x="5" y="12"/>
                  </a:cubicBezTo>
                  <a:close/>
                </a:path>
              </a:pathLst>
            </a:custGeom>
            <a:solidFill>
              <a:srgbClr val="00B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3" name="任意多边形 22">
              <a:extLst>
                <a:ext uri="{FF2B5EF4-FFF2-40B4-BE49-F238E27FC236}">
                  <a16:creationId xmlns:a16="http://schemas.microsoft.com/office/drawing/2014/main" id="{70BE9E04-1C04-4987-9906-44331091B644}"/>
                </a:ext>
              </a:extLst>
            </p:cNvPr>
            <p:cNvSpPr/>
            <p:nvPr/>
          </p:nvSpPr>
          <p:spPr bwMode="auto">
            <a:xfrm>
              <a:off x="3494226" y="1234610"/>
              <a:ext cx="1967840" cy="2226899"/>
            </a:xfrm>
            <a:custGeom>
              <a:avLst/>
              <a:gdLst>
                <a:gd name="T0" fmla="*/ 13 w 1067"/>
                <a:gd name="T1" fmla="*/ 1202 h 1207"/>
                <a:gd name="T2" fmla="*/ 350 w 1067"/>
                <a:gd name="T3" fmla="*/ 1040 h 1207"/>
                <a:gd name="T4" fmla="*/ 732 w 1067"/>
                <a:gd name="T5" fmla="*/ 943 h 1207"/>
                <a:gd name="T6" fmla="*/ 890 w 1067"/>
                <a:gd name="T7" fmla="*/ 841 h 1207"/>
                <a:gd name="T8" fmla="*/ 995 w 1067"/>
                <a:gd name="T9" fmla="*/ 698 h 1207"/>
                <a:gd name="T10" fmla="*/ 1044 w 1067"/>
                <a:gd name="T11" fmla="*/ 349 h 1207"/>
                <a:gd name="T12" fmla="*/ 868 w 1067"/>
                <a:gd name="T13" fmla="*/ 34 h 1207"/>
                <a:gd name="T14" fmla="*/ 834 w 1067"/>
                <a:gd name="T15" fmla="*/ 4 h 1207"/>
                <a:gd name="T16" fmla="*/ 826 w 1067"/>
                <a:gd name="T17" fmla="*/ 12 h 1207"/>
                <a:gd name="T18" fmla="*/ 1024 w 1067"/>
                <a:gd name="T19" fmla="*/ 312 h 1207"/>
                <a:gd name="T20" fmla="*/ 1000 w 1067"/>
                <a:gd name="T21" fmla="*/ 663 h 1207"/>
                <a:gd name="T22" fmla="*/ 905 w 1067"/>
                <a:gd name="T23" fmla="*/ 810 h 1207"/>
                <a:gd name="T24" fmla="*/ 757 w 1067"/>
                <a:gd name="T25" fmla="*/ 919 h 1207"/>
                <a:gd name="T26" fmla="*/ 379 w 1067"/>
                <a:gd name="T27" fmla="*/ 1022 h 1207"/>
                <a:gd name="T28" fmla="*/ 40 w 1067"/>
                <a:gd name="T29" fmla="*/ 1163 h 1207"/>
                <a:gd name="T30" fmla="*/ 5 w 1067"/>
                <a:gd name="T31" fmla="*/ 1195 h 1207"/>
                <a:gd name="T32" fmla="*/ 13 w 1067"/>
                <a:gd name="T33" fmla="*/ 1202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7" h="1207">
                  <a:moveTo>
                    <a:pt x="13" y="1202"/>
                  </a:moveTo>
                  <a:cubicBezTo>
                    <a:pt x="103" y="1111"/>
                    <a:pt x="227" y="1068"/>
                    <a:pt x="350" y="1040"/>
                  </a:cubicBezTo>
                  <a:cubicBezTo>
                    <a:pt x="478" y="1011"/>
                    <a:pt x="610" y="995"/>
                    <a:pt x="732" y="943"/>
                  </a:cubicBezTo>
                  <a:cubicBezTo>
                    <a:pt x="790" y="918"/>
                    <a:pt x="843" y="884"/>
                    <a:pt x="890" y="841"/>
                  </a:cubicBezTo>
                  <a:cubicBezTo>
                    <a:pt x="933" y="800"/>
                    <a:pt x="968" y="752"/>
                    <a:pt x="995" y="698"/>
                  </a:cubicBezTo>
                  <a:cubicBezTo>
                    <a:pt x="1050" y="591"/>
                    <a:pt x="1067" y="467"/>
                    <a:pt x="1044" y="349"/>
                  </a:cubicBezTo>
                  <a:cubicBezTo>
                    <a:pt x="1019" y="228"/>
                    <a:pt x="957" y="118"/>
                    <a:pt x="868" y="34"/>
                  </a:cubicBezTo>
                  <a:cubicBezTo>
                    <a:pt x="857" y="24"/>
                    <a:pt x="845" y="14"/>
                    <a:pt x="834" y="4"/>
                  </a:cubicBezTo>
                  <a:cubicBezTo>
                    <a:pt x="828" y="0"/>
                    <a:pt x="820" y="8"/>
                    <a:pt x="826" y="12"/>
                  </a:cubicBezTo>
                  <a:cubicBezTo>
                    <a:pt x="921" y="89"/>
                    <a:pt x="990" y="194"/>
                    <a:pt x="1024" y="312"/>
                  </a:cubicBezTo>
                  <a:cubicBezTo>
                    <a:pt x="1056" y="428"/>
                    <a:pt x="1048" y="552"/>
                    <a:pt x="1000" y="663"/>
                  </a:cubicBezTo>
                  <a:cubicBezTo>
                    <a:pt x="977" y="717"/>
                    <a:pt x="944" y="767"/>
                    <a:pt x="905" y="810"/>
                  </a:cubicBezTo>
                  <a:cubicBezTo>
                    <a:pt x="863" y="855"/>
                    <a:pt x="813" y="892"/>
                    <a:pt x="757" y="919"/>
                  </a:cubicBezTo>
                  <a:cubicBezTo>
                    <a:pt x="639" y="977"/>
                    <a:pt x="507" y="995"/>
                    <a:pt x="379" y="1022"/>
                  </a:cubicBezTo>
                  <a:cubicBezTo>
                    <a:pt x="259" y="1047"/>
                    <a:pt x="136" y="1084"/>
                    <a:pt x="40" y="1163"/>
                  </a:cubicBezTo>
                  <a:cubicBezTo>
                    <a:pt x="28" y="1173"/>
                    <a:pt x="16" y="1184"/>
                    <a:pt x="5" y="1195"/>
                  </a:cubicBezTo>
                  <a:cubicBezTo>
                    <a:pt x="0" y="1200"/>
                    <a:pt x="8" y="1207"/>
                    <a:pt x="13" y="1202"/>
                  </a:cubicBezTo>
                  <a:close/>
                </a:path>
              </a:pathLst>
            </a:custGeom>
            <a:solidFill>
              <a:srgbClr val="00B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4" name="任意多边形 23">
              <a:extLst>
                <a:ext uri="{FF2B5EF4-FFF2-40B4-BE49-F238E27FC236}">
                  <a16:creationId xmlns:a16="http://schemas.microsoft.com/office/drawing/2014/main" id="{A734BDCF-F612-4993-A49B-A4033DFD5D39}"/>
                </a:ext>
              </a:extLst>
            </p:cNvPr>
            <p:cNvSpPr/>
            <p:nvPr/>
          </p:nvSpPr>
          <p:spPr bwMode="auto">
            <a:xfrm>
              <a:off x="3492194" y="1914261"/>
              <a:ext cx="3149356" cy="861501"/>
            </a:xfrm>
            <a:custGeom>
              <a:avLst/>
              <a:gdLst>
                <a:gd name="T0" fmla="*/ 7 w 1708"/>
                <a:gd name="T1" fmla="*/ 143 h 467"/>
                <a:gd name="T2" fmla="*/ 428 w 1708"/>
                <a:gd name="T3" fmla="*/ 157 h 467"/>
                <a:gd name="T4" fmla="*/ 541 w 1708"/>
                <a:gd name="T5" fmla="*/ 213 h 467"/>
                <a:gd name="T6" fmla="*/ 587 w 1708"/>
                <a:gd name="T7" fmla="*/ 307 h 467"/>
                <a:gd name="T8" fmla="*/ 514 w 1708"/>
                <a:gd name="T9" fmla="*/ 376 h 467"/>
                <a:gd name="T10" fmla="*/ 428 w 1708"/>
                <a:gd name="T11" fmla="*/ 328 h 467"/>
                <a:gd name="T12" fmla="*/ 435 w 1708"/>
                <a:gd name="T13" fmla="*/ 229 h 467"/>
                <a:gd name="T14" fmla="*/ 525 w 1708"/>
                <a:gd name="T15" fmla="*/ 181 h 467"/>
                <a:gd name="T16" fmla="*/ 636 w 1708"/>
                <a:gd name="T17" fmla="*/ 206 h 467"/>
                <a:gd name="T18" fmla="*/ 824 w 1708"/>
                <a:gd name="T19" fmla="*/ 383 h 467"/>
                <a:gd name="T20" fmla="*/ 930 w 1708"/>
                <a:gd name="T21" fmla="*/ 448 h 467"/>
                <a:gd name="T22" fmla="*/ 1048 w 1708"/>
                <a:gd name="T23" fmla="*/ 466 h 467"/>
                <a:gd name="T24" fmla="*/ 1282 w 1708"/>
                <a:gd name="T25" fmla="*/ 386 h 467"/>
                <a:gd name="T26" fmla="*/ 1458 w 1708"/>
                <a:gd name="T27" fmla="*/ 208 h 467"/>
                <a:gd name="T28" fmla="*/ 1536 w 1708"/>
                <a:gd name="T29" fmla="*/ 99 h 467"/>
                <a:gd name="T30" fmla="*/ 1640 w 1708"/>
                <a:gd name="T31" fmla="*/ 22 h 467"/>
                <a:gd name="T32" fmla="*/ 1701 w 1708"/>
                <a:gd name="T33" fmla="*/ 22 h 467"/>
                <a:gd name="T34" fmla="*/ 1708 w 1708"/>
                <a:gd name="T35" fmla="*/ 18 h 467"/>
                <a:gd name="T36" fmla="*/ 1704 w 1708"/>
                <a:gd name="T37" fmla="*/ 11 h 467"/>
                <a:gd name="T38" fmla="*/ 1582 w 1708"/>
                <a:gd name="T39" fmla="*/ 38 h 467"/>
                <a:gd name="T40" fmla="*/ 1492 w 1708"/>
                <a:gd name="T41" fmla="*/ 140 h 467"/>
                <a:gd name="T42" fmla="*/ 1317 w 1708"/>
                <a:gd name="T43" fmla="*/ 345 h 467"/>
                <a:gd name="T44" fmla="*/ 1073 w 1708"/>
                <a:gd name="T45" fmla="*/ 453 h 467"/>
                <a:gd name="T46" fmla="*/ 943 w 1708"/>
                <a:gd name="T47" fmla="*/ 441 h 467"/>
                <a:gd name="T48" fmla="*/ 828 w 1708"/>
                <a:gd name="T49" fmla="*/ 371 h 467"/>
                <a:gd name="T50" fmla="*/ 628 w 1708"/>
                <a:gd name="T51" fmla="*/ 190 h 467"/>
                <a:gd name="T52" fmla="*/ 516 w 1708"/>
                <a:gd name="T53" fmla="*/ 171 h 467"/>
                <a:gd name="T54" fmla="*/ 428 w 1708"/>
                <a:gd name="T55" fmla="*/ 221 h 467"/>
                <a:gd name="T56" fmla="*/ 413 w 1708"/>
                <a:gd name="T57" fmla="*/ 320 h 467"/>
                <a:gd name="T58" fmla="*/ 487 w 1708"/>
                <a:gd name="T59" fmla="*/ 386 h 467"/>
                <a:gd name="T60" fmla="*/ 580 w 1708"/>
                <a:gd name="T61" fmla="*/ 349 h 467"/>
                <a:gd name="T62" fmla="*/ 588 w 1708"/>
                <a:gd name="T63" fmla="*/ 251 h 467"/>
                <a:gd name="T64" fmla="*/ 501 w 1708"/>
                <a:gd name="T65" fmla="*/ 175 h 467"/>
                <a:gd name="T66" fmla="*/ 367 w 1708"/>
                <a:gd name="T67" fmla="*/ 128 h 467"/>
                <a:gd name="T68" fmla="*/ 78 w 1708"/>
                <a:gd name="T69" fmla="*/ 117 h 467"/>
                <a:gd name="T70" fmla="*/ 4 w 1708"/>
                <a:gd name="T71" fmla="*/ 132 h 467"/>
                <a:gd name="T72" fmla="*/ 1 w 1708"/>
                <a:gd name="T73" fmla="*/ 139 h 467"/>
                <a:gd name="T74" fmla="*/ 7 w 1708"/>
                <a:gd name="T75" fmla="*/ 14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08" h="467">
                  <a:moveTo>
                    <a:pt x="7" y="143"/>
                  </a:moveTo>
                  <a:cubicBezTo>
                    <a:pt x="146" y="105"/>
                    <a:pt x="293" y="110"/>
                    <a:pt x="428" y="157"/>
                  </a:cubicBezTo>
                  <a:cubicBezTo>
                    <a:pt x="468" y="171"/>
                    <a:pt x="508" y="187"/>
                    <a:pt x="541" y="213"/>
                  </a:cubicBezTo>
                  <a:cubicBezTo>
                    <a:pt x="570" y="235"/>
                    <a:pt x="595" y="269"/>
                    <a:pt x="587" y="307"/>
                  </a:cubicBezTo>
                  <a:cubicBezTo>
                    <a:pt x="581" y="343"/>
                    <a:pt x="548" y="371"/>
                    <a:pt x="514" y="376"/>
                  </a:cubicBezTo>
                  <a:cubicBezTo>
                    <a:pt x="478" y="381"/>
                    <a:pt x="445" y="359"/>
                    <a:pt x="428" y="328"/>
                  </a:cubicBezTo>
                  <a:cubicBezTo>
                    <a:pt x="411" y="297"/>
                    <a:pt x="414" y="258"/>
                    <a:pt x="435" y="229"/>
                  </a:cubicBezTo>
                  <a:cubicBezTo>
                    <a:pt x="456" y="201"/>
                    <a:pt x="491" y="185"/>
                    <a:pt x="525" y="181"/>
                  </a:cubicBezTo>
                  <a:cubicBezTo>
                    <a:pt x="564" y="175"/>
                    <a:pt x="602" y="187"/>
                    <a:pt x="636" y="206"/>
                  </a:cubicBezTo>
                  <a:cubicBezTo>
                    <a:pt x="712" y="250"/>
                    <a:pt x="760" y="325"/>
                    <a:pt x="824" y="383"/>
                  </a:cubicBezTo>
                  <a:cubicBezTo>
                    <a:pt x="855" y="411"/>
                    <a:pt x="891" y="434"/>
                    <a:pt x="930" y="448"/>
                  </a:cubicBezTo>
                  <a:cubicBezTo>
                    <a:pt x="968" y="461"/>
                    <a:pt x="1008" y="467"/>
                    <a:pt x="1048" y="466"/>
                  </a:cubicBezTo>
                  <a:cubicBezTo>
                    <a:pt x="1133" y="464"/>
                    <a:pt x="1213" y="433"/>
                    <a:pt x="1282" y="386"/>
                  </a:cubicBezTo>
                  <a:cubicBezTo>
                    <a:pt x="1351" y="338"/>
                    <a:pt x="1408" y="275"/>
                    <a:pt x="1458" y="208"/>
                  </a:cubicBezTo>
                  <a:cubicBezTo>
                    <a:pt x="1484" y="172"/>
                    <a:pt x="1508" y="134"/>
                    <a:pt x="1536" y="99"/>
                  </a:cubicBezTo>
                  <a:cubicBezTo>
                    <a:pt x="1563" y="64"/>
                    <a:pt x="1597" y="34"/>
                    <a:pt x="1640" y="22"/>
                  </a:cubicBezTo>
                  <a:cubicBezTo>
                    <a:pt x="1660" y="17"/>
                    <a:pt x="1681" y="17"/>
                    <a:pt x="1701" y="22"/>
                  </a:cubicBezTo>
                  <a:cubicBezTo>
                    <a:pt x="1704" y="23"/>
                    <a:pt x="1707" y="21"/>
                    <a:pt x="1708" y="18"/>
                  </a:cubicBezTo>
                  <a:cubicBezTo>
                    <a:pt x="1708" y="15"/>
                    <a:pt x="1707" y="12"/>
                    <a:pt x="1704" y="11"/>
                  </a:cubicBezTo>
                  <a:cubicBezTo>
                    <a:pt x="1662" y="0"/>
                    <a:pt x="1617" y="13"/>
                    <a:pt x="1582" y="38"/>
                  </a:cubicBezTo>
                  <a:cubicBezTo>
                    <a:pt x="1545" y="64"/>
                    <a:pt x="1518" y="102"/>
                    <a:pt x="1492" y="140"/>
                  </a:cubicBezTo>
                  <a:cubicBezTo>
                    <a:pt x="1441" y="214"/>
                    <a:pt x="1387" y="287"/>
                    <a:pt x="1317" y="345"/>
                  </a:cubicBezTo>
                  <a:cubicBezTo>
                    <a:pt x="1248" y="403"/>
                    <a:pt x="1164" y="445"/>
                    <a:pt x="1073" y="453"/>
                  </a:cubicBezTo>
                  <a:cubicBezTo>
                    <a:pt x="1029" y="458"/>
                    <a:pt x="985" y="454"/>
                    <a:pt x="943" y="441"/>
                  </a:cubicBezTo>
                  <a:cubicBezTo>
                    <a:pt x="899" y="427"/>
                    <a:pt x="861" y="402"/>
                    <a:pt x="828" y="371"/>
                  </a:cubicBezTo>
                  <a:cubicBezTo>
                    <a:pt x="762" y="310"/>
                    <a:pt x="711" y="230"/>
                    <a:pt x="628" y="190"/>
                  </a:cubicBezTo>
                  <a:cubicBezTo>
                    <a:pt x="593" y="172"/>
                    <a:pt x="555" y="164"/>
                    <a:pt x="516" y="171"/>
                  </a:cubicBezTo>
                  <a:cubicBezTo>
                    <a:pt x="482" y="176"/>
                    <a:pt x="449" y="193"/>
                    <a:pt x="428" y="221"/>
                  </a:cubicBezTo>
                  <a:cubicBezTo>
                    <a:pt x="406" y="249"/>
                    <a:pt x="400" y="287"/>
                    <a:pt x="413" y="320"/>
                  </a:cubicBezTo>
                  <a:cubicBezTo>
                    <a:pt x="425" y="352"/>
                    <a:pt x="452" y="380"/>
                    <a:pt x="487" y="386"/>
                  </a:cubicBezTo>
                  <a:cubicBezTo>
                    <a:pt x="522" y="392"/>
                    <a:pt x="558" y="376"/>
                    <a:pt x="580" y="349"/>
                  </a:cubicBezTo>
                  <a:cubicBezTo>
                    <a:pt x="602" y="321"/>
                    <a:pt x="606" y="282"/>
                    <a:pt x="588" y="251"/>
                  </a:cubicBezTo>
                  <a:cubicBezTo>
                    <a:pt x="570" y="216"/>
                    <a:pt x="535" y="192"/>
                    <a:pt x="501" y="175"/>
                  </a:cubicBezTo>
                  <a:cubicBezTo>
                    <a:pt x="459" y="154"/>
                    <a:pt x="414" y="139"/>
                    <a:pt x="367" y="128"/>
                  </a:cubicBezTo>
                  <a:cubicBezTo>
                    <a:pt x="273" y="105"/>
                    <a:pt x="174" y="101"/>
                    <a:pt x="78" y="117"/>
                  </a:cubicBezTo>
                  <a:cubicBezTo>
                    <a:pt x="53" y="121"/>
                    <a:pt x="29" y="126"/>
                    <a:pt x="4" y="132"/>
                  </a:cubicBezTo>
                  <a:cubicBezTo>
                    <a:pt x="2" y="133"/>
                    <a:pt x="0" y="136"/>
                    <a:pt x="1" y="139"/>
                  </a:cubicBezTo>
                  <a:cubicBezTo>
                    <a:pt x="2" y="142"/>
                    <a:pt x="5" y="144"/>
                    <a:pt x="7" y="143"/>
                  </a:cubicBezTo>
                  <a:close/>
                </a:path>
              </a:pathLst>
            </a:custGeom>
            <a:solidFill>
              <a:srgbClr val="00B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5" name="任意多边形 24">
              <a:extLst>
                <a:ext uri="{FF2B5EF4-FFF2-40B4-BE49-F238E27FC236}">
                  <a16:creationId xmlns:a16="http://schemas.microsoft.com/office/drawing/2014/main" id="{B288C1BA-CE9F-43D3-AABE-C7D0750ACA37}"/>
                </a:ext>
              </a:extLst>
            </p:cNvPr>
            <p:cNvSpPr/>
            <p:nvPr/>
          </p:nvSpPr>
          <p:spPr bwMode="auto">
            <a:xfrm>
              <a:off x="4688949" y="1233594"/>
              <a:ext cx="1135800" cy="2239090"/>
            </a:xfrm>
            <a:custGeom>
              <a:avLst/>
              <a:gdLst>
                <a:gd name="T0" fmla="*/ 511 w 616"/>
                <a:gd name="T1" fmla="*/ 1208 h 1214"/>
                <a:gd name="T2" fmla="*/ 607 w 616"/>
                <a:gd name="T3" fmla="*/ 1036 h 1214"/>
                <a:gd name="T4" fmla="*/ 610 w 616"/>
                <a:gd name="T5" fmla="*/ 942 h 1214"/>
                <a:gd name="T6" fmla="*/ 577 w 616"/>
                <a:gd name="T7" fmla="*/ 866 h 1214"/>
                <a:gd name="T8" fmla="*/ 442 w 616"/>
                <a:gd name="T9" fmla="*/ 761 h 1214"/>
                <a:gd name="T10" fmla="*/ 241 w 616"/>
                <a:gd name="T11" fmla="*/ 695 h 1214"/>
                <a:gd name="T12" fmla="*/ 69 w 616"/>
                <a:gd name="T13" fmla="*/ 603 h 1214"/>
                <a:gd name="T14" fmla="*/ 25 w 616"/>
                <a:gd name="T15" fmla="*/ 430 h 1214"/>
                <a:gd name="T16" fmla="*/ 155 w 616"/>
                <a:gd name="T17" fmla="*/ 320 h 1214"/>
                <a:gd name="T18" fmla="*/ 359 w 616"/>
                <a:gd name="T19" fmla="*/ 273 h 1214"/>
                <a:gd name="T20" fmla="*/ 508 w 616"/>
                <a:gd name="T21" fmla="*/ 182 h 1214"/>
                <a:gd name="T22" fmla="*/ 524 w 616"/>
                <a:gd name="T23" fmla="*/ 34 h 1214"/>
                <a:gd name="T24" fmla="*/ 501 w 616"/>
                <a:gd name="T25" fmla="*/ 4 h 1214"/>
                <a:gd name="T26" fmla="*/ 493 w 616"/>
                <a:gd name="T27" fmla="*/ 12 h 1214"/>
                <a:gd name="T28" fmla="*/ 511 w 616"/>
                <a:gd name="T29" fmla="*/ 156 h 1214"/>
                <a:gd name="T30" fmla="*/ 373 w 616"/>
                <a:gd name="T31" fmla="*/ 258 h 1214"/>
                <a:gd name="T32" fmla="*/ 173 w 616"/>
                <a:gd name="T33" fmla="*/ 302 h 1214"/>
                <a:gd name="T34" fmla="*/ 29 w 616"/>
                <a:gd name="T35" fmla="*/ 398 h 1214"/>
                <a:gd name="T36" fmla="*/ 4 w 616"/>
                <a:gd name="T37" fmla="*/ 479 h 1214"/>
                <a:gd name="T38" fmla="*/ 28 w 616"/>
                <a:gd name="T39" fmla="*/ 566 h 1214"/>
                <a:gd name="T40" fmla="*/ 172 w 616"/>
                <a:gd name="T41" fmla="*/ 682 h 1214"/>
                <a:gd name="T42" fmla="*/ 533 w 616"/>
                <a:gd name="T43" fmla="*/ 833 h 1214"/>
                <a:gd name="T44" fmla="*/ 603 w 616"/>
                <a:gd name="T45" fmla="*/ 986 h 1214"/>
                <a:gd name="T46" fmla="*/ 530 w 616"/>
                <a:gd name="T47" fmla="*/ 1163 h 1214"/>
                <a:gd name="T48" fmla="*/ 501 w 616"/>
                <a:gd name="T49" fmla="*/ 1203 h 1214"/>
                <a:gd name="T50" fmla="*/ 511 w 616"/>
                <a:gd name="T51" fmla="*/ 1208 h 1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16" h="1214">
                  <a:moveTo>
                    <a:pt x="511" y="1208"/>
                  </a:moveTo>
                  <a:cubicBezTo>
                    <a:pt x="550" y="1156"/>
                    <a:pt x="590" y="1100"/>
                    <a:pt x="607" y="1036"/>
                  </a:cubicBezTo>
                  <a:cubicBezTo>
                    <a:pt x="615" y="1005"/>
                    <a:pt x="616" y="973"/>
                    <a:pt x="610" y="942"/>
                  </a:cubicBezTo>
                  <a:cubicBezTo>
                    <a:pt x="604" y="915"/>
                    <a:pt x="593" y="889"/>
                    <a:pt x="577" y="866"/>
                  </a:cubicBezTo>
                  <a:cubicBezTo>
                    <a:pt x="544" y="819"/>
                    <a:pt x="495" y="784"/>
                    <a:pt x="442" y="761"/>
                  </a:cubicBezTo>
                  <a:cubicBezTo>
                    <a:pt x="378" y="731"/>
                    <a:pt x="308" y="716"/>
                    <a:pt x="241" y="695"/>
                  </a:cubicBezTo>
                  <a:cubicBezTo>
                    <a:pt x="179" y="676"/>
                    <a:pt x="115" y="650"/>
                    <a:pt x="69" y="603"/>
                  </a:cubicBezTo>
                  <a:cubicBezTo>
                    <a:pt x="25" y="558"/>
                    <a:pt x="0" y="491"/>
                    <a:pt x="25" y="430"/>
                  </a:cubicBezTo>
                  <a:cubicBezTo>
                    <a:pt x="47" y="375"/>
                    <a:pt x="101" y="339"/>
                    <a:pt x="155" y="320"/>
                  </a:cubicBezTo>
                  <a:cubicBezTo>
                    <a:pt x="221" y="296"/>
                    <a:pt x="292" y="292"/>
                    <a:pt x="359" y="273"/>
                  </a:cubicBezTo>
                  <a:cubicBezTo>
                    <a:pt x="416" y="257"/>
                    <a:pt x="473" y="231"/>
                    <a:pt x="508" y="182"/>
                  </a:cubicBezTo>
                  <a:cubicBezTo>
                    <a:pt x="538" y="140"/>
                    <a:pt x="547" y="81"/>
                    <a:pt x="524" y="34"/>
                  </a:cubicBezTo>
                  <a:cubicBezTo>
                    <a:pt x="518" y="23"/>
                    <a:pt x="510" y="13"/>
                    <a:pt x="501" y="4"/>
                  </a:cubicBezTo>
                  <a:cubicBezTo>
                    <a:pt x="495" y="0"/>
                    <a:pt x="488" y="7"/>
                    <a:pt x="493" y="12"/>
                  </a:cubicBezTo>
                  <a:cubicBezTo>
                    <a:pt x="533" y="48"/>
                    <a:pt x="533" y="110"/>
                    <a:pt x="511" y="156"/>
                  </a:cubicBezTo>
                  <a:cubicBezTo>
                    <a:pt x="484" y="210"/>
                    <a:pt x="427" y="240"/>
                    <a:pt x="373" y="258"/>
                  </a:cubicBezTo>
                  <a:cubicBezTo>
                    <a:pt x="307" y="278"/>
                    <a:pt x="238" y="283"/>
                    <a:pt x="173" y="302"/>
                  </a:cubicBezTo>
                  <a:cubicBezTo>
                    <a:pt x="117" y="319"/>
                    <a:pt x="62" y="349"/>
                    <a:pt x="29" y="398"/>
                  </a:cubicBezTo>
                  <a:cubicBezTo>
                    <a:pt x="13" y="422"/>
                    <a:pt x="4" y="450"/>
                    <a:pt x="4" y="479"/>
                  </a:cubicBezTo>
                  <a:cubicBezTo>
                    <a:pt x="4" y="510"/>
                    <a:pt x="12" y="540"/>
                    <a:pt x="28" y="566"/>
                  </a:cubicBezTo>
                  <a:cubicBezTo>
                    <a:pt x="59" y="622"/>
                    <a:pt x="114" y="658"/>
                    <a:pt x="172" y="682"/>
                  </a:cubicBezTo>
                  <a:cubicBezTo>
                    <a:pt x="292" y="732"/>
                    <a:pt x="434" y="740"/>
                    <a:pt x="533" y="833"/>
                  </a:cubicBezTo>
                  <a:cubicBezTo>
                    <a:pt x="576" y="873"/>
                    <a:pt x="605" y="926"/>
                    <a:pt x="603" y="986"/>
                  </a:cubicBezTo>
                  <a:cubicBezTo>
                    <a:pt x="601" y="1051"/>
                    <a:pt x="566" y="1111"/>
                    <a:pt x="530" y="1163"/>
                  </a:cubicBezTo>
                  <a:cubicBezTo>
                    <a:pt x="520" y="1177"/>
                    <a:pt x="511" y="1190"/>
                    <a:pt x="501" y="1203"/>
                  </a:cubicBezTo>
                  <a:cubicBezTo>
                    <a:pt x="497" y="1208"/>
                    <a:pt x="506" y="1214"/>
                    <a:pt x="511" y="1208"/>
                  </a:cubicBezTo>
                  <a:close/>
                </a:path>
              </a:pathLst>
            </a:custGeom>
            <a:solidFill>
              <a:srgbClr val="00B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6" name="任意多边形 25">
              <a:extLst>
                <a:ext uri="{FF2B5EF4-FFF2-40B4-BE49-F238E27FC236}">
                  <a16:creationId xmlns:a16="http://schemas.microsoft.com/office/drawing/2014/main" id="{2A09F304-5D8E-4599-B01E-781F9548D242}"/>
                </a:ext>
              </a:extLst>
            </p:cNvPr>
            <p:cNvSpPr/>
            <p:nvPr/>
          </p:nvSpPr>
          <p:spPr bwMode="auto">
            <a:xfrm>
              <a:off x="3725856" y="1229530"/>
              <a:ext cx="1126657" cy="442942"/>
            </a:xfrm>
            <a:custGeom>
              <a:avLst/>
              <a:gdLst>
                <a:gd name="T0" fmla="*/ 131 w 611"/>
                <a:gd name="T1" fmla="*/ 17 h 240"/>
                <a:gd name="T2" fmla="*/ 179 w 611"/>
                <a:gd name="T3" fmla="*/ 114 h 240"/>
                <a:gd name="T4" fmla="*/ 124 w 611"/>
                <a:gd name="T5" fmla="*/ 209 h 240"/>
                <a:gd name="T6" fmla="*/ 26 w 611"/>
                <a:gd name="T7" fmla="*/ 200 h 240"/>
                <a:gd name="T8" fmla="*/ 12 w 611"/>
                <a:gd name="T9" fmla="*/ 156 h 240"/>
                <a:gd name="T10" fmla="*/ 36 w 611"/>
                <a:gd name="T11" fmla="*/ 120 h 240"/>
                <a:gd name="T12" fmla="*/ 133 w 611"/>
                <a:gd name="T13" fmla="*/ 130 h 240"/>
                <a:gd name="T14" fmla="*/ 184 w 611"/>
                <a:gd name="T15" fmla="*/ 165 h 240"/>
                <a:gd name="T16" fmla="*/ 235 w 611"/>
                <a:gd name="T17" fmla="*/ 193 h 240"/>
                <a:gd name="T18" fmla="*/ 463 w 611"/>
                <a:gd name="T19" fmla="*/ 190 h 240"/>
                <a:gd name="T20" fmla="*/ 602 w 611"/>
                <a:gd name="T21" fmla="*/ 35 h 240"/>
                <a:gd name="T22" fmla="*/ 609 w 611"/>
                <a:gd name="T23" fmla="*/ 10 h 240"/>
                <a:gd name="T24" fmla="*/ 599 w 611"/>
                <a:gd name="T25" fmla="*/ 7 h 240"/>
                <a:gd name="T26" fmla="*/ 465 w 611"/>
                <a:gd name="T27" fmla="*/ 177 h 240"/>
                <a:gd name="T28" fmla="*/ 230 w 611"/>
                <a:gd name="T29" fmla="*/ 179 h 240"/>
                <a:gd name="T30" fmla="*/ 177 w 611"/>
                <a:gd name="T31" fmla="*/ 146 h 240"/>
                <a:gd name="T32" fmla="*/ 123 w 611"/>
                <a:gd name="T33" fmla="*/ 112 h 240"/>
                <a:gd name="T34" fmla="*/ 24 w 611"/>
                <a:gd name="T35" fmla="*/ 115 h 240"/>
                <a:gd name="T36" fmla="*/ 1 w 611"/>
                <a:gd name="T37" fmla="*/ 156 h 240"/>
                <a:gd name="T38" fmla="*/ 15 w 611"/>
                <a:gd name="T39" fmla="*/ 203 h 240"/>
                <a:gd name="T40" fmla="*/ 116 w 611"/>
                <a:gd name="T41" fmla="*/ 225 h 240"/>
                <a:gd name="T42" fmla="*/ 187 w 611"/>
                <a:gd name="T43" fmla="*/ 136 h 240"/>
                <a:gd name="T44" fmla="*/ 136 w 611"/>
                <a:gd name="T45" fmla="*/ 8 h 240"/>
                <a:gd name="T46" fmla="*/ 131 w 611"/>
                <a:gd name="T47" fmla="*/ 17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11" h="240">
                  <a:moveTo>
                    <a:pt x="131" y="17"/>
                  </a:moveTo>
                  <a:cubicBezTo>
                    <a:pt x="162" y="40"/>
                    <a:pt x="179" y="76"/>
                    <a:pt x="179" y="114"/>
                  </a:cubicBezTo>
                  <a:cubicBezTo>
                    <a:pt x="177" y="153"/>
                    <a:pt x="157" y="188"/>
                    <a:pt x="124" y="209"/>
                  </a:cubicBezTo>
                  <a:cubicBezTo>
                    <a:pt x="93" y="227"/>
                    <a:pt x="50" y="229"/>
                    <a:pt x="26" y="200"/>
                  </a:cubicBezTo>
                  <a:cubicBezTo>
                    <a:pt x="16" y="188"/>
                    <a:pt x="11" y="172"/>
                    <a:pt x="12" y="156"/>
                  </a:cubicBezTo>
                  <a:cubicBezTo>
                    <a:pt x="14" y="141"/>
                    <a:pt x="23" y="128"/>
                    <a:pt x="36" y="120"/>
                  </a:cubicBezTo>
                  <a:cubicBezTo>
                    <a:pt x="67" y="103"/>
                    <a:pt x="104" y="113"/>
                    <a:pt x="133" y="130"/>
                  </a:cubicBezTo>
                  <a:cubicBezTo>
                    <a:pt x="151" y="140"/>
                    <a:pt x="167" y="153"/>
                    <a:pt x="184" y="165"/>
                  </a:cubicBezTo>
                  <a:cubicBezTo>
                    <a:pt x="200" y="176"/>
                    <a:pt x="217" y="186"/>
                    <a:pt x="235" y="193"/>
                  </a:cubicBezTo>
                  <a:cubicBezTo>
                    <a:pt x="308" y="224"/>
                    <a:pt x="392" y="224"/>
                    <a:pt x="463" y="190"/>
                  </a:cubicBezTo>
                  <a:cubicBezTo>
                    <a:pt x="528" y="159"/>
                    <a:pt x="578" y="104"/>
                    <a:pt x="602" y="35"/>
                  </a:cubicBezTo>
                  <a:cubicBezTo>
                    <a:pt x="605" y="27"/>
                    <a:pt x="608" y="19"/>
                    <a:pt x="609" y="10"/>
                  </a:cubicBezTo>
                  <a:cubicBezTo>
                    <a:pt x="611" y="3"/>
                    <a:pt x="600" y="0"/>
                    <a:pt x="599" y="7"/>
                  </a:cubicBezTo>
                  <a:cubicBezTo>
                    <a:pt x="582" y="80"/>
                    <a:pt x="532" y="143"/>
                    <a:pt x="465" y="177"/>
                  </a:cubicBezTo>
                  <a:cubicBezTo>
                    <a:pt x="393" y="215"/>
                    <a:pt x="303" y="213"/>
                    <a:pt x="230" y="179"/>
                  </a:cubicBezTo>
                  <a:cubicBezTo>
                    <a:pt x="211" y="170"/>
                    <a:pt x="193" y="159"/>
                    <a:pt x="177" y="146"/>
                  </a:cubicBezTo>
                  <a:cubicBezTo>
                    <a:pt x="159" y="134"/>
                    <a:pt x="142" y="121"/>
                    <a:pt x="123" y="112"/>
                  </a:cubicBezTo>
                  <a:cubicBezTo>
                    <a:pt x="93" y="98"/>
                    <a:pt x="53" y="94"/>
                    <a:pt x="24" y="115"/>
                  </a:cubicBezTo>
                  <a:cubicBezTo>
                    <a:pt x="11" y="125"/>
                    <a:pt x="2" y="140"/>
                    <a:pt x="1" y="156"/>
                  </a:cubicBezTo>
                  <a:cubicBezTo>
                    <a:pt x="0" y="173"/>
                    <a:pt x="5" y="190"/>
                    <a:pt x="15" y="203"/>
                  </a:cubicBezTo>
                  <a:cubicBezTo>
                    <a:pt x="39" y="235"/>
                    <a:pt x="81" y="240"/>
                    <a:pt x="116" y="225"/>
                  </a:cubicBezTo>
                  <a:cubicBezTo>
                    <a:pt x="153" y="210"/>
                    <a:pt x="179" y="174"/>
                    <a:pt x="187" y="136"/>
                  </a:cubicBezTo>
                  <a:cubicBezTo>
                    <a:pt x="197" y="87"/>
                    <a:pt x="177" y="37"/>
                    <a:pt x="136" y="8"/>
                  </a:cubicBezTo>
                  <a:cubicBezTo>
                    <a:pt x="130" y="4"/>
                    <a:pt x="125" y="13"/>
                    <a:pt x="131" y="17"/>
                  </a:cubicBezTo>
                  <a:close/>
                </a:path>
              </a:pathLst>
            </a:custGeom>
            <a:solidFill>
              <a:srgbClr val="00B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7" name="任意多边形 26">
              <a:extLst>
                <a:ext uri="{FF2B5EF4-FFF2-40B4-BE49-F238E27FC236}">
                  <a16:creationId xmlns:a16="http://schemas.microsoft.com/office/drawing/2014/main" id="{E17AFCD9-90EE-40D8-B43E-BEC14140FC15}"/>
                </a:ext>
              </a:extLst>
            </p:cNvPr>
            <p:cNvSpPr/>
            <p:nvPr/>
          </p:nvSpPr>
          <p:spPr bwMode="auto">
            <a:xfrm>
              <a:off x="6105144" y="2911896"/>
              <a:ext cx="545550" cy="558757"/>
            </a:xfrm>
            <a:custGeom>
              <a:avLst/>
              <a:gdLst>
                <a:gd name="T0" fmla="*/ 12 w 296"/>
                <a:gd name="T1" fmla="*/ 296 h 303"/>
                <a:gd name="T2" fmla="*/ 80 w 296"/>
                <a:gd name="T3" fmla="*/ 150 h 303"/>
                <a:gd name="T4" fmla="*/ 203 w 296"/>
                <a:gd name="T5" fmla="*/ 45 h 303"/>
                <a:gd name="T6" fmla="*/ 289 w 296"/>
                <a:gd name="T7" fmla="*/ 12 h 303"/>
                <a:gd name="T8" fmla="*/ 286 w 296"/>
                <a:gd name="T9" fmla="*/ 2 h 303"/>
                <a:gd name="T10" fmla="*/ 138 w 296"/>
                <a:gd name="T11" fmla="*/ 76 h 303"/>
                <a:gd name="T12" fmla="*/ 33 w 296"/>
                <a:gd name="T13" fmla="*/ 204 h 303"/>
                <a:gd name="T14" fmla="*/ 1 w 296"/>
                <a:gd name="T15" fmla="*/ 293 h 303"/>
                <a:gd name="T16" fmla="*/ 12 w 296"/>
                <a:gd name="T17" fmla="*/ 296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6" h="303">
                  <a:moveTo>
                    <a:pt x="12" y="296"/>
                  </a:moveTo>
                  <a:cubicBezTo>
                    <a:pt x="24" y="243"/>
                    <a:pt x="47" y="193"/>
                    <a:pt x="80" y="150"/>
                  </a:cubicBezTo>
                  <a:cubicBezTo>
                    <a:pt x="114" y="107"/>
                    <a:pt x="155" y="71"/>
                    <a:pt x="203" y="45"/>
                  </a:cubicBezTo>
                  <a:cubicBezTo>
                    <a:pt x="230" y="30"/>
                    <a:pt x="259" y="20"/>
                    <a:pt x="289" y="12"/>
                  </a:cubicBezTo>
                  <a:cubicBezTo>
                    <a:pt x="296" y="11"/>
                    <a:pt x="293" y="0"/>
                    <a:pt x="286" y="2"/>
                  </a:cubicBezTo>
                  <a:cubicBezTo>
                    <a:pt x="232" y="15"/>
                    <a:pt x="181" y="40"/>
                    <a:pt x="138" y="76"/>
                  </a:cubicBezTo>
                  <a:cubicBezTo>
                    <a:pt x="94" y="111"/>
                    <a:pt x="58" y="155"/>
                    <a:pt x="33" y="204"/>
                  </a:cubicBezTo>
                  <a:cubicBezTo>
                    <a:pt x="19" y="233"/>
                    <a:pt x="8" y="262"/>
                    <a:pt x="1" y="293"/>
                  </a:cubicBezTo>
                  <a:cubicBezTo>
                    <a:pt x="0" y="300"/>
                    <a:pt x="10" y="303"/>
                    <a:pt x="12" y="296"/>
                  </a:cubicBezTo>
                  <a:close/>
                </a:path>
              </a:pathLst>
            </a:custGeom>
            <a:solidFill>
              <a:srgbClr val="00B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8" name="任意多边形 27">
              <a:extLst>
                <a:ext uri="{FF2B5EF4-FFF2-40B4-BE49-F238E27FC236}">
                  <a16:creationId xmlns:a16="http://schemas.microsoft.com/office/drawing/2014/main" id="{F1EA44E8-1DDF-4A1A-AC8C-6D741F06B2C8}"/>
                </a:ext>
              </a:extLst>
            </p:cNvPr>
            <p:cNvSpPr/>
            <p:nvPr/>
          </p:nvSpPr>
          <p:spPr bwMode="auto">
            <a:xfrm>
              <a:off x="5691663" y="1244769"/>
              <a:ext cx="968173" cy="1323746"/>
            </a:xfrm>
            <a:custGeom>
              <a:avLst/>
              <a:gdLst>
                <a:gd name="T0" fmla="*/ 177 w 525"/>
                <a:gd name="T1" fmla="*/ 0 h 718"/>
                <a:gd name="T2" fmla="*/ 124 w 525"/>
                <a:gd name="T3" fmla="*/ 37 h 718"/>
                <a:gd name="T4" fmla="*/ 128 w 525"/>
                <a:gd name="T5" fmla="*/ 110 h 718"/>
                <a:gd name="T6" fmla="*/ 258 w 525"/>
                <a:gd name="T7" fmla="*/ 218 h 718"/>
                <a:gd name="T8" fmla="*/ 300 w 525"/>
                <a:gd name="T9" fmla="*/ 283 h 718"/>
                <a:gd name="T10" fmla="*/ 280 w 525"/>
                <a:gd name="T11" fmla="*/ 356 h 718"/>
                <a:gd name="T12" fmla="*/ 213 w 525"/>
                <a:gd name="T13" fmla="*/ 404 h 718"/>
                <a:gd name="T14" fmla="*/ 130 w 525"/>
                <a:gd name="T15" fmla="*/ 421 h 718"/>
                <a:gd name="T16" fmla="*/ 50 w 525"/>
                <a:gd name="T17" fmla="*/ 401 h 718"/>
                <a:gd name="T18" fmla="*/ 16 w 525"/>
                <a:gd name="T19" fmla="*/ 343 h 718"/>
                <a:gd name="T20" fmla="*/ 41 w 525"/>
                <a:gd name="T21" fmla="*/ 289 h 718"/>
                <a:gd name="T22" fmla="*/ 100 w 525"/>
                <a:gd name="T23" fmla="*/ 279 h 718"/>
                <a:gd name="T24" fmla="*/ 188 w 525"/>
                <a:gd name="T25" fmla="*/ 385 h 718"/>
                <a:gd name="T26" fmla="*/ 218 w 525"/>
                <a:gd name="T27" fmla="*/ 562 h 718"/>
                <a:gd name="T28" fmla="*/ 315 w 525"/>
                <a:gd name="T29" fmla="*/ 677 h 718"/>
                <a:gd name="T30" fmla="*/ 476 w 525"/>
                <a:gd name="T31" fmla="*/ 703 h 718"/>
                <a:gd name="T32" fmla="*/ 518 w 525"/>
                <a:gd name="T33" fmla="*/ 687 h 718"/>
                <a:gd name="T34" fmla="*/ 513 w 525"/>
                <a:gd name="T35" fmla="*/ 678 h 718"/>
                <a:gd name="T36" fmla="*/ 341 w 525"/>
                <a:gd name="T37" fmla="*/ 679 h 718"/>
                <a:gd name="T38" fmla="*/ 234 w 525"/>
                <a:gd name="T39" fmla="*/ 571 h 718"/>
                <a:gd name="T40" fmla="*/ 201 w 525"/>
                <a:gd name="T41" fmla="*/ 392 h 718"/>
                <a:gd name="T42" fmla="*/ 118 w 525"/>
                <a:gd name="T43" fmla="*/ 273 h 718"/>
                <a:gd name="T44" fmla="*/ 9 w 525"/>
                <a:gd name="T45" fmla="*/ 312 h 718"/>
                <a:gd name="T46" fmla="*/ 17 w 525"/>
                <a:gd name="T47" fmla="*/ 380 h 718"/>
                <a:gd name="T48" fmla="*/ 76 w 525"/>
                <a:gd name="T49" fmla="*/ 425 h 718"/>
                <a:gd name="T50" fmla="*/ 162 w 525"/>
                <a:gd name="T51" fmla="*/ 429 h 718"/>
                <a:gd name="T52" fmla="*/ 244 w 525"/>
                <a:gd name="T53" fmla="*/ 402 h 718"/>
                <a:gd name="T54" fmla="*/ 301 w 525"/>
                <a:gd name="T55" fmla="*/ 344 h 718"/>
                <a:gd name="T56" fmla="*/ 307 w 525"/>
                <a:gd name="T57" fmla="*/ 266 h 718"/>
                <a:gd name="T58" fmla="*/ 183 w 525"/>
                <a:gd name="T59" fmla="*/ 154 h 718"/>
                <a:gd name="T60" fmla="*/ 132 w 525"/>
                <a:gd name="T61" fmla="*/ 90 h 718"/>
                <a:gd name="T62" fmla="*/ 148 w 525"/>
                <a:gd name="T63" fmla="*/ 23 h 718"/>
                <a:gd name="T64" fmla="*/ 177 w 525"/>
                <a:gd name="T65" fmla="*/ 11 h 718"/>
                <a:gd name="T66" fmla="*/ 183 w 525"/>
                <a:gd name="T67" fmla="*/ 5 h 718"/>
                <a:gd name="T68" fmla="*/ 177 w 525"/>
                <a:gd name="T69" fmla="*/ 0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5" h="718">
                  <a:moveTo>
                    <a:pt x="177" y="0"/>
                  </a:moveTo>
                  <a:cubicBezTo>
                    <a:pt x="154" y="0"/>
                    <a:pt x="134" y="17"/>
                    <a:pt x="124" y="37"/>
                  </a:cubicBezTo>
                  <a:cubicBezTo>
                    <a:pt x="113" y="61"/>
                    <a:pt x="116" y="87"/>
                    <a:pt x="128" y="110"/>
                  </a:cubicBezTo>
                  <a:cubicBezTo>
                    <a:pt x="155" y="163"/>
                    <a:pt x="215" y="181"/>
                    <a:pt x="258" y="218"/>
                  </a:cubicBezTo>
                  <a:cubicBezTo>
                    <a:pt x="278" y="235"/>
                    <a:pt x="296" y="257"/>
                    <a:pt x="300" y="283"/>
                  </a:cubicBezTo>
                  <a:cubicBezTo>
                    <a:pt x="305" y="309"/>
                    <a:pt x="295" y="336"/>
                    <a:pt x="280" y="356"/>
                  </a:cubicBezTo>
                  <a:cubicBezTo>
                    <a:pt x="264" y="379"/>
                    <a:pt x="239" y="395"/>
                    <a:pt x="213" y="404"/>
                  </a:cubicBezTo>
                  <a:cubicBezTo>
                    <a:pt x="186" y="415"/>
                    <a:pt x="158" y="420"/>
                    <a:pt x="130" y="421"/>
                  </a:cubicBezTo>
                  <a:cubicBezTo>
                    <a:pt x="102" y="422"/>
                    <a:pt x="73" y="417"/>
                    <a:pt x="50" y="401"/>
                  </a:cubicBezTo>
                  <a:cubicBezTo>
                    <a:pt x="31" y="387"/>
                    <a:pt x="19" y="366"/>
                    <a:pt x="16" y="343"/>
                  </a:cubicBezTo>
                  <a:cubicBezTo>
                    <a:pt x="13" y="321"/>
                    <a:pt x="23" y="301"/>
                    <a:pt x="41" y="289"/>
                  </a:cubicBezTo>
                  <a:cubicBezTo>
                    <a:pt x="59" y="278"/>
                    <a:pt x="80" y="275"/>
                    <a:pt x="100" y="279"/>
                  </a:cubicBezTo>
                  <a:cubicBezTo>
                    <a:pt x="151" y="289"/>
                    <a:pt x="177" y="339"/>
                    <a:pt x="188" y="385"/>
                  </a:cubicBezTo>
                  <a:cubicBezTo>
                    <a:pt x="202" y="443"/>
                    <a:pt x="197" y="505"/>
                    <a:pt x="218" y="562"/>
                  </a:cubicBezTo>
                  <a:cubicBezTo>
                    <a:pt x="237" y="610"/>
                    <a:pt x="271" y="651"/>
                    <a:pt x="315" y="677"/>
                  </a:cubicBezTo>
                  <a:cubicBezTo>
                    <a:pt x="365" y="708"/>
                    <a:pt x="419" y="718"/>
                    <a:pt x="476" y="703"/>
                  </a:cubicBezTo>
                  <a:cubicBezTo>
                    <a:pt x="491" y="699"/>
                    <a:pt x="505" y="694"/>
                    <a:pt x="518" y="687"/>
                  </a:cubicBezTo>
                  <a:cubicBezTo>
                    <a:pt x="525" y="684"/>
                    <a:pt x="519" y="675"/>
                    <a:pt x="513" y="678"/>
                  </a:cubicBezTo>
                  <a:cubicBezTo>
                    <a:pt x="456" y="705"/>
                    <a:pt x="398" y="706"/>
                    <a:pt x="341" y="679"/>
                  </a:cubicBezTo>
                  <a:cubicBezTo>
                    <a:pt x="294" y="657"/>
                    <a:pt x="256" y="618"/>
                    <a:pt x="234" y="571"/>
                  </a:cubicBezTo>
                  <a:cubicBezTo>
                    <a:pt x="208" y="514"/>
                    <a:pt x="213" y="451"/>
                    <a:pt x="201" y="392"/>
                  </a:cubicBezTo>
                  <a:cubicBezTo>
                    <a:pt x="191" y="344"/>
                    <a:pt x="167" y="291"/>
                    <a:pt x="118" y="273"/>
                  </a:cubicBezTo>
                  <a:cubicBezTo>
                    <a:pt x="78" y="258"/>
                    <a:pt x="25" y="270"/>
                    <a:pt x="9" y="312"/>
                  </a:cubicBezTo>
                  <a:cubicBezTo>
                    <a:pt x="0" y="334"/>
                    <a:pt x="5" y="360"/>
                    <a:pt x="17" y="380"/>
                  </a:cubicBezTo>
                  <a:cubicBezTo>
                    <a:pt x="30" y="402"/>
                    <a:pt x="51" y="418"/>
                    <a:pt x="76" y="425"/>
                  </a:cubicBezTo>
                  <a:cubicBezTo>
                    <a:pt x="104" y="434"/>
                    <a:pt x="134" y="434"/>
                    <a:pt x="162" y="429"/>
                  </a:cubicBezTo>
                  <a:cubicBezTo>
                    <a:pt x="191" y="425"/>
                    <a:pt x="218" y="416"/>
                    <a:pt x="244" y="402"/>
                  </a:cubicBezTo>
                  <a:cubicBezTo>
                    <a:pt x="268" y="389"/>
                    <a:pt x="288" y="369"/>
                    <a:pt x="301" y="344"/>
                  </a:cubicBezTo>
                  <a:cubicBezTo>
                    <a:pt x="312" y="320"/>
                    <a:pt x="316" y="292"/>
                    <a:pt x="307" y="266"/>
                  </a:cubicBezTo>
                  <a:cubicBezTo>
                    <a:pt x="287" y="210"/>
                    <a:pt x="227" y="186"/>
                    <a:pt x="183" y="154"/>
                  </a:cubicBezTo>
                  <a:cubicBezTo>
                    <a:pt x="161" y="138"/>
                    <a:pt x="140" y="116"/>
                    <a:pt x="132" y="90"/>
                  </a:cubicBezTo>
                  <a:cubicBezTo>
                    <a:pt x="124" y="66"/>
                    <a:pt x="130" y="40"/>
                    <a:pt x="148" y="23"/>
                  </a:cubicBezTo>
                  <a:cubicBezTo>
                    <a:pt x="156" y="16"/>
                    <a:pt x="166" y="11"/>
                    <a:pt x="177" y="11"/>
                  </a:cubicBezTo>
                  <a:cubicBezTo>
                    <a:pt x="180" y="11"/>
                    <a:pt x="183" y="8"/>
                    <a:pt x="183" y="5"/>
                  </a:cubicBezTo>
                  <a:cubicBezTo>
                    <a:pt x="182" y="2"/>
                    <a:pt x="180" y="0"/>
                    <a:pt x="177" y="0"/>
                  </a:cubicBezTo>
                  <a:close/>
                </a:path>
              </a:pathLst>
            </a:custGeom>
            <a:solidFill>
              <a:srgbClr val="00B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9" name="椭圆 338">
              <a:extLst>
                <a:ext uri="{FF2B5EF4-FFF2-40B4-BE49-F238E27FC236}">
                  <a16:creationId xmlns:a16="http://schemas.microsoft.com/office/drawing/2014/main" id="{67B78983-4144-474E-BFDE-1A44ABDB2609}"/>
                </a:ext>
              </a:extLst>
            </p:cNvPr>
            <p:cNvSpPr/>
            <p:nvPr/>
          </p:nvSpPr>
          <p:spPr bwMode="auto">
            <a:xfrm>
              <a:off x="5218244" y="2317582"/>
              <a:ext cx="787339" cy="788355"/>
            </a:xfrm>
            <a:prstGeom prst="ellipse">
              <a:avLst/>
            </a:prstGeom>
            <a:solidFill>
              <a:srgbClr val="00B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0" name="椭圆 339">
              <a:extLst>
                <a:ext uri="{FF2B5EF4-FFF2-40B4-BE49-F238E27FC236}">
                  <a16:creationId xmlns:a16="http://schemas.microsoft.com/office/drawing/2014/main" id="{C58F7019-CD54-498C-B34E-218F30D58855}"/>
                </a:ext>
              </a:extLst>
            </p:cNvPr>
            <p:cNvSpPr/>
            <p:nvPr/>
          </p:nvSpPr>
          <p:spPr bwMode="auto">
            <a:xfrm>
              <a:off x="5557562" y="1515004"/>
              <a:ext cx="311888" cy="313920"/>
            </a:xfrm>
            <a:prstGeom prst="ellipse">
              <a:avLst/>
            </a:prstGeom>
            <a:solidFill>
              <a:srgbClr val="00B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1" name="椭圆 340">
              <a:extLst>
                <a:ext uri="{FF2B5EF4-FFF2-40B4-BE49-F238E27FC236}">
                  <a16:creationId xmlns:a16="http://schemas.microsoft.com/office/drawing/2014/main" id="{65269E5D-145F-45EC-AD01-69F7A0BD34D2}"/>
                </a:ext>
              </a:extLst>
            </p:cNvPr>
            <p:cNvSpPr/>
            <p:nvPr/>
          </p:nvSpPr>
          <p:spPr bwMode="auto">
            <a:xfrm>
              <a:off x="3648646" y="1631835"/>
              <a:ext cx="311888" cy="311888"/>
            </a:xfrm>
            <a:prstGeom prst="ellipse">
              <a:avLst/>
            </a:prstGeom>
            <a:solidFill>
              <a:srgbClr val="00B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2" name="任意多边形 31">
              <a:extLst>
                <a:ext uri="{FF2B5EF4-FFF2-40B4-BE49-F238E27FC236}">
                  <a16:creationId xmlns:a16="http://schemas.microsoft.com/office/drawing/2014/main" id="{1FB8A802-D028-4D13-BD88-995B33D2599B}"/>
                </a:ext>
              </a:extLst>
            </p:cNvPr>
            <p:cNvSpPr/>
            <p:nvPr/>
          </p:nvSpPr>
          <p:spPr bwMode="auto">
            <a:xfrm>
              <a:off x="8253817" y="4454064"/>
              <a:ext cx="18287" cy="55876"/>
            </a:xfrm>
            <a:custGeom>
              <a:avLst/>
              <a:gdLst>
                <a:gd name="T0" fmla="*/ 10 w 10"/>
                <a:gd name="T1" fmla="*/ 28 h 30"/>
                <a:gd name="T2" fmla="*/ 10 w 10"/>
                <a:gd name="T3" fmla="*/ 30 h 30"/>
                <a:gd name="T4" fmla="*/ 10 w 10"/>
                <a:gd name="T5" fmla="*/ 28 h 30"/>
                <a:gd name="T6" fmla="*/ 0 w 10"/>
                <a:gd name="T7" fmla="*/ 0 h 30"/>
                <a:gd name="T8" fmla="*/ 0 w 10"/>
                <a:gd name="T9" fmla="*/ 0 h 30"/>
                <a:gd name="T10" fmla="*/ 0 w 10"/>
                <a:gd name="T11" fmla="*/ 2 h 30"/>
                <a:gd name="T12" fmla="*/ 0 w 1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30">
                  <a:moveTo>
                    <a:pt x="10" y="28"/>
                  </a:moveTo>
                  <a:cubicBezTo>
                    <a:pt x="10" y="30"/>
                    <a:pt x="10" y="30"/>
                    <a:pt x="10" y="30"/>
                  </a:cubicBezTo>
                  <a:cubicBezTo>
                    <a:pt x="10" y="29"/>
                    <a:pt x="10" y="29"/>
                    <a:pt x="10" y="28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3" name="任意多边形 32">
              <a:extLst>
                <a:ext uri="{FF2B5EF4-FFF2-40B4-BE49-F238E27FC236}">
                  <a16:creationId xmlns:a16="http://schemas.microsoft.com/office/drawing/2014/main" id="{50363B2C-AFFD-419B-80C7-E533FFF1D036}"/>
                </a:ext>
              </a:extLst>
            </p:cNvPr>
            <p:cNvSpPr/>
            <p:nvPr/>
          </p:nvSpPr>
          <p:spPr bwMode="auto">
            <a:xfrm>
              <a:off x="8253817" y="3899371"/>
              <a:ext cx="88385" cy="610569"/>
            </a:xfrm>
            <a:custGeom>
              <a:avLst/>
              <a:gdLst>
                <a:gd name="T0" fmla="*/ 48 w 48"/>
                <a:gd name="T1" fmla="*/ 0 h 331"/>
                <a:gd name="T2" fmla="*/ 31 w 48"/>
                <a:gd name="T3" fmla="*/ 93 h 331"/>
                <a:gd name="T4" fmla="*/ 0 w 48"/>
                <a:gd name="T5" fmla="*/ 301 h 331"/>
                <a:gd name="T6" fmla="*/ 0 w 48"/>
                <a:gd name="T7" fmla="*/ 303 h 331"/>
                <a:gd name="T8" fmla="*/ 10 w 48"/>
                <a:gd name="T9" fmla="*/ 329 h 331"/>
                <a:gd name="T10" fmla="*/ 10 w 48"/>
                <a:gd name="T11" fmla="*/ 331 h 331"/>
                <a:gd name="T12" fmla="*/ 48 w 48"/>
                <a:gd name="T13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331">
                  <a:moveTo>
                    <a:pt x="48" y="0"/>
                  </a:moveTo>
                  <a:cubicBezTo>
                    <a:pt x="42" y="30"/>
                    <a:pt x="36" y="61"/>
                    <a:pt x="31" y="93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0" y="301"/>
                    <a:pt x="0" y="302"/>
                    <a:pt x="0" y="303"/>
                  </a:cubicBezTo>
                  <a:cubicBezTo>
                    <a:pt x="10" y="329"/>
                    <a:pt x="10" y="329"/>
                    <a:pt x="10" y="329"/>
                  </a:cubicBezTo>
                  <a:cubicBezTo>
                    <a:pt x="10" y="330"/>
                    <a:pt x="10" y="330"/>
                    <a:pt x="10" y="331"/>
                  </a:cubicBezTo>
                  <a:cubicBezTo>
                    <a:pt x="48" y="0"/>
                    <a:pt x="48" y="0"/>
                    <a:pt x="48" y="0"/>
                  </a:cubicBezTo>
                </a:path>
              </a:pathLst>
            </a:custGeom>
            <a:solidFill>
              <a:srgbClr val="2625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4" name="任意多边形 33">
              <a:extLst>
                <a:ext uri="{FF2B5EF4-FFF2-40B4-BE49-F238E27FC236}">
                  <a16:creationId xmlns:a16="http://schemas.microsoft.com/office/drawing/2014/main" id="{41C1EB37-7769-43FB-BE1F-7824B0BD8E06}"/>
                </a:ext>
              </a:extLst>
            </p:cNvPr>
            <p:cNvSpPr/>
            <p:nvPr/>
          </p:nvSpPr>
          <p:spPr bwMode="auto">
            <a:xfrm>
              <a:off x="8310708" y="3755110"/>
              <a:ext cx="46732" cy="314936"/>
            </a:xfrm>
            <a:custGeom>
              <a:avLst/>
              <a:gdLst>
                <a:gd name="T0" fmla="*/ 25 w 25"/>
                <a:gd name="T1" fmla="*/ 0 h 171"/>
                <a:gd name="T2" fmla="*/ 0 w 25"/>
                <a:gd name="T3" fmla="*/ 171 h 171"/>
                <a:gd name="T4" fmla="*/ 17 w 25"/>
                <a:gd name="T5" fmla="*/ 78 h 171"/>
                <a:gd name="T6" fmla="*/ 25 w 25"/>
                <a:gd name="T7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71">
                  <a:moveTo>
                    <a:pt x="25" y="0"/>
                  </a:moveTo>
                  <a:cubicBezTo>
                    <a:pt x="0" y="171"/>
                    <a:pt x="0" y="171"/>
                    <a:pt x="0" y="171"/>
                  </a:cubicBezTo>
                  <a:cubicBezTo>
                    <a:pt x="5" y="139"/>
                    <a:pt x="11" y="108"/>
                    <a:pt x="17" y="78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2625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5" name="椭圆 344">
              <a:extLst>
                <a:ext uri="{FF2B5EF4-FFF2-40B4-BE49-F238E27FC236}">
                  <a16:creationId xmlns:a16="http://schemas.microsoft.com/office/drawing/2014/main" id="{95242937-53F5-4374-B4A9-ECDA202701CD}"/>
                </a:ext>
              </a:extLst>
            </p:cNvPr>
            <p:cNvSpPr/>
            <p:nvPr/>
          </p:nvSpPr>
          <p:spPr bwMode="auto">
            <a:xfrm>
              <a:off x="8305629" y="1231562"/>
              <a:ext cx="235694" cy="235694"/>
            </a:xfrm>
            <a:prstGeom prst="ellipse">
              <a:avLst/>
            </a:prstGeom>
            <a:solidFill>
              <a:srgbClr val="2F2E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6" name="任意多边形 35">
              <a:extLst>
                <a:ext uri="{FF2B5EF4-FFF2-40B4-BE49-F238E27FC236}">
                  <a16:creationId xmlns:a16="http://schemas.microsoft.com/office/drawing/2014/main" id="{B3C90D6E-0F23-48AD-8F13-7D488FCDBB23}"/>
                </a:ext>
              </a:extLst>
            </p:cNvPr>
            <p:cNvSpPr/>
            <p:nvPr/>
          </p:nvSpPr>
          <p:spPr bwMode="auto">
            <a:xfrm>
              <a:off x="8283279" y="1205148"/>
              <a:ext cx="136133" cy="239757"/>
            </a:xfrm>
            <a:custGeom>
              <a:avLst/>
              <a:gdLst>
                <a:gd name="T0" fmla="*/ 10 w 74"/>
                <a:gd name="T1" fmla="*/ 63 h 130"/>
                <a:gd name="T2" fmla="*/ 74 w 74"/>
                <a:gd name="T3" fmla="*/ 3 h 130"/>
                <a:gd name="T4" fmla="*/ 70 w 74"/>
                <a:gd name="T5" fmla="*/ 3 h 130"/>
                <a:gd name="T6" fmla="*/ 2 w 74"/>
                <a:gd name="T7" fmla="*/ 62 h 130"/>
                <a:gd name="T8" fmla="*/ 62 w 74"/>
                <a:gd name="T9" fmla="*/ 130 h 130"/>
                <a:gd name="T10" fmla="*/ 62 w 74"/>
                <a:gd name="T11" fmla="*/ 130 h 130"/>
                <a:gd name="T12" fmla="*/ 66 w 74"/>
                <a:gd name="T13" fmla="*/ 130 h 130"/>
                <a:gd name="T14" fmla="*/ 10 w 74"/>
                <a:gd name="T15" fmla="*/ 63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30">
                  <a:moveTo>
                    <a:pt x="10" y="63"/>
                  </a:moveTo>
                  <a:cubicBezTo>
                    <a:pt x="13" y="29"/>
                    <a:pt x="41" y="3"/>
                    <a:pt x="74" y="3"/>
                  </a:cubicBezTo>
                  <a:cubicBezTo>
                    <a:pt x="73" y="3"/>
                    <a:pt x="72" y="3"/>
                    <a:pt x="70" y="3"/>
                  </a:cubicBezTo>
                  <a:cubicBezTo>
                    <a:pt x="35" y="0"/>
                    <a:pt x="5" y="27"/>
                    <a:pt x="2" y="62"/>
                  </a:cubicBezTo>
                  <a:cubicBezTo>
                    <a:pt x="0" y="98"/>
                    <a:pt x="27" y="128"/>
                    <a:pt x="62" y="130"/>
                  </a:cubicBezTo>
                  <a:cubicBezTo>
                    <a:pt x="62" y="130"/>
                    <a:pt x="62" y="130"/>
                    <a:pt x="62" y="130"/>
                  </a:cubicBezTo>
                  <a:cubicBezTo>
                    <a:pt x="64" y="130"/>
                    <a:pt x="65" y="130"/>
                    <a:pt x="66" y="130"/>
                  </a:cubicBezTo>
                  <a:cubicBezTo>
                    <a:pt x="33" y="126"/>
                    <a:pt x="8" y="97"/>
                    <a:pt x="10" y="63"/>
                  </a:cubicBezTo>
                  <a:close/>
                </a:path>
              </a:pathLst>
            </a:custGeom>
            <a:solidFill>
              <a:srgbClr val="2F2E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7" name="椭圆 346">
              <a:extLst>
                <a:ext uri="{FF2B5EF4-FFF2-40B4-BE49-F238E27FC236}">
                  <a16:creationId xmlns:a16="http://schemas.microsoft.com/office/drawing/2014/main" id="{2FC0E71A-4FD6-4C3B-B640-02F1DC4E7409}"/>
                </a:ext>
              </a:extLst>
            </p:cNvPr>
            <p:cNvSpPr/>
            <p:nvPr/>
          </p:nvSpPr>
          <p:spPr bwMode="auto">
            <a:xfrm>
              <a:off x="8091269" y="1607453"/>
              <a:ext cx="74163" cy="103624"/>
            </a:xfrm>
            <a:prstGeom prst="ellipse">
              <a:avLst/>
            </a:prstGeom>
            <a:solidFill>
              <a:srgbClr val="FFB8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8" name="任意多边形 37">
              <a:extLst>
                <a:ext uri="{FF2B5EF4-FFF2-40B4-BE49-F238E27FC236}">
                  <a16:creationId xmlns:a16="http://schemas.microsoft.com/office/drawing/2014/main" id="{FE237F00-F2A8-4CFD-9FA5-76C2215E79E5}"/>
                </a:ext>
              </a:extLst>
            </p:cNvPr>
            <p:cNvSpPr/>
            <p:nvPr/>
          </p:nvSpPr>
          <p:spPr bwMode="auto">
            <a:xfrm>
              <a:off x="7892149" y="2572578"/>
              <a:ext cx="199121" cy="596346"/>
            </a:xfrm>
            <a:custGeom>
              <a:avLst/>
              <a:gdLst>
                <a:gd name="T0" fmla="*/ 108 w 108"/>
                <a:gd name="T1" fmla="*/ 0 h 323"/>
                <a:gd name="T2" fmla="*/ 88 w 108"/>
                <a:gd name="T3" fmla="*/ 29 h 323"/>
                <a:gd name="T4" fmla="*/ 0 w 108"/>
                <a:gd name="T5" fmla="*/ 323 h 323"/>
                <a:gd name="T6" fmla="*/ 0 w 108"/>
                <a:gd name="T7" fmla="*/ 323 h 323"/>
                <a:gd name="T8" fmla="*/ 108 w 108"/>
                <a:gd name="T9" fmla="*/ 0 h 323"/>
                <a:gd name="T10" fmla="*/ 108 w 108"/>
                <a:gd name="T11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8" h="323">
                  <a:moveTo>
                    <a:pt x="108" y="0"/>
                  </a:moveTo>
                  <a:cubicBezTo>
                    <a:pt x="88" y="29"/>
                    <a:pt x="88" y="29"/>
                    <a:pt x="88" y="29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</a:path>
              </a:pathLst>
            </a:custGeom>
            <a:solidFill>
              <a:srgbClr val="0099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9" name="任意多边形 38">
              <a:extLst>
                <a:ext uri="{FF2B5EF4-FFF2-40B4-BE49-F238E27FC236}">
                  <a16:creationId xmlns:a16="http://schemas.microsoft.com/office/drawing/2014/main" id="{34004BD6-5465-4A36-8669-1952E3868B1F}"/>
                </a:ext>
              </a:extLst>
            </p:cNvPr>
            <p:cNvSpPr/>
            <p:nvPr/>
          </p:nvSpPr>
          <p:spPr bwMode="auto">
            <a:xfrm>
              <a:off x="7892149" y="2572578"/>
              <a:ext cx="199121" cy="596346"/>
            </a:xfrm>
            <a:custGeom>
              <a:avLst/>
              <a:gdLst>
                <a:gd name="T0" fmla="*/ 0 w 108"/>
                <a:gd name="T1" fmla="*/ 323 h 323"/>
                <a:gd name="T2" fmla="*/ 0 w 108"/>
                <a:gd name="T3" fmla="*/ 323 h 323"/>
                <a:gd name="T4" fmla="*/ 0 w 108"/>
                <a:gd name="T5" fmla="*/ 323 h 323"/>
                <a:gd name="T6" fmla="*/ 0 w 108"/>
                <a:gd name="T7" fmla="*/ 323 h 323"/>
                <a:gd name="T8" fmla="*/ 108 w 108"/>
                <a:gd name="T9" fmla="*/ 0 h 323"/>
                <a:gd name="T10" fmla="*/ 108 w 108"/>
                <a:gd name="T11" fmla="*/ 0 h 323"/>
                <a:gd name="T12" fmla="*/ 108 w 108"/>
                <a:gd name="T13" fmla="*/ 0 h 323"/>
                <a:gd name="T14" fmla="*/ 108 w 108"/>
                <a:gd name="T15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" h="323">
                  <a:moveTo>
                    <a:pt x="0" y="323"/>
                  </a:moveTo>
                  <a:cubicBezTo>
                    <a:pt x="0" y="323"/>
                    <a:pt x="0" y="323"/>
                    <a:pt x="0" y="323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0" y="323"/>
                    <a:pt x="0" y="323"/>
                    <a:pt x="0" y="323"/>
                  </a:cubicBezTo>
                  <a:moveTo>
                    <a:pt x="108" y="0"/>
                  </a:move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</a:path>
              </a:pathLst>
            </a:custGeom>
            <a:solidFill>
              <a:srgbClr val="0099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21388406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659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1204;"/>
  <p:tag name="ISLIDE.ICON" val="#404699;#404768;#404700;#405529;#405499;#407116;#405529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24895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24880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24900;"/>
  <p:tag name="ISLIDE.VECTOR" val="#185225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51160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24900;"/>
  <p:tag name="ISLIDE.VECTOR" val="#267763;#267768;#267833;#224227;#224242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375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54640;"/>
  <p:tag name="ISLIDE.ICON" val="#423023;#423026;#423030;#142479;#174587;#385051;#373685;#152679;#36489;#142479;#373685;#174587;#36489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61110;"/>
  <p:tag name="ISLIDE.ICON" val="#404080;#33169;#168681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24900;"/>
  <p:tag name="ISLIDE.VECTOR" val="#378959;#418816;#418815;#418861;#340617;#224227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49316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24900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24900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984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578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184849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138;"/>
  <p:tag name="ISLIDE.ICON" val="#407182;#177094;#393986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24900;"/>
  <p:tag name="ISLIDE.VECTOR" val="#275452;#379076;#379092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24900;"/>
  <p:tag name="ISLIDE.VECTOR" val="#431545;#431560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BC3649"/>
      </a:accent1>
      <a:accent2>
        <a:srgbClr val="6A868F"/>
      </a:accent2>
      <a:accent3>
        <a:srgbClr val="31778D"/>
      </a:accent3>
      <a:accent4>
        <a:srgbClr val="D6C88B"/>
      </a:accent4>
      <a:accent5>
        <a:srgbClr val="D66E49"/>
      </a:accent5>
      <a:accent6>
        <a:srgbClr val="649EB2"/>
      </a:accent6>
      <a:hlink>
        <a:srgbClr val="BC3649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BC3649"/>
    </a:accent1>
    <a:accent2>
      <a:srgbClr val="6A868F"/>
    </a:accent2>
    <a:accent3>
      <a:srgbClr val="31778D"/>
    </a:accent3>
    <a:accent4>
      <a:srgbClr val="D6C88B"/>
    </a:accent4>
    <a:accent5>
      <a:srgbClr val="D66E49"/>
    </a:accent5>
    <a:accent6>
      <a:srgbClr val="649EB2"/>
    </a:accent6>
    <a:hlink>
      <a:srgbClr val="BC3649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BC3649"/>
    </a:accent1>
    <a:accent2>
      <a:srgbClr val="6A868F"/>
    </a:accent2>
    <a:accent3>
      <a:srgbClr val="31778D"/>
    </a:accent3>
    <a:accent4>
      <a:srgbClr val="D6C88B"/>
    </a:accent4>
    <a:accent5>
      <a:srgbClr val="D66E49"/>
    </a:accent5>
    <a:accent6>
      <a:srgbClr val="649EB2"/>
    </a:accent6>
    <a:hlink>
      <a:srgbClr val="BC3649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BC3649"/>
    </a:accent1>
    <a:accent2>
      <a:srgbClr val="6A868F"/>
    </a:accent2>
    <a:accent3>
      <a:srgbClr val="31778D"/>
    </a:accent3>
    <a:accent4>
      <a:srgbClr val="D6C88B"/>
    </a:accent4>
    <a:accent5>
      <a:srgbClr val="D66E49"/>
    </a:accent5>
    <a:accent6>
      <a:srgbClr val="649EB2"/>
    </a:accent6>
    <a:hlink>
      <a:srgbClr val="BC3649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5</TotalTime>
  <Words>1291</Words>
  <Application>Microsoft Office PowerPoint</Application>
  <PresentationFormat>宽屏</PresentationFormat>
  <Paragraphs>322</Paragraphs>
  <Slides>25</Slides>
  <Notes>10</Notes>
  <HiddenSlides>0</HiddenSlides>
  <MMClips>1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5" baseType="lpstr">
      <vt:lpstr>等线</vt:lpstr>
      <vt:lpstr>宋体</vt:lpstr>
      <vt:lpstr>Arial</vt:lpstr>
      <vt:lpstr>Calibri</vt:lpstr>
      <vt:lpstr>Impact</vt:lpstr>
      <vt:lpstr>Times New Roman</vt:lpstr>
      <vt:lpstr>Verdana</vt:lpstr>
      <vt:lpstr>Wingdings</vt:lpstr>
      <vt:lpstr>主题5</vt:lpstr>
      <vt:lpstr>think-cell Slide</vt:lpstr>
      <vt:lpstr>MY PCLOGO</vt:lpstr>
      <vt:lpstr>简介</vt:lpstr>
      <vt:lpstr>MY PCLOGO</vt:lpstr>
      <vt:lpstr>PowerPoint 演示文稿</vt:lpstr>
      <vt:lpstr>界面创新</vt:lpstr>
      <vt:lpstr>交互创新</vt:lpstr>
      <vt:lpstr>语法创新</vt:lpstr>
      <vt:lpstr>技术创新</vt:lpstr>
      <vt:lpstr>PowerPoint 演示文稿</vt:lpstr>
      <vt:lpstr>PowerPoint 演示文稿</vt:lpstr>
      <vt:lpstr>PowerPoint 演示文稿</vt:lpstr>
      <vt:lpstr>Browser / Server 架构</vt:lpstr>
      <vt:lpstr>关键技术</vt:lpstr>
      <vt:lpstr>关键技术</vt:lpstr>
      <vt:lpstr>PowerPoint 演示文稿</vt:lpstr>
      <vt:lpstr>测试</vt:lpstr>
      <vt:lpstr>测试结果展示</vt:lpstr>
      <vt:lpstr>PowerPoint 演示文稿</vt:lpstr>
      <vt:lpstr>项目过程</vt:lpstr>
      <vt:lpstr>BNSG软件过程 —— Busy Noob Students Group</vt:lpstr>
      <vt:lpstr>BNSG软件过程</vt:lpstr>
      <vt:lpstr>PowerPoint 演示文稿</vt:lpstr>
      <vt:lpstr>小组分工</vt:lpstr>
      <vt:lpstr>PowerPoint 演示文稿</vt:lpstr>
      <vt:lpstr>感谢老师与助教的帮助！ 感谢小组成员的辛勤付出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Administrator</cp:lastModifiedBy>
  <cp:revision>66</cp:revision>
  <cp:lastPrinted>2019-04-01T16:00:00Z</cp:lastPrinted>
  <dcterms:created xsi:type="dcterms:W3CDTF">2019-04-01T16:00:00Z</dcterms:created>
  <dcterms:modified xsi:type="dcterms:W3CDTF">2021-01-08T01:3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